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6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7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8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9.xml" ContentType="application/vnd.openxmlformats-officedocument.theme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10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11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12.xml" ContentType="application/vnd.openxmlformats-officedocument.theme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98" r:id="rId1"/>
    <p:sldMasterId id="2147483914" r:id="rId2"/>
    <p:sldMasterId id="2147483926" r:id="rId3"/>
    <p:sldMasterId id="2147483941" r:id="rId4"/>
    <p:sldMasterId id="2147483953" r:id="rId5"/>
    <p:sldMasterId id="2147483975" r:id="rId6"/>
    <p:sldMasterId id="2147483988" r:id="rId7"/>
    <p:sldMasterId id="2147484000" r:id="rId8"/>
    <p:sldMasterId id="2147484012" r:id="rId9"/>
    <p:sldMasterId id="2147484024" r:id="rId10"/>
    <p:sldMasterId id="2147484028" r:id="rId11"/>
    <p:sldMasterId id="2147484041" r:id="rId12"/>
    <p:sldMasterId id="2147484058" r:id="rId13"/>
  </p:sldMasterIdLst>
  <p:notesMasterIdLst>
    <p:notesMasterId r:id="rId118"/>
  </p:notesMasterIdLst>
  <p:sldIdLst>
    <p:sldId id="288" r:id="rId14"/>
    <p:sldId id="289" r:id="rId15"/>
    <p:sldId id="290" r:id="rId16"/>
    <p:sldId id="291" r:id="rId17"/>
    <p:sldId id="292" r:id="rId18"/>
    <p:sldId id="293" r:id="rId19"/>
    <p:sldId id="294" r:id="rId20"/>
    <p:sldId id="295" r:id="rId21"/>
    <p:sldId id="296" r:id="rId22"/>
    <p:sldId id="256" r:id="rId23"/>
    <p:sldId id="257" r:id="rId24"/>
    <p:sldId id="259" r:id="rId25"/>
    <p:sldId id="258" r:id="rId26"/>
    <p:sldId id="260" r:id="rId27"/>
    <p:sldId id="261" r:id="rId28"/>
    <p:sldId id="262" r:id="rId29"/>
    <p:sldId id="265" r:id="rId30"/>
    <p:sldId id="264" r:id="rId31"/>
    <p:sldId id="266" r:id="rId32"/>
    <p:sldId id="267" r:id="rId33"/>
    <p:sldId id="268" r:id="rId34"/>
    <p:sldId id="269" r:id="rId35"/>
    <p:sldId id="270" r:id="rId36"/>
    <p:sldId id="271" r:id="rId37"/>
    <p:sldId id="272" r:id="rId38"/>
    <p:sldId id="273" r:id="rId39"/>
    <p:sldId id="274" r:id="rId40"/>
    <p:sldId id="275" r:id="rId41"/>
    <p:sldId id="276" r:id="rId42"/>
    <p:sldId id="277" r:id="rId43"/>
    <p:sldId id="278" r:id="rId44"/>
    <p:sldId id="279" r:id="rId45"/>
    <p:sldId id="280" r:id="rId46"/>
    <p:sldId id="281" r:id="rId47"/>
    <p:sldId id="351" r:id="rId48"/>
    <p:sldId id="352" r:id="rId49"/>
    <p:sldId id="282" r:id="rId50"/>
    <p:sldId id="283" r:id="rId51"/>
    <p:sldId id="284" r:id="rId52"/>
    <p:sldId id="285" r:id="rId53"/>
    <p:sldId id="286" r:id="rId54"/>
    <p:sldId id="287" r:id="rId55"/>
    <p:sldId id="353" r:id="rId56"/>
    <p:sldId id="355" r:id="rId57"/>
    <p:sldId id="356" r:id="rId58"/>
    <p:sldId id="357" r:id="rId59"/>
    <p:sldId id="358" r:id="rId60"/>
    <p:sldId id="359" r:id="rId61"/>
    <p:sldId id="360" r:id="rId62"/>
    <p:sldId id="297" r:id="rId63"/>
    <p:sldId id="298" r:id="rId64"/>
    <p:sldId id="299" r:id="rId65"/>
    <p:sldId id="300" r:id="rId66"/>
    <p:sldId id="301" r:id="rId67"/>
    <p:sldId id="302" r:id="rId68"/>
    <p:sldId id="303" r:id="rId69"/>
    <p:sldId id="367" r:id="rId70"/>
    <p:sldId id="304" r:id="rId71"/>
    <p:sldId id="305" r:id="rId72"/>
    <p:sldId id="306" r:id="rId73"/>
    <p:sldId id="307" r:id="rId74"/>
    <p:sldId id="308" r:id="rId75"/>
    <p:sldId id="309" r:id="rId76"/>
    <p:sldId id="310" r:id="rId77"/>
    <p:sldId id="311" r:id="rId78"/>
    <p:sldId id="312" r:id="rId79"/>
    <p:sldId id="313" r:id="rId80"/>
    <p:sldId id="314" r:id="rId81"/>
    <p:sldId id="315" r:id="rId82"/>
    <p:sldId id="316" r:id="rId83"/>
    <p:sldId id="317" r:id="rId84"/>
    <p:sldId id="318" r:id="rId85"/>
    <p:sldId id="319" r:id="rId86"/>
    <p:sldId id="320" r:id="rId87"/>
    <p:sldId id="321" r:id="rId88"/>
    <p:sldId id="322" r:id="rId89"/>
    <p:sldId id="323" r:id="rId90"/>
    <p:sldId id="324" r:id="rId91"/>
    <p:sldId id="325" r:id="rId92"/>
    <p:sldId id="326" r:id="rId93"/>
    <p:sldId id="327" r:id="rId94"/>
    <p:sldId id="328" r:id="rId95"/>
    <p:sldId id="329" r:id="rId96"/>
    <p:sldId id="330" r:id="rId97"/>
    <p:sldId id="331" r:id="rId98"/>
    <p:sldId id="332" r:id="rId99"/>
    <p:sldId id="333" r:id="rId100"/>
    <p:sldId id="334" r:id="rId101"/>
    <p:sldId id="335" r:id="rId102"/>
    <p:sldId id="336" r:id="rId103"/>
    <p:sldId id="337" r:id="rId104"/>
    <p:sldId id="338" r:id="rId105"/>
    <p:sldId id="339" r:id="rId106"/>
    <p:sldId id="340" r:id="rId107"/>
    <p:sldId id="341" r:id="rId108"/>
    <p:sldId id="342" r:id="rId109"/>
    <p:sldId id="343" r:id="rId110"/>
    <p:sldId id="344" r:id="rId111"/>
    <p:sldId id="345" r:id="rId112"/>
    <p:sldId id="346" r:id="rId113"/>
    <p:sldId id="347" r:id="rId114"/>
    <p:sldId id="348" r:id="rId115"/>
    <p:sldId id="349" r:id="rId116"/>
    <p:sldId id="350" r:id="rId11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FF"/>
    <a:srgbClr val="0033CC"/>
    <a:srgbClr val="0066FF"/>
    <a:srgbClr val="FF0000"/>
    <a:srgbClr val="0099FF"/>
    <a:srgbClr val="FF0066"/>
    <a:srgbClr val="000000"/>
    <a:srgbClr val="45B4B3"/>
    <a:srgbClr val="2F713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napToObjects="1">
      <p:cViewPr>
        <p:scale>
          <a:sx n="75" d="100"/>
          <a:sy n="75" d="100"/>
        </p:scale>
        <p:origin x="-1014" y="-7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3.xml"/><Relationship Id="rId117" Type="http://schemas.openxmlformats.org/officeDocument/2006/relationships/slide" Target="slides/slide104.xml"/><Relationship Id="rId21" Type="http://schemas.openxmlformats.org/officeDocument/2006/relationships/slide" Target="slides/slide8.xml"/><Relationship Id="rId42" Type="http://schemas.openxmlformats.org/officeDocument/2006/relationships/slide" Target="slides/slide29.xml"/><Relationship Id="rId47" Type="http://schemas.openxmlformats.org/officeDocument/2006/relationships/slide" Target="slides/slide34.xml"/><Relationship Id="rId63" Type="http://schemas.openxmlformats.org/officeDocument/2006/relationships/slide" Target="slides/slide50.xml"/><Relationship Id="rId68" Type="http://schemas.openxmlformats.org/officeDocument/2006/relationships/slide" Target="slides/slide55.xml"/><Relationship Id="rId84" Type="http://schemas.openxmlformats.org/officeDocument/2006/relationships/slide" Target="slides/slide71.xml"/><Relationship Id="rId89" Type="http://schemas.openxmlformats.org/officeDocument/2006/relationships/slide" Target="slides/slide76.xml"/><Relationship Id="rId112" Type="http://schemas.openxmlformats.org/officeDocument/2006/relationships/slide" Target="slides/slide99.xml"/><Relationship Id="rId16" Type="http://schemas.openxmlformats.org/officeDocument/2006/relationships/slide" Target="slides/slide3.xml"/><Relationship Id="rId107" Type="http://schemas.openxmlformats.org/officeDocument/2006/relationships/slide" Target="slides/slide94.xml"/><Relationship Id="rId11" Type="http://schemas.openxmlformats.org/officeDocument/2006/relationships/slideMaster" Target="slideMasters/slideMaster11.xml"/><Relationship Id="rId32" Type="http://schemas.openxmlformats.org/officeDocument/2006/relationships/slide" Target="slides/slide19.xml"/><Relationship Id="rId37" Type="http://schemas.openxmlformats.org/officeDocument/2006/relationships/slide" Target="slides/slide24.xml"/><Relationship Id="rId53" Type="http://schemas.openxmlformats.org/officeDocument/2006/relationships/slide" Target="slides/slide40.xml"/><Relationship Id="rId58" Type="http://schemas.openxmlformats.org/officeDocument/2006/relationships/slide" Target="slides/slide45.xml"/><Relationship Id="rId74" Type="http://schemas.openxmlformats.org/officeDocument/2006/relationships/slide" Target="slides/slide61.xml"/><Relationship Id="rId79" Type="http://schemas.openxmlformats.org/officeDocument/2006/relationships/slide" Target="slides/slide66.xml"/><Relationship Id="rId102" Type="http://schemas.openxmlformats.org/officeDocument/2006/relationships/slide" Target="slides/slide89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48.xml"/><Relationship Id="rId82" Type="http://schemas.openxmlformats.org/officeDocument/2006/relationships/slide" Target="slides/slide69.xml"/><Relationship Id="rId90" Type="http://schemas.openxmlformats.org/officeDocument/2006/relationships/slide" Target="slides/slide77.xml"/><Relationship Id="rId95" Type="http://schemas.openxmlformats.org/officeDocument/2006/relationships/slide" Target="slides/slide82.xml"/><Relationship Id="rId19" Type="http://schemas.openxmlformats.org/officeDocument/2006/relationships/slide" Target="slides/slide6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slide" Target="slides/slide17.xml"/><Relationship Id="rId35" Type="http://schemas.openxmlformats.org/officeDocument/2006/relationships/slide" Target="slides/slide22.xml"/><Relationship Id="rId43" Type="http://schemas.openxmlformats.org/officeDocument/2006/relationships/slide" Target="slides/slide30.xml"/><Relationship Id="rId48" Type="http://schemas.openxmlformats.org/officeDocument/2006/relationships/slide" Target="slides/slide35.xml"/><Relationship Id="rId56" Type="http://schemas.openxmlformats.org/officeDocument/2006/relationships/slide" Target="slides/slide43.xml"/><Relationship Id="rId64" Type="http://schemas.openxmlformats.org/officeDocument/2006/relationships/slide" Target="slides/slide51.xml"/><Relationship Id="rId69" Type="http://schemas.openxmlformats.org/officeDocument/2006/relationships/slide" Target="slides/slide56.xml"/><Relationship Id="rId77" Type="http://schemas.openxmlformats.org/officeDocument/2006/relationships/slide" Target="slides/slide64.xml"/><Relationship Id="rId100" Type="http://schemas.openxmlformats.org/officeDocument/2006/relationships/slide" Target="slides/slide87.xml"/><Relationship Id="rId105" Type="http://schemas.openxmlformats.org/officeDocument/2006/relationships/slide" Target="slides/slide92.xml"/><Relationship Id="rId113" Type="http://schemas.openxmlformats.org/officeDocument/2006/relationships/slide" Target="slides/slide100.xml"/><Relationship Id="rId118" Type="http://schemas.openxmlformats.org/officeDocument/2006/relationships/notesMaster" Target="notesMasters/notesMaster1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8.xml"/><Relationship Id="rId72" Type="http://schemas.openxmlformats.org/officeDocument/2006/relationships/slide" Target="slides/slide59.xml"/><Relationship Id="rId80" Type="http://schemas.openxmlformats.org/officeDocument/2006/relationships/slide" Target="slides/slide67.xml"/><Relationship Id="rId85" Type="http://schemas.openxmlformats.org/officeDocument/2006/relationships/slide" Target="slides/slide72.xml"/><Relationship Id="rId93" Type="http://schemas.openxmlformats.org/officeDocument/2006/relationships/slide" Target="slides/slide80.xml"/><Relationship Id="rId98" Type="http://schemas.openxmlformats.org/officeDocument/2006/relationships/slide" Target="slides/slide85.xml"/><Relationship Id="rId121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slide" Target="slides/slide20.xml"/><Relationship Id="rId38" Type="http://schemas.openxmlformats.org/officeDocument/2006/relationships/slide" Target="slides/slide25.xml"/><Relationship Id="rId46" Type="http://schemas.openxmlformats.org/officeDocument/2006/relationships/slide" Target="slides/slide33.xml"/><Relationship Id="rId59" Type="http://schemas.openxmlformats.org/officeDocument/2006/relationships/slide" Target="slides/slide46.xml"/><Relationship Id="rId67" Type="http://schemas.openxmlformats.org/officeDocument/2006/relationships/slide" Target="slides/slide54.xml"/><Relationship Id="rId103" Type="http://schemas.openxmlformats.org/officeDocument/2006/relationships/slide" Target="slides/slide90.xml"/><Relationship Id="rId108" Type="http://schemas.openxmlformats.org/officeDocument/2006/relationships/slide" Target="slides/slide95.xml"/><Relationship Id="rId116" Type="http://schemas.openxmlformats.org/officeDocument/2006/relationships/slide" Target="slides/slide103.xml"/><Relationship Id="rId20" Type="http://schemas.openxmlformats.org/officeDocument/2006/relationships/slide" Target="slides/slide7.xml"/><Relationship Id="rId41" Type="http://schemas.openxmlformats.org/officeDocument/2006/relationships/slide" Target="slides/slide28.xml"/><Relationship Id="rId54" Type="http://schemas.openxmlformats.org/officeDocument/2006/relationships/slide" Target="slides/slide41.xml"/><Relationship Id="rId62" Type="http://schemas.openxmlformats.org/officeDocument/2006/relationships/slide" Target="slides/slide49.xml"/><Relationship Id="rId70" Type="http://schemas.openxmlformats.org/officeDocument/2006/relationships/slide" Target="slides/slide57.xml"/><Relationship Id="rId75" Type="http://schemas.openxmlformats.org/officeDocument/2006/relationships/slide" Target="slides/slide62.xml"/><Relationship Id="rId83" Type="http://schemas.openxmlformats.org/officeDocument/2006/relationships/slide" Target="slides/slide70.xml"/><Relationship Id="rId88" Type="http://schemas.openxmlformats.org/officeDocument/2006/relationships/slide" Target="slides/slide75.xml"/><Relationship Id="rId91" Type="http://schemas.openxmlformats.org/officeDocument/2006/relationships/slide" Target="slides/slide78.xml"/><Relationship Id="rId96" Type="http://schemas.openxmlformats.org/officeDocument/2006/relationships/slide" Target="slides/slide83.xml"/><Relationship Id="rId111" Type="http://schemas.openxmlformats.org/officeDocument/2006/relationships/slide" Target="slides/slide98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36" Type="http://schemas.openxmlformats.org/officeDocument/2006/relationships/slide" Target="slides/slide23.xml"/><Relationship Id="rId49" Type="http://schemas.openxmlformats.org/officeDocument/2006/relationships/slide" Target="slides/slide36.xml"/><Relationship Id="rId57" Type="http://schemas.openxmlformats.org/officeDocument/2006/relationships/slide" Target="slides/slide44.xml"/><Relationship Id="rId106" Type="http://schemas.openxmlformats.org/officeDocument/2006/relationships/slide" Target="slides/slide93.xml"/><Relationship Id="rId114" Type="http://schemas.openxmlformats.org/officeDocument/2006/relationships/slide" Target="slides/slide101.xml"/><Relationship Id="rId119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18.xml"/><Relationship Id="rId44" Type="http://schemas.openxmlformats.org/officeDocument/2006/relationships/slide" Target="slides/slide31.xml"/><Relationship Id="rId52" Type="http://schemas.openxmlformats.org/officeDocument/2006/relationships/slide" Target="slides/slide39.xml"/><Relationship Id="rId60" Type="http://schemas.openxmlformats.org/officeDocument/2006/relationships/slide" Target="slides/slide47.xml"/><Relationship Id="rId65" Type="http://schemas.openxmlformats.org/officeDocument/2006/relationships/slide" Target="slides/slide52.xml"/><Relationship Id="rId73" Type="http://schemas.openxmlformats.org/officeDocument/2006/relationships/slide" Target="slides/slide60.xml"/><Relationship Id="rId78" Type="http://schemas.openxmlformats.org/officeDocument/2006/relationships/slide" Target="slides/slide65.xml"/><Relationship Id="rId81" Type="http://schemas.openxmlformats.org/officeDocument/2006/relationships/slide" Target="slides/slide68.xml"/><Relationship Id="rId86" Type="http://schemas.openxmlformats.org/officeDocument/2006/relationships/slide" Target="slides/slide73.xml"/><Relationship Id="rId94" Type="http://schemas.openxmlformats.org/officeDocument/2006/relationships/slide" Target="slides/slide81.xml"/><Relationship Id="rId99" Type="http://schemas.openxmlformats.org/officeDocument/2006/relationships/slide" Target="slides/slide86.xml"/><Relationship Id="rId101" Type="http://schemas.openxmlformats.org/officeDocument/2006/relationships/slide" Target="slides/slide88.xml"/><Relationship Id="rId122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5.xml"/><Relationship Id="rId39" Type="http://schemas.openxmlformats.org/officeDocument/2006/relationships/slide" Target="slides/slide26.xml"/><Relationship Id="rId109" Type="http://schemas.openxmlformats.org/officeDocument/2006/relationships/slide" Target="slides/slide96.xml"/><Relationship Id="rId34" Type="http://schemas.openxmlformats.org/officeDocument/2006/relationships/slide" Target="slides/slide21.xml"/><Relationship Id="rId50" Type="http://schemas.openxmlformats.org/officeDocument/2006/relationships/slide" Target="slides/slide37.xml"/><Relationship Id="rId55" Type="http://schemas.openxmlformats.org/officeDocument/2006/relationships/slide" Target="slides/slide42.xml"/><Relationship Id="rId76" Type="http://schemas.openxmlformats.org/officeDocument/2006/relationships/slide" Target="slides/slide63.xml"/><Relationship Id="rId97" Type="http://schemas.openxmlformats.org/officeDocument/2006/relationships/slide" Target="slides/slide84.xml"/><Relationship Id="rId104" Type="http://schemas.openxmlformats.org/officeDocument/2006/relationships/slide" Target="slides/slide91.xml"/><Relationship Id="rId120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58.xml"/><Relationship Id="rId92" Type="http://schemas.openxmlformats.org/officeDocument/2006/relationships/slide" Target="slides/slide79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16.xml"/><Relationship Id="rId24" Type="http://schemas.openxmlformats.org/officeDocument/2006/relationships/slide" Target="slides/slide11.xml"/><Relationship Id="rId40" Type="http://schemas.openxmlformats.org/officeDocument/2006/relationships/slide" Target="slides/slide27.xml"/><Relationship Id="rId45" Type="http://schemas.openxmlformats.org/officeDocument/2006/relationships/slide" Target="slides/slide32.xml"/><Relationship Id="rId66" Type="http://schemas.openxmlformats.org/officeDocument/2006/relationships/slide" Target="slides/slide53.xml"/><Relationship Id="rId87" Type="http://schemas.openxmlformats.org/officeDocument/2006/relationships/slide" Target="slides/slide74.xml"/><Relationship Id="rId110" Type="http://schemas.openxmlformats.org/officeDocument/2006/relationships/slide" Target="slides/slide97.xml"/><Relationship Id="rId115" Type="http://schemas.openxmlformats.org/officeDocument/2006/relationships/slide" Target="slides/slide10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12700">
              <a:solidFill>
                <a:schemeClr val="bg1"/>
              </a:solidFill>
            </a:ln>
          </c:spPr>
          <c:dPt>
            <c:idx val="0"/>
            <c:bubble3D val="0"/>
            <c:spPr>
              <a:gradFill flip="none" rotWithShape="1">
                <a:gsLst>
                  <a:gs pos="0">
                    <a:srgbClr val="55BE5A"/>
                  </a:gs>
                  <a:gs pos="100000">
                    <a:schemeClr val="accent6">
                      <a:alpha val="0"/>
                    </a:schemeClr>
                  </a:gs>
                </a:gsLst>
                <a:lin ang="13500000" scaled="0"/>
                <a:tileRect/>
              </a:gradFill>
              <a:ln w="12700">
                <a:noFill/>
              </a:ln>
              <a:effectLst/>
            </c:spPr>
          </c:dPt>
          <c:dPt>
            <c:idx val="1"/>
            <c:bubble3D val="0"/>
            <c:spPr>
              <a:gradFill flip="none" rotWithShape="1">
                <a:gsLst>
                  <a:gs pos="0">
                    <a:srgbClr val="E61400"/>
                  </a:gs>
                  <a:gs pos="100000">
                    <a:schemeClr val="accent3">
                      <a:alpha val="0"/>
                    </a:schemeClr>
                  </a:gs>
                </a:gsLst>
                <a:lin ang="18900000" scaled="0"/>
                <a:tileRect/>
              </a:gradFill>
              <a:ln w="12700">
                <a:noFill/>
              </a:ln>
              <a:effectLst/>
            </c:spPr>
          </c:dPt>
          <c:dPt>
            <c:idx val="2"/>
            <c:bubble3D val="0"/>
            <c:spPr>
              <a:gradFill flip="none" rotWithShape="1">
                <a:gsLst>
                  <a:gs pos="0">
                    <a:srgbClr val="41B9E6"/>
                  </a:gs>
                  <a:gs pos="100000">
                    <a:schemeClr val="accent2">
                      <a:alpha val="0"/>
                    </a:schemeClr>
                  </a:gs>
                </a:gsLst>
                <a:lin ang="2700000" scaled="0"/>
                <a:tileRect/>
              </a:gradFill>
              <a:ln w="12700">
                <a:noFill/>
              </a:ln>
              <a:effectLst/>
            </c:spPr>
          </c:dPt>
          <c:dPt>
            <c:idx val="3"/>
            <c:bubble3D val="0"/>
            <c:spPr>
              <a:gradFill flip="none" rotWithShape="1">
                <a:gsLst>
                  <a:gs pos="0">
                    <a:srgbClr val="0555E6"/>
                  </a:gs>
                  <a:gs pos="100000">
                    <a:schemeClr val="accent1">
                      <a:alpha val="0"/>
                    </a:schemeClr>
                  </a:gs>
                </a:gsLst>
                <a:lin ang="7200000" scaled="0"/>
                <a:tileRect/>
              </a:gradFill>
              <a:ln w="12700">
                <a:noFill/>
              </a:ln>
              <a:effectLst/>
            </c:spPr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5</c:v>
                </c:pt>
                <c:pt idx="1">
                  <c:v>25</c:v>
                </c:pt>
                <c:pt idx="2">
                  <c:v>25</c:v>
                </c:pt>
                <c:pt idx="3">
                  <c:v>2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90"/>
      </c:doughnutChart>
      <c:spPr>
        <a:noFill/>
        <a:ln w="25400"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6_3">
  <dgm:title val=""/>
  <dgm:desc val=""/>
  <dgm:catLst>
    <dgm:cat type="accent6" pri="11300"/>
  </dgm:catLst>
  <dgm:styleLbl name="node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shade val="80000"/>
      </a:schemeClr>
      <a:schemeClr val="accent6">
        <a:tint val="7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/>
    <dgm:txEffectClrLst/>
  </dgm:styleLbl>
  <dgm:styleLbl name="ln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9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8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55A06D1-752A-4C9C-A936-474DEE46C280}" type="doc">
      <dgm:prSet loTypeId="urn:microsoft.com/office/officeart/2005/8/layout/pyramid3" loCatId="pyramid" qsTypeId="urn:microsoft.com/office/officeart/2005/8/quickstyle/simple1" qsCatId="simple" csTypeId="urn:microsoft.com/office/officeart/2005/8/colors/colorful1" csCatId="colorful" phldr="1"/>
      <dgm:spPr/>
    </dgm:pt>
    <dgm:pt modelId="{2FF0BD1D-3D12-40E1-9B1B-9FCC75F4D6E7}">
      <dgm:prSet phldrT="[Text]" custT="1"/>
      <dgm:spPr/>
      <dgm:t>
        <a:bodyPr/>
        <a:lstStyle/>
        <a:p>
          <a:r>
            <a:rPr lang="ru-RU" sz="3200" dirty="0" smtClean="0">
              <a:solidFill>
                <a:schemeClr val="bg1"/>
              </a:solidFill>
              <a:latin typeface="+mj-lt"/>
            </a:rPr>
            <a:t>70</a:t>
          </a:r>
          <a:endParaRPr lang="ru-RU" sz="3200" dirty="0">
            <a:solidFill>
              <a:schemeClr val="bg1"/>
            </a:solidFill>
            <a:latin typeface="+mj-lt"/>
          </a:endParaRPr>
        </a:p>
      </dgm:t>
    </dgm:pt>
    <dgm:pt modelId="{A8460841-41E2-4BC4-913F-BBBEBF099997}" type="parTrans" cxnId="{2BC03F06-34BF-468D-9F6D-DF2929EAA077}">
      <dgm:prSet/>
      <dgm:spPr/>
      <dgm:t>
        <a:bodyPr/>
        <a:lstStyle/>
        <a:p>
          <a:endParaRPr lang="ru-RU"/>
        </a:p>
      </dgm:t>
    </dgm:pt>
    <dgm:pt modelId="{FAFE1225-6F26-4FA2-858E-61AA5F744CED}" type="sibTrans" cxnId="{2BC03F06-34BF-468D-9F6D-DF2929EAA077}">
      <dgm:prSet/>
      <dgm:spPr/>
      <dgm:t>
        <a:bodyPr/>
        <a:lstStyle/>
        <a:p>
          <a:endParaRPr lang="ru-RU"/>
        </a:p>
      </dgm:t>
    </dgm:pt>
    <dgm:pt modelId="{B75D8E77-A91B-4534-8C30-15EAF78BAE2E}">
      <dgm:prSet phldrT="[Text]" custT="1"/>
      <dgm:spPr/>
      <dgm:t>
        <a:bodyPr/>
        <a:lstStyle/>
        <a:p>
          <a:r>
            <a:rPr lang="en-US" sz="3200" dirty="0" smtClean="0">
              <a:solidFill>
                <a:schemeClr val="bg1"/>
              </a:solidFill>
              <a:latin typeface="+mj-lt"/>
            </a:rPr>
            <a:t>1</a:t>
          </a:r>
          <a:r>
            <a:rPr lang="ru-RU" sz="3200" dirty="0" smtClean="0">
              <a:solidFill>
                <a:schemeClr val="bg1"/>
              </a:solidFill>
              <a:latin typeface="+mj-lt"/>
            </a:rPr>
            <a:t>4</a:t>
          </a:r>
          <a:endParaRPr lang="ru-RU" sz="3200" dirty="0">
            <a:solidFill>
              <a:schemeClr val="bg1"/>
            </a:solidFill>
            <a:latin typeface="+mj-lt"/>
          </a:endParaRPr>
        </a:p>
      </dgm:t>
    </dgm:pt>
    <dgm:pt modelId="{292A4DD2-F343-4554-92C5-AE8B78852687}" type="parTrans" cxnId="{F1F54256-B45A-4820-B4D2-3D5CD8C969B9}">
      <dgm:prSet/>
      <dgm:spPr/>
      <dgm:t>
        <a:bodyPr/>
        <a:lstStyle/>
        <a:p>
          <a:endParaRPr lang="ru-RU"/>
        </a:p>
      </dgm:t>
    </dgm:pt>
    <dgm:pt modelId="{86F515C3-0710-4655-9574-3760A3F988D4}" type="sibTrans" cxnId="{F1F54256-B45A-4820-B4D2-3D5CD8C969B9}">
      <dgm:prSet/>
      <dgm:spPr/>
      <dgm:t>
        <a:bodyPr/>
        <a:lstStyle/>
        <a:p>
          <a:endParaRPr lang="ru-RU"/>
        </a:p>
      </dgm:t>
    </dgm:pt>
    <dgm:pt modelId="{648CC5D1-E2FC-442F-996B-4E7D268C7E9A}">
      <dgm:prSet phldrT="[Text]" custT="1"/>
      <dgm:spPr/>
      <dgm:t>
        <a:bodyPr/>
        <a:lstStyle/>
        <a:p>
          <a:r>
            <a:rPr lang="ru-RU" sz="3200" dirty="0" smtClean="0">
              <a:solidFill>
                <a:schemeClr val="bg1"/>
              </a:solidFill>
              <a:latin typeface="+mj-lt"/>
            </a:rPr>
            <a:t>4</a:t>
          </a:r>
          <a:endParaRPr lang="ru-RU" sz="3200" dirty="0">
            <a:solidFill>
              <a:schemeClr val="bg1"/>
            </a:solidFill>
            <a:latin typeface="+mj-lt"/>
          </a:endParaRPr>
        </a:p>
      </dgm:t>
    </dgm:pt>
    <dgm:pt modelId="{2D8AFFF3-C7BB-4FE4-BC6D-6A05528810B8}" type="parTrans" cxnId="{C68CAF2F-A45E-489E-BD48-F7D83D8F54AD}">
      <dgm:prSet/>
      <dgm:spPr/>
      <dgm:t>
        <a:bodyPr/>
        <a:lstStyle/>
        <a:p>
          <a:endParaRPr lang="ru-RU"/>
        </a:p>
      </dgm:t>
    </dgm:pt>
    <dgm:pt modelId="{2FEF1A31-01A6-4EF1-81F9-C7FB85CEB43C}" type="sibTrans" cxnId="{C68CAF2F-A45E-489E-BD48-F7D83D8F54AD}">
      <dgm:prSet/>
      <dgm:spPr/>
      <dgm:t>
        <a:bodyPr/>
        <a:lstStyle/>
        <a:p>
          <a:endParaRPr lang="ru-RU"/>
        </a:p>
      </dgm:t>
    </dgm:pt>
    <dgm:pt modelId="{9B13462E-DFDD-433E-9457-2A9E078A5305}">
      <dgm:prSet custT="1"/>
      <dgm:spPr/>
      <dgm:t>
        <a:bodyPr/>
        <a:lstStyle/>
        <a:p>
          <a:r>
            <a:rPr lang="ru-RU" sz="3200" dirty="0" smtClean="0">
              <a:solidFill>
                <a:schemeClr val="bg1"/>
              </a:solidFill>
              <a:latin typeface="+mj-lt"/>
            </a:rPr>
            <a:t>43</a:t>
          </a:r>
          <a:endParaRPr lang="ru-RU" sz="3200" dirty="0">
            <a:solidFill>
              <a:schemeClr val="bg1"/>
            </a:solidFill>
            <a:latin typeface="+mj-lt"/>
          </a:endParaRPr>
        </a:p>
      </dgm:t>
    </dgm:pt>
    <dgm:pt modelId="{1CA16D57-5E4F-4C8D-A7BD-D7A193BEE8DC}" type="parTrans" cxnId="{86248DB9-75CA-437F-9A04-045C436253ED}">
      <dgm:prSet/>
      <dgm:spPr/>
      <dgm:t>
        <a:bodyPr/>
        <a:lstStyle/>
        <a:p>
          <a:endParaRPr lang="ru-RU"/>
        </a:p>
      </dgm:t>
    </dgm:pt>
    <dgm:pt modelId="{8F73694F-A63A-4B09-893D-0180429E512D}" type="sibTrans" cxnId="{86248DB9-75CA-437F-9A04-045C436253ED}">
      <dgm:prSet/>
      <dgm:spPr/>
      <dgm:t>
        <a:bodyPr/>
        <a:lstStyle/>
        <a:p>
          <a:endParaRPr lang="ru-RU"/>
        </a:p>
      </dgm:t>
    </dgm:pt>
    <dgm:pt modelId="{048F3C55-742C-40FD-BC20-EE126D831A83}" type="pres">
      <dgm:prSet presAssocID="{955A06D1-752A-4C9C-A936-474DEE46C280}" presName="Name0" presStyleCnt="0">
        <dgm:presLayoutVars>
          <dgm:dir/>
          <dgm:animLvl val="lvl"/>
          <dgm:resizeHandles val="exact"/>
        </dgm:presLayoutVars>
      </dgm:prSet>
      <dgm:spPr/>
    </dgm:pt>
    <dgm:pt modelId="{D6F632E3-611D-433B-A7C8-4EC697169960}" type="pres">
      <dgm:prSet presAssocID="{2FF0BD1D-3D12-40E1-9B1B-9FCC75F4D6E7}" presName="Name8" presStyleCnt="0"/>
      <dgm:spPr/>
    </dgm:pt>
    <dgm:pt modelId="{44625098-23CA-4024-A47F-9B4A26B6DA78}" type="pres">
      <dgm:prSet presAssocID="{2FF0BD1D-3D12-40E1-9B1B-9FCC75F4D6E7}" presName="level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5897BAF-2DA9-46C2-95A5-CF278F228BC1}" type="pres">
      <dgm:prSet presAssocID="{2FF0BD1D-3D12-40E1-9B1B-9FCC75F4D6E7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6F692A1-C3A5-45AA-A3F3-B10D89467614}" type="pres">
      <dgm:prSet presAssocID="{9B13462E-DFDD-433E-9457-2A9E078A5305}" presName="Name8" presStyleCnt="0"/>
      <dgm:spPr/>
    </dgm:pt>
    <dgm:pt modelId="{03961BD7-8D17-4A91-9AFF-E9492BA3785E}" type="pres">
      <dgm:prSet presAssocID="{9B13462E-DFDD-433E-9457-2A9E078A5305}" presName="level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A024B6E-6A77-4711-BF83-24E015A1F52B}" type="pres">
      <dgm:prSet presAssocID="{9B13462E-DFDD-433E-9457-2A9E078A5305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AEE14DC-EB77-4C20-BDD4-F8E6E4AE5BDF}" type="pres">
      <dgm:prSet presAssocID="{B75D8E77-A91B-4534-8C30-15EAF78BAE2E}" presName="Name8" presStyleCnt="0"/>
      <dgm:spPr/>
    </dgm:pt>
    <dgm:pt modelId="{76AE6601-5FF4-4113-8D7A-AB99F0689294}" type="pres">
      <dgm:prSet presAssocID="{B75D8E77-A91B-4534-8C30-15EAF78BAE2E}" presName="level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2CA2B18-9B91-4DA8-94D6-944F4CBAEFF4}" type="pres">
      <dgm:prSet presAssocID="{B75D8E77-A91B-4534-8C30-15EAF78BAE2E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4CE5862-B0A6-412F-83B4-BC04754EB42C}" type="pres">
      <dgm:prSet presAssocID="{648CC5D1-E2FC-442F-996B-4E7D268C7E9A}" presName="Name8" presStyleCnt="0"/>
      <dgm:spPr/>
    </dgm:pt>
    <dgm:pt modelId="{2F315E29-8A7D-48D8-A4A2-EAB013810DD5}" type="pres">
      <dgm:prSet presAssocID="{648CC5D1-E2FC-442F-996B-4E7D268C7E9A}" presName="level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6E91CB3-33A7-4A9A-B967-53B025555180}" type="pres">
      <dgm:prSet presAssocID="{648CC5D1-E2FC-442F-996B-4E7D268C7E9A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BC03F06-34BF-468D-9F6D-DF2929EAA077}" srcId="{955A06D1-752A-4C9C-A936-474DEE46C280}" destId="{2FF0BD1D-3D12-40E1-9B1B-9FCC75F4D6E7}" srcOrd="0" destOrd="0" parTransId="{A8460841-41E2-4BC4-913F-BBBEBF099997}" sibTransId="{FAFE1225-6F26-4FA2-858E-61AA5F744CED}"/>
    <dgm:cxn modelId="{C68CAF2F-A45E-489E-BD48-F7D83D8F54AD}" srcId="{955A06D1-752A-4C9C-A936-474DEE46C280}" destId="{648CC5D1-E2FC-442F-996B-4E7D268C7E9A}" srcOrd="3" destOrd="0" parTransId="{2D8AFFF3-C7BB-4FE4-BC6D-6A05528810B8}" sibTransId="{2FEF1A31-01A6-4EF1-81F9-C7FB85CEB43C}"/>
    <dgm:cxn modelId="{93F6F226-92F1-2041-83F1-2613DDFB8E29}" type="presOf" srcId="{955A06D1-752A-4C9C-A936-474DEE46C280}" destId="{048F3C55-742C-40FD-BC20-EE126D831A83}" srcOrd="0" destOrd="0" presId="urn:microsoft.com/office/officeart/2005/8/layout/pyramid3"/>
    <dgm:cxn modelId="{86248DB9-75CA-437F-9A04-045C436253ED}" srcId="{955A06D1-752A-4C9C-A936-474DEE46C280}" destId="{9B13462E-DFDD-433E-9457-2A9E078A5305}" srcOrd="1" destOrd="0" parTransId="{1CA16D57-5E4F-4C8D-A7BD-D7A193BEE8DC}" sibTransId="{8F73694F-A63A-4B09-893D-0180429E512D}"/>
    <dgm:cxn modelId="{49DC86F4-3053-7949-911A-793B352EEE5B}" type="presOf" srcId="{B75D8E77-A91B-4534-8C30-15EAF78BAE2E}" destId="{82CA2B18-9B91-4DA8-94D6-944F4CBAEFF4}" srcOrd="1" destOrd="0" presId="urn:microsoft.com/office/officeart/2005/8/layout/pyramid3"/>
    <dgm:cxn modelId="{4257920D-6C11-344E-A088-FECEE51B2E95}" type="presOf" srcId="{648CC5D1-E2FC-442F-996B-4E7D268C7E9A}" destId="{06E91CB3-33A7-4A9A-B967-53B025555180}" srcOrd="1" destOrd="0" presId="urn:microsoft.com/office/officeart/2005/8/layout/pyramid3"/>
    <dgm:cxn modelId="{5A980CED-2C9C-264E-8987-21C58CA138C7}" type="presOf" srcId="{2FF0BD1D-3D12-40E1-9B1B-9FCC75F4D6E7}" destId="{44625098-23CA-4024-A47F-9B4A26B6DA78}" srcOrd="0" destOrd="0" presId="urn:microsoft.com/office/officeart/2005/8/layout/pyramid3"/>
    <dgm:cxn modelId="{3595140C-65AC-E64C-AACF-B62974F3554B}" type="presOf" srcId="{648CC5D1-E2FC-442F-996B-4E7D268C7E9A}" destId="{2F315E29-8A7D-48D8-A4A2-EAB013810DD5}" srcOrd="0" destOrd="0" presId="urn:microsoft.com/office/officeart/2005/8/layout/pyramid3"/>
    <dgm:cxn modelId="{A354A7CC-AC85-D840-BB49-B4022BCE03F7}" type="presOf" srcId="{2FF0BD1D-3D12-40E1-9B1B-9FCC75F4D6E7}" destId="{55897BAF-2DA9-46C2-95A5-CF278F228BC1}" srcOrd="1" destOrd="0" presId="urn:microsoft.com/office/officeart/2005/8/layout/pyramid3"/>
    <dgm:cxn modelId="{89572B7F-DADC-0245-BA54-ACF4CF901E2C}" type="presOf" srcId="{B75D8E77-A91B-4534-8C30-15EAF78BAE2E}" destId="{76AE6601-5FF4-4113-8D7A-AB99F0689294}" srcOrd="0" destOrd="0" presId="urn:microsoft.com/office/officeart/2005/8/layout/pyramid3"/>
    <dgm:cxn modelId="{35F536E1-BB59-1340-AA30-37FCDBF2B2A6}" type="presOf" srcId="{9B13462E-DFDD-433E-9457-2A9E078A5305}" destId="{0A024B6E-6A77-4711-BF83-24E015A1F52B}" srcOrd="1" destOrd="0" presId="urn:microsoft.com/office/officeart/2005/8/layout/pyramid3"/>
    <dgm:cxn modelId="{F1F54256-B45A-4820-B4D2-3D5CD8C969B9}" srcId="{955A06D1-752A-4C9C-A936-474DEE46C280}" destId="{B75D8E77-A91B-4534-8C30-15EAF78BAE2E}" srcOrd="2" destOrd="0" parTransId="{292A4DD2-F343-4554-92C5-AE8B78852687}" sibTransId="{86F515C3-0710-4655-9574-3760A3F988D4}"/>
    <dgm:cxn modelId="{2C9AFC6B-F9E5-F247-B621-F2B8950784D2}" type="presOf" srcId="{9B13462E-DFDD-433E-9457-2A9E078A5305}" destId="{03961BD7-8D17-4A91-9AFF-E9492BA3785E}" srcOrd="0" destOrd="0" presId="urn:microsoft.com/office/officeart/2005/8/layout/pyramid3"/>
    <dgm:cxn modelId="{BCFD27EF-6443-2C4D-A60B-CBB49423338D}" type="presParOf" srcId="{048F3C55-742C-40FD-BC20-EE126D831A83}" destId="{D6F632E3-611D-433B-A7C8-4EC697169960}" srcOrd="0" destOrd="0" presId="urn:microsoft.com/office/officeart/2005/8/layout/pyramid3"/>
    <dgm:cxn modelId="{3644715D-7501-C642-98A5-BC1B17294239}" type="presParOf" srcId="{D6F632E3-611D-433B-A7C8-4EC697169960}" destId="{44625098-23CA-4024-A47F-9B4A26B6DA78}" srcOrd="0" destOrd="0" presId="urn:microsoft.com/office/officeart/2005/8/layout/pyramid3"/>
    <dgm:cxn modelId="{EAAD7B8D-65F3-8D46-803A-2A5B100901BB}" type="presParOf" srcId="{D6F632E3-611D-433B-A7C8-4EC697169960}" destId="{55897BAF-2DA9-46C2-95A5-CF278F228BC1}" srcOrd="1" destOrd="0" presId="urn:microsoft.com/office/officeart/2005/8/layout/pyramid3"/>
    <dgm:cxn modelId="{67880DA8-6685-094A-B486-2D84AB45CF4C}" type="presParOf" srcId="{048F3C55-742C-40FD-BC20-EE126D831A83}" destId="{96F692A1-C3A5-45AA-A3F3-B10D89467614}" srcOrd="1" destOrd="0" presId="urn:microsoft.com/office/officeart/2005/8/layout/pyramid3"/>
    <dgm:cxn modelId="{363A414D-C3E0-CF47-AF52-CE9E2E734254}" type="presParOf" srcId="{96F692A1-C3A5-45AA-A3F3-B10D89467614}" destId="{03961BD7-8D17-4A91-9AFF-E9492BA3785E}" srcOrd="0" destOrd="0" presId="urn:microsoft.com/office/officeart/2005/8/layout/pyramid3"/>
    <dgm:cxn modelId="{EAEAA8E8-1FCC-884D-8030-240D80AFB2F4}" type="presParOf" srcId="{96F692A1-C3A5-45AA-A3F3-B10D89467614}" destId="{0A024B6E-6A77-4711-BF83-24E015A1F52B}" srcOrd="1" destOrd="0" presId="urn:microsoft.com/office/officeart/2005/8/layout/pyramid3"/>
    <dgm:cxn modelId="{FFE39265-0C7C-2145-9154-DBAAC93F9CD4}" type="presParOf" srcId="{048F3C55-742C-40FD-BC20-EE126D831A83}" destId="{6AEE14DC-EB77-4C20-BDD4-F8E6E4AE5BDF}" srcOrd="2" destOrd="0" presId="urn:microsoft.com/office/officeart/2005/8/layout/pyramid3"/>
    <dgm:cxn modelId="{91B962A2-8C46-124F-AF94-38AFBC467284}" type="presParOf" srcId="{6AEE14DC-EB77-4C20-BDD4-F8E6E4AE5BDF}" destId="{76AE6601-5FF4-4113-8D7A-AB99F0689294}" srcOrd="0" destOrd="0" presId="urn:microsoft.com/office/officeart/2005/8/layout/pyramid3"/>
    <dgm:cxn modelId="{8B33A311-E65B-C74B-9205-307C5FFE6512}" type="presParOf" srcId="{6AEE14DC-EB77-4C20-BDD4-F8E6E4AE5BDF}" destId="{82CA2B18-9B91-4DA8-94D6-944F4CBAEFF4}" srcOrd="1" destOrd="0" presId="urn:microsoft.com/office/officeart/2005/8/layout/pyramid3"/>
    <dgm:cxn modelId="{8C2B9A60-6850-2849-B441-98702414F4A0}" type="presParOf" srcId="{048F3C55-742C-40FD-BC20-EE126D831A83}" destId="{A4CE5862-B0A6-412F-83B4-BC04754EB42C}" srcOrd="3" destOrd="0" presId="urn:microsoft.com/office/officeart/2005/8/layout/pyramid3"/>
    <dgm:cxn modelId="{61853A2A-D3E3-6547-8CE9-4EEB1062C5C6}" type="presParOf" srcId="{A4CE5862-B0A6-412F-83B4-BC04754EB42C}" destId="{2F315E29-8A7D-48D8-A4A2-EAB013810DD5}" srcOrd="0" destOrd="0" presId="urn:microsoft.com/office/officeart/2005/8/layout/pyramid3"/>
    <dgm:cxn modelId="{77D99E39-1F7A-E247-9AEB-9EFBBB286603}" type="presParOf" srcId="{A4CE5862-B0A6-412F-83B4-BC04754EB42C}" destId="{06E91CB3-33A7-4A9A-B967-53B025555180}" srcOrd="1" destOrd="0" presId="urn:microsoft.com/office/officeart/2005/8/layout/pyramid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617B260-FAFF-4BBA-8C49-F5BE554705A9}" type="doc">
      <dgm:prSet loTypeId="urn:microsoft.com/office/officeart/2008/layout/VerticalCurvedList" loCatId="list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48E7452-5EAB-4617-A2F0-276637C5F431}">
      <dgm:prSet phldrT="[Текст]"/>
      <dgm:spPr/>
      <dgm:t>
        <a:bodyPr/>
        <a:lstStyle/>
        <a:p>
          <a:r>
            <a:rPr lang="ru-RU" dirty="0" smtClean="0"/>
            <a:t>Участие в формировании подхода к аудиту</a:t>
          </a:r>
          <a:endParaRPr lang="ru-RU" dirty="0"/>
        </a:p>
      </dgm:t>
    </dgm:pt>
    <dgm:pt modelId="{1B3C59F4-AB19-497F-AFA4-6D0049240783}" type="parTrans" cxnId="{4BAEF6FD-1A4B-4EC0-81D0-388D8CBD6240}">
      <dgm:prSet/>
      <dgm:spPr/>
      <dgm:t>
        <a:bodyPr/>
        <a:lstStyle/>
        <a:p>
          <a:endParaRPr lang="ru-RU"/>
        </a:p>
      </dgm:t>
    </dgm:pt>
    <dgm:pt modelId="{F12D598A-866C-4C51-A6AA-808EA5BC2EF8}" type="sibTrans" cxnId="{4BAEF6FD-1A4B-4EC0-81D0-388D8CBD6240}">
      <dgm:prSet/>
      <dgm:spPr/>
      <dgm:t>
        <a:bodyPr/>
        <a:lstStyle/>
        <a:p>
          <a:endParaRPr lang="ru-RU"/>
        </a:p>
      </dgm:t>
    </dgm:pt>
    <dgm:pt modelId="{1614966C-CD25-43E6-AF5B-DD90B14EB595}">
      <dgm:prSet phldrT="[Текст]"/>
      <dgm:spPr/>
      <dgm:t>
        <a:bodyPr/>
        <a:lstStyle/>
        <a:p>
          <a:r>
            <a:rPr lang="ru-RU" dirty="0" smtClean="0"/>
            <a:t>Анализ и проверка данных</a:t>
          </a:r>
          <a:endParaRPr lang="ru-RU" dirty="0"/>
        </a:p>
      </dgm:t>
    </dgm:pt>
    <dgm:pt modelId="{DA46D7AF-0A12-4583-AD69-0F3CADA4A85F}" type="parTrans" cxnId="{4BD2D277-5413-47F2-A05F-9D1AF7B0CB7A}">
      <dgm:prSet/>
      <dgm:spPr/>
      <dgm:t>
        <a:bodyPr/>
        <a:lstStyle/>
        <a:p>
          <a:endParaRPr lang="ru-RU"/>
        </a:p>
      </dgm:t>
    </dgm:pt>
    <dgm:pt modelId="{66FFA18D-C0DF-4895-AADD-554EAB786797}" type="sibTrans" cxnId="{4BD2D277-5413-47F2-A05F-9D1AF7B0CB7A}">
      <dgm:prSet/>
      <dgm:spPr/>
      <dgm:t>
        <a:bodyPr/>
        <a:lstStyle/>
        <a:p>
          <a:endParaRPr lang="ru-RU"/>
        </a:p>
      </dgm:t>
    </dgm:pt>
    <dgm:pt modelId="{1F91966B-7AF9-43FA-8994-A377038E0886}">
      <dgm:prSet phldrT="[Текст]"/>
      <dgm:spPr/>
      <dgm:t>
        <a:bodyPr/>
        <a:lstStyle/>
        <a:p>
          <a:r>
            <a:rPr lang="ru-RU" dirty="0" err="1" smtClean="0"/>
            <a:t>Финализация</a:t>
          </a:r>
          <a:r>
            <a:rPr lang="ru-RU" dirty="0" smtClean="0"/>
            <a:t> проектов</a:t>
          </a:r>
          <a:endParaRPr lang="ru-RU" dirty="0"/>
        </a:p>
      </dgm:t>
    </dgm:pt>
    <dgm:pt modelId="{9752FC72-4B79-4F29-82DF-3547A2CAC49F}" type="parTrans" cxnId="{4303FA0E-2D19-42E2-B559-C270665A7656}">
      <dgm:prSet/>
      <dgm:spPr/>
      <dgm:t>
        <a:bodyPr/>
        <a:lstStyle/>
        <a:p>
          <a:endParaRPr lang="ru-RU"/>
        </a:p>
      </dgm:t>
    </dgm:pt>
    <dgm:pt modelId="{11BBE64E-8362-4690-AA05-CF6B66A16B7F}" type="sibTrans" cxnId="{4303FA0E-2D19-42E2-B559-C270665A7656}">
      <dgm:prSet/>
      <dgm:spPr/>
      <dgm:t>
        <a:bodyPr/>
        <a:lstStyle/>
        <a:p>
          <a:endParaRPr lang="ru-RU"/>
        </a:p>
      </dgm:t>
    </dgm:pt>
    <dgm:pt modelId="{99C0F8D3-659F-4961-83B2-262EFB40231B}">
      <dgm:prSet phldrT="[Текст]"/>
      <dgm:spPr/>
      <dgm:t>
        <a:bodyPr/>
        <a:lstStyle/>
        <a:p>
          <a:r>
            <a:rPr lang="ru-RU" dirty="0" smtClean="0"/>
            <a:t>Общение с клиентом</a:t>
          </a:r>
          <a:endParaRPr lang="ru-RU" dirty="0"/>
        </a:p>
      </dgm:t>
    </dgm:pt>
    <dgm:pt modelId="{C8B86229-E127-4414-8FFD-1991B4D3B3CB}" type="parTrans" cxnId="{A5A0CC0A-477B-4DB9-89C2-3406BDFAD6FF}">
      <dgm:prSet/>
      <dgm:spPr/>
      <dgm:t>
        <a:bodyPr/>
        <a:lstStyle/>
        <a:p>
          <a:endParaRPr lang="ru-RU"/>
        </a:p>
      </dgm:t>
    </dgm:pt>
    <dgm:pt modelId="{9279684B-65C2-4119-BA46-D67ED9BD6888}" type="sibTrans" cxnId="{A5A0CC0A-477B-4DB9-89C2-3406BDFAD6FF}">
      <dgm:prSet/>
      <dgm:spPr/>
      <dgm:t>
        <a:bodyPr/>
        <a:lstStyle/>
        <a:p>
          <a:endParaRPr lang="ru-RU"/>
        </a:p>
      </dgm:t>
    </dgm:pt>
    <dgm:pt modelId="{A1F6BD60-97D8-4209-88AA-218856869E9B}" type="pres">
      <dgm:prSet presAssocID="{C617B260-FAFF-4BBA-8C49-F5BE554705A9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799F2614-4F47-4455-AE88-1F30D902E417}" type="pres">
      <dgm:prSet presAssocID="{C617B260-FAFF-4BBA-8C49-F5BE554705A9}" presName="Name1" presStyleCnt="0"/>
      <dgm:spPr/>
    </dgm:pt>
    <dgm:pt modelId="{9862DDDB-FD48-4233-AC21-88DC70AB279E}" type="pres">
      <dgm:prSet presAssocID="{C617B260-FAFF-4BBA-8C49-F5BE554705A9}" presName="cycle" presStyleCnt="0"/>
      <dgm:spPr/>
    </dgm:pt>
    <dgm:pt modelId="{A39C064E-F017-474F-AB74-326ADCE5586C}" type="pres">
      <dgm:prSet presAssocID="{C617B260-FAFF-4BBA-8C49-F5BE554705A9}" presName="srcNode" presStyleLbl="node1" presStyleIdx="0" presStyleCnt="4"/>
      <dgm:spPr/>
    </dgm:pt>
    <dgm:pt modelId="{67218261-7228-4BEE-84D8-FC5D46B987F6}" type="pres">
      <dgm:prSet presAssocID="{C617B260-FAFF-4BBA-8C49-F5BE554705A9}" presName="conn" presStyleLbl="parChTrans1D2" presStyleIdx="0" presStyleCnt="1"/>
      <dgm:spPr/>
      <dgm:t>
        <a:bodyPr/>
        <a:lstStyle/>
        <a:p>
          <a:endParaRPr lang="ru-RU"/>
        </a:p>
      </dgm:t>
    </dgm:pt>
    <dgm:pt modelId="{6502B823-69E8-451D-A75A-757F97DA32FB}" type="pres">
      <dgm:prSet presAssocID="{C617B260-FAFF-4BBA-8C49-F5BE554705A9}" presName="extraNode" presStyleLbl="node1" presStyleIdx="0" presStyleCnt="4"/>
      <dgm:spPr/>
    </dgm:pt>
    <dgm:pt modelId="{3EA28C84-0997-4D06-A60C-B63CC5EFAF74}" type="pres">
      <dgm:prSet presAssocID="{C617B260-FAFF-4BBA-8C49-F5BE554705A9}" presName="dstNode" presStyleLbl="node1" presStyleIdx="0" presStyleCnt="4"/>
      <dgm:spPr/>
    </dgm:pt>
    <dgm:pt modelId="{9805EAFA-9794-4624-8F71-592151037ACF}" type="pres">
      <dgm:prSet presAssocID="{248E7452-5EAB-4617-A2F0-276637C5F431}" presName="text_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ECB36B7-A113-46A4-82F1-8280D2A7FA1B}" type="pres">
      <dgm:prSet presAssocID="{248E7452-5EAB-4617-A2F0-276637C5F431}" presName="accent_1" presStyleCnt="0"/>
      <dgm:spPr/>
    </dgm:pt>
    <dgm:pt modelId="{55D56532-4A7E-456F-A831-A1DD2116A140}" type="pres">
      <dgm:prSet presAssocID="{248E7452-5EAB-4617-A2F0-276637C5F431}" presName="accentRepeatNode" presStyleLbl="solidFgAcc1" presStyleIdx="0" presStyleCnt="4"/>
      <dgm:spPr/>
    </dgm:pt>
    <dgm:pt modelId="{9AE92E11-5E5F-4834-9A5C-9A9A50F19614}" type="pres">
      <dgm:prSet presAssocID="{1614966C-CD25-43E6-AF5B-DD90B14EB595}" presName="text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E21926A-D3A0-4287-A733-0585621A103A}" type="pres">
      <dgm:prSet presAssocID="{1614966C-CD25-43E6-AF5B-DD90B14EB595}" presName="accent_2" presStyleCnt="0"/>
      <dgm:spPr/>
    </dgm:pt>
    <dgm:pt modelId="{AB7C7383-082C-41AD-B77D-77ECD1CB4D36}" type="pres">
      <dgm:prSet presAssocID="{1614966C-CD25-43E6-AF5B-DD90B14EB595}" presName="accentRepeatNode" presStyleLbl="solidFgAcc1" presStyleIdx="1" presStyleCnt="4"/>
      <dgm:spPr/>
    </dgm:pt>
    <dgm:pt modelId="{B8887473-3DA7-4D96-A734-1EFAF578BED1}" type="pres">
      <dgm:prSet presAssocID="{1F91966B-7AF9-43FA-8994-A377038E0886}" presName="text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3F44C7C-226A-48F4-995F-9AEB88318310}" type="pres">
      <dgm:prSet presAssocID="{1F91966B-7AF9-43FA-8994-A377038E0886}" presName="accent_3" presStyleCnt="0"/>
      <dgm:spPr/>
    </dgm:pt>
    <dgm:pt modelId="{E126C500-70D7-4033-8F6F-4D89415BB2D4}" type="pres">
      <dgm:prSet presAssocID="{1F91966B-7AF9-43FA-8994-A377038E0886}" presName="accentRepeatNode" presStyleLbl="solidFgAcc1" presStyleIdx="2" presStyleCnt="4"/>
      <dgm:spPr/>
    </dgm:pt>
    <dgm:pt modelId="{3F5C9CFD-C2CA-4289-B0A9-5EE986AC3279}" type="pres">
      <dgm:prSet presAssocID="{99C0F8D3-659F-4961-83B2-262EFB40231B}" presName="text_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5C22B5F-5B2F-4E4A-9F45-80A079EAEF06}" type="pres">
      <dgm:prSet presAssocID="{99C0F8D3-659F-4961-83B2-262EFB40231B}" presName="accent_4" presStyleCnt="0"/>
      <dgm:spPr/>
    </dgm:pt>
    <dgm:pt modelId="{2B5E32D3-D421-4280-A085-1B13EC985405}" type="pres">
      <dgm:prSet presAssocID="{99C0F8D3-659F-4961-83B2-262EFB40231B}" presName="accentRepeatNode" presStyleLbl="solidFgAcc1" presStyleIdx="3" presStyleCnt="4"/>
      <dgm:spPr/>
    </dgm:pt>
  </dgm:ptLst>
  <dgm:cxnLst>
    <dgm:cxn modelId="{107D6290-2242-D447-A8B1-7A7C2500F858}" type="presOf" srcId="{99C0F8D3-659F-4961-83B2-262EFB40231B}" destId="{3F5C9CFD-C2CA-4289-B0A9-5EE986AC3279}" srcOrd="0" destOrd="0" presId="urn:microsoft.com/office/officeart/2008/layout/VerticalCurvedList"/>
    <dgm:cxn modelId="{11F57549-A87D-7D40-A572-62E1BC934D97}" type="presOf" srcId="{1614966C-CD25-43E6-AF5B-DD90B14EB595}" destId="{9AE92E11-5E5F-4834-9A5C-9A9A50F19614}" srcOrd="0" destOrd="0" presId="urn:microsoft.com/office/officeart/2008/layout/VerticalCurvedList"/>
    <dgm:cxn modelId="{91C65128-B9D9-DB47-AD5F-3340289926F3}" type="presOf" srcId="{1F91966B-7AF9-43FA-8994-A377038E0886}" destId="{B8887473-3DA7-4D96-A734-1EFAF578BED1}" srcOrd="0" destOrd="0" presId="urn:microsoft.com/office/officeart/2008/layout/VerticalCurvedList"/>
    <dgm:cxn modelId="{4BAEF6FD-1A4B-4EC0-81D0-388D8CBD6240}" srcId="{C617B260-FAFF-4BBA-8C49-F5BE554705A9}" destId="{248E7452-5EAB-4617-A2F0-276637C5F431}" srcOrd="0" destOrd="0" parTransId="{1B3C59F4-AB19-497F-AFA4-6D0049240783}" sibTransId="{F12D598A-866C-4C51-A6AA-808EA5BC2EF8}"/>
    <dgm:cxn modelId="{A5A0CC0A-477B-4DB9-89C2-3406BDFAD6FF}" srcId="{C617B260-FAFF-4BBA-8C49-F5BE554705A9}" destId="{99C0F8D3-659F-4961-83B2-262EFB40231B}" srcOrd="3" destOrd="0" parTransId="{C8B86229-E127-4414-8FFD-1991B4D3B3CB}" sibTransId="{9279684B-65C2-4119-BA46-D67ED9BD6888}"/>
    <dgm:cxn modelId="{7B56B561-5947-6947-B533-B4615EA82CEA}" type="presOf" srcId="{C617B260-FAFF-4BBA-8C49-F5BE554705A9}" destId="{A1F6BD60-97D8-4209-88AA-218856869E9B}" srcOrd="0" destOrd="0" presId="urn:microsoft.com/office/officeart/2008/layout/VerticalCurvedList"/>
    <dgm:cxn modelId="{4303FA0E-2D19-42E2-B559-C270665A7656}" srcId="{C617B260-FAFF-4BBA-8C49-F5BE554705A9}" destId="{1F91966B-7AF9-43FA-8994-A377038E0886}" srcOrd="2" destOrd="0" parTransId="{9752FC72-4B79-4F29-82DF-3547A2CAC49F}" sibTransId="{11BBE64E-8362-4690-AA05-CF6B66A16B7F}"/>
    <dgm:cxn modelId="{12E5FBDB-3C8D-BB47-9AEE-68051E7D7F86}" type="presOf" srcId="{248E7452-5EAB-4617-A2F0-276637C5F431}" destId="{9805EAFA-9794-4624-8F71-592151037ACF}" srcOrd="0" destOrd="0" presId="urn:microsoft.com/office/officeart/2008/layout/VerticalCurvedList"/>
    <dgm:cxn modelId="{894E4D3F-936F-4548-856E-D90E0EA0258D}" type="presOf" srcId="{F12D598A-866C-4C51-A6AA-808EA5BC2EF8}" destId="{67218261-7228-4BEE-84D8-FC5D46B987F6}" srcOrd="0" destOrd="0" presId="urn:microsoft.com/office/officeart/2008/layout/VerticalCurvedList"/>
    <dgm:cxn modelId="{4BD2D277-5413-47F2-A05F-9D1AF7B0CB7A}" srcId="{C617B260-FAFF-4BBA-8C49-F5BE554705A9}" destId="{1614966C-CD25-43E6-AF5B-DD90B14EB595}" srcOrd="1" destOrd="0" parTransId="{DA46D7AF-0A12-4583-AD69-0F3CADA4A85F}" sibTransId="{66FFA18D-C0DF-4895-AADD-554EAB786797}"/>
    <dgm:cxn modelId="{81892D05-3C33-6C48-A9DD-6003C0D95814}" type="presParOf" srcId="{A1F6BD60-97D8-4209-88AA-218856869E9B}" destId="{799F2614-4F47-4455-AE88-1F30D902E417}" srcOrd="0" destOrd="0" presId="urn:microsoft.com/office/officeart/2008/layout/VerticalCurvedList"/>
    <dgm:cxn modelId="{6A3DA21A-F8D6-6844-9C78-4CE8721FE297}" type="presParOf" srcId="{799F2614-4F47-4455-AE88-1F30D902E417}" destId="{9862DDDB-FD48-4233-AC21-88DC70AB279E}" srcOrd="0" destOrd="0" presId="urn:microsoft.com/office/officeart/2008/layout/VerticalCurvedList"/>
    <dgm:cxn modelId="{4D147365-7EAD-9C42-8127-A371DC6A64DA}" type="presParOf" srcId="{9862DDDB-FD48-4233-AC21-88DC70AB279E}" destId="{A39C064E-F017-474F-AB74-326ADCE5586C}" srcOrd="0" destOrd="0" presId="urn:microsoft.com/office/officeart/2008/layout/VerticalCurvedList"/>
    <dgm:cxn modelId="{9355FCFE-6566-C94A-A20A-A57DE1CE03AF}" type="presParOf" srcId="{9862DDDB-FD48-4233-AC21-88DC70AB279E}" destId="{67218261-7228-4BEE-84D8-FC5D46B987F6}" srcOrd="1" destOrd="0" presId="urn:microsoft.com/office/officeart/2008/layout/VerticalCurvedList"/>
    <dgm:cxn modelId="{8E0969EC-DDBD-0A45-AA67-6C267767D7E4}" type="presParOf" srcId="{9862DDDB-FD48-4233-AC21-88DC70AB279E}" destId="{6502B823-69E8-451D-A75A-757F97DA32FB}" srcOrd="2" destOrd="0" presId="urn:microsoft.com/office/officeart/2008/layout/VerticalCurvedList"/>
    <dgm:cxn modelId="{3E02FB26-F159-7347-AFDE-AB8A198C59D6}" type="presParOf" srcId="{9862DDDB-FD48-4233-AC21-88DC70AB279E}" destId="{3EA28C84-0997-4D06-A60C-B63CC5EFAF74}" srcOrd="3" destOrd="0" presId="urn:microsoft.com/office/officeart/2008/layout/VerticalCurvedList"/>
    <dgm:cxn modelId="{0F097248-E1BE-304C-8165-BD34097D6A21}" type="presParOf" srcId="{799F2614-4F47-4455-AE88-1F30D902E417}" destId="{9805EAFA-9794-4624-8F71-592151037ACF}" srcOrd="1" destOrd="0" presId="urn:microsoft.com/office/officeart/2008/layout/VerticalCurvedList"/>
    <dgm:cxn modelId="{23F85869-A2ED-FA49-B674-325676C34DE3}" type="presParOf" srcId="{799F2614-4F47-4455-AE88-1F30D902E417}" destId="{DECB36B7-A113-46A4-82F1-8280D2A7FA1B}" srcOrd="2" destOrd="0" presId="urn:microsoft.com/office/officeart/2008/layout/VerticalCurvedList"/>
    <dgm:cxn modelId="{AC7B3F40-DD92-9E41-811D-397AB471E530}" type="presParOf" srcId="{DECB36B7-A113-46A4-82F1-8280D2A7FA1B}" destId="{55D56532-4A7E-456F-A831-A1DD2116A140}" srcOrd="0" destOrd="0" presId="urn:microsoft.com/office/officeart/2008/layout/VerticalCurvedList"/>
    <dgm:cxn modelId="{36216B81-ABB4-4542-BB7F-B8D330F656E7}" type="presParOf" srcId="{799F2614-4F47-4455-AE88-1F30D902E417}" destId="{9AE92E11-5E5F-4834-9A5C-9A9A50F19614}" srcOrd="3" destOrd="0" presId="urn:microsoft.com/office/officeart/2008/layout/VerticalCurvedList"/>
    <dgm:cxn modelId="{1560FFE8-F994-2A4E-84AE-E403E45005A4}" type="presParOf" srcId="{799F2614-4F47-4455-AE88-1F30D902E417}" destId="{EE21926A-D3A0-4287-A733-0585621A103A}" srcOrd="4" destOrd="0" presId="urn:microsoft.com/office/officeart/2008/layout/VerticalCurvedList"/>
    <dgm:cxn modelId="{BB07A209-9077-A84C-812F-0C995F9704FD}" type="presParOf" srcId="{EE21926A-D3A0-4287-A733-0585621A103A}" destId="{AB7C7383-082C-41AD-B77D-77ECD1CB4D36}" srcOrd="0" destOrd="0" presId="urn:microsoft.com/office/officeart/2008/layout/VerticalCurvedList"/>
    <dgm:cxn modelId="{C50C2205-75EB-0642-9A8A-2C8FDA2902EA}" type="presParOf" srcId="{799F2614-4F47-4455-AE88-1F30D902E417}" destId="{B8887473-3DA7-4D96-A734-1EFAF578BED1}" srcOrd="5" destOrd="0" presId="urn:microsoft.com/office/officeart/2008/layout/VerticalCurvedList"/>
    <dgm:cxn modelId="{BA8F0F66-309E-D447-8F1F-B9C5C5818679}" type="presParOf" srcId="{799F2614-4F47-4455-AE88-1F30D902E417}" destId="{23F44C7C-226A-48F4-995F-9AEB88318310}" srcOrd="6" destOrd="0" presId="urn:microsoft.com/office/officeart/2008/layout/VerticalCurvedList"/>
    <dgm:cxn modelId="{6C624F22-CB99-AC45-8725-6EB4DDCC7E29}" type="presParOf" srcId="{23F44C7C-226A-48F4-995F-9AEB88318310}" destId="{E126C500-70D7-4033-8F6F-4D89415BB2D4}" srcOrd="0" destOrd="0" presId="urn:microsoft.com/office/officeart/2008/layout/VerticalCurvedList"/>
    <dgm:cxn modelId="{6F385BCE-19AF-F44D-9459-E6B58FAEA0E5}" type="presParOf" srcId="{799F2614-4F47-4455-AE88-1F30D902E417}" destId="{3F5C9CFD-C2CA-4289-B0A9-5EE986AC3279}" srcOrd="7" destOrd="0" presId="urn:microsoft.com/office/officeart/2008/layout/VerticalCurvedList"/>
    <dgm:cxn modelId="{F1B3F8D4-B34B-E140-960F-889F1BA1514B}" type="presParOf" srcId="{799F2614-4F47-4455-AE88-1F30D902E417}" destId="{F5C22B5F-5B2F-4E4A-9F45-80A079EAEF06}" srcOrd="8" destOrd="0" presId="urn:microsoft.com/office/officeart/2008/layout/VerticalCurvedList"/>
    <dgm:cxn modelId="{2DB9307F-446A-A04F-A685-CF675E88110C}" type="presParOf" srcId="{F5C22B5F-5B2F-4E4A-9F45-80A079EAEF06}" destId="{2B5E32D3-D421-4280-A085-1B13EC985405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C85FCB3-77AA-4718-96A9-1D2150328991}" type="doc">
      <dgm:prSet loTypeId="urn:microsoft.com/office/officeart/2008/layout/LinedList" loCatId="hierarchy" qsTypeId="urn:microsoft.com/office/officeart/2005/8/quickstyle/simple1" qsCatId="simple" csTypeId="urn:microsoft.com/office/officeart/2005/8/colors/colorful1" csCatId="colorful" phldr="1"/>
      <dgm:spPr/>
    </dgm:pt>
    <dgm:pt modelId="{2817B7A8-3A37-4D3C-A24B-5983E896A6B6}">
      <dgm:prSet custT="1"/>
      <dgm:spPr/>
      <dgm:t>
        <a:bodyPr/>
        <a:lstStyle/>
        <a:p>
          <a:pPr marR="0" algn="l" rtl="0"/>
          <a:r>
            <a:rPr lang="ru-RU" sz="1050" b="1" i="0" u="none" strike="noStrike" baseline="0" dirty="0" smtClean="0"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Блок по управлению персоналом, организационному развитию и поддержке</a:t>
          </a:r>
          <a:endParaRPr lang="ru-RU" sz="1050" b="1" dirty="0" smtClean="0">
            <a:effectLst/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02C3DECA-B0FF-4002-BB39-01B6B1E83673}" type="parTrans" cxnId="{020C5CDD-3B78-4C76-B621-7FE9B655B9C4}">
      <dgm:prSet/>
      <dgm:spPr/>
      <dgm:t>
        <a:bodyPr/>
        <a:lstStyle/>
        <a:p>
          <a:pPr algn="l"/>
          <a:endParaRPr lang="ru-RU" sz="105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BD175F2F-A786-42AF-8CF5-B02D5E0A5A8C}" type="sibTrans" cxnId="{020C5CDD-3B78-4C76-B621-7FE9B655B9C4}">
      <dgm:prSet/>
      <dgm:spPr/>
      <dgm:t>
        <a:bodyPr/>
        <a:lstStyle/>
        <a:p>
          <a:pPr algn="l"/>
          <a:endParaRPr lang="ru-RU" sz="105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2FE0DC8A-2C43-4B41-96D7-A54315D8047C}">
      <dgm:prSet custT="1"/>
      <dgm:spPr/>
      <dgm:t>
        <a:bodyPr/>
        <a:lstStyle/>
        <a:p>
          <a:pPr marR="0" algn="l" rtl="0"/>
          <a:r>
            <a:rPr lang="ru-RU" sz="1050" b="1" i="0" u="none" strike="noStrike" baseline="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Дирекция по взаимодействию с функциями и регионами</a:t>
          </a:r>
          <a:endParaRPr lang="ru-RU" sz="1050" dirty="0" smtClean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ED57F95E-933F-4DF2-8CAE-E4C211246310}" type="parTrans" cxnId="{CA8381C9-7D43-4936-BA91-404597C1CAD1}">
      <dgm:prSet/>
      <dgm:spPr/>
      <dgm:t>
        <a:bodyPr/>
        <a:lstStyle/>
        <a:p>
          <a:pPr algn="l"/>
          <a:endParaRPr lang="ru-RU" sz="105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F5310F5-5174-4A9B-B7B7-40F3C63D2BC8}" type="sibTrans" cxnId="{CA8381C9-7D43-4936-BA91-404597C1CAD1}">
      <dgm:prSet/>
      <dgm:spPr/>
      <dgm:t>
        <a:bodyPr/>
        <a:lstStyle/>
        <a:p>
          <a:pPr algn="l"/>
          <a:endParaRPr lang="ru-RU" sz="105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BD91D3CE-0B03-410E-BC58-E917796481E6}">
      <dgm:prSet custT="1"/>
      <dgm:spPr/>
      <dgm:t>
        <a:bodyPr/>
        <a:lstStyle/>
        <a:p>
          <a:pPr marR="0" algn="l" rtl="0"/>
          <a:r>
            <a:rPr lang="ru-RU" sz="1000" b="0" i="0" u="none" strike="noStrike" baseline="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Отдел по подбору и адаптации персонала</a:t>
          </a:r>
          <a:endParaRPr lang="ru-RU" sz="1000" b="0" dirty="0" smtClean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A0998DB-34AF-46A2-B407-0C093F4E19E0}" type="parTrans" cxnId="{6E9C405C-CB15-42B7-A852-600CA5D2A846}">
      <dgm:prSet/>
      <dgm:spPr/>
      <dgm:t>
        <a:bodyPr/>
        <a:lstStyle/>
        <a:p>
          <a:pPr algn="l"/>
          <a:endParaRPr lang="ru-RU" sz="105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B58A8205-E0ED-4EB5-A509-450ED3C50F49}" type="sibTrans" cxnId="{6E9C405C-CB15-42B7-A852-600CA5D2A846}">
      <dgm:prSet/>
      <dgm:spPr/>
      <dgm:t>
        <a:bodyPr/>
        <a:lstStyle/>
        <a:p>
          <a:pPr algn="l"/>
          <a:endParaRPr lang="ru-RU" sz="105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326C7145-D1D0-4ED4-A9C9-14BFFC5D58AD}">
      <dgm:prSet custT="1"/>
      <dgm:spPr>
        <a:effectLst>
          <a:glow rad="228600">
            <a:schemeClr val="accent2">
              <a:satMod val="175000"/>
              <a:alpha val="40000"/>
            </a:schemeClr>
          </a:glow>
        </a:effectLst>
      </dgm:spPr>
      <dgm:t>
        <a:bodyPr/>
        <a:lstStyle/>
        <a:p>
          <a:pPr marR="0" algn="l" rtl="0"/>
          <a:r>
            <a:rPr lang="ru-RU" sz="1000" b="1" i="0" u="none" strike="noStrike" baseline="0" dirty="0" smtClean="0">
              <a:solidFill>
                <a:srgbClr val="C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Служба кадрового администрирования и охраны труда</a:t>
          </a:r>
          <a:endParaRPr lang="ru-RU" sz="1000" dirty="0" smtClean="0">
            <a:solidFill>
              <a:srgbClr val="C00000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392F0072-E114-41C7-A62C-03C45C09ED30}" type="parTrans" cxnId="{804E6394-3F0F-43C1-BFAB-6D74C2BE0D40}">
      <dgm:prSet/>
      <dgm:spPr/>
      <dgm:t>
        <a:bodyPr/>
        <a:lstStyle/>
        <a:p>
          <a:pPr algn="l"/>
          <a:endParaRPr lang="ru-RU" sz="105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FB567B98-DD53-4942-852F-D8863D13226E}" type="sibTrans" cxnId="{804E6394-3F0F-43C1-BFAB-6D74C2BE0D40}">
      <dgm:prSet/>
      <dgm:spPr/>
      <dgm:t>
        <a:bodyPr/>
        <a:lstStyle/>
        <a:p>
          <a:pPr algn="l"/>
          <a:endParaRPr lang="ru-RU" sz="105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2CD36C54-9615-4E87-9ED0-E1991F35B701}">
      <dgm:prSet custT="1"/>
      <dgm:spPr/>
      <dgm:t>
        <a:bodyPr/>
        <a:lstStyle/>
        <a:p>
          <a:pPr marR="0" algn="l" rtl="0"/>
          <a:r>
            <a:rPr lang="ru-RU" sz="1000" b="0" i="0" u="none" strike="noStrike" baseline="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Служба по региональному подбору</a:t>
          </a:r>
          <a:endParaRPr lang="ru-RU" sz="1000" b="0" dirty="0" smtClean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10FC3C59-4947-4829-85B6-2058A576E5CB}" type="parTrans" cxnId="{5A7B909B-9281-40B5-9B7A-102E13C64F30}">
      <dgm:prSet/>
      <dgm:spPr/>
      <dgm:t>
        <a:bodyPr/>
        <a:lstStyle/>
        <a:p>
          <a:pPr algn="l"/>
          <a:endParaRPr lang="ru-RU" sz="105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ADEA1095-EA5D-4A1F-904F-408599D7EF41}" type="sibTrans" cxnId="{5A7B909B-9281-40B5-9B7A-102E13C64F30}">
      <dgm:prSet/>
      <dgm:spPr/>
      <dgm:t>
        <a:bodyPr/>
        <a:lstStyle/>
        <a:p>
          <a:pPr algn="l"/>
          <a:endParaRPr lang="ru-RU" sz="105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6F258B94-134B-48AC-A35B-AEDD8C1811F2}">
      <dgm:prSet custT="1"/>
      <dgm:spPr/>
      <dgm:t>
        <a:bodyPr/>
        <a:lstStyle/>
        <a:p>
          <a:pPr marR="0" algn="l" rtl="0"/>
          <a:r>
            <a:rPr lang="ru-RU" sz="1050" b="1" i="0" u="none" strike="noStrike" baseline="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Дирекция по управлению талантами и развитию персонала</a:t>
          </a:r>
          <a:endParaRPr lang="ru-RU" sz="1050" dirty="0" smtClean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C5AED1E3-BD0D-4621-A7A0-03A3FB481751}" type="parTrans" cxnId="{A779C7D5-44B3-4FB8-8FD7-FBEA9087760B}">
      <dgm:prSet/>
      <dgm:spPr/>
      <dgm:t>
        <a:bodyPr/>
        <a:lstStyle/>
        <a:p>
          <a:pPr algn="l"/>
          <a:endParaRPr lang="ru-RU" sz="105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A47DF47-4749-41A5-8A45-53FD60360EC6}" type="sibTrans" cxnId="{A779C7D5-44B3-4FB8-8FD7-FBEA9087760B}">
      <dgm:prSet/>
      <dgm:spPr/>
      <dgm:t>
        <a:bodyPr/>
        <a:lstStyle/>
        <a:p>
          <a:pPr algn="l"/>
          <a:endParaRPr lang="ru-RU" sz="105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6B1CF5E8-AC55-46AB-B5EB-DCDABE9CC4A9}">
      <dgm:prSet custT="1"/>
      <dgm:spPr/>
      <dgm:t>
        <a:bodyPr/>
        <a:lstStyle/>
        <a:p>
          <a:pPr marR="0" algn="l" rtl="0"/>
          <a:r>
            <a:rPr lang="ru-RU" sz="1000" b="0" i="0" u="none" strike="noStrike" baseline="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Отдел технического и ИТ обучения</a:t>
          </a:r>
          <a:endParaRPr lang="ru-RU" sz="1000" b="0" dirty="0" smtClean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DFEC6C7C-D362-40B0-9B54-314FFD5837F0}" type="parTrans" cxnId="{01A63F0B-CF23-439C-AD2C-E475433382F4}">
      <dgm:prSet/>
      <dgm:spPr/>
      <dgm:t>
        <a:bodyPr/>
        <a:lstStyle/>
        <a:p>
          <a:pPr algn="l"/>
          <a:endParaRPr lang="ru-RU" sz="105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A353106-9176-4920-8029-B887AD144D57}" type="sibTrans" cxnId="{01A63F0B-CF23-439C-AD2C-E475433382F4}">
      <dgm:prSet/>
      <dgm:spPr/>
      <dgm:t>
        <a:bodyPr/>
        <a:lstStyle/>
        <a:p>
          <a:pPr algn="l"/>
          <a:endParaRPr lang="ru-RU" sz="105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25C21A87-32CE-472B-9753-3EBAAFA84774}">
      <dgm:prSet custT="1"/>
      <dgm:spPr/>
      <dgm:t>
        <a:bodyPr/>
        <a:lstStyle/>
        <a:p>
          <a:pPr marR="0" algn="l" rtl="0"/>
          <a:r>
            <a:rPr lang="ru-RU" sz="1000" b="0" i="0" u="none" strike="noStrike" baseline="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Отдел развития и поддержки системы обучения</a:t>
          </a:r>
          <a:endParaRPr lang="ru-RU" sz="1000" b="0" dirty="0" smtClean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4C4CCC8C-1AF7-4F50-BE1C-3E8AC5A28A9E}" type="parTrans" cxnId="{17DDDD38-2F95-4583-82BE-906368D495A0}">
      <dgm:prSet/>
      <dgm:spPr/>
      <dgm:t>
        <a:bodyPr/>
        <a:lstStyle/>
        <a:p>
          <a:pPr algn="l"/>
          <a:endParaRPr lang="ru-RU" sz="105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586C222-40BE-46B2-BC2B-3BD5927EECB2}" type="sibTrans" cxnId="{17DDDD38-2F95-4583-82BE-906368D495A0}">
      <dgm:prSet/>
      <dgm:spPr/>
      <dgm:t>
        <a:bodyPr/>
        <a:lstStyle/>
        <a:p>
          <a:pPr algn="l"/>
          <a:endParaRPr lang="ru-RU" sz="105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F4923494-EBD7-4544-9561-0569C725047C}">
      <dgm:prSet custT="1"/>
      <dgm:spPr/>
      <dgm:t>
        <a:bodyPr/>
        <a:lstStyle/>
        <a:p>
          <a:pPr marR="0" algn="l" rtl="0"/>
          <a:r>
            <a:rPr lang="ru-RU" sz="1050" b="1" i="0" u="none" strike="noStrike" baseline="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Дирекция по компенсациям и льготам</a:t>
          </a:r>
          <a:endParaRPr lang="ru-RU" sz="1050" dirty="0" smtClean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BA1F046D-2A63-4FFA-B832-3939F299CE06}" type="parTrans" cxnId="{1E741E7F-1B2B-41A5-880E-3F55D1631F8C}">
      <dgm:prSet/>
      <dgm:spPr/>
      <dgm:t>
        <a:bodyPr/>
        <a:lstStyle/>
        <a:p>
          <a:pPr algn="l"/>
          <a:endParaRPr lang="ru-RU" sz="105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00CC430A-B894-4643-8565-43D809B0B485}" type="sibTrans" cxnId="{1E741E7F-1B2B-41A5-880E-3F55D1631F8C}">
      <dgm:prSet/>
      <dgm:spPr/>
      <dgm:t>
        <a:bodyPr/>
        <a:lstStyle/>
        <a:p>
          <a:pPr algn="l"/>
          <a:endParaRPr lang="ru-RU" sz="105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3AC25D6D-D57B-4F3F-9123-146F6F83AF84}">
      <dgm:prSet custT="1"/>
      <dgm:spPr/>
      <dgm:t>
        <a:bodyPr/>
        <a:lstStyle/>
        <a:p>
          <a:pPr marR="0" algn="l" rtl="0"/>
          <a:r>
            <a:rPr lang="ru-RU" sz="1050" b="1" i="0" u="none" strike="noStrike" baseline="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Дирекция по организационному развитию</a:t>
          </a:r>
          <a:endParaRPr lang="ru-RU" sz="1050" dirty="0" smtClean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F33E43F-9F4B-4EC6-8A84-F21D7A9AD8E1}" type="parTrans" cxnId="{BD8C9272-81E9-4C1C-A8D1-CDB62D9DE694}">
      <dgm:prSet/>
      <dgm:spPr/>
      <dgm:t>
        <a:bodyPr/>
        <a:lstStyle/>
        <a:p>
          <a:pPr algn="l"/>
          <a:endParaRPr lang="ru-RU" sz="105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386FF993-24E4-4320-A1A6-2990FEC7335F}" type="sibTrans" cxnId="{BD8C9272-81E9-4C1C-A8D1-CDB62D9DE694}">
      <dgm:prSet/>
      <dgm:spPr/>
      <dgm:t>
        <a:bodyPr/>
        <a:lstStyle/>
        <a:p>
          <a:pPr algn="l"/>
          <a:endParaRPr lang="ru-RU" sz="105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F3C340D5-5E94-42CB-AD97-EDA3F6E7F149}">
      <dgm:prSet custT="1"/>
      <dgm:spPr/>
      <dgm:t>
        <a:bodyPr/>
        <a:lstStyle/>
        <a:p>
          <a:pPr marR="0" algn="l" rtl="0"/>
          <a:r>
            <a:rPr lang="ru-RU" sz="1050" b="1" i="0" u="none" strike="noStrike" baseline="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Департамент корпоративной культуры и внутренних коммуникаций</a:t>
          </a:r>
          <a:endParaRPr lang="ru-RU" sz="1050" dirty="0" smtClean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F97AA972-5112-4116-98CA-F1065DB85AE1}" type="parTrans" cxnId="{F26648B8-8521-41E1-A66F-587D0DB1983C}">
      <dgm:prSet/>
      <dgm:spPr/>
      <dgm:t>
        <a:bodyPr/>
        <a:lstStyle/>
        <a:p>
          <a:pPr algn="l"/>
          <a:endParaRPr lang="ru-RU" sz="105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3EEE28D4-9CB9-47D5-9A01-586F62A7E978}" type="sibTrans" cxnId="{F26648B8-8521-41E1-A66F-587D0DB1983C}">
      <dgm:prSet/>
      <dgm:spPr/>
      <dgm:t>
        <a:bodyPr/>
        <a:lstStyle/>
        <a:p>
          <a:pPr algn="l"/>
          <a:endParaRPr lang="ru-RU" sz="105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458ED178-6F26-4A7C-BFC1-4F69B2DDCBB2}">
      <dgm:prSet custT="1"/>
      <dgm:spPr/>
      <dgm:t>
        <a:bodyPr/>
        <a:lstStyle/>
        <a:p>
          <a:pPr algn="l"/>
          <a:r>
            <a:rPr lang="ru-RU" sz="10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Служба развития лидерства и менеджмента</a:t>
          </a:r>
          <a:endParaRPr lang="ru-RU" sz="1000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4E30C658-2CA2-438D-B0F5-5A425B915991}" type="parTrans" cxnId="{57511A52-ABB0-4EF4-BE15-3C7F9A0C2BEE}">
      <dgm:prSet/>
      <dgm:spPr/>
      <dgm:t>
        <a:bodyPr/>
        <a:lstStyle/>
        <a:p>
          <a:pPr algn="l"/>
          <a:endParaRPr lang="ru-RU" sz="36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09834E30-5C79-456F-B966-6516D0BA576D}" type="sibTrans" cxnId="{57511A52-ABB0-4EF4-BE15-3C7F9A0C2BEE}">
      <dgm:prSet/>
      <dgm:spPr/>
      <dgm:t>
        <a:bodyPr/>
        <a:lstStyle/>
        <a:p>
          <a:pPr algn="l"/>
          <a:endParaRPr lang="ru-RU" sz="36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AAC31018-82B9-405F-8635-4D026283FC50}">
      <dgm:prSet custT="1"/>
      <dgm:spPr/>
      <dgm:t>
        <a:bodyPr/>
        <a:lstStyle/>
        <a:p>
          <a:pPr algn="l"/>
          <a:r>
            <a:rPr lang="ru-RU" sz="10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Служба обучения продажам и обслуживанию</a:t>
          </a:r>
          <a:endParaRPr lang="ru-RU" sz="1000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BC3E56EC-CC02-46DF-AE10-79C741E9427E}" type="parTrans" cxnId="{CE9903B4-3329-4737-B00D-8F7B90191F48}">
      <dgm:prSet/>
      <dgm:spPr/>
      <dgm:t>
        <a:bodyPr/>
        <a:lstStyle/>
        <a:p>
          <a:pPr algn="l"/>
          <a:endParaRPr lang="ru-RU" sz="36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C0F8E5F9-1837-4783-BA63-6FCE4CBBC40A}" type="sibTrans" cxnId="{CE9903B4-3329-4737-B00D-8F7B90191F48}">
      <dgm:prSet/>
      <dgm:spPr/>
      <dgm:t>
        <a:bodyPr/>
        <a:lstStyle/>
        <a:p>
          <a:pPr algn="l"/>
          <a:endParaRPr lang="ru-RU" sz="36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4719A11D-AD27-4775-8A20-FD7EF4730FEF}">
      <dgm:prSet custT="1"/>
      <dgm:spPr/>
      <dgm:t>
        <a:bodyPr/>
        <a:lstStyle/>
        <a:p>
          <a:pPr algn="l"/>
          <a:r>
            <a:rPr lang="ru-RU" sz="10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Служба по развитию управленческих компетенций</a:t>
          </a:r>
          <a:endParaRPr lang="ru-RU" sz="1000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5C201078-0B91-4237-860A-2EC01CD61447}" type="parTrans" cxnId="{B280CDBA-759F-4AAF-ABE1-64711F86EF0D}">
      <dgm:prSet/>
      <dgm:spPr/>
      <dgm:t>
        <a:bodyPr/>
        <a:lstStyle/>
        <a:p>
          <a:pPr algn="l"/>
          <a:endParaRPr lang="ru-RU" sz="36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D98820D1-72F0-42F5-BEED-1DCBDAEFAA2A}" type="sibTrans" cxnId="{B280CDBA-759F-4AAF-ABE1-64711F86EF0D}">
      <dgm:prSet/>
      <dgm:spPr/>
      <dgm:t>
        <a:bodyPr/>
        <a:lstStyle/>
        <a:p>
          <a:pPr algn="l"/>
          <a:endParaRPr lang="ru-RU" sz="36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2403ACFC-0008-425C-A992-C90ECE855264}">
      <dgm:prSet custT="1"/>
      <dgm:spPr/>
      <dgm:t>
        <a:bodyPr/>
        <a:lstStyle/>
        <a:p>
          <a:pPr algn="l"/>
          <a:r>
            <a:rPr lang="ru-RU" sz="10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Развитие внутренних тренеров</a:t>
          </a:r>
          <a:endParaRPr lang="ru-RU" sz="1000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6E8ECBFA-4ED7-4529-86B0-E98E085CAE93}" type="parTrans" cxnId="{E3CF9910-02B1-408A-AEA0-255AB19215BA}">
      <dgm:prSet/>
      <dgm:spPr/>
      <dgm:t>
        <a:bodyPr/>
        <a:lstStyle/>
        <a:p>
          <a:pPr algn="l"/>
          <a:endParaRPr lang="ru-RU" sz="36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4928C311-E8AB-4867-A3A1-5DFC6D571B56}" type="sibTrans" cxnId="{E3CF9910-02B1-408A-AEA0-255AB19215BA}">
      <dgm:prSet/>
      <dgm:spPr/>
      <dgm:t>
        <a:bodyPr/>
        <a:lstStyle/>
        <a:p>
          <a:pPr algn="l"/>
          <a:endParaRPr lang="ru-RU" sz="36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CBF99435-D923-4B7C-8824-89DA54EDD91E}">
      <dgm:prSet custT="1"/>
      <dgm:spPr/>
      <dgm:t>
        <a:bodyPr/>
        <a:lstStyle/>
        <a:p>
          <a:pPr algn="l"/>
          <a:r>
            <a:rPr lang="ru-RU" sz="10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Отдел мотивационных программ</a:t>
          </a:r>
          <a:endParaRPr lang="ru-RU" sz="1000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88F25CA7-5AFD-4177-9415-8CC7834B7B96}" type="parTrans" cxnId="{42017969-5D54-4421-89BF-DAD20A6E3B28}">
      <dgm:prSet/>
      <dgm:spPr/>
      <dgm:t>
        <a:bodyPr/>
        <a:lstStyle/>
        <a:p>
          <a:pPr algn="l"/>
          <a:endParaRPr lang="ru-RU" sz="36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438A6AFE-2719-4219-8167-94DAEC0D5511}" type="sibTrans" cxnId="{42017969-5D54-4421-89BF-DAD20A6E3B28}">
      <dgm:prSet/>
      <dgm:spPr/>
      <dgm:t>
        <a:bodyPr/>
        <a:lstStyle/>
        <a:p>
          <a:pPr algn="l"/>
          <a:endParaRPr lang="ru-RU" sz="36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14D0C4D3-564C-4A6D-8D4E-653FDE9EB279}">
      <dgm:prSet custT="1"/>
      <dgm:spPr/>
      <dgm:t>
        <a:bodyPr/>
        <a:lstStyle/>
        <a:p>
          <a:pPr algn="l"/>
          <a:r>
            <a:rPr lang="ru-RU" sz="10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Служба компенсаций</a:t>
          </a:r>
          <a:endParaRPr lang="ru-RU" sz="1000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5B7E229B-2F51-4244-83EF-3C783C11324F}" type="parTrans" cxnId="{E16310B0-9B58-4691-89F4-7DB515E9C1A1}">
      <dgm:prSet/>
      <dgm:spPr/>
      <dgm:t>
        <a:bodyPr/>
        <a:lstStyle/>
        <a:p>
          <a:pPr algn="l"/>
          <a:endParaRPr lang="ru-RU" sz="36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0CBAEE1-9C4A-4339-834F-B77F711A499C}" type="sibTrans" cxnId="{E16310B0-9B58-4691-89F4-7DB515E9C1A1}">
      <dgm:prSet/>
      <dgm:spPr/>
      <dgm:t>
        <a:bodyPr/>
        <a:lstStyle/>
        <a:p>
          <a:pPr algn="l"/>
          <a:endParaRPr lang="ru-RU" sz="36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DF805977-6C50-400F-B851-E8D773D5A935}">
      <dgm:prSet custT="1"/>
      <dgm:spPr/>
      <dgm:t>
        <a:bodyPr/>
        <a:lstStyle/>
        <a:p>
          <a:pPr algn="l"/>
          <a:r>
            <a:rPr lang="ru-RU" sz="10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Отдел льгот</a:t>
          </a:r>
          <a:endParaRPr lang="ru-RU" sz="1000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681E8D7-0E3F-4881-89AC-5F1A2D825CE2}" type="parTrans" cxnId="{6A4DC7C5-32EE-4A4F-A2C5-A2F103173B5F}">
      <dgm:prSet/>
      <dgm:spPr/>
      <dgm:t>
        <a:bodyPr/>
        <a:lstStyle/>
        <a:p>
          <a:pPr algn="l"/>
          <a:endParaRPr lang="ru-RU" sz="36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6F796025-E0BF-4E03-87B9-4747EDF2A7EC}" type="sibTrans" cxnId="{6A4DC7C5-32EE-4A4F-A2C5-A2F103173B5F}">
      <dgm:prSet/>
      <dgm:spPr/>
      <dgm:t>
        <a:bodyPr/>
        <a:lstStyle/>
        <a:p>
          <a:pPr algn="l"/>
          <a:endParaRPr lang="ru-RU" sz="36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61B555A1-94B9-4ECB-A14A-DB4FBD62F39B}">
      <dgm:prSet custT="1"/>
      <dgm:spPr/>
      <dgm:t>
        <a:bodyPr/>
        <a:lstStyle/>
        <a:p>
          <a:pPr algn="l"/>
          <a:r>
            <a:rPr lang="ru-RU" sz="10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Служба бюджетирования, контроля и отчетности</a:t>
          </a:r>
          <a:endParaRPr lang="ru-RU" sz="1000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AC211384-23C2-47AD-AFE0-1B3802B7B045}" type="sibTrans" cxnId="{E140F331-9F83-43D3-9D33-6639E9A48970}">
      <dgm:prSet/>
      <dgm:spPr/>
      <dgm:t>
        <a:bodyPr/>
        <a:lstStyle/>
        <a:p>
          <a:pPr algn="l"/>
          <a:endParaRPr lang="ru-RU" sz="36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DB5EDEEA-E47C-425E-B6A4-C489405B1EBC}" type="parTrans" cxnId="{E140F331-9F83-43D3-9D33-6639E9A48970}">
      <dgm:prSet/>
      <dgm:spPr/>
      <dgm:t>
        <a:bodyPr/>
        <a:lstStyle/>
        <a:p>
          <a:pPr algn="l"/>
          <a:endParaRPr lang="ru-RU" sz="36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BF8DC6F4-7B05-4FBB-A785-91ED96B9FBDD}">
      <dgm:prSet custT="1"/>
      <dgm:spPr/>
      <dgm:t>
        <a:bodyPr/>
        <a:lstStyle/>
        <a:p>
          <a:pPr algn="l"/>
          <a:r>
            <a:rPr lang="ru-RU" sz="10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Внутренние коммуникации</a:t>
          </a:r>
          <a:endParaRPr lang="ru-RU" sz="1000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FA93DA5F-304C-43DF-BF3D-1233711E9EEA}" type="parTrans" cxnId="{B27150F7-B9C7-4CA3-AE3C-CBBD26E0DAC0}">
      <dgm:prSet/>
      <dgm:spPr/>
      <dgm:t>
        <a:bodyPr/>
        <a:lstStyle/>
        <a:p>
          <a:pPr algn="l"/>
          <a:endParaRPr lang="ru-RU" sz="36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1AE598DE-3F31-4D94-AB8E-A3F8A3697A35}" type="sibTrans" cxnId="{B27150F7-B9C7-4CA3-AE3C-CBBD26E0DAC0}">
      <dgm:prSet/>
      <dgm:spPr/>
      <dgm:t>
        <a:bodyPr/>
        <a:lstStyle/>
        <a:p>
          <a:pPr algn="l"/>
          <a:endParaRPr lang="ru-RU" sz="36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65C4E8A3-7AF0-403A-B82E-CF42D4ACA8C4}">
      <dgm:prSet custT="1"/>
      <dgm:spPr/>
      <dgm:t>
        <a:bodyPr/>
        <a:lstStyle/>
        <a:p>
          <a:pPr algn="l"/>
          <a:r>
            <a:rPr lang="ru-RU" sz="10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Веб-коммуникации</a:t>
          </a:r>
          <a:endParaRPr lang="ru-RU" sz="1000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5A3E0C50-0572-4FA6-864F-D8043DBDC28B}" type="parTrans" cxnId="{BE6FFF74-25BC-4623-83B2-CB0C6E92FDE0}">
      <dgm:prSet/>
      <dgm:spPr/>
      <dgm:t>
        <a:bodyPr/>
        <a:lstStyle/>
        <a:p>
          <a:pPr algn="l"/>
          <a:endParaRPr lang="ru-RU" sz="36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20369E94-747C-4144-B48D-9BF3A8FE3619}" type="sibTrans" cxnId="{BE6FFF74-25BC-4623-83B2-CB0C6E92FDE0}">
      <dgm:prSet/>
      <dgm:spPr/>
      <dgm:t>
        <a:bodyPr/>
        <a:lstStyle/>
        <a:p>
          <a:pPr algn="l"/>
          <a:endParaRPr lang="ru-RU" sz="36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1B650ABF-9230-43F6-8DA6-4E95DAE9152F}">
      <dgm:prSet custT="1"/>
      <dgm:spPr/>
      <dgm:t>
        <a:bodyPr/>
        <a:lstStyle/>
        <a:p>
          <a:pPr algn="l"/>
          <a:r>
            <a:rPr lang="ru-RU" sz="10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Корпоративная культура</a:t>
          </a:r>
          <a:endParaRPr lang="ru-RU" sz="1000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994EF994-96B2-4F83-A787-00F8217C6B7E}" type="parTrans" cxnId="{2D841279-4D03-49B9-809A-C29349F8BB5B}">
      <dgm:prSet/>
      <dgm:spPr/>
      <dgm:t>
        <a:bodyPr/>
        <a:lstStyle/>
        <a:p>
          <a:pPr algn="l"/>
          <a:endParaRPr lang="ru-RU" sz="36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965EBEBC-5E89-4509-93B6-2CE2D19C4A5D}" type="sibTrans" cxnId="{2D841279-4D03-49B9-809A-C29349F8BB5B}">
      <dgm:prSet/>
      <dgm:spPr/>
      <dgm:t>
        <a:bodyPr/>
        <a:lstStyle/>
        <a:p>
          <a:pPr algn="l"/>
          <a:endParaRPr lang="ru-RU" sz="36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B9D1D68D-28FD-4495-A771-CDF5D4D45120}">
      <dgm:prSet custT="1"/>
      <dgm:spPr/>
      <dgm:t>
        <a:bodyPr/>
        <a:lstStyle/>
        <a:p>
          <a:pPr algn="l"/>
          <a:r>
            <a:rPr lang="ru-RU" sz="10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Корпоративные мероприятия</a:t>
          </a:r>
          <a:endParaRPr lang="ru-RU" sz="1000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8E019C79-F6AC-4986-81FC-52D53E8E8F46}" type="parTrans" cxnId="{0FFFD715-54A1-4D05-9FBC-BB19676FB3FC}">
      <dgm:prSet/>
      <dgm:spPr/>
      <dgm:t>
        <a:bodyPr/>
        <a:lstStyle/>
        <a:p>
          <a:pPr algn="l"/>
          <a:endParaRPr lang="ru-RU" sz="36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B2FA3E89-E27B-4FB8-80D8-AAEBD396B15F}" type="sibTrans" cxnId="{0FFFD715-54A1-4D05-9FBC-BB19676FB3FC}">
      <dgm:prSet/>
      <dgm:spPr/>
      <dgm:t>
        <a:bodyPr/>
        <a:lstStyle/>
        <a:p>
          <a:pPr algn="l"/>
          <a:endParaRPr lang="ru-RU" sz="36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31EE88C2-9415-4597-884C-B8FF75C936CB}" type="pres">
      <dgm:prSet presAssocID="{3C85FCB3-77AA-4718-96A9-1D2150328991}" presName="vert0" presStyleCnt="0">
        <dgm:presLayoutVars>
          <dgm:dir/>
          <dgm:animOne val="branch"/>
          <dgm:animLvl val="lvl"/>
        </dgm:presLayoutVars>
      </dgm:prSet>
      <dgm:spPr/>
    </dgm:pt>
    <dgm:pt modelId="{3FA7572F-4696-46D8-8799-C24DF376C1FB}" type="pres">
      <dgm:prSet presAssocID="{2817B7A8-3A37-4D3C-A24B-5983E896A6B6}" presName="thickLine" presStyleLbl="alignNode1" presStyleIdx="0" presStyleCnt="1"/>
      <dgm:spPr/>
    </dgm:pt>
    <dgm:pt modelId="{ED40E0E1-A368-40F0-AFBA-4B0207881511}" type="pres">
      <dgm:prSet presAssocID="{2817B7A8-3A37-4D3C-A24B-5983E896A6B6}" presName="horz1" presStyleCnt="0"/>
      <dgm:spPr/>
    </dgm:pt>
    <dgm:pt modelId="{48DF775E-208B-4BE1-AAD1-93ACFAAB8B37}" type="pres">
      <dgm:prSet presAssocID="{2817B7A8-3A37-4D3C-A24B-5983E896A6B6}" presName="tx1" presStyleLbl="revTx" presStyleIdx="0" presStyleCnt="23"/>
      <dgm:spPr/>
      <dgm:t>
        <a:bodyPr/>
        <a:lstStyle/>
        <a:p>
          <a:endParaRPr lang="ru-RU"/>
        </a:p>
      </dgm:t>
    </dgm:pt>
    <dgm:pt modelId="{B53E29A6-5C81-40EE-B597-BDAC4FD8EB99}" type="pres">
      <dgm:prSet presAssocID="{2817B7A8-3A37-4D3C-A24B-5983E896A6B6}" presName="vert1" presStyleCnt="0"/>
      <dgm:spPr/>
    </dgm:pt>
    <dgm:pt modelId="{D12D6264-3EF4-45E2-859F-C4ADD05D3F56}" type="pres">
      <dgm:prSet presAssocID="{2FE0DC8A-2C43-4B41-96D7-A54315D8047C}" presName="vertSpace2a" presStyleCnt="0"/>
      <dgm:spPr/>
    </dgm:pt>
    <dgm:pt modelId="{51631660-40AF-420B-8C22-41FBCC80BAE0}" type="pres">
      <dgm:prSet presAssocID="{2FE0DC8A-2C43-4B41-96D7-A54315D8047C}" presName="horz2" presStyleCnt="0"/>
      <dgm:spPr/>
    </dgm:pt>
    <dgm:pt modelId="{DD744572-DE4B-43BE-9EF8-B6F332E3340C}" type="pres">
      <dgm:prSet presAssocID="{2FE0DC8A-2C43-4B41-96D7-A54315D8047C}" presName="horzSpace2" presStyleCnt="0"/>
      <dgm:spPr/>
    </dgm:pt>
    <dgm:pt modelId="{E248B3A3-8FF5-497E-A52E-44FAD454784C}" type="pres">
      <dgm:prSet presAssocID="{2FE0DC8A-2C43-4B41-96D7-A54315D8047C}" presName="tx2" presStyleLbl="revTx" presStyleIdx="1" presStyleCnt="23"/>
      <dgm:spPr/>
      <dgm:t>
        <a:bodyPr/>
        <a:lstStyle/>
        <a:p>
          <a:endParaRPr lang="ru-RU"/>
        </a:p>
      </dgm:t>
    </dgm:pt>
    <dgm:pt modelId="{64859A2E-4A50-4517-A3C7-F7004D691D65}" type="pres">
      <dgm:prSet presAssocID="{2FE0DC8A-2C43-4B41-96D7-A54315D8047C}" presName="vert2" presStyleCnt="0"/>
      <dgm:spPr/>
    </dgm:pt>
    <dgm:pt modelId="{AE57991B-EAA7-4C90-9B67-D02E500E1379}" type="pres">
      <dgm:prSet presAssocID="{BD91D3CE-0B03-410E-BC58-E917796481E6}" presName="horz3" presStyleCnt="0"/>
      <dgm:spPr/>
    </dgm:pt>
    <dgm:pt modelId="{87DBE2D0-228B-480C-BC5F-D65B84940318}" type="pres">
      <dgm:prSet presAssocID="{BD91D3CE-0B03-410E-BC58-E917796481E6}" presName="horzSpace3" presStyleCnt="0"/>
      <dgm:spPr/>
    </dgm:pt>
    <dgm:pt modelId="{ADAE80AB-E6CD-4380-9940-52A8F94FB34A}" type="pres">
      <dgm:prSet presAssocID="{BD91D3CE-0B03-410E-BC58-E917796481E6}" presName="tx3" presStyleLbl="revTx" presStyleIdx="2" presStyleCnt="23"/>
      <dgm:spPr/>
      <dgm:t>
        <a:bodyPr/>
        <a:lstStyle/>
        <a:p>
          <a:endParaRPr lang="ru-RU"/>
        </a:p>
      </dgm:t>
    </dgm:pt>
    <dgm:pt modelId="{EA3EA755-972A-4A85-8EFF-2E6A46D30437}" type="pres">
      <dgm:prSet presAssocID="{BD91D3CE-0B03-410E-BC58-E917796481E6}" presName="vert3" presStyleCnt="0"/>
      <dgm:spPr/>
    </dgm:pt>
    <dgm:pt modelId="{120F9105-9676-47E5-BC06-0629A07A40C5}" type="pres">
      <dgm:prSet presAssocID="{B58A8205-E0ED-4EB5-A509-450ED3C50F49}" presName="thinLine3" presStyleLbl="callout" presStyleIdx="0" presStyleCnt="18"/>
      <dgm:spPr/>
    </dgm:pt>
    <dgm:pt modelId="{AE6A6CF2-8841-42C2-9FB1-FBED2BF2FB9D}" type="pres">
      <dgm:prSet presAssocID="{326C7145-D1D0-4ED4-A9C9-14BFFC5D58AD}" presName="horz3" presStyleCnt="0"/>
      <dgm:spPr/>
    </dgm:pt>
    <dgm:pt modelId="{6C463B91-18C1-4EDC-8F1B-BED14C4E5003}" type="pres">
      <dgm:prSet presAssocID="{326C7145-D1D0-4ED4-A9C9-14BFFC5D58AD}" presName="horzSpace3" presStyleCnt="0"/>
      <dgm:spPr/>
    </dgm:pt>
    <dgm:pt modelId="{C2430BE8-0AE2-43A4-B6C5-292C579360F9}" type="pres">
      <dgm:prSet presAssocID="{326C7145-D1D0-4ED4-A9C9-14BFFC5D58AD}" presName="tx3" presStyleLbl="revTx" presStyleIdx="3" presStyleCnt="23"/>
      <dgm:spPr/>
      <dgm:t>
        <a:bodyPr/>
        <a:lstStyle/>
        <a:p>
          <a:endParaRPr lang="ru-RU"/>
        </a:p>
      </dgm:t>
    </dgm:pt>
    <dgm:pt modelId="{71993BA5-B29A-4667-B8BD-6335573829E9}" type="pres">
      <dgm:prSet presAssocID="{326C7145-D1D0-4ED4-A9C9-14BFFC5D58AD}" presName="vert3" presStyleCnt="0"/>
      <dgm:spPr/>
    </dgm:pt>
    <dgm:pt modelId="{50FD0AF6-A77A-4C27-9506-1926A11926AD}" type="pres">
      <dgm:prSet presAssocID="{FB567B98-DD53-4942-852F-D8863D13226E}" presName="thinLine3" presStyleLbl="callout" presStyleIdx="1" presStyleCnt="18"/>
      <dgm:spPr/>
    </dgm:pt>
    <dgm:pt modelId="{9C4E9FC3-24D0-4BBD-B4CA-BFBDD7487D91}" type="pres">
      <dgm:prSet presAssocID="{2CD36C54-9615-4E87-9ED0-E1991F35B701}" presName="horz3" presStyleCnt="0"/>
      <dgm:spPr/>
    </dgm:pt>
    <dgm:pt modelId="{52278125-B948-472F-B7FF-0BC1123C9C73}" type="pres">
      <dgm:prSet presAssocID="{2CD36C54-9615-4E87-9ED0-E1991F35B701}" presName="horzSpace3" presStyleCnt="0"/>
      <dgm:spPr/>
    </dgm:pt>
    <dgm:pt modelId="{4A989F0F-080B-4D65-9324-0F1EDF96B5B8}" type="pres">
      <dgm:prSet presAssocID="{2CD36C54-9615-4E87-9ED0-E1991F35B701}" presName="tx3" presStyleLbl="revTx" presStyleIdx="4" presStyleCnt="23"/>
      <dgm:spPr/>
      <dgm:t>
        <a:bodyPr/>
        <a:lstStyle/>
        <a:p>
          <a:endParaRPr lang="ru-RU"/>
        </a:p>
      </dgm:t>
    </dgm:pt>
    <dgm:pt modelId="{7CBD04B5-3E7A-4CAF-91F3-A2B69B5C327F}" type="pres">
      <dgm:prSet presAssocID="{2CD36C54-9615-4E87-9ED0-E1991F35B701}" presName="vert3" presStyleCnt="0"/>
      <dgm:spPr/>
    </dgm:pt>
    <dgm:pt modelId="{58D8978F-D1D6-4121-B462-AC9986A0A164}" type="pres">
      <dgm:prSet presAssocID="{2FE0DC8A-2C43-4B41-96D7-A54315D8047C}" presName="thinLine2b" presStyleLbl="callout" presStyleIdx="2" presStyleCnt="18"/>
      <dgm:spPr/>
    </dgm:pt>
    <dgm:pt modelId="{FA85CABE-10A3-435D-99FA-D01ECF88399D}" type="pres">
      <dgm:prSet presAssocID="{2FE0DC8A-2C43-4B41-96D7-A54315D8047C}" presName="vertSpace2b" presStyleCnt="0"/>
      <dgm:spPr/>
    </dgm:pt>
    <dgm:pt modelId="{878E764B-5561-4450-B6DA-63B3A9D64A17}" type="pres">
      <dgm:prSet presAssocID="{6F258B94-134B-48AC-A35B-AEDD8C1811F2}" presName="horz2" presStyleCnt="0"/>
      <dgm:spPr/>
    </dgm:pt>
    <dgm:pt modelId="{EA4D2169-E440-44D6-86E5-20E78CDACFE3}" type="pres">
      <dgm:prSet presAssocID="{6F258B94-134B-48AC-A35B-AEDD8C1811F2}" presName="horzSpace2" presStyleCnt="0"/>
      <dgm:spPr/>
    </dgm:pt>
    <dgm:pt modelId="{864A3D20-C4AB-41E5-B0B1-848396F3C557}" type="pres">
      <dgm:prSet presAssocID="{6F258B94-134B-48AC-A35B-AEDD8C1811F2}" presName="tx2" presStyleLbl="revTx" presStyleIdx="5" presStyleCnt="23"/>
      <dgm:spPr/>
      <dgm:t>
        <a:bodyPr/>
        <a:lstStyle/>
        <a:p>
          <a:endParaRPr lang="ru-RU"/>
        </a:p>
      </dgm:t>
    </dgm:pt>
    <dgm:pt modelId="{11C01DD2-9E53-48FB-8F88-5CA20E128A23}" type="pres">
      <dgm:prSet presAssocID="{6F258B94-134B-48AC-A35B-AEDD8C1811F2}" presName="vert2" presStyleCnt="0"/>
      <dgm:spPr/>
    </dgm:pt>
    <dgm:pt modelId="{7A251CDF-C872-474D-A467-29B9C9E73C99}" type="pres">
      <dgm:prSet presAssocID="{6B1CF5E8-AC55-46AB-B5EB-DCDABE9CC4A9}" presName="horz3" presStyleCnt="0"/>
      <dgm:spPr/>
    </dgm:pt>
    <dgm:pt modelId="{E3D455E7-9092-4EB6-AF1A-E0D295657114}" type="pres">
      <dgm:prSet presAssocID="{6B1CF5E8-AC55-46AB-B5EB-DCDABE9CC4A9}" presName="horzSpace3" presStyleCnt="0"/>
      <dgm:spPr/>
    </dgm:pt>
    <dgm:pt modelId="{74F36F2D-3A4A-4E2F-BDD2-B7A91D977D52}" type="pres">
      <dgm:prSet presAssocID="{6B1CF5E8-AC55-46AB-B5EB-DCDABE9CC4A9}" presName="tx3" presStyleLbl="revTx" presStyleIdx="6" presStyleCnt="23"/>
      <dgm:spPr/>
      <dgm:t>
        <a:bodyPr/>
        <a:lstStyle/>
        <a:p>
          <a:endParaRPr lang="ru-RU"/>
        </a:p>
      </dgm:t>
    </dgm:pt>
    <dgm:pt modelId="{5680CB28-0B46-4771-B8ED-201388D7061B}" type="pres">
      <dgm:prSet presAssocID="{6B1CF5E8-AC55-46AB-B5EB-DCDABE9CC4A9}" presName="vert3" presStyleCnt="0"/>
      <dgm:spPr/>
    </dgm:pt>
    <dgm:pt modelId="{14F38BCD-A36E-4657-878B-1FF18092E587}" type="pres">
      <dgm:prSet presAssocID="{7A353106-9176-4920-8029-B887AD144D57}" presName="thinLine3" presStyleLbl="callout" presStyleIdx="3" presStyleCnt="18"/>
      <dgm:spPr/>
    </dgm:pt>
    <dgm:pt modelId="{66155C94-6C02-4B36-A1F3-CFFA7135FD93}" type="pres">
      <dgm:prSet presAssocID="{25C21A87-32CE-472B-9753-3EBAAFA84774}" presName="horz3" presStyleCnt="0"/>
      <dgm:spPr/>
    </dgm:pt>
    <dgm:pt modelId="{A0045775-C7FD-4F3C-95E3-8F373C59D76C}" type="pres">
      <dgm:prSet presAssocID="{25C21A87-32CE-472B-9753-3EBAAFA84774}" presName="horzSpace3" presStyleCnt="0"/>
      <dgm:spPr/>
    </dgm:pt>
    <dgm:pt modelId="{655FAB75-3B8B-4F12-99A6-C077F30FDBE8}" type="pres">
      <dgm:prSet presAssocID="{25C21A87-32CE-472B-9753-3EBAAFA84774}" presName="tx3" presStyleLbl="revTx" presStyleIdx="7" presStyleCnt="23"/>
      <dgm:spPr/>
      <dgm:t>
        <a:bodyPr/>
        <a:lstStyle/>
        <a:p>
          <a:endParaRPr lang="ru-RU"/>
        </a:p>
      </dgm:t>
    </dgm:pt>
    <dgm:pt modelId="{EBFA206A-1AAF-4EC4-8FFE-CDE608ABB0AF}" type="pres">
      <dgm:prSet presAssocID="{25C21A87-32CE-472B-9753-3EBAAFA84774}" presName="vert3" presStyleCnt="0"/>
      <dgm:spPr/>
    </dgm:pt>
    <dgm:pt modelId="{E6A8D623-6CC5-4E0D-BCCC-8CD9D447411F}" type="pres">
      <dgm:prSet presAssocID="{7586C222-40BE-46B2-BC2B-3BD5927EECB2}" presName="thinLine3" presStyleLbl="callout" presStyleIdx="4" presStyleCnt="18"/>
      <dgm:spPr/>
    </dgm:pt>
    <dgm:pt modelId="{5CE7DCFC-3A21-481D-A23D-9B289D435F81}" type="pres">
      <dgm:prSet presAssocID="{458ED178-6F26-4A7C-BFC1-4F69B2DDCBB2}" presName="horz3" presStyleCnt="0"/>
      <dgm:spPr/>
    </dgm:pt>
    <dgm:pt modelId="{26CEE7E2-955A-443E-99E7-EB3253735E74}" type="pres">
      <dgm:prSet presAssocID="{458ED178-6F26-4A7C-BFC1-4F69B2DDCBB2}" presName="horzSpace3" presStyleCnt="0"/>
      <dgm:spPr/>
    </dgm:pt>
    <dgm:pt modelId="{A9B2DF73-1A60-4ECA-945B-31ACA15D2328}" type="pres">
      <dgm:prSet presAssocID="{458ED178-6F26-4A7C-BFC1-4F69B2DDCBB2}" presName="tx3" presStyleLbl="revTx" presStyleIdx="8" presStyleCnt="23"/>
      <dgm:spPr/>
      <dgm:t>
        <a:bodyPr/>
        <a:lstStyle/>
        <a:p>
          <a:endParaRPr lang="ru-RU"/>
        </a:p>
      </dgm:t>
    </dgm:pt>
    <dgm:pt modelId="{EC2D31D3-76F3-4954-B877-C0B3753EE1F8}" type="pres">
      <dgm:prSet presAssocID="{458ED178-6F26-4A7C-BFC1-4F69B2DDCBB2}" presName="vert3" presStyleCnt="0"/>
      <dgm:spPr/>
    </dgm:pt>
    <dgm:pt modelId="{4D1CFBD0-DD08-403E-8561-7EC88CE3B631}" type="pres">
      <dgm:prSet presAssocID="{09834E30-5C79-456F-B966-6516D0BA576D}" presName="thinLine3" presStyleLbl="callout" presStyleIdx="5" presStyleCnt="18"/>
      <dgm:spPr/>
    </dgm:pt>
    <dgm:pt modelId="{18ADCE8D-5921-44DE-AA68-0B9A58784A5D}" type="pres">
      <dgm:prSet presAssocID="{AAC31018-82B9-405F-8635-4D026283FC50}" presName="horz3" presStyleCnt="0"/>
      <dgm:spPr/>
    </dgm:pt>
    <dgm:pt modelId="{771AF76D-49BB-4422-9784-7E6E2B1ABAAC}" type="pres">
      <dgm:prSet presAssocID="{AAC31018-82B9-405F-8635-4D026283FC50}" presName="horzSpace3" presStyleCnt="0"/>
      <dgm:spPr/>
    </dgm:pt>
    <dgm:pt modelId="{B50B03F5-BE06-4D4A-924C-90BBE279AFAA}" type="pres">
      <dgm:prSet presAssocID="{AAC31018-82B9-405F-8635-4D026283FC50}" presName="tx3" presStyleLbl="revTx" presStyleIdx="9" presStyleCnt="23"/>
      <dgm:spPr/>
      <dgm:t>
        <a:bodyPr/>
        <a:lstStyle/>
        <a:p>
          <a:endParaRPr lang="ru-RU"/>
        </a:p>
      </dgm:t>
    </dgm:pt>
    <dgm:pt modelId="{B3455A11-0269-4E48-B04B-BF36901426B3}" type="pres">
      <dgm:prSet presAssocID="{AAC31018-82B9-405F-8635-4D026283FC50}" presName="vert3" presStyleCnt="0"/>
      <dgm:spPr/>
    </dgm:pt>
    <dgm:pt modelId="{D4DB1D3D-173F-4175-805C-2DAE8CED1171}" type="pres">
      <dgm:prSet presAssocID="{C0F8E5F9-1837-4783-BA63-6FCE4CBBC40A}" presName="thinLine3" presStyleLbl="callout" presStyleIdx="6" presStyleCnt="18"/>
      <dgm:spPr/>
    </dgm:pt>
    <dgm:pt modelId="{0DBC31F6-B9D1-49EE-B768-4977C3BB7E21}" type="pres">
      <dgm:prSet presAssocID="{4719A11D-AD27-4775-8A20-FD7EF4730FEF}" presName="horz3" presStyleCnt="0"/>
      <dgm:spPr/>
    </dgm:pt>
    <dgm:pt modelId="{F7C1D489-8174-4BE0-A851-BAD8DB0E9878}" type="pres">
      <dgm:prSet presAssocID="{4719A11D-AD27-4775-8A20-FD7EF4730FEF}" presName="horzSpace3" presStyleCnt="0"/>
      <dgm:spPr/>
    </dgm:pt>
    <dgm:pt modelId="{36CA7355-BD00-40C8-9129-FEBA34DF774A}" type="pres">
      <dgm:prSet presAssocID="{4719A11D-AD27-4775-8A20-FD7EF4730FEF}" presName="tx3" presStyleLbl="revTx" presStyleIdx="10" presStyleCnt="23"/>
      <dgm:spPr/>
      <dgm:t>
        <a:bodyPr/>
        <a:lstStyle/>
        <a:p>
          <a:endParaRPr lang="ru-RU"/>
        </a:p>
      </dgm:t>
    </dgm:pt>
    <dgm:pt modelId="{771EFF2F-A969-445C-9EB2-F420C5DF5207}" type="pres">
      <dgm:prSet presAssocID="{4719A11D-AD27-4775-8A20-FD7EF4730FEF}" presName="vert3" presStyleCnt="0"/>
      <dgm:spPr/>
    </dgm:pt>
    <dgm:pt modelId="{7744727F-74D6-4E65-9DBB-DAFB316DF0A4}" type="pres">
      <dgm:prSet presAssocID="{D98820D1-72F0-42F5-BEED-1DCBDAEFAA2A}" presName="thinLine3" presStyleLbl="callout" presStyleIdx="7" presStyleCnt="18"/>
      <dgm:spPr/>
    </dgm:pt>
    <dgm:pt modelId="{F05FC444-2297-4BA5-835C-156912DA0325}" type="pres">
      <dgm:prSet presAssocID="{2403ACFC-0008-425C-A992-C90ECE855264}" presName="horz3" presStyleCnt="0"/>
      <dgm:spPr/>
    </dgm:pt>
    <dgm:pt modelId="{1296BB37-2069-46C0-8B4E-B2D8A2ADA820}" type="pres">
      <dgm:prSet presAssocID="{2403ACFC-0008-425C-A992-C90ECE855264}" presName="horzSpace3" presStyleCnt="0"/>
      <dgm:spPr/>
    </dgm:pt>
    <dgm:pt modelId="{EB3B99F1-F70F-4E36-A0C8-C73E546C1474}" type="pres">
      <dgm:prSet presAssocID="{2403ACFC-0008-425C-A992-C90ECE855264}" presName="tx3" presStyleLbl="revTx" presStyleIdx="11" presStyleCnt="23" custLinFactNeighborX="0"/>
      <dgm:spPr/>
      <dgm:t>
        <a:bodyPr/>
        <a:lstStyle/>
        <a:p>
          <a:endParaRPr lang="ru-RU"/>
        </a:p>
      </dgm:t>
    </dgm:pt>
    <dgm:pt modelId="{2D290ABA-F6FF-4B77-9C44-36D1B02C8859}" type="pres">
      <dgm:prSet presAssocID="{2403ACFC-0008-425C-A992-C90ECE855264}" presName="vert3" presStyleCnt="0"/>
      <dgm:spPr/>
    </dgm:pt>
    <dgm:pt modelId="{66716561-651B-4F2C-A074-0E048E679174}" type="pres">
      <dgm:prSet presAssocID="{6F258B94-134B-48AC-A35B-AEDD8C1811F2}" presName="thinLine2b" presStyleLbl="callout" presStyleIdx="8" presStyleCnt="18"/>
      <dgm:spPr/>
    </dgm:pt>
    <dgm:pt modelId="{335F54E0-3795-4FFC-A954-81172B0F8E40}" type="pres">
      <dgm:prSet presAssocID="{6F258B94-134B-48AC-A35B-AEDD8C1811F2}" presName="vertSpace2b" presStyleCnt="0"/>
      <dgm:spPr/>
    </dgm:pt>
    <dgm:pt modelId="{534CB147-7D98-4152-94E8-A39B1D8CC065}" type="pres">
      <dgm:prSet presAssocID="{F4923494-EBD7-4544-9561-0569C725047C}" presName="horz2" presStyleCnt="0"/>
      <dgm:spPr/>
    </dgm:pt>
    <dgm:pt modelId="{90DBCB04-D19F-4B11-AA8C-70EC60C1F750}" type="pres">
      <dgm:prSet presAssocID="{F4923494-EBD7-4544-9561-0569C725047C}" presName="horzSpace2" presStyleCnt="0"/>
      <dgm:spPr/>
    </dgm:pt>
    <dgm:pt modelId="{E203C372-9BC1-474C-B52E-AD0DD3857B85}" type="pres">
      <dgm:prSet presAssocID="{F4923494-EBD7-4544-9561-0569C725047C}" presName="tx2" presStyleLbl="revTx" presStyleIdx="12" presStyleCnt="23"/>
      <dgm:spPr/>
      <dgm:t>
        <a:bodyPr/>
        <a:lstStyle/>
        <a:p>
          <a:endParaRPr lang="ru-RU"/>
        </a:p>
      </dgm:t>
    </dgm:pt>
    <dgm:pt modelId="{157BCD96-2068-47DE-A77A-69FE29DE6748}" type="pres">
      <dgm:prSet presAssocID="{F4923494-EBD7-4544-9561-0569C725047C}" presName="vert2" presStyleCnt="0"/>
      <dgm:spPr/>
    </dgm:pt>
    <dgm:pt modelId="{8E5C0DEC-ACA8-4B1A-9645-079866AA5B87}" type="pres">
      <dgm:prSet presAssocID="{CBF99435-D923-4B7C-8824-89DA54EDD91E}" presName="horz3" presStyleCnt="0"/>
      <dgm:spPr/>
    </dgm:pt>
    <dgm:pt modelId="{FC949CB0-CE56-4039-AB04-934F88BA8152}" type="pres">
      <dgm:prSet presAssocID="{CBF99435-D923-4B7C-8824-89DA54EDD91E}" presName="horzSpace3" presStyleCnt="0"/>
      <dgm:spPr/>
    </dgm:pt>
    <dgm:pt modelId="{EAC955B6-A535-43B1-872E-F49A49202D3D}" type="pres">
      <dgm:prSet presAssocID="{CBF99435-D923-4B7C-8824-89DA54EDD91E}" presName="tx3" presStyleLbl="revTx" presStyleIdx="13" presStyleCnt="23"/>
      <dgm:spPr/>
      <dgm:t>
        <a:bodyPr/>
        <a:lstStyle/>
        <a:p>
          <a:endParaRPr lang="ru-RU"/>
        </a:p>
      </dgm:t>
    </dgm:pt>
    <dgm:pt modelId="{AF71D74B-255B-4E45-8C04-C7C664142461}" type="pres">
      <dgm:prSet presAssocID="{CBF99435-D923-4B7C-8824-89DA54EDD91E}" presName="vert3" presStyleCnt="0"/>
      <dgm:spPr/>
    </dgm:pt>
    <dgm:pt modelId="{02BB52DF-0C32-4579-A054-B73C64359959}" type="pres">
      <dgm:prSet presAssocID="{438A6AFE-2719-4219-8167-94DAEC0D5511}" presName="thinLine3" presStyleLbl="callout" presStyleIdx="9" presStyleCnt="18"/>
      <dgm:spPr/>
    </dgm:pt>
    <dgm:pt modelId="{A5E174B6-44C2-4081-B293-C710BBF6CCCE}" type="pres">
      <dgm:prSet presAssocID="{DF805977-6C50-400F-B851-E8D773D5A935}" presName="horz3" presStyleCnt="0"/>
      <dgm:spPr/>
    </dgm:pt>
    <dgm:pt modelId="{D885F1AA-7631-4399-85E8-3FA01D698488}" type="pres">
      <dgm:prSet presAssocID="{DF805977-6C50-400F-B851-E8D773D5A935}" presName="horzSpace3" presStyleCnt="0"/>
      <dgm:spPr/>
    </dgm:pt>
    <dgm:pt modelId="{B7F87EEB-A5C3-4BA8-87C5-910FAB93C984}" type="pres">
      <dgm:prSet presAssocID="{DF805977-6C50-400F-B851-E8D773D5A935}" presName="tx3" presStyleLbl="revTx" presStyleIdx="14" presStyleCnt="23"/>
      <dgm:spPr/>
      <dgm:t>
        <a:bodyPr/>
        <a:lstStyle/>
        <a:p>
          <a:endParaRPr lang="ru-RU"/>
        </a:p>
      </dgm:t>
    </dgm:pt>
    <dgm:pt modelId="{D597AD93-D587-47D5-AA2B-D9D7427CD336}" type="pres">
      <dgm:prSet presAssocID="{DF805977-6C50-400F-B851-E8D773D5A935}" presName="vert3" presStyleCnt="0"/>
      <dgm:spPr/>
    </dgm:pt>
    <dgm:pt modelId="{05141241-84D5-459B-A901-B50CAB9746DE}" type="pres">
      <dgm:prSet presAssocID="{6F796025-E0BF-4E03-87B9-4747EDF2A7EC}" presName="thinLine3" presStyleLbl="callout" presStyleIdx="10" presStyleCnt="18"/>
      <dgm:spPr/>
    </dgm:pt>
    <dgm:pt modelId="{38456ACC-BB86-4A58-B859-4BF7946D37F2}" type="pres">
      <dgm:prSet presAssocID="{61B555A1-94B9-4ECB-A14A-DB4FBD62F39B}" presName="horz3" presStyleCnt="0"/>
      <dgm:spPr/>
    </dgm:pt>
    <dgm:pt modelId="{9D9189E4-1B95-4FDC-A5EE-001D43F49035}" type="pres">
      <dgm:prSet presAssocID="{61B555A1-94B9-4ECB-A14A-DB4FBD62F39B}" presName="horzSpace3" presStyleCnt="0"/>
      <dgm:spPr/>
    </dgm:pt>
    <dgm:pt modelId="{7098B9FC-B5AE-472D-84F8-F6DEA57CAF76}" type="pres">
      <dgm:prSet presAssocID="{61B555A1-94B9-4ECB-A14A-DB4FBD62F39B}" presName="tx3" presStyleLbl="revTx" presStyleIdx="15" presStyleCnt="23"/>
      <dgm:spPr/>
      <dgm:t>
        <a:bodyPr/>
        <a:lstStyle/>
        <a:p>
          <a:endParaRPr lang="ru-RU"/>
        </a:p>
      </dgm:t>
    </dgm:pt>
    <dgm:pt modelId="{0BC9547B-07FF-4960-8529-8958614A69D9}" type="pres">
      <dgm:prSet presAssocID="{61B555A1-94B9-4ECB-A14A-DB4FBD62F39B}" presName="vert3" presStyleCnt="0"/>
      <dgm:spPr/>
    </dgm:pt>
    <dgm:pt modelId="{F36C7E65-ABB0-49AD-B10D-ED15D9773D7D}" type="pres">
      <dgm:prSet presAssocID="{AC211384-23C2-47AD-AFE0-1B3802B7B045}" presName="thinLine3" presStyleLbl="callout" presStyleIdx="11" presStyleCnt="18"/>
      <dgm:spPr/>
    </dgm:pt>
    <dgm:pt modelId="{F1FEF9D7-74E8-4488-99A0-5A5231112544}" type="pres">
      <dgm:prSet presAssocID="{14D0C4D3-564C-4A6D-8D4E-653FDE9EB279}" presName="horz3" presStyleCnt="0"/>
      <dgm:spPr/>
    </dgm:pt>
    <dgm:pt modelId="{9E3501D3-687D-44E9-AEE3-51C4B250E925}" type="pres">
      <dgm:prSet presAssocID="{14D0C4D3-564C-4A6D-8D4E-653FDE9EB279}" presName="horzSpace3" presStyleCnt="0"/>
      <dgm:spPr/>
    </dgm:pt>
    <dgm:pt modelId="{69EABFE6-EFED-4B3B-857B-FB7CEF0DA6F9}" type="pres">
      <dgm:prSet presAssocID="{14D0C4D3-564C-4A6D-8D4E-653FDE9EB279}" presName="tx3" presStyleLbl="revTx" presStyleIdx="16" presStyleCnt="23"/>
      <dgm:spPr/>
      <dgm:t>
        <a:bodyPr/>
        <a:lstStyle/>
        <a:p>
          <a:endParaRPr lang="ru-RU"/>
        </a:p>
      </dgm:t>
    </dgm:pt>
    <dgm:pt modelId="{7DE2EB19-6D2E-4E4D-9ACE-2C05A09AABA2}" type="pres">
      <dgm:prSet presAssocID="{14D0C4D3-564C-4A6D-8D4E-653FDE9EB279}" presName="vert3" presStyleCnt="0"/>
      <dgm:spPr/>
    </dgm:pt>
    <dgm:pt modelId="{C3448275-9E3E-4485-9EFF-0724390F18B6}" type="pres">
      <dgm:prSet presAssocID="{F4923494-EBD7-4544-9561-0569C725047C}" presName="thinLine2b" presStyleLbl="callout" presStyleIdx="12" presStyleCnt="18"/>
      <dgm:spPr/>
    </dgm:pt>
    <dgm:pt modelId="{6C8372A0-0B6B-4A7D-A6CB-7A8398479CF4}" type="pres">
      <dgm:prSet presAssocID="{F4923494-EBD7-4544-9561-0569C725047C}" presName="vertSpace2b" presStyleCnt="0"/>
      <dgm:spPr/>
    </dgm:pt>
    <dgm:pt modelId="{FD52EB86-E6B2-49BA-B7D1-1F80DEF520BD}" type="pres">
      <dgm:prSet presAssocID="{3AC25D6D-D57B-4F3F-9123-146F6F83AF84}" presName="horz2" presStyleCnt="0"/>
      <dgm:spPr/>
    </dgm:pt>
    <dgm:pt modelId="{53822ABA-8825-4044-8EB5-9E09ABA28E87}" type="pres">
      <dgm:prSet presAssocID="{3AC25D6D-D57B-4F3F-9123-146F6F83AF84}" presName="horzSpace2" presStyleCnt="0"/>
      <dgm:spPr/>
    </dgm:pt>
    <dgm:pt modelId="{9A70CF7C-F70C-490B-939D-0E646C23FADE}" type="pres">
      <dgm:prSet presAssocID="{3AC25D6D-D57B-4F3F-9123-146F6F83AF84}" presName="tx2" presStyleLbl="revTx" presStyleIdx="17" presStyleCnt="23"/>
      <dgm:spPr/>
      <dgm:t>
        <a:bodyPr/>
        <a:lstStyle/>
        <a:p>
          <a:endParaRPr lang="ru-RU"/>
        </a:p>
      </dgm:t>
    </dgm:pt>
    <dgm:pt modelId="{853E609C-8C5E-40E0-BC80-28DDA961D163}" type="pres">
      <dgm:prSet presAssocID="{3AC25D6D-D57B-4F3F-9123-146F6F83AF84}" presName="vert2" presStyleCnt="0"/>
      <dgm:spPr/>
    </dgm:pt>
    <dgm:pt modelId="{539BCC9E-D274-4A41-9288-5F73266D0A8F}" type="pres">
      <dgm:prSet presAssocID="{3AC25D6D-D57B-4F3F-9123-146F6F83AF84}" presName="thinLine2b" presStyleLbl="callout" presStyleIdx="13" presStyleCnt="18"/>
      <dgm:spPr/>
    </dgm:pt>
    <dgm:pt modelId="{89CB28C3-E16D-4A3E-B630-10CA78EDEE4F}" type="pres">
      <dgm:prSet presAssocID="{3AC25D6D-D57B-4F3F-9123-146F6F83AF84}" presName="vertSpace2b" presStyleCnt="0"/>
      <dgm:spPr/>
    </dgm:pt>
    <dgm:pt modelId="{996C5C68-DDBF-4F2F-9AF4-0864654E33FC}" type="pres">
      <dgm:prSet presAssocID="{F3C340D5-5E94-42CB-AD97-EDA3F6E7F149}" presName="horz2" presStyleCnt="0"/>
      <dgm:spPr/>
    </dgm:pt>
    <dgm:pt modelId="{9C636B34-01A2-4379-B17E-6DF0732D9599}" type="pres">
      <dgm:prSet presAssocID="{F3C340D5-5E94-42CB-AD97-EDA3F6E7F149}" presName="horzSpace2" presStyleCnt="0"/>
      <dgm:spPr/>
    </dgm:pt>
    <dgm:pt modelId="{52B99C92-28A2-4576-AAD6-049DCA8D6DAD}" type="pres">
      <dgm:prSet presAssocID="{F3C340D5-5E94-42CB-AD97-EDA3F6E7F149}" presName="tx2" presStyleLbl="revTx" presStyleIdx="18" presStyleCnt="23"/>
      <dgm:spPr/>
      <dgm:t>
        <a:bodyPr/>
        <a:lstStyle/>
        <a:p>
          <a:endParaRPr lang="ru-RU"/>
        </a:p>
      </dgm:t>
    </dgm:pt>
    <dgm:pt modelId="{FC09E477-E554-4997-8734-93DCBBB1676A}" type="pres">
      <dgm:prSet presAssocID="{F3C340D5-5E94-42CB-AD97-EDA3F6E7F149}" presName="vert2" presStyleCnt="0"/>
      <dgm:spPr/>
    </dgm:pt>
    <dgm:pt modelId="{C58C8566-EC73-4DFC-99C7-F530D75673F0}" type="pres">
      <dgm:prSet presAssocID="{BF8DC6F4-7B05-4FBB-A785-91ED96B9FBDD}" presName="horz3" presStyleCnt="0"/>
      <dgm:spPr/>
    </dgm:pt>
    <dgm:pt modelId="{95D7D1B4-21E1-43F1-B735-F407ABE23C7B}" type="pres">
      <dgm:prSet presAssocID="{BF8DC6F4-7B05-4FBB-A785-91ED96B9FBDD}" presName="horzSpace3" presStyleCnt="0"/>
      <dgm:spPr/>
    </dgm:pt>
    <dgm:pt modelId="{1E896502-940F-41FA-A23E-A72402F911DD}" type="pres">
      <dgm:prSet presAssocID="{BF8DC6F4-7B05-4FBB-A785-91ED96B9FBDD}" presName="tx3" presStyleLbl="revTx" presStyleIdx="19" presStyleCnt="23"/>
      <dgm:spPr/>
      <dgm:t>
        <a:bodyPr/>
        <a:lstStyle/>
        <a:p>
          <a:endParaRPr lang="ru-RU"/>
        </a:p>
      </dgm:t>
    </dgm:pt>
    <dgm:pt modelId="{86BA098E-D623-4908-B2B3-879292FE63D2}" type="pres">
      <dgm:prSet presAssocID="{BF8DC6F4-7B05-4FBB-A785-91ED96B9FBDD}" presName="vert3" presStyleCnt="0"/>
      <dgm:spPr/>
    </dgm:pt>
    <dgm:pt modelId="{E5ECE439-FB8D-491D-BF08-0BCDDE4F38BA}" type="pres">
      <dgm:prSet presAssocID="{1AE598DE-3F31-4D94-AB8E-A3F8A3697A35}" presName="thinLine3" presStyleLbl="callout" presStyleIdx="14" presStyleCnt="18"/>
      <dgm:spPr/>
    </dgm:pt>
    <dgm:pt modelId="{8BC87DE1-C044-4684-8990-2F9252A8359F}" type="pres">
      <dgm:prSet presAssocID="{65C4E8A3-7AF0-403A-B82E-CF42D4ACA8C4}" presName="horz3" presStyleCnt="0"/>
      <dgm:spPr/>
    </dgm:pt>
    <dgm:pt modelId="{16EA1520-752B-47CE-820F-69F742C82854}" type="pres">
      <dgm:prSet presAssocID="{65C4E8A3-7AF0-403A-B82E-CF42D4ACA8C4}" presName="horzSpace3" presStyleCnt="0"/>
      <dgm:spPr/>
    </dgm:pt>
    <dgm:pt modelId="{CDE564C7-2C4B-4276-B3EE-B41BADB81EAD}" type="pres">
      <dgm:prSet presAssocID="{65C4E8A3-7AF0-403A-B82E-CF42D4ACA8C4}" presName="tx3" presStyleLbl="revTx" presStyleIdx="20" presStyleCnt="23"/>
      <dgm:spPr/>
      <dgm:t>
        <a:bodyPr/>
        <a:lstStyle/>
        <a:p>
          <a:endParaRPr lang="ru-RU"/>
        </a:p>
      </dgm:t>
    </dgm:pt>
    <dgm:pt modelId="{7D922EAD-808A-4F91-854E-DF6C67E27AAD}" type="pres">
      <dgm:prSet presAssocID="{65C4E8A3-7AF0-403A-B82E-CF42D4ACA8C4}" presName="vert3" presStyleCnt="0"/>
      <dgm:spPr/>
    </dgm:pt>
    <dgm:pt modelId="{ADC740E3-CED7-4D60-B7C0-2EDB2E632109}" type="pres">
      <dgm:prSet presAssocID="{20369E94-747C-4144-B48D-9BF3A8FE3619}" presName="thinLine3" presStyleLbl="callout" presStyleIdx="15" presStyleCnt="18"/>
      <dgm:spPr/>
    </dgm:pt>
    <dgm:pt modelId="{19E63DEC-D77C-4B3C-82EC-45612E663268}" type="pres">
      <dgm:prSet presAssocID="{1B650ABF-9230-43F6-8DA6-4E95DAE9152F}" presName="horz3" presStyleCnt="0"/>
      <dgm:spPr/>
    </dgm:pt>
    <dgm:pt modelId="{58F66754-0ECA-439B-A69F-A2F3A3D5383C}" type="pres">
      <dgm:prSet presAssocID="{1B650ABF-9230-43F6-8DA6-4E95DAE9152F}" presName="horzSpace3" presStyleCnt="0"/>
      <dgm:spPr/>
    </dgm:pt>
    <dgm:pt modelId="{213B02B7-092C-47B0-AF26-D0423F2CFBF4}" type="pres">
      <dgm:prSet presAssocID="{1B650ABF-9230-43F6-8DA6-4E95DAE9152F}" presName="tx3" presStyleLbl="revTx" presStyleIdx="21" presStyleCnt="23"/>
      <dgm:spPr/>
      <dgm:t>
        <a:bodyPr/>
        <a:lstStyle/>
        <a:p>
          <a:endParaRPr lang="ru-RU"/>
        </a:p>
      </dgm:t>
    </dgm:pt>
    <dgm:pt modelId="{932F4135-3C34-47F8-A9B6-C7B5F806299B}" type="pres">
      <dgm:prSet presAssocID="{1B650ABF-9230-43F6-8DA6-4E95DAE9152F}" presName="vert3" presStyleCnt="0"/>
      <dgm:spPr/>
    </dgm:pt>
    <dgm:pt modelId="{4EEE76A3-42F2-4765-8CB9-DD7A5B24ED08}" type="pres">
      <dgm:prSet presAssocID="{965EBEBC-5E89-4509-93B6-2CE2D19C4A5D}" presName="thinLine3" presStyleLbl="callout" presStyleIdx="16" presStyleCnt="18"/>
      <dgm:spPr/>
    </dgm:pt>
    <dgm:pt modelId="{3A05A789-E4DA-4E06-B5C2-F76549819ADC}" type="pres">
      <dgm:prSet presAssocID="{B9D1D68D-28FD-4495-A771-CDF5D4D45120}" presName="horz3" presStyleCnt="0"/>
      <dgm:spPr/>
    </dgm:pt>
    <dgm:pt modelId="{8D50E602-6E2D-4F69-8BDF-0E15679F7AD2}" type="pres">
      <dgm:prSet presAssocID="{B9D1D68D-28FD-4495-A771-CDF5D4D45120}" presName="horzSpace3" presStyleCnt="0"/>
      <dgm:spPr/>
    </dgm:pt>
    <dgm:pt modelId="{7A28CB4C-F850-49E9-8449-FA87322075C8}" type="pres">
      <dgm:prSet presAssocID="{B9D1D68D-28FD-4495-A771-CDF5D4D45120}" presName="tx3" presStyleLbl="revTx" presStyleIdx="22" presStyleCnt="23"/>
      <dgm:spPr/>
      <dgm:t>
        <a:bodyPr/>
        <a:lstStyle/>
        <a:p>
          <a:endParaRPr lang="ru-RU"/>
        </a:p>
      </dgm:t>
    </dgm:pt>
    <dgm:pt modelId="{F1DC9511-B8F6-4765-9988-939AE68FDDBC}" type="pres">
      <dgm:prSet presAssocID="{B9D1D68D-28FD-4495-A771-CDF5D4D45120}" presName="vert3" presStyleCnt="0"/>
      <dgm:spPr/>
    </dgm:pt>
    <dgm:pt modelId="{B81F7958-0958-4B3B-8222-CCFBEF2681FA}" type="pres">
      <dgm:prSet presAssocID="{F3C340D5-5E94-42CB-AD97-EDA3F6E7F149}" presName="thinLine2b" presStyleLbl="callout" presStyleIdx="17" presStyleCnt="18"/>
      <dgm:spPr/>
    </dgm:pt>
    <dgm:pt modelId="{32ABA5D5-BC83-46F3-8EFF-FCCFD15C2560}" type="pres">
      <dgm:prSet presAssocID="{F3C340D5-5E94-42CB-AD97-EDA3F6E7F149}" presName="vertSpace2b" presStyleCnt="0"/>
      <dgm:spPr/>
    </dgm:pt>
  </dgm:ptLst>
  <dgm:cxnLst>
    <dgm:cxn modelId="{E140F331-9F83-43D3-9D33-6639E9A48970}" srcId="{F4923494-EBD7-4544-9561-0569C725047C}" destId="{61B555A1-94B9-4ECB-A14A-DB4FBD62F39B}" srcOrd="2" destOrd="0" parTransId="{DB5EDEEA-E47C-425E-B6A4-C489405B1EBC}" sibTransId="{AC211384-23C2-47AD-AFE0-1B3802B7B045}"/>
    <dgm:cxn modelId="{57511A52-ABB0-4EF4-BE15-3C7F9A0C2BEE}" srcId="{6F258B94-134B-48AC-A35B-AEDD8C1811F2}" destId="{458ED178-6F26-4A7C-BFC1-4F69B2DDCBB2}" srcOrd="2" destOrd="0" parTransId="{4E30C658-2CA2-438D-B0F5-5A425B915991}" sibTransId="{09834E30-5C79-456F-B966-6516D0BA576D}"/>
    <dgm:cxn modelId="{10909D26-2638-454B-8949-301C84AE5941}" type="presOf" srcId="{AAC31018-82B9-405F-8635-4D026283FC50}" destId="{B50B03F5-BE06-4D4A-924C-90BBE279AFAA}" srcOrd="0" destOrd="0" presId="urn:microsoft.com/office/officeart/2008/layout/LinedList"/>
    <dgm:cxn modelId="{1E741E7F-1B2B-41A5-880E-3F55D1631F8C}" srcId="{2817B7A8-3A37-4D3C-A24B-5983E896A6B6}" destId="{F4923494-EBD7-4544-9561-0569C725047C}" srcOrd="2" destOrd="0" parTransId="{BA1F046D-2A63-4FFA-B832-3939F299CE06}" sibTransId="{00CC430A-B894-4643-8565-43D809B0B485}"/>
    <dgm:cxn modelId="{B60696BC-96D2-3347-ADB8-20A4881AFBC3}" type="presOf" srcId="{458ED178-6F26-4A7C-BFC1-4F69B2DDCBB2}" destId="{A9B2DF73-1A60-4ECA-945B-31ACA15D2328}" srcOrd="0" destOrd="0" presId="urn:microsoft.com/office/officeart/2008/layout/LinedList"/>
    <dgm:cxn modelId="{EAFFC79C-CCF2-5C4E-95A8-AC97D86FB52F}" type="presOf" srcId="{3C85FCB3-77AA-4718-96A9-1D2150328991}" destId="{31EE88C2-9415-4597-884C-B8FF75C936CB}" srcOrd="0" destOrd="0" presId="urn:microsoft.com/office/officeart/2008/layout/LinedList"/>
    <dgm:cxn modelId="{01A63F0B-CF23-439C-AD2C-E475433382F4}" srcId="{6F258B94-134B-48AC-A35B-AEDD8C1811F2}" destId="{6B1CF5E8-AC55-46AB-B5EB-DCDABE9CC4A9}" srcOrd="0" destOrd="0" parTransId="{DFEC6C7C-D362-40B0-9B54-314FFD5837F0}" sibTransId="{7A353106-9176-4920-8029-B887AD144D57}"/>
    <dgm:cxn modelId="{E3CF9910-02B1-408A-AEA0-255AB19215BA}" srcId="{6F258B94-134B-48AC-A35B-AEDD8C1811F2}" destId="{2403ACFC-0008-425C-A992-C90ECE855264}" srcOrd="5" destOrd="0" parTransId="{6E8ECBFA-4ED7-4529-86B0-E98E085CAE93}" sibTransId="{4928C311-E8AB-4867-A3A1-5DFC6D571B56}"/>
    <dgm:cxn modelId="{86A4837A-CC9B-A942-BC94-1508538EB079}" type="presOf" srcId="{2403ACFC-0008-425C-A992-C90ECE855264}" destId="{EB3B99F1-F70F-4E36-A0C8-C73E546C1474}" srcOrd="0" destOrd="0" presId="urn:microsoft.com/office/officeart/2008/layout/LinedList"/>
    <dgm:cxn modelId="{99A294CA-0585-7F4C-BD42-411A89FDEB6F}" type="presOf" srcId="{6B1CF5E8-AC55-46AB-B5EB-DCDABE9CC4A9}" destId="{74F36F2D-3A4A-4E2F-BDD2-B7A91D977D52}" srcOrd="0" destOrd="0" presId="urn:microsoft.com/office/officeart/2008/layout/LinedList"/>
    <dgm:cxn modelId="{BE6FFF74-25BC-4623-83B2-CB0C6E92FDE0}" srcId="{F3C340D5-5E94-42CB-AD97-EDA3F6E7F149}" destId="{65C4E8A3-7AF0-403A-B82E-CF42D4ACA8C4}" srcOrd="1" destOrd="0" parTransId="{5A3E0C50-0572-4FA6-864F-D8043DBDC28B}" sibTransId="{20369E94-747C-4144-B48D-9BF3A8FE3619}"/>
    <dgm:cxn modelId="{EBEB52A6-99D2-434E-9E61-139BEAB49775}" type="presOf" srcId="{65C4E8A3-7AF0-403A-B82E-CF42D4ACA8C4}" destId="{CDE564C7-2C4B-4276-B3EE-B41BADB81EAD}" srcOrd="0" destOrd="0" presId="urn:microsoft.com/office/officeart/2008/layout/LinedList"/>
    <dgm:cxn modelId="{13EF9613-B1CC-AD4B-95E5-0267981200DE}" type="presOf" srcId="{2817B7A8-3A37-4D3C-A24B-5983E896A6B6}" destId="{48DF775E-208B-4BE1-AAD1-93ACFAAB8B37}" srcOrd="0" destOrd="0" presId="urn:microsoft.com/office/officeart/2008/layout/LinedList"/>
    <dgm:cxn modelId="{42017969-5D54-4421-89BF-DAD20A6E3B28}" srcId="{F4923494-EBD7-4544-9561-0569C725047C}" destId="{CBF99435-D923-4B7C-8824-89DA54EDD91E}" srcOrd="0" destOrd="0" parTransId="{88F25CA7-5AFD-4177-9415-8CC7834B7B96}" sibTransId="{438A6AFE-2719-4219-8167-94DAEC0D5511}"/>
    <dgm:cxn modelId="{E1B768E1-5967-1846-85FC-55B1066AC1B5}" type="presOf" srcId="{B9D1D68D-28FD-4495-A771-CDF5D4D45120}" destId="{7A28CB4C-F850-49E9-8449-FA87322075C8}" srcOrd="0" destOrd="0" presId="urn:microsoft.com/office/officeart/2008/layout/LinedList"/>
    <dgm:cxn modelId="{B280CDBA-759F-4AAF-ABE1-64711F86EF0D}" srcId="{6F258B94-134B-48AC-A35B-AEDD8C1811F2}" destId="{4719A11D-AD27-4775-8A20-FD7EF4730FEF}" srcOrd="4" destOrd="0" parTransId="{5C201078-0B91-4237-860A-2EC01CD61447}" sibTransId="{D98820D1-72F0-42F5-BEED-1DCBDAEFAA2A}"/>
    <dgm:cxn modelId="{5A7B909B-9281-40B5-9B7A-102E13C64F30}" srcId="{2FE0DC8A-2C43-4B41-96D7-A54315D8047C}" destId="{2CD36C54-9615-4E87-9ED0-E1991F35B701}" srcOrd="2" destOrd="0" parTransId="{10FC3C59-4947-4829-85B6-2058A576E5CB}" sibTransId="{ADEA1095-EA5D-4A1F-904F-408599D7EF41}"/>
    <dgm:cxn modelId="{CBE1456C-CFE0-4546-B660-FC721772AC38}" type="presOf" srcId="{2CD36C54-9615-4E87-9ED0-E1991F35B701}" destId="{4A989F0F-080B-4D65-9324-0F1EDF96B5B8}" srcOrd="0" destOrd="0" presId="urn:microsoft.com/office/officeart/2008/layout/LinedList"/>
    <dgm:cxn modelId="{531BFBB5-1D7C-B94D-9D9C-815124469677}" type="presOf" srcId="{BF8DC6F4-7B05-4FBB-A785-91ED96B9FBDD}" destId="{1E896502-940F-41FA-A23E-A72402F911DD}" srcOrd="0" destOrd="0" presId="urn:microsoft.com/office/officeart/2008/layout/LinedList"/>
    <dgm:cxn modelId="{6E9C405C-CB15-42B7-A852-600CA5D2A846}" srcId="{2FE0DC8A-2C43-4B41-96D7-A54315D8047C}" destId="{BD91D3CE-0B03-410E-BC58-E917796481E6}" srcOrd="0" destOrd="0" parTransId="{7A0998DB-34AF-46A2-B407-0C093F4E19E0}" sibTransId="{B58A8205-E0ED-4EB5-A509-450ED3C50F49}"/>
    <dgm:cxn modelId="{0FFFD715-54A1-4D05-9FBC-BB19676FB3FC}" srcId="{F3C340D5-5E94-42CB-AD97-EDA3F6E7F149}" destId="{B9D1D68D-28FD-4495-A771-CDF5D4D45120}" srcOrd="3" destOrd="0" parTransId="{8E019C79-F6AC-4986-81FC-52D53E8E8F46}" sibTransId="{B2FA3E89-E27B-4FB8-80D8-AAEBD396B15F}"/>
    <dgm:cxn modelId="{F26648B8-8521-41E1-A66F-587D0DB1983C}" srcId="{2817B7A8-3A37-4D3C-A24B-5983E896A6B6}" destId="{F3C340D5-5E94-42CB-AD97-EDA3F6E7F149}" srcOrd="4" destOrd="0" parTransId="{F97AA972-5112-4116-98CA-F1065DB85AE1}" sibTransId="{3EEE28D4-9CB9-47D5-9A01-586F62A7E978}"/>
    <dgm:cxn modelId="{020C5CDD-3B78-4C76-B621-7FE9B655B9C4}" srcId="{3C85FCB3-77AA-4718-96A9-1D2150328991}" destId="{2817B7A8-3A37-4D3C-A24B-5983E896A6B6}" srcOrd="0" destOrd="0" parTransId="{02C3DECA-B0FF-4002-BB39-01B6B1E83673}" sibTransId="{BD175F2F-A786-42AF-8CF5-B02D5E0A5A8C}"/>
    <dgm:cxn modelId="{6A4DC7C5-32EE-4A4F-A2C5-A2F103173B5F}" srcId="{F4923494-EBD7-4544-9561-0569C725047C}" destId="{DF805977-6C50-400F-B851-E8D773D5A935}" srcOrd="1" destOrd="0" parTransId="{7681E8D7-0E3F-4881-89AC-5F1A2D825CE2}" sibTransId="{6F796025-E0BF-4E03-87B9-4747EDF2A7EC}"/>
    <dgm:cxn modelId="{CA8381C9-7D43-4936-BA91-404597C1CAD1}" srcId="{2817B7A8-3A37-4D3C-A24B-5983E896A6B6}" destId="{2FE0DC8A-2C43-4B41-96D7-A54315D8047C}" srcOrd="0" destOrd="0" parTransId="{ED57F95E-933F-4DF2-8CAE-E4C211246310}" sibTransId="{7F5310F5-5174-4A9B-B7B7-40F3C63D2BC8}"/>
    <dgm:cxn modelId="{FE1128D1-AD3B-6149-A1FD-4395547BA001}" type="presOf" srcId="{326C7145-D1D0-4ED4-A9C9-14BFFC5D58AD}" destId="{C2430BE8-0AE2-43A4-B6C5-292C579360F9}" srcOrd="0" destOrd="0" presId="urn:microsoft.com/office/officeart/2008/layout/LinedList"/>
    <dgm:cxn modelId="{2E130430-3813-B84B-AEFD-3FCC292F7921}" type="presOf" srcId="{6F258B94-134B-48AC-A35B-AEDD8C1811F2}" destId="{864A3D20-C4AB-41E5-B0B1-848396F3C557}" srcOrd="0" destOrd="0" presId="urn:microsoft.com/office/officeart/2008/layout/LinedList"/>
    <dgm:cxn modelId="{BD8C9272-81E9-4C1C-A8D1-CDB62D9DE694}" srcId="{2817B7A8-3A37-4D3C-A24B-5983E896A6B6}" destId="{3AC25D6D-D57B-4F3F-9123-146F6F83AF84}" srcOrd="3" destOrd="0" parTransId="{7F33E43F-9F4B-4EC6-8A84-F21D7A9AD8E1}" sibTransId="{386FF993-24E4-4320-A1A6-2990FEC7335F}"/>
    <dgm:cxn modelId="{748021DF-3A1E-C446-AE99-8AD85A9D4C1C}" type="presOf" srcId="{61B555A1-94B9-4ECB-A14A-DB4FBD62F39B}" destId="{7098B9FC-B5AE-472D-84F8-F6DEA57CAF76}" srcOrd="0" destOrd="0" presId="urn:microsoft.com/office/officeart/2008/layout/LinedList"/>
    <dgm:cxn modelId="{74AB00C9-1D6C-7749-9987-D8539126C8F2}" type="presOf" srcId="{F4923494-EBD7-4544-9561-0569C725047C}" destId="{E203C372-9BC1-474C-B52E-AD0DD3857B85}" srcOrd="0" destOrd="0" presId="urn:microsoft.com/office/officeart/2008/layout/LinedList"/>
    <dgm:cxn modelId="{2D841279-4D03-49B9-809A-C29349F8BB5B}" srcId="{F3C340D5-5E94-42CB-AD97-EDA3F6E7F149}" destId="{1B650ABF-9230-43F6-8DA6-4E95DAE9152F}" srcOrd="2" destOrd="0" parTransId="{994EF994-96B2-4F83-A787-00F8217C6B7E}" sibTransId="{965EBEBC-5E89-4509-93B6-2CE2D19C4A5D}"/>
    <dgm:cxn modelId="{C46CEAAD-ACCD-4B47-9733-0037576D078A}" type="presOf" srcId="{2FE0DC8A-2C43-4B41-96D7-A54315D8047C}" destId="{E248B3A3-8FF5-497E-A52E-44FAD454784C}" srcOrd="0" destOrd="0" presId="urn:microsoft.com/office/officeart/2008/layout/LinedList"/>
    <dgm:cxn modelId="{17DDDD38-2F95-4583-82BE-906368D495A0}" srcId="{6F258B94-134B-48AC-A35B-AEDD8C1811F2}" destId="{25C21A87-32CE-472B-9753-3EBAAFA84774}" srcOrd="1" destOrd="0" parTransId="{4C4CCC8C-1AF7-4F50-BE1C-3E8AC5A28A9E}" sibTransId="{7586C222-40BE-46B2-BC2B-3BD5927EECB2}"/>
    <dgm:cxn modelId="{0289B12C-7120-834E-8877-5C498FE54B92}" type="presOf" srcId="{1B650ABF-9230-43F6-8DA6-4E95DAE9152F}" destId="{213B02B7-092C-47B0-AF26-D0423F2CFBF4}" srcOrd="0" destOrd="0" presId="urn:microsoft.com/office/officeart/2008/layout/LinedList"/>
    <dgm:cxn modelId="{804E6394-3F0F-43C1-BFAB-6D74C2BE0D40}" srcId="{2FE0DC8A-2C43-4B41-96D7-A54315D8047C}" destId="{326C7145-D1D0-4ED4-A9C9-14BFFC5D58AD}" srcOrd="1" destOrd="0" parTransId="{392F0072-E114-41C7-A62C-03C45C09ED30}" sibTransId="{FB567B98-DD53-4942-852F-D8863D13226E}"/>
    <dgm:cxn modelId="{A779C7D5-44B3-4FB8-8FD7-FBEA9087760B}" srcId="{2817B7A8-3A37-4D3C-A24B-5983E896A6B6}" destId="{6F258B94-134B-48AC-A35B-AEDD8C1811F2}" srcOrd="1" destOrd="0" parTransId="{C5AED1E3-BD0D-4621-A7A0-03A3FB481751}" sibTransId="{7A47DF47-4749-41A5-8A45-53FD60360EC6}"/>
    <dgm:cxn modelId="{FBA4A0D5-C726-3946-9B8B-23635A184D0A}" type="presOf" srcId="{3AC25D6D-D57B-4F3F-9123-146F6F83AF84}" destId="{9A70CF7C-F70C-490B-939D-0E646C23FADE}" srcOrd="0" destOrd="0" presId="urn:microsoft.com/office/officeart/2008/layout/LinedList"/>
    <dgm:cxn modelId="{152B965B-1EB1-7642-AEA3-35B4D52A0D13}" type="presOf" srcId="{BD91D3CE-0B03-410E-BC58-E917796481E6}" destId="{ADAE80AB-E6CD-4380-9940-52A8F94FB34A}" srcOrd="0" destOrd="0" presId="urn:microsoft.com/office/officeart/2008/layout/LinedList"/>
    <dgm:cxn modelId="{272B00C3-B7B0-5843-AD1C-969092709E8E}" type="presOf" srcId="{DF805977-6C50-400F-B851-E8D773D5A935}" destId="{B7F87EEB-A5C3-4BA8-87C5-910FAB93C984}" srcOrd="0" destOrd="0" presId="urn:microsoft.com/office/officeart/2008/layout/LinedList"/>
    <dgm:cxn modelId="{CE9903B4-3329-4737-B00D-8F7B90191F48}" srcId="{6F258B94-134B-48AC-A35B-AEDD8C1811F2}" destId="{AAC31018-82B9-405F-8635-4D026283FC50}" srcOrd="3" destOrd="0" parTransId="{BC3E56EC-CC02-46DF-AE10-79C741E9427E}" sibTransId="{C0F8E5F9-1837-4783-BA63-6FCE4CBBC40A}"/>
    <dgm:cxn modelId="{E4091961-DBAB-EA4C-9C60-D12CA050FBB6}" type="presOf" srcId="{14D0C4D3-564C-4A6D-8D4E-653FDE9EB279}" destId="{69EABFE6-EFED-4B3B-857B-FB7CEF0DA6F9}" srcOrd="0" destOrd="0" presId="urn:microsoft.com/office/officeart/2008/layout/LinedList"/>
    <dgm:cxn modelId="{4F0BC255-F93F-E54C-98B0-DA1FA9F49C3B}" type="presOf" srcId="{F3C340D5-5E94-42CB-AD97-EDA3F6E7F149}" destId="{52B99C92-28A2-4576-AAD6-049DCA8D6DAD}" srcOrd="0" destOrd="0" presId="urn:microsoft.com/office/officeart/2008/layout/LinedList"/>
    <dgm:cxn modelId="{0374A121-2717-0E47-B146-44E950876BA8}" type="presOf" srcId="{4719A11D-AD27-4775-8A20-FD7EF4730FEF}" destId="{36CA7355-BD00-40C8-9129-FEBA34DF774A}" srcOrd="0" destOrd="0" presId="urn:microsoft.com/office/officeart/2008/layout/LinedList"/>
    <dgm:cxn modelId="{B27150F7-B9C7-4CA3-AE3C-CBBD26E0DAC0}" srcId="{F3C340D5-5E94-42CB-AD97-EDA3F6E7F149}" destId="{BF8DC6F4-7B05-4FBB-A785-91ED96B9FBDD}" srcOrd="0" destOrd="0" parTransId="{FA93DA5F-304C-43DF-BF3D-1233711E9EEA}" sibTransId="{1AE598DE-3F31-4D94-AB8E-A3F8A3697A35}"/>
    <dgm:cxn modelId="{E16310B0-9B58-4691-89F4-7DB515E9C1A1}" srcId="{F4923494-EBD7-4544-9561-0569C725047C}" destId="{14D0C4D3-564C-4A6D-8D4E-653FDE9EB279}" srcOrd="3" destOrd="0" parTransId="{5B7E229B-2F51-4244-83EF-3C783C11324F}" sibTransId="{70CBAEE1-9C4A-4339-834F-B77F711A499C}"/>
    <dgm:cxn modelId="{1014EE87-F7E0-864B-BE24-E4409AE3FB17}" type="presOf" srcId="{25C21A87-32CE-472B-9753-3EBAAFA84774}" destId="{655FAB75-3B8B-4F12-99A6-C077F30FDBE8}" srcOrd="0" destOrd="0" presId="urn:microsoft.com/office/officeart/2008/layout/LinedList"/>
    <dgm:cxn modelId="{57DDACE1-62C1-0D4E-B73F-C75C979AC332}" type="presOf" srcId="{CBF99435-D923-4B7C-8824-89DA54EDD91E}" destId="{EAC955B6-A535-43B1-872E-F49A49202D3D}" srcOrd="0" destOrd="0" presId="urn:microsoft.com/office/officeart/2008/layout/LinedList"/>
    <dgm:cxn modelId="{51894D48-84C4-D447-9450-B46C65A768B2}" type="presParOf" srcId="{31EE88C2-9415-4597-884C-B8FF75C936CB}" destId="{3FA7572F-4696-46D8-8799-C24DF376C1FB}" srcOrd="0" destOrd="0" presId="urn:microsoft.com/office/officeart/2008/layout/LinedList"/>
    <dgm:cxn modelId="{E99AB4A4-1B2B-7A41-B276-34A66BF7F2E5}" type="presParOf" srcId="{31EE88C2-9415-4597-884C-B8FF75C936CB}" destId="{ED40E0E1-A368-40F0-AFBA-4B0207881511}" srcOrd="1" destOrd="0" presId="urn:microsoft.com/office/officeart/2008/layout/LinedList"/>
    <dgm:cxn modelId="{AE3F2444-51DD-1243-ABE4-C3D5B2909BBB}" type="presParOf" srcId="{ED40E0E1-A368-40F0-AFBA-4B0207881511}" destId="{48DF775E-208B-4BE1-AAD1-93ACFAAB8B37}" srcOrd="0" destOrd="0" presId="urn:microsoft.com/office/officeart/2008/layout/LinedList"/>
    <dgm:cxn modelId="{B7BD884B-0D44-2242-83D8-0ACB0CE52F06}" type="presParOf" srcId="{ED40E0E1-A368-40F0-AFBA-4B0207881511}" destId="{B53E29A6-5C81-40EE-B597-BDAC4FD8EB99}" srcOrd="1" destOrd="0" presId="urn:microsoft.com/office/officeart/2008/layout/LinedList"/>
    <dgm:cxn modelId="{8BF4811A-8D9F-2345-9F5E-34C59809AE5C}" type="presParOf" srcId="{B53E29A6-5C81-40EE-B597-BDAC4FD8EB99}" destId="{D12D6264-3EF4-45E2-859F-C4ADD05D3F56}" srcOrd="0" destOrd="0" presId="urn:microsoft.com/office/officeart/2008/layout/LinedList"/>
    <dgm:cxn modelId="{8862BB3A-97AF-3142-A7A8-8D58C25E5C13}" type="presParOf" srcId="{B53E29A6-5C81-40EE-B597-BDAC4FD8EB99}" destId="{51631660-40AF-420B-8C22-41FBCC80BAE0}" srcOrd="1" destOrd="0" presId="urn:microsoft.com/office/officeart/2008/layout/LinedList"/>
    <dgm:cxn modelId="{0B0D6726-A687-DF4A-86D9-F837D0DD6DB4}" type="presParOf" srcId="{51631660-40AF-420B-8C22-41FBCC80BAE0}" destId="{DD744572-DE4B-43BE-9EF8-B6F332E3340C}" srcOrd="0" destOrd="0" presId="urn:microsoft.com/office/officeart/2008/layout/LinedList"/>
    <dgm:cxn modelId="{E61B22F3-953C-134B-9C01-71D0C0987D4A}" type="presParOf" srcId="{51631660-40AF-420B-8C22-41FBCC80BAE0}" destId="{E248B3A3-8FF5-497E-A52E-44FAD454784C}" srcOrd="1" destOrd="0" presId="urn:microsoft.com/office/officeart/2008/layout/LinedList"/>
    <dgm:cxn modelId="{F04B4796-F00D-2C45-B911-9086643CF2F3}" type="presParOf" srcId="{51631660-40AF-420B-8C22-41FBCC80BAE0}" destId="{64859A2E-4A50-4517-A3C7-F7004D691D65}" srcOrd="2" destOrd="0" presId="urn:microsoft.com/office/officeart/2008/layout/LinedList"/>
    <dgm:cxn modelId="{BDA9F5B0-7BE7-5D41-9B1E-8F124C0D79D1}" type="presParOf" srcId="{64859A2E-4A50-4517-A3C7-F7004D691D65}" destId="{AE57991B-EAA7-4C90-9B67-D02E500E1379}" srcOrd="0" destOrd="0" presId="urn:microsoft.com/office/officeart/2008/layout/LinedList"/>
    <dgm:cxn modelId="{A24AA712-87E9-9642-9AC0-70339943215E}" type="presParOf" srcId="{AE57991B-EAA7-4C90-9B67-D02E500E1379}" destId="{87DBE2D0-228B-480C-BC5F-D65B84940318}" srcOrd="0" destOrd="0" presId="urn:microsoft.com/office/officeart/2008/layout/LinedList"/>
    <dgm:cxn modelId="{D750DDA7-E01A-8F42-8312-1B4A777B0C89}" type="presParOf" srcId="{AE57991B-EAA7-4C90-9B67-D02E500E1379}" destId="{ADAE80AB-E6CD-4380-9940-52A8F94FB34A}" srcOrd="1" destOrd="0" presId="urn:microsoft.com/office/officeart/2008/layout/LinedList"/>
    <dgm:cxn modelId="{86EFF186-DAA6-A246-85BB-CFEDC541BE95}" type="presParOf" srcId="{AE57991B-EAA7-4C90-9B67-D02E500E1379}" destId="{EA3EA755-972A-4A85-8EFF-2E6A46D30437}" srcOrd="2" destOrd="0" presId="urn:microsoft.com/office/officeart/2008/layout/LinedList"/>
    <dgm:cxn modelId="{BB318637-1D1D-E041-9AED-566A86332A1E}" type="presParOf" srcId="{64859A2E-4A50-4517-A3C7-F7004D691D65}" destId="{120F9105-9676-47E5-BC06-0629A07A40C5}" srcOrd="1" destOrd="0" presId="urn:microsoft.com/office/officeart/2008/layout/LinedList"/>
    <dgm:cxn modelId="{1440C931-7F6D-AE46-B1F5-6470659F089E}" type="presParOf" srcId="{64859A2E-4A50-4517-A3C7-F7004D691D65}" destId="{AE6A6CF2-8841-42C2-9FB1-FBED2BF2FB9D}" srcOrd="2" destOrd="0" presId="urn:microsoft.com/office/officeart/2008/layout/LinedList"/>
    <dgm:cxn modelId="{732EDCA7-74FC-6044-BA16-F1815784D8DE}" type="presParOf" srcId="{AE6A6CF2-8841-42C2-9FB1-FBED2BF2FB9D}" destId="{6C463B91-18C1-4EDC-8F1B-BED14C4E5003}" srcOrd="0" destOrd="0" presId="urn:microsoft.com/office/officeart/2008/layout/LinedList"/>
    <dgm:cxn modelId="{D8801961-B546-C14A-B0FE-9A348E2387FD}" type="presParOf" srcId="{AE6A6CF2-8841-42C2-9FB1-FBED2BF2FB9D}" destId="{C2430BE8-0AE2-43A4-B6C5-292C579360F9}" srcOrd="1" destOrd="0" presId="urn:microsoft.com/office/officeart/2008/layout/LinedList"/>
    <dgm:cxn modelId="{01EF84B3-271F-9741-B378-4A5537E03B5A}" type="presParOf" srcId="{AE6A6CF2-8841-42C2-9FB1-FBED2BF2FB9D}" destId="{71993BA5-B29A-4667-B8BD-6335573829E9}" srcOrd="2" destOrd="0" presId="urn:microsoft.com/office/officeart/2008/layout/LinedList"/>
    <dgm:cxn modelId="{B2815ACB-CE95-F744-9A27-79C07B3B9326}" type="presParOf" srcId="{64859A2E-4A50-4517-A3C7-F7004D691D65}" destId="{50FD0AF6-A77A-4C27-9506-1926A11926AD}" srcOrd="3" destOrd="0" presId="urn:microsoft.com/office/officeart/2008/layout/LinedList"/>
    <dgm:cxn modelId="{67D9B07B-3C82-324E-9DD8-2E8183959220}" type="presParOf" srcId="{64859A2E-4A50-4517-A3C7-F7004D691D65}" destId="{9C4E9FC3-24D0-4BBD-B4CA-BFBDD7487D91}" srcOrd="4" destOrd="0" presId="urn:microsoft.com/office/officeart/2008/layout/LinedList"/>
    <dgm:cxn modelId="{16578A6E-64BB-7E47-8EC6-0B7087A752CA}" type="presParOf" srcId="{9C4E9FC3-24D0-4BBD-B4CA-BFBDD7487D91}" destId="{52278125-B948-472F-B7FF-0BC1123C9C73}" srcOrd="0" destOrd="0" presId="urn:microsoft.com/office/officeart/2008/layout/LinedList"/>
    <dgm:cxn modelId="{22BBEDAA-BFDE-B04F-B9EF-003C91971A41}" type="presParOf" srcId="{9C4E9FC3-24D0-4BBD-B4CA-BFBDD7487D91}" destId="{4A989F0F-080B-4D65-9324-0F1EDF96B5B8}" srcOrd="1" destOrd="0" presId="urn:microsoft.com/office/officeart/2008/layout/LinedList"/>
    <dgm:cxn modelId="{52787450-709C-D046-A3BD-B8A830D6EE4C}" type="presParOf" srcId="{9C4E9FC3-24D0-4BBD-B4CA-BFBDD7487D91}" destId="{7CBD04B5-3E7A-4CAF-91F3-A2B69B5C327F}" srcOrd="2" destOrd="0" presId="urn:microsoft.com/office/officeart/2008/layout/LinedList"/>
    <dgm:cxn modelId="{351AD7E8-AD1E-6A4D-B3E6-E52C6A1A0E48}" type="presParOf" srcId="{B53E29A6-5C81-40EE-B597-BDAC4FD8EB99}" destId="{58D8978F-D1D6-4121-B462-AC9986A0A164}" srcOrd="2" destOrd="0" presId="urn:microsoft.com/office/officeart/2008/layout/LinedList"/>
    <dgm:cxn modelId="{09E551FD-F0D6-3C48-B9A9-BEB6C4FE2739}" type="presParOf" srcId="{B53E29A6-5C81-40EE-B597-BDAC4FD8EB99}" destId="{FA85CABE-10A3-435D-99FA-D01ECF88399D}" srcOrd="3" destOrd="0" presId="urn:microsoft.com/office/officeart/2008/layout/LinedList"/>
    <dgm:cxn modelId="{081620DC-27CA-5148-A67B-2DDC84FBA0EE}" type="presParOf" srcId="{B53E29A6-5C81-40EE-B597-BDAC4FD8EB99}" destId="{878E764B-5561-4450-B6DA-63B3A9D64A17}" srcOrd="4" destOrd="0" presId="urn:microsoft.com/office/officeart/2008/layout/LinedList"/>
    <dgm:cxn modelId="{03265622-1D36-9D43-B425-6D2C6B480B5E}" type="presParOf" srcId="{878E764B-5561-4450-B6DA-63B3A9D64A17}" destId="{EA4D2169-E440-44D6-86E5-20E78CDACFE3}" srcOrd="0" destOrd="0" presId="urn:microsoft.com/office/officeart/2008/layout/LinedList"/>
    <dgm:cxn modelId="{65E3C745-5088-FE4D-810C-7410F87DC98F}" type="presParOf" srcId="{878E764B-5561-4450-B6DA-63B3A9D64A17}" destId="{864A3D20-C4AB-41E5-B0B1-848396F3C557}" srcOrd="1" destOrd="0" presId="urn:microsoft.com/office/officeart/2008/layout/LinedList"/>
    <dgm:cxn modelId="{99F51DD8-8EDB-5947-8674-8CECAB2647A8}" type="presParOf" srcId="{878E764B-5561-4450-B6DA-63B3A9D64A17}" destId="{11C01DD2-9E53-48FB-8F88-5CA20E128A23}" srcOrd="2" destOrd="0" presId="urn:microsoft.com/office/officeart/2008/layout/LinedList"/>
    <dgm:cxn modelId="{DD7B516C-6644-C647-8949-12F06E962C24}" type="presParOf" srcId="{11C01DD2-9E53-48FB-8F88-5CA20E128A23}" destId="{7A251CDF-C872-474D-A467-29B9C9E73C99}" srcOrd="0" destOrd="0" presId="urn:microsoft.com/office/officeart/2008/layout/LinedList"/>
    <dgm:cxn modelId="{98D4ED13-A184-A640-9535-1EEC5A6408BE}" type="presParOf" srcId="{7A251CDF-C872-474D-A467-29B9C9E73C99}" destId="{E3D455E7-9092-4EB6-AF1A-E0D295657114}" srcOrd="0" destOrd="0" presId="urn:microsoft.com/office/officeart/2008/layout/LinedList"/>
    <dgm:cxn modelId="{2AD44E5A-8EB5-F649-832E-D2360433FA5A}" type="presParOf" srcId="{7A251CDF-C872-474D-A467-29B9C9E73C99}" destId="{74F36F2D-3A4A-4E2F-BDD2-B7A91D977D52}" srcOrd="1" destOrd="0" presId="urn:microsoft.com/office/officeart/2008/layout/LinedList"/>
    <dgm:cxn modelId="{6374335B-C6CA-5E4C-A8AF-7E4FD3C4D9E7}" type="presParOf" srcId="{7A251CDF-C872-474D-A467-29B9C9E73C99}" destId="{5680CB28-0B46-4771-B8ED-201388D7061B}" srcOrd="2" destOrd="0" presId="urn:microsoft.com/office/officeart/2008/layout/LinedList"/>
    <dgm:cxn modelId="{2BA71CE2-2F3F-4546-A0E5-C72FB6D9FB44}" type="presParOf" srcId="{11C01DD2-9E53-48FB-8F88-5CA20E128A23}" destId="{14F38BCD-A36E-4657-878B-1FF18092E587}" srcOrd="1" destOrd="0" presId="urn:microsoft.com/office/officeart/2008/layout/LinedList"/>
    <dgm:cxn modelId="{B860B850-3BED-0847-A3B6-489838D557A8}" type="presParOf" srcId="{11C01DD2-9E53-48FB-8F88-5CA20E128A23}" destId="{66155C94-6C02-4B36-A1F3-CFFA7135FD93}" srcOrd="2" destOrd="0" presId="urn:microsoft.com/office/officeart/2008/layout/LinedList"/>
    <dgm:cxn modelId="{7A34F107-9CBD-5F4C-AF78-076937C5F94E}" type="presParOf" srcId="{66155C94-6C02-4B36-A1F3-CFFA7135FD93}" destId="{A0045775-C7FD-4F3C-95E3-8F373C59D76C}" srcOrd="0" destOrd="0" presId="urn:microsoft.com/office/officeart/2008/layout/LinedList"/>
    <dgm:cxn modelId="{A323B187-02A0-8440-BA6D-301AF1BCB125}" type="presParOf" srcId="{66155C94-6C02-4B36-A1F3-CFFA7135FD93}" destId="{655FAB75-3B8B-4F12-99A6-C077F30FDBE8}" srcOrd="1" destOrd="0" presId="urn:microsoft.com/office/officeart/2008/layout/LinedList"/>
    <dgm:cxn modelId="{84E4207B-8B12-B141-8134-5F2E255803D4}" type="presParOf" srcId="{66155C94-6C02-4B36-A1F3-CFFA7135FD93}" destId="{EBFA206A-1AAF-4EC4-8FFE-CDE608ABB0AF}" srcOrd="2" destOrd="0" presId="urn:microsoft.com/office/officeart/2008/layout/LinedList"/>
    <dgm:cxn modelId="{0958D3DE-CF3D-FC40-AC0C-C09FCB71DCE7}" type="presParOf" srcId="{11C01DD2-9E53-48FB-8F88-5CA20E128A23}" destId="{E6A8D623-6CC5-4E0D-BCCC-8CD9D447411F}" srcOrd="3" destOrd="0" presId="urn:microsoft.com/office/officeart/2008/layout/LinedList"/>
    <dgm:cxn modelId="{0EB85EB6-7D98-8A4E-9FCA-7656284D9723}" type="presParOf" srcId="{11C01DD2-9E53-48FB-8F88-5CA20E128A23}" destId="{5CE7DCFC-3A21-481D-A23D-9B289D435F81}" srcOrd="4" destOrd="0" presId="urn:microsoft.com/office/officeart/2008/layout/LinedList"/>
    <dgm:cxn modelId="{2746C207-26A1-5143-B65F-6653E3AFC1C3}" type="presParOf" srcId="{5CE7DCFC-3A21-481D-A23D-9B289D435F81}" destId="{26CEE7E2-955A-443E-99E7-EB3253735E74}" srcOrd="0" destOrd="0" presId="urn:microsoft.com/office/officeart/2008/layout/LinedList"/>
    <dgm:cxn modelId="{158C8DC9-4C52-2A46-A7EF-26BF2C6A8DA2}" type="presParOf" srcId="{5CE7DCFC-3A21-481D-A23D-9B289D435F81}" destId="{A9B2DF73-1A60-4ECA-945B-31ACA15D2328}" srcOrd="1" destOrd="0" presId="urn:microsoft.com/office/officeart/2008/layout/LinedList"/>
    <dgm:cxn modelId="{C0BFF7A0-E7B0-D943-9FF6-E1E1C2BD9037}" type="presParOf" srcId="{5CE7DCFC-3A21-481D-A23D-9B289D435F81}" destId="{EC2D31D3-76F3-4954-B877-C0B3753EE1F8}" srcOrd="2" destOrd="0" presId="urn:microsoft.com/office/officeart/2008/layout/LinedList"/>
    <dgm:cxn modelId="{3A1F57A4-642C-7D42-A04F-EA9A94A19735}" type="presParOf" srcId="{11C01DD2-9E53-48FB-8F88-5CA20E128A23}" destId="{4D1CFBD0-DD08-403E-8561-7EC88CE3B631}" srcOrd="5" destOrd="0" presId="urn:microsoft.com/office/officeart/2008/layout/LinedList"/>
    <dgm:cxn modelId="{77F95CD9-5DCE-1A46-AC1D-D38E21FB2947}" type="presParOf" srcId="{11C01DD2-9E53-48FB-8F88-5CA20E128A23}" destId="{18ADCE8D-5921-44DE-AA68-0B9A58784A5D}" srcOrd="6" destOrd="0" presId="urn:microsoft.com/office/officeart/2008/layout/LinedList"/>
    <dgm:cxn modelId="{D3D35E69-D024-C349-9CC5-10C882E1234D}" type="presParOf" srcId="{18ADCE8D-5921-44DE-AA68-0B9A58784A5D}" destId="{771AF76D-49BB-4422-9784-7E6E2B1ABAAC}" srcOrd="0" destOrd="0" presId="urn:microsoft.com/office/officeart/2008/layout/LinedList"/>
    <dgm:cxn modelId="{BA384794-71B5-924C-B212-C8B732F9624F}" type="presParOf" srcId="{18ADCE8D-5921-44DE-AA68-0B9A58784A5D}" destId="{B50B03F5-BE06-4D4A-924C-90BBE279AFAA}" srcOrd="1" destOrd="0" presId="urn:microsoft.com/office/officeart/2008/layout/LinedList"/>
    <dgm:cxn modelId="{D108830F-493B-274F-9548-9099E286BF93}" type="presParOf" srcId="{18ADCE8D-5921-44DE-AA68-0B9A58784A5D}" destId="{B3455A11-0269-4E48-B04B-BF36901426B3}" srcOrd="2" destOrd="0" presId="urn:microsoft.com/office/officeart/2008/layout/LinedList"/>
    <dgm:cxn modelId="{CA596C25-CBFC-694D-B737-B5DFCEEF4343}" type="presParOf" srcId="{11C01DD2-9E53-48FB-8F88-5CA20E128A23}" destId="{D4DB1D3D-173F-4175-805C-2DAE8CED1171}" srcOrd="7" destOrd="0" presId="urn:microsoft.com/office/officeart/2008/layout/LinedList"/>
    <dgm:cxn modelId="{12BB74DA-97FA-8B4E-A997-D997B254FD59}" type="presParOf" srcId="{11C01DD2-9E53-48FB-8F88-5CA20E128A23}" destId="{0DBC31F6-B9D1-49EE-B768-4977C3BB7E21}" srcOrd="8" destOrd="0" presId="urn:microsoft.com/office/officeart/2008/layout/LinedList"/>
    <dgm:cxn modelId="{4BD93AB3-C7B6-D24D-89D3-B993DAEA9834}" type="presParOf" srcId="{0DBC31F6-B9D1-49EE-B768-4977C3BB7E21}" destId="{F7C1D489-8174-4BE0-A851-BAD8DB0E9878}" srcOrd="0" destOrd="0" presId="urn:microsoft.com/office/officeart/2008/layout/LinedList"/>
    <dgm:cxn modelId="{A3C5BAFC-8E09-2E41-8900-4E0309F97232}" type="presParOf" srcId="{0DBC31F6-B9D1-49EE-B768-4977C3BB7E21}" destId="{36CA7355-BD00-40C8-9129-FEBA34DF774A}" srcOrd="1" destOrd="0" presId="urn:microsoft.com/office/officeart/2008/layout/LinedList"/>
    <dgm:cxn modelId="{FD71CA99-11B2-4D47-85DE-A21D52235AC7}" type="presParOf" srcId="{0DBC31F6-B9D1-49EE-B768-4977C3BB7E21}" destId="{771EFF2F-A969-445C-9EB2-F420C5DF5207}" srcOrd="2" destOrd="0" presId="urn:microsoft.com/office/officeart/2008/layout/LinedList"/>
    <dgm:cxn modelId="{49C61CF5-EF6E-6F47-97C8-870CAC469334}" type="presParOf" srcId="{11C01DD2-9E53-48FB-8F88-5CA20E128A23}" destId="{7744727F-74D6-4E65-9DBB-DAFB316DF0A4}" srcOrd="9" destOrd="0" presId="urn:microsoft.com/office/officeart/2008/layout/LinedList"/>
    <dgm:cxn modelId="{22BEA460-BE4F-4E4E-91A6-EF5FF9CB7E75}" type="presParOf" srcId="{11C01DD2-9E53-48FB-8F88-5CA20E128A23}" destId="{F05FC444-2297-4BA5-835C-156912DA0325}" srcOrd="10" destOrd="0" presId="urn:microsoft.com/office/officeart/2008/layout/LinedList"/>
    <dgm:cxn modelId="{53F4D2D2-6D2D-A046-8B02-5CA93B6B8385}" type="presParOf" srcId="{F05FC444-2297-4BA5-835C-156912DA0325}" destId="{1296BB37-2069-46C0-8B4E-B2D8A2ADA820}" srcOrd="0" destOrd="0" presId="urn:microsoft.com/office/officeart/2008/layout/LinedList"/>
    <dgm:cxn modelId="{4F064147-9F8E-A94A-8D7B-2899C94048D0}" type="presParOf" srcId="{F05FC444-2297-4BA5-835C-156912DA0325}" destId="{EB3B99F1-F70F-4E36-A0C8-C73E546C1474}" srcOrd="1" destOrd="0" presId="urn:microsoft.com/office/officeart/2008/layout/LinedList"/>
    <dgm:cxn modelId="{349EF682-0A61-994E-9EE7-8BB70DEB9E6A}" type="presParOf" srcId="{F05FC444-2297-4BA5-835C-156912DA0325}" destId="{2D290ABA-F6FF-4B77-9C44-36D1B02C8859}" srcOrd="2" destOrd="0" presId="urn:microsoft.com/office/officeart/2008/layout/LinedList"/>
    <dgm:cxn modelId="{362C4EC5-FBF7-CC41-9D54-5D45B9A7E409}" type="presParOf" srcId="{B53E29A6-5C81-40EE-B597-BDAC4FD8EB99}" destId="{66716561-651B-4F2C-A074-0E048E679174}" srcOrd="5" destOrd="0" presId="urn:microsoft.com/office/officeart/2008/layout/LinedList"/>
    <dgm:cxn modelId="{8C174F52-2753-0046-88E1-1AB4116304B6}" type="presParOf" srcId="{B53E29A6-5C81-40EE-B597-BDAC4FD8EB99}" destId="{335F54E0-3795-4FFC-A954-81172B0F8E40}" srcOrd="6" destOrd="0" presId="urn:microsoft.com/office/officeart/2008/layout/LinedList"/>
    <dgm:cxn modelId="{6E0FBE93-A266-324D-8260-F4EC92057C41}" type="presParOf" srcId="{B53E29A6-5C81-40EE-B597-BDAC4FD8EB99}" destId="{534CB147-7D98-4152-94E8-A39B1D8CC065}" srcOrd="7" destOrd="0" presId="urn:microsoft.com/office/officeart/2008/layout/LinedList"/>
    <dgm:cxn modelId="{C185B1B9-9E71-EC4E-9DF6-C648EF60D434}" type="presParOf" srcId="{534CB147-7D98-4152-94E8-A39B1D8CC065}" destId="{90DBCB04-D19F-4B11-AA8C-70EC60C1F750}" srcOrd="0" destOrd="0" presId="urn:microsoft.com/office/officeart/2008/layout/LinedList"/>
    <dgm:cxn modelId="{5EF00416-3C59-C649-A0DD-13E9FAEE46F5}" type="presParOf" srcId="{534CB147-7D98-4152-94E8-A39B1D8CC065}" destId="{E203C372-9BC1-474C-B52E-AD0DD3857B85}" srcOrd="1" destOrd="0" presId="urn:microsoft.com/office/officeart/2008/layout/LinedList"/>
    <dgm:cxn modelId="{440859C3-2FD4-8B49-B7E2-0BE6ADD08F66}" type="presParOf" srcId="{534CB147-7D98-4152-94E8-A39B1D8CC065}" destId="{157BCD96-2068-47DE-A77A-69FE29DE6748}" srcOrd="2" destOrd="0" presId="urn:microsoft.com/office/officeart/2008/layout/LinedList"/>
    <dgm:cxn modelId="{1600EB08-8401-084B-ADF0-A5F3071E709F}" type="presParOf" srcId="{157BCD96-2068-47DE-A77A-69FE29DE6748}" destId="{8E5C0DEC-ACA8-4B1A-9645-079866AA5B87}" srcOrd="0" destOrd="0" presId="urn:microsoft.com/office/officeart/2008/layout/LinedList"/>
    <dgm:cxn modelId="{BEF2A429-3C7D-1742-8C32-FC810EEC4553}" type="presParOf" srcId="{8E5C0DEC-ACA8-4B1A-9645-079866AA5B87}" destId="{FC949CB0-CE56-4039-AB04-934F88BA8152}" srcOrd="0" destOrd="0" presId="urn:microsoft.com/office/officeart/2008/layout/LinedList"/>
    <dgm:cxn modelId="{F2B95AE1-6993-9E45-8B55-474BDF3387F2}" type="presParOf" srcId="{8E5C0DEC-ACA8-4B1A-9645-079866AA5B87}" destId="{EAC955B6-A535-43B1-872E-F49A49202D3D}" srcOrd="1" destOrd="0" presId="urn:microsoft.com/office/officeart/2008/layout/LinedList"/>
    <dgm:cxn modelId="{77639A1B-530F-004B-8F59-8A06A3149AC3}" type="presParOf" srcId="{8E5C0DEC-ACA8-4B1A-9645-079866AA5B87}" destId="{AF71D74B-255B-4E45-8C04-C7C664142461}" srcOrd="2" destOrd="0" presId="urn:microsoft.com/office/officeart/2008/layout/LinedList"/>
    <dgm:cxn modelId="{8D74B5F4-7946-E444-BF86-75E0A455836D}" type="presParOf" srcId="{157BCD96-2068-47DE-A77A-69FE29DE6748}" destId="{02BB52DF-0C32-4579-A054-B73C64359959}" srcOrd="1" destOrd="0" presId="urn:microsoft.com/office/officeart/2008/layout/LinedList"/>
    <dgm:cxn modelId="{269EC825-DDE3-DB46-B18E-D723B69750DF}" type="presParOf" srcId="{157BCD96-2068-47DE-A77A-69FE29DE6748}" destId="{A5E174B6-44C2-4081-B293-C710BBF6CCCE}" srcOrd="2" destOrd="0" presId="urn:microsoft.com/office/officeart/2008/layout/LinedList"/>
    <dgm:cxn modelId="{E8609E6F-68D5-7547-BF75-DB46AC9B17E5}" type="presParOf" srcId="{A5E174B6-44C2-4081-B293-C710BBF6CCCE}" destId="{D885F1AA-7631-4399-85E8-3FA01D698488}" srcOrd="0" destOrd="0" presId="urn:microsoft.com/office/officeart/2008/layout/LinedList"/>
    <dgm:cxn modelId="{35EDC039-89CD-DF45-B663-5AB3AB1E5246}" type="presParOf" srcId="{A5E174B6-44C2-4081-B293-C710BBF6CCCE}" destId="{B7F87EEB-A5C3-4BA8-87C5-910FAB93C984}" srcOrd="1" destOrd="0" presId="urn:microsoft.com/office/officeart/2008/layout/LinedList"/>
    <dgm:cxn modelId="{24DE466A-58F5-2648-890B-D8D60E4C751E}" type="presParOf" srcId="{A5E174B6-44C2-4081-B293-C710BBF6CCCE}" destId="{D597AD93-D587-47D5-AA2B-D9D7427CD336}" srcOrd="2" destOrd="0" presId="urn:microsoft.com/office/officeart/2008/layout/LinedList"/>
    <dgm:cxn modelId="{1B2E79DF-54DC-544E-A0A3-3C1C5D209CA5}" type="presParOf" srcId="{157BCD96-2068-47DE-A77A-69FE29DE6748}" destId="{05141241-84D5-459B-A901-B50CAB9746DE}" srcOrd="3" destOrd="0" presId="urn:microsoft.com/office/officeart/2008/layout/LinedList"/>
    <dgm:cxn modelId="{AC4ADCB6-9EE4-0F4C-8E08-946F9899EA02}" type="presParOf" srcId="{157BCD96-2068-47DE-A77A-69FE29DE6748}" destId="{38456ACC-BB86-4A58-B859-4BF7946D37F2}" srcOrd="4" destOrd="0" presId="urn:microsoft.com/office/officeart/2008/layout/LinedList"/>
    <dgm:cxn modelId="{4A7CA179-6073-3D42-ADED-8A41974FC0C2}" type="presParOf" srcId="{38456ACC-BB86-4A58-B859-4BF7946D37F2}" destId="{9D9189E4-1B95-4FDC-A5EE-001D43F49035}" srcOrd="0" destOrd="0" presId="urn:microsoft.com/office/officeart/2008/layout/LinedList"/>
    <dgm:cxn modelId="{D6B3A84B-73D8-354F-BCAC-D856A662D80E}" type="presParOf" srcId="{38456ACC-BB86-4A58-B859-4BF7946D37F2}" destId="{7098B9FC-B5AE-472D-84F8-F6DEA57CAF76}" srcOrd="1" destOrd="0" presId="urn:microsoft.com/office/officeart/2008/layout/LinedList"/>
    <dgm:cxn modelId="{7171A13E-64F5-464F-9D71-84761A1984E6}" type="presParOf" srcId="{38456ACC-BB86-4A58-B859-4BF7946D37F2}" destId="{0BC9547B-07FF-4960-8529-8958614A69D9}" srcOrd="2" destOrd="0" presId="urn:microsoft.com/office/officeart/2008/layout/LinedList"/>
    <dgm:cxn modelId="{48D772FE-232D-FD49-A393-2C7ED419CD05}" type="presParOf" srcId="{157BCD96-2068-47DE-A77A-69FE29DE6748}" destId="{F36C7E65-ABB0-49AD-B10D-ED15D9773D7D}" srcOrd="5" destOrd="0" presId="urn:microsoft.com/office/officeart/2008/layout/LinedList"/>
    <dgm:cxn modelId="{ED27116A-E802-6D44-9724-8C57AD3353C4}" type="presParOf" srcId="{157BCD96-2068-47DE-A77A-69FE29DE6748}" destId="{F1FEF9D7-74E8-4488-99A0-5A5231112544}" srcOrd="6" destOrd="0" presId="urn:microsoft.com/office/officeart/2008/layout/LinedList"/>
    <dgm:cxn modelId="{281A9754-054F-B648-A1A7-F6111421890D}" type="presParOf" srcId="{F1FEF9D7-74E8-4488-99A0-5A5231112544}" destId="{9E3501D3-687D-44E9-AEE3-51C4B250E925}" srcOrd="0" destOrd="0" presId="urn:microsoft.com/office/officeart/2008/layout/LinedList"/>
    <dgm:cxn modelId="{D02B9618-4D7F-D942-8546-85D844C0BBA1}" type="presParOf" srcId="{F1FEF9D7-74E8-4488-99A0-5A5231112544}" destId="{69EABFE6-EFED-4B3B-857B-FB7CEF0DA6F9}" srcOrd="1" destOrd="0" presId="urn:microsoft.com/office/officeart/2008/layout/LinedList"/>
    <dgm:cxn modelId="{2D615B1C-03F3-144C-8E94-B1EECD1A209A}" type="presParOf" srcId="{F1FEF9D7-74E8-4488-99A0-5A5231112544}" destId="{7DE2EB19-6D2E-4E4D-9ACE-2C05A09AABA2}" srcOrd="2" destOrd="0" presId="urn:microsoft.com/office/officeart/2008/layout/LinedList"/>
    <dgm:cxn modelId="{65936BEC-5DCE-1042-AC6C-2581A4BFC335}" type="presParOf" srcId="{B53E29A6-5C81-40EE-B597-BDAC4FD8EB99}" destId="{C3448275-9E3E-4485-9EFF-0724390F18B6}" srcOrd="8" destOrd="0" presId="urn:microsoft.com/office/officeart/2008/layout/LinedList"/>
    <dgm:cxn modelId="{0D0F5704-0FA9-C143-98D5-294D12B13488}" type="presParOf" srcId="{B53E29A6-5C81-40EE-B597-BDAC4FD8EB99}" destId="{6C8372A0-0B6B-4A7D-A6CB-7A8398479CF4}" srcOrd="9" destOrd="0" presId="urn:microsoft.com/office/officeart/2008/layout/LinedList"/>
    <dgm:cxn modelId="{64CA0AC7-1D87-464B-9EE7-3126F3441FCE}" type="presParOf" srcId="{B53E29A6-5C81-40EE-B597-BDAC4FD8EB99}" destId="{FD52EB86-E6B2-49BA-B7D1-1F80DEF520BD}" srcOrd="10" destOrd="0" presId="urn:microsoft.com/office/officeart/2008/layout/LinedList"/>
    <dgm:cxn modelId="{72EBEDD4-765A-7144-95F5-94F4F80E88D0}" type="presParOf" srcId="{FD52EB86-E6B2-49BA-B7D1-1F80DEF520BD}" destId="{53822ABA-8825-4044-8EB5-9E09ABA28E87}" srcOrd="0" destOrd="0" presId="urn:microsoft.com/office/officeart/2008/layout/LinedList"/>
    <dgm:cxn modelId="{838E0615-A4D8-C748-A0DF-C44CF2F22F5C}" type="presParOf" srcId="{FD52EB86-E6B2-49BA-B7D1-1F80DEF520BD}" destId="{9A70CF7C-F70C-490B-939D-0E646C23FADE}" srcOrd="1" destOrd="0" presId="urn:microsoft.com/office/officeart/2008/layout/LinedList"/>
    <dgm:cxn modelId="{2D41C34C-9A57-524B-9425-DD41A77D6AEF}" type="presParOf" srcId="{FD52EB86-E6B2-49BA-B7D1-1F80DEF520BD}" destId="{853E609C-8C5E-40E0-BC80-28DDA961D163}" srcOrd="2" destOrd="0" presId="urn:microsoft.com/office/officeart/2008/layout/LinedList"/>
    <dgm:cxn modelId="{829020E5-7074-C849-B906-687606CB4DE0}" type="presParOf" srcId="{B53E29A6-5C81-40EE-B597-BDAC4FD8EB99}" destId="{539BCC9E-D274-4A41-9288-5F73266D0A8F}" srcOrd="11" destOrd="0" presId="urn:microsoft.com/office/officeart/2008/layout/LinedList"/>
    <dgm:cxn modelId="{8311E501-CA2B-5C48-A64D-07D03608F3BA}" type="presParOf" srcId="{B53E29A6-5C81-40EE-B597-BDAC4FD8EB99}" destId="{89CB28C3-E16D-4A3E-B630-10CA78EDEE4F}" srcOrd="12" destOrd="0" presId="urn:microsoft.com/office/officeart/2008/layout/LinedList"/>
    <dgm:cxn modelId="{B70AB442-759F-DE47-81F3-6845ADBF206A}" type="presParOf" srcId="{B53E29A6-5C81-40EE-B597-BDAC4FD8EB99}" destId="{996C5C68-DDBF-4F2F-9AF4-0864654E33FC}" srcOrd="13" destOrd="0" presId="urn:microsoft.com/office/officeart/2008/layout/LinedList"/>
    <dgm:cxn modelId="{1AF7C3BA-FC41-E447-A8B0-96D9600A0D5D}" type="presParOf" srcId="{996C5C68-DDBF-4F2F-9AF4-0864654E33FC}" destId="{9C636B34-01A2-4379-B17E-6DF0732D9599}" srcOrd="0" destOrd="0" presId="urn:microsoft.com/office/officeart/2008/layout/LinedList"/>
    <dgm:cxn modelId="{612E427B-DB2B-6A42-88B5-F82B5F6FCFE1}" type="presParOf" srcId="{996C5C68-DDBF-4F2F-9AF4-0864654E33FC}" destId="{52B99C92-28A2-4576-AAD6-049DCA8D6DAD}" srcOrd="1" destOrd="0" presId="urn:microsoft.com/office/officeart/2008/layout/LinedList"/>
    <dgm:cxn modelId="{861170AA-9042-F846-A534-D89BC8BBA2F4}" type="presParOf" srcId="{996C5C68-DDBF-4F2F-9AF4-0864654E33FC}" destId="{FC09E477-E554-4997-8734-93DCBBB1676A}" srcOrd="2" destOrd="0" presId="urn:microsoft.com/office/officeart/2008/layout/LinedList"/>
    <dgm:cxn modelId="{5AC26B41-9455-E64A-BBB2-4AB2341F8530}" type="presParOf" srcId="{FC09E477-E554-4997-8734-93DCBBB1676A}" destId="{C58C8566-EC73-4DFC-99C7-F530D75673F0}" srcOrd="0" destOrd="0" presId="urn:microsoft.com/office/officeart/2008/layout/LinedList"/>
    <dgm:cxn modelId="{0EB911A3-A965-614F-AA4C-E89B5C46E318}" type="presParOf" srcId="{C58C8566-EC73-4DFC-99C7-F530D75673F0}" destId="{95D7D1B4-21E1-43F1-B735-F407ABE23C7B}" srcOrd="0" destOrd="0" presId="urn:microsoft.com/office/officeart/2008/layout/LinedList"/>
    <dgm:cxn modelId="{44B82106-33EA-5A41-BAF1-BE5D7F8CDDF3}" type="presParOf" srcId="{C58C8566-EC73-4DFC-99C7-F530D75673F0}" destId="{1E896502-940F-41FA-A23E-A72402F911DD}" srcOrd="1" destOrd="0" presId="urn:microsoft.com/office/officeart/2008/layout/LinedList"/>
    <dgm:cxn modelId="{2AFEC17C-D5E9-6A45-9ACE-489457B971CF}" type="presParOf" srcId="{C58C8566-EC73-4DFC-99C7-F530D75673F0}" destId="{86BA098E-D623-4908-B2B3-879292FE63D2}" srcOrd="2" destOrd="0" presId="urn:microsoft.com/office/officeart/2008/layout/LinedList"/>
    <dgm:cxn modelId="{02F09183-36B2-9240-9B3D-C434B730B6F4}" type="presParOf" srcId="{FC09E477-E554-4997-8734-93DCBBB1676A}" destId="{E5ECE439-FB8D-491D-BF08-0BCDDE4F38BA}" srcOrd="1" destOrd="0" presId="urn:microsoft.com/office/officeart/2008/layout/LinedList"/>
    <dgm:cxn modelId="{96293863-D9D1-1B49-914A-B9EB92DA2397}" type="presParOf" srcId="{FC09E477-E554-4997-8734-93DCBBB1676A}" destId="{8BC87DE1-C044-4684-8990-2F9252A8359F}" srcOrd="2" destOrd="0" presId="urn:microsoft.com/office/officeart/2008/layout/LinedList"/>
    <dgm:cxn modelId="{644E3F89-462A-A04C-A043-56833612A374}" type="presParOf" srcId="{8BC87DE1-C044-4684-8990-2F9252A8359F}" destId="{16EA1520-752B-47CE-820F-69F742C82854}" srcOrd="0" destOrd="0" presId="urn:microsoft.com/office/officeart/2008/layout/LinedList"/>
    <dgm:cxn modelId="{1833211E-6105-674E-9BF1-812019661783}" type="presParOf" srcId="{8BC87DE1-C044-4684-8990-2F9252A8359F}" destId="{CDE564C7-2C4B-4276-B3EE-B41BADB81EAD}" srcOrd="1" destOrd="0" presId="urn:microsoft.com/office/officeart/2008/layout/LinedList"/>
    <dgm:cxn modelId="{100345A3-354B-BF4D-AF59-10B77D9323AF}" type="presParOf" srcId="{8BC87DE1-C044-4684-8990-2F9252A8359F}" destId="{7D922EAD-808A-4F91-854E-DF6C67E27AAD}" srcOrd="2" destOrd="0" presId="urn:microsoft.com/office/officeart/2008/layout/LinedList"/>
    <dgm:cxn modelId="{51FC43C2-5CD7-1A4F-917A-EFA19DA32279}" type="presParOf" srcId="{FC09E477-E554-4997-8734-93DCBBB1676A}" destId="{ADC740E3-CED7-4D60-B7C0-2EDB2E632109}" srcOrd="3" destOrd="0" presId="urn:microsoft.com/office/officeart/2008/layout/LinedList"/>
    <dgm:cxn modelId="{B96E433E-3DDB-9345-994D-AAC7531CF1EB}" type="presParOf" srcId="{FC09E477-E554-4997-8734-93DCBBB1676A}" destId="{19E63DEC-D77C-4B3C-82EC-45612E663268}" srcOrd="4" destOrd="0" presId="urn:microsoft.com/office/officeart/2008/layout/LinedList"/>
    <dgm:cxn modelId="{141CDE7E-4951-B44C-9060-D0ED3D3FF0F2}" type="presParOf" srcId="{19E63DEC-D77C-4B3C-82EC-45612E663268}" destId="{58F66754-0ECA-439B-A69F-A2F3A3D5383C}" srcOrd="0" destOrd="0" presId="urn:microsoft.com/office/officeart/2008/layout/LinedList"/>
    <dgm:cxn modelId="{F5E424AD-2B8A-2845-9E1C-4CC72E9BF14F}" type="presParOf" srcId="{19E63DEC-D77C-4B3C-82EC-45612E663268}" destId="{213B02B7-092C-47B0-AF26-D0423F2CFBF4}" srcOrd="1" destOrd="0" presId="urn:microsoft.com/office/officeart/2008/layout/LinedList"/>
    <dgm:cxn modelId="{E34600C3-A718-8A46-90B0-D70D091DCCF8}" type="presParOf" srcId="{19E63DEC-D77C-4B3C-82EC-45612E663268}" destId="{932F4135-3C34-47F8-A9B6-C7B5F806299B}" srcOrd="2" destOrd="0" presId="urn:microsoft.com/office/officeart/2008/layout/LinedList"/>
    <dgm:cxn modelId="{EF44B708-3074-E34A-A666-C795119A3063}" type="presParOf" srcId="{FC09E477-E554-4997-8734-93DCBBB1676A}" destId="{4EEE76A3-42F2-4765-8CB9-DD7A5B24ED08}" srcOrd="5" destOrd="0" presId="urn:microsoft.com/office/officeart/2008/layout/LinedList"/>
    <dgm:cxn modelId="{7BF91656-0A58-914E-8CE0-A27D42AE56B7}" type="presParOf" srcId="{FC09E477-E554-4997-8734-93DCBBB1676A}" destId="{3A05A789-E4DA-4E06-B5C2-F76549819ADC}" srcOrd="6" destOrd="0" presId="urn:microsoft.com/office/officeart/2008/layout/LinedList"/>
    <dgm:cxn modelId="{9D33A078-DA1D-5D4E-8D43-CCEF632709B5}" type="presParOf" srcId="{3A05A789-E4DA-4E06-B5C2-F76549819ADC}" destId="{8D50E602-6E2D-4F69-8BDF-0E15679F7AD2}" srcOrd="0" destOrd="0" presId="urn:microsoft.com/office/officeart/2008/layout/LinedList"/>
    <dgm:cxn modelId="{3B4820F8-6BC0-394B-B5A0-F4848D31EE17}" type="presParOf" srcId="{3A05A789-E4DA-4E06-B5C2-F76549819ADC}" destId="{7A28CB4C-F850-49E9-8449-FA87322075C8}" srcOrd="1" destOrd="0" presId="urn:microsoft.com/office/officeart/2008/layout/LinedList"/>
    <dgm:cxn modelId="{CA90D387-D494-404F-A3C8-72808BF2984C}" type="presParOf" srcId="{3A05A789-E4DA-4E06-B5C2-F76549819ADC}" destId="{F1DC9511-B8F6-4765-9988-939AE68FDDBC}" srcOrd="2" destOrd="0" presId="urn:microsoft.com/office/officeart/2008/layout/LinedList"/>
    <dgm:cxn modelId="{0D24E74D-6B49-5143-BC0F-11C2902AFA5C}" type="presParOf" srcId="{B53E29A6-5C81-40EE-B597-BDAC4FD8EB99}" destId="{B81F7958-0958-4B3B-8222-CCFBEF2681FA}" srcOrd="14" destOrd="0" presId="urn:microsoft.com/office/officeart/2008/layout/LinedList"/>
    <dgm:cxn modelId="{D6B17B48-8B4A-3244-9E73-DFC883497133}" type="presParOf" srcId="{B53E29A6-5C81-40EE-B597-BDAC4FD8EB99}" destId="{32ABA5D5-BC83-46F3-8EFF-FCCFD15C2560}" srcOrd="15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EA3F7F1-187D-4306-8942-6742C100065C}" type="doc">
      <dgm:prSet loTypeId="urn:microsoft.com/office/officeart/2005/8/layout/lProcess3" loCatId="process" qsTypeId="urn:microsoft.com/office/officeart/2005/8/quickstyle/3d1" qsCatId="3D" csTypeId="urn:microsoft.com/office/officeart/2005/8/colors/accent6_3" csCatId="accent6" phldr="1"/>
      <dgm:spPr/>
      <dgm:t>
        <a:bodyPr/>
        <a:lstStyle/>
        <a:p>
          <a:endParaRPr lang="en-US"/>
        </a:p>
      </dgm:t>
    </dgm:pt>
    <dgm:pt modelId="{BB793753-FD66-4C7E-848C-BC19F8B5B8B1}">
      <dgm:prSet phldrT="[Text]"/>
      <dgm:spPr/>
      <dgm:t>
        <a:bodyPr/>
        <a:lstStyle/>
        <a:p>
          <a:r>
            <a:rPr lang="ru-RU" b="1" i="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Изначальная стоимость товара</a:t>
          </a:r>
          <a:endParaRPr lang="en-US" b="1" i="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87FAD5FF-4AEA-4332-A4EB-EA9140677418}" type="parTrans" cxnId="{2D2B2DCC-1C41-4EA7-9CFA-1E4452F29328}">
      <dgm:prSet/>
      <dgm:spPr/>
      <dgm:t>
        <a:bodyPr/>
        <a:lstStyle/>
        <a:p>
          <a:endParaRPr lang="en-US"/>
        </a:p>
      </dgm:t>
    </dgm:pt>
    <dgm:pt modelId="{8FC5FC0F-070E-48BB-959A-72F8815B2C79}" type="sibTrans" cxnId="{2D2B2DCC-1C41-4EA7-9CFA-1E4452F29328}">
      <dgm:prSet/>
      <dgm:spPr/>
      <dgm:t>
        <a:bodyPr/>
        <a:lstStyle/>
        <a:p>
          <a:endParaRPr lang="en-US"/>
        </a:p>
      </dgm:t>
    </dgm:pt>
    <dgm:pt modelId="{8659676D-905E-4885-BFFF-F7AF285EC5C6}">
      <dgm:prSet phldrT="[Text]"/>
      <dgm:spPr/>
      <dgm:t>
        <a:bodyPr/>
        <a:lstStyle/>
        <a:p>
          <a:r>
            <a:rPr lang="ru-RU" b="1" i="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Стоимость перевозки</a:t>
          </a:r>
          <a:endParaRPr lang="en-US" b="1" i="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D1BB5570-8D86-492A-8D33-AE72E4CBA6A3}" type="parTrans" cxnId="{024B0A2B-F0A3-4D56-B317-F7AA3E2EC2CD}">
      <dgm:prSet/>
      <dgm:spPr/>
      <dgm:t>
        <a:bodyPr/>
        <a:lstStyle/>
        <a:p>
          <a:endParaRPr lang="en-US"/>
        </a:p>
      </dgm:t>
    </dgm:pt>
    <dgm:pt modelId="{6787F63A-6C94-4ADF-8208-82DEBA9226CF}" type="sibTrans" cxnId="{024B0A2B-F0A3-4D56-B317-F7AA3E2EC2CD}">
      <dgm:prSet/>
      <dgm:spPr/>
      <dgm:t>
        <a:bodyPr/>
        <a:lstStyle/>
        <a:p>
          <a:endParaRPr lang="en-US"/>
        </a:p>
      </dgm:t>
    </dgm:pt>
    <dgm:pt modelId="{786F4546-F471-4751-8460-D9E0051266F6}">
      <dgm:prSet phldrT="[Text]"/>
      <dgm:spPr/>
      <dgm:t>
        <a:bodyPr/>
        <a:lstStyle/>
        <a:p>
          <a:r>
            <a:rPr lang="ru-RU" b="1" i="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Страховка</a:t>
          </a:r>
          <a:endParaRPr lang="en-US" b="1" i="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89F359CB-7603-4AC0-8EC6-825B76FD63D4}" type="parTrans" cxnId="{E962F63B-0035-4EA7-9215-771785A6B1C3}">
      <dgm:prSet/>
      <dgm:spPr/>
      <dgm:t>
        <a:bodyPr/>
        <a:lstStyle/>
        <a:p>
          <a:endParaRPr lang="ru-RU"/>
        </a:p>
      </dgm:t>
    </dgm:pt>
    <dgm:pt modelId="{83126D3C-34AC-4906-B15C-51115FA8A2CD}" type="sibTrans" cxnId="{E962F63B-0035-4EA7-9215-771785A6B1C3}">
      <dgm:prSet/>
      <dgm:spPr/>
      <dgm:t>
        <a:bodyPr/>
        <a:lstStyle/>
        <a:p>
          <a:endParaRPr lang="ru-RU"/>
        </a:p>
      </dgm:t>
    </dgm:pt>
    <dgm:pt modelId="{EA82EACC-DF9B-4662-9ED6-6AA09E5C8155}" type="pres">
      <dgm:prSet presAssocID="{5EA3F7F1-187D-4306-8942-6742C100065C}" presName="Name0" presStyleCnt="0">
        <dgm:presLayoutVars>
          <dgm:chPref val="3"/>
          <dgm:dir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F258C808-4C1D-4745-AA67-373C3B9B1412}" type="pres">
      <dgm:prSet presAssocID="{BB793753-FD66-4C7E-848C-BC19F8B5B8B1}" presName="horFlow" presStyleCnt="0"/>
      <dgm:spPr/>
      <dgm:t>
        <a:bodyPr/>
        <a:lstStyle/>
        <a:p>
          <a:endParaRPr lang="ru-RU"/>
        </a:p>
      </dgm:t>
    </dgm:pt>
    <dgm:pt modelId="{48DE1BF3-08FC-47BC-AEB7-E5F3C95BC93E}" type="pres">
      <dgm:prSet presAssocID="{BB793753-FD66-4C7E-848C-BC19F8B5B8B1}" presName="bigChev" presStyleLbl="node1" presStyleIdx="0" presStyleCnt="3"/>
      <dgm:spPr/>
      <dgm:t>
        <a:bodyPr/>
        <a:lstStyle/>
        <a:p>
          <a:endParaRPr lang="ru-RU"/>
        </a:p>
      </dgm:t>
    </dgm:pt>
    <dgm:pt modelId="{6BC8AE17-E0A9-46E0-A9AD-6ADB697BDA33}" type="pres">
      <dgm:prSet presAssocID="{BB793753-FD66-4C7E-848C-BC19F8B5B8B1}" presName="vSp" presStyleCnt="0"/>
      <dgm:spPr/>
      <dgm:t>
        <a:bodyPr/>
        <a:lstStyle/>
        <a:p>
          <a:endParaRPr lang="ru-RU"/>
        </a:p>
      </dgm:t>
    </dgm:pt>
    <dgm:pt modelId="{EF8EC881-D9CD-4627-911D-AEEB4BB529B1}" type="pres">
      <dgm:prSet presAssocID="{8659676D-905E-4885-BFFF-F7AF285EC5C6}" presName="horFlow" presStyleCnt="0"/>
      <dgm:spPr/>
      <dgm:t>
        <a:bodyPr/>
        <a:lstStyle/>
        <a:p>
          <a:endParaRPr lang="ru-RU"/>
        </a:p>
      </dgm:t>
    </dgm:pt>
    <dgm:pt modelId="{3406C105-5EBC-4E7C-8B45-F487D07BC4CC}" type="pres">
      <dgm:prSet presAssocID="{8659676D-905E-4885-BFFF-F7AF285EC5C6}" presName="bigChev" presStyleLbl="node1" presStyleIdx="1" presStyleCnt="3"/>
      <dgm:spPr/>
      <dgm:t>
        <a:bodyPr/>
        <a:lstStyle/>
        <a:p>
          <a:endParaRPr lang="ru-RU"/>
        </a:p>
      </dgm:t>
    </dgm:pt>
    <dgm:pt modelId="{8C33347F-D175-47C5-B3B7-A84C7E0A9458}" type="pres">
      <dgm:prSet presAssocID="{8659676D-905E-4885-BFFF-F7AF285EC5C6}" presName="vSp" presStyleCnt="0"/>
      <dgm:spPr/>
      <dgm:t>
        <a:bodyPr/>
        <a:lstStyle/>
        <a:p>
          <a:endParaRPr lang="ru-RU"/>
        </a:p>
      </dgm:t>
    </dgm:pt>
    <dgm:pt modelId="{8FB270C9-2ED1-4E3B-8F4A-9B46A8137199}" type="pres">
      <dgm:prSet presAssocID="{786F4546-F471-4751-8460-D9E0051266F6}" presName="horFlow" presStyleCnt="0"/>
      <dgm:spPr/>
      <dgm:t>
        <a:bodyPr/>
        <a:lstStyle/>
        <a:p>
          <a:endParaRPr lang="ru-RU"/>
        </a:p>
      </dgm:t>
    </dgm:pt>
    <dgm:pt modelId="{DD980A01-3E59-4903-AF3F-DE77F310AC2E}" type="pres">
      <dgm:prSet presAssocID="{786F4546-F471-4751-8460-D9E0051266F6}" presName="bigChev" presStyleLbl="node1" presStyleIdx="2" presStyleCnt="3"/>
      <dgm:spPr/>
      <dgm:t>
        <a:bodyPr/>
        <a:lstStyle/>
        <a:p>
          <a:endParaRPr lang="ru-RU"/>
        </a:p>
      </dgm:t>
    </dgm:pt>
  </dgm:ptLst>
  <dgm:cxnLst>
    <dgm:cxn modelId="{2D2B2DCC-1C41-4EA7-9CFA-1E4452F29328}" srcId="{5EA3F7F1-187D-4306-8942-6742C100065C}" destId="{BB793753-FD66-4C7E-848C-BC19F8B5B8B1}" srcOrd="0" destOrd="0" parTransId="{87FAD5FF-4AEA-4332-A4EB-EA9140677418}" sibTransId="{8FC5FC0F-070E-48BB-959A-72F8815B2C79}"/>
    <dgm:cxn modelId="{ADE9C0B8-2CAC-6F4D-8195-9DFF8279423A}" type="presOf" srcId="{BB793753-FD66-4C7E-848C-BC19F8B5B8B1}" destId="{48DE1BF3-08FC-47BC-AEB7-E5F3C95BC93E}" srcOrd="0" destOrd="0" presId="urn:microsoft.com/office/officeart/2005/8/layout/lProcess3"/>
    <dgm:cxn modelId="{C369A2A1-ACD1-924A-BDFB-842000564E4D}" type="presOf" srcId="{5EA3F7F1-187D-4306-8942-6742C100065C}" destId="{EA82EACC-DF9B-4662-9ED6-6AA09E5C8155}" srcOrd="0" destOrd="0" presId="urn:microsoft.com/office/officeart/2005/8/layout/lProcess3"/>
    <dgm:cxn modelId="{9789BF9D-1260-D242-BCDD-E16E26B0DC55}" type="presOf" srcId="{786F4546-F471-4751-8460-D9E0051266F6}" destId="{DD980A01-3E59-4903-AF3F-DE77F310AC2E}" srcOrd="0" destOrd="0" presId="urn:microsoft.com/office/officeart/2005/8/layout/lProcess3"/>
    <dgm:cxn modelId="{E962F63B-0035-4EA7-9215-771785A6B1C3}" srcId="{5EA3F7F1-187D-4306-8942-6742C100065C}" destId="{786F4546-F471-4751-8460-D9E0051266F6}" srcOrd="2" destOrd="0" parTransId="{89F359CB-7603-4AC0-8EC6-825B76FD63D4}" sibTransId="{83126D3C-34AC-4906-B15C-51115FA8A2CD}"/>
    <dgm:cxn modelId="{A1A061F8-149D-4E47-9645-A680D2860E30}" type="presOf" srcId="{8659676D-905E-4885-BFFF-F7AF285EC5C6}" destId="{3406C105-5EBC-4E7C-8B45-F487D07BC4CC}" srcOrd="0" destOrd="0" presId="urn:microsoft.com/office/officeart/2005/8/layout/lProcess3"/>
    <dgm:cxn modelId="{024B0A2B-F0A3-4D56-B317-F7AA3E2EC2CD}" srcId="{5EA3F7F1-187D-4306-8942-6742C100065C}" destId="{8659676D-905E-4885-BFFF-F7AF285EC5C6}" srcOrd="1" destOrd="0" parTransId="{D1BB5570-8D86-492A-8D33-AE72E4CBA6A3}" sibTransId="{6787F63A-6C94-4ADF-8208-82DEBA9226CF}"/>
    <dgm:cxn modelId="{003ABBFD-87AD-FE44-B94C-4C55C13D539E}" type="presParOf" srcId="{EA82EACC-DF9B-4662-9ED6-6AA09E5C8155}" destId="{F258C808-4C1D-4745-AA67-373C3B9B1412}" srcOrd="0" destOrd="0" presId="urn:microsoft.com/office/officeart/2005/8/layout/lProcess3"/>
    <dgm:cxn modelId="{9660682A-48D1-AD45-BD37-11962ECDE856}" type="presParOf" srcId="{F258C808-4C1D-4745-AA67-373C3B9B1412}" destId="{48DE1BF3-08FC-47BC-AEB7-E5F3C95BC93E}" srcOrd="0" destOrd="0" presId="urn:microsoft.com/office/officeart/2005/8/layout/lProcess3"/>
    <dgm:cxn modelId="{D56796C2-FCBA-7A41-8EBC-956DF1FF9022}" type="presParOf" srcId="{EA82EACC-DF9B-4662-9ED6-6AA09E5C8155}" destId="{6BC8AE17-E0A9-46E0-A9AD-6ADB697BDA33}" srcOrd="1" destOrd="0" presId="urn:microsoft.com/office/officeart/2005/8/layout/lProcess3"/>
    <dgm:cxn modelId="{F460E648-3A3E-6949-B962-EFE592878644}" type="presParOf" srcId="{EA82EACC-DF9B-4662-9ED6-6AA09E5C8155}" destId="{EF8EC881-D9CD-4627-911D-AEEB4BB529B1}" srcOrd="2" destOrd="0" presId="urn:microsoft.com/office/officeart/2005/8/layout/lProcess3"/>
    <dgm:cxn modelId="{E63AC900-3DA8-A142-B7AA-7C1F0E4469C5}" type="presParOf" srcId="{EF8EC881-D9CD-4627-911D-AEEB4BB529B1}" destId="{3406C105-5EBC-4E7C-8B45-F487D07BC4CC}" srcOrd="0" destOrd="0" presId="urn:microsoft.com/office/officeart/2005/8/layout/lProcess3"/>
    <dgm:cxn modelId="{400C5163-A0EA-1145-B4C3-D65088122444}" type="presParOf" srcId="{EA82EACC-DF9B-4662-9ED6-6AA09E5C8155}" destId="{8C33347F-D175-47C5-B3B7-A84C7E0A9458}" srcOrd="3" destOrd="0" presId="urn:microsoft.com/office/officeart/2005/8/layout/lProcess3"/>
    <dgm:cxn modelId="{6960C8DD-F467-014C-B040-0FB79E7F0924}" type="presParOf" srcId="{EA82EACC-DF9B-4662-9ED6-6AA09E5C8155}" destId="{8FB270C9-2ED1-4E3B-8F4A-9B46A8137199}" srcOrd="4" destOrd="0" presId="urn:microsoft.com/office/officeart/2005/8/layout/lProcess3"/>
    <dgm:cxn modelId="{B2AFB028-8FF8-5446-890F-88A6FA4F0150}" type="presParOf" srcId="{8FB270C9-2ED1-4E3B-8F4A-9B46A8137199}" destId="{DD980A01-3E59-4903-AF3F-DE77F310AC2E}" srcOrd="0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4625098-23CA-4024-A47F-9B4A26B6DA78}">
      <dsp:nvSpPr>
        <dsp:cNvPr id="0" name=""/>
        <dsp:cNvSpPr/>
      </dsp:nvSpPr>
      <dsp:spPr>
        <a:xfrm rot="10800000">
          <a:off x="0" y="0"/>
          <a:ext cx="4638745" cy="1187979"/>
        </a:xfrm>
        <a:prstGeom prst="trapezoid">
          <a:avLst>
            <a:gd name="adj" fmla="val 48809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200" kern="1200" dirty="0" smtClean="0">
              <a:solidFill>
                <a:schemeClr val="bg1"/>
              </a:solidFill>
              <a:latin typeface="+mj-lt"/>
            </a:rPr>
            <a:t>70</a:t>
          </a:r>
          <a:endParaRPr lang="ru-RU" sz="3200" kern="1200" dirty="0">
            <a:solidFill>
              <a:schemeClr val="bg1"/>
            </a:solidFill>
            <a:latin typeface="+mj-lt"/>
          </a:endParaRPr>
        </a:p>
      </dsp:txBody>
      <dsp:txXfrm rot="-10800000">
        <a:off x="811780" y="0"/>
        <a:ext cx="3015184" cy="1187979"/>
      </dsp:txXfrm>
    </dsp:sp>
    <dsp:sp modelId="{03961BD7-8D17-4A91-9AFF-E9492BA3785E}">
      <dsp:nvSpPr>
        <dsp:cNvPr id="0" name=""/>
        <dsp:cNvSpPr/>
      </dsp:nvSpPr>
      <dsp:spPr>
        <a:xfrm rot="10800000">
          <a:off x="579843" y="1187979"/>
          <a:ext cx="3479058" cy="1187979"/>
        </a:xfrm>
        <a:prstGeom prst="trapezoid">
          <a:avLst>
            <a:gd name="adj" fmla="val 48809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200" kern="1200" dirty="0" smtClean="0">
              <a:solidFill>
                <a:schemeClr val="bg1"/>
              </a:solidFill>
              <a:latin typeface="+mj-lt"/>
            </a:rPr>
            <a:t>43</a:t>
          </a:r>
          <a:endParaRPr lang="ru-RU" sz="3200" kern="1200" dirty="0">
            <a:solidFill>
              <a:schemeClr val="bg1"/>
            </a:solidFill>
            <a:latin typeface="+mj-lt"/>
          </a:endParaRPr>
        </a:p>
      </dsp:txBody>
      <dsp:txXfrm rot="-10800000">
        <a:off x="1188678" y="1187979"/>
        <a:ext cx="2261388" cy="1187979"/>
      </dsp:txXfrm>
    </dsp:sp>
    <dsp:sp modelId="{76AE6601-5FF4-4113-8D7A-AB99F0689294}">
      <dsp:nvSpPr>
        <dsp:cNvPr id="0" name=""/>
        <dsp:cNvSpPr/>
      </dsp:nvSpPr>
      <dsp:spPr>
        <a:xfrm rot="10800000">
          <a:off x="1159686" y="2375958"/>
          <a:ext cx="2319372" cy="1187979"/>
        </a:xfrm>
        <a:prstGeom prst="trapezoid">
          <a:avLst>
            <a:gd name="adj" fmla="val 48809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dirty="0" smtClean="0">
              <a:solidFill>
                <a:schemeClr val="bg1"/>
              </a:solidFill>
              <a:latin typeface="+mj-lt"/>
            </a:rPr>
            <a:t>1</a:t>
          </a:r>
          <a:r>
            <a:rPr lang="ru-RU" sz="3200" kern="1200" dirty="0" smtClean="0">
              <a:solidFill>
                <a:schemeClr val="bg1"/>
              </a:solidFill>
              <a:latin typeface="+mj-lt"/>
            </a:rPr>
            <a:t>4</a:t>
          </a:r>
          <a:endParaRPr lang="ru-RU" sz="3200" kern="1200" dirty="0">
            <a:solidFill>
              <a:schemeClr val="bg1"/>
            </a:solidFill>
            <a:latin typeface="+mj-lt"/>
          </a:endParaRPr>
        </a:p>
      </dsp:txBody>
      <dsp:txXfrm rot="-10800000">
        <a:off x="1565576" y="2375958"/>
        <a:ext cx="1507592" cy="1187979"/>
      </dsp:txXfrm>
    </dsp:sp>
    <dsp:sp modelId="{2F315E29-8A7D-48D8-A4A2-EAB013810DD5}">
      <dsp:nvSpPr>
        <dsp:cNvPr id="0" name=""/>
        <dsp:cNvSpPr/>
      </dsp:nvSpPr>
      <dsp:spPr>
        <a:xfrm rot="10800000">
          <a:off x="1739529" y="3563937"/>
          <a:ext cx="1159686" cy="1187979"/>
        </a:xfrm>
        <a:prstGeom prst="trapezoid">
          <a:avLst>
            <a:gd name="adj" fmla="val 5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200" kern="1200" dirty="0" smtClean="0">
              <a:solidFill>
                <a:schemeClr val="bg1"/>
              </a:solidFill>
              <a:latin typeface="+mj-lt"/>
            </a:rPr>
            <a:t>4</a:t>
          </a:r>
          <a:endParaRPr lang="ru-RU" sz="3200" kern="1200" dirty="0">
            <a:solidFill>
              <a:schemeClr val="bg1"/>
            </a:solidFill>
            <a:latin typeface="+mj-lt"/>
          </a:endParaRPr>
        </a:p>
      </dsp:txBody>
      <dsp:txXfrm rot="-10800000">
        <a:off x="1739529" y="3563937"/>
        <a:ext cx="1159686" cy="118797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218261-7228-4BEE-84D8-FC5D46B987F6}">
      <dsp:nvSpPr>
        <dsp:cNvPr id="0" name=""/>
        <dsp:cNvSpPr/>
      </dsp:nvSpPr>
      <dsp:spPr>
        <a:xfrm>
          <a:off x="-5169561" y="-791857"/>
          <a:ext cx="6156143" cy="6156143"/>
        </a:xfrm>
        <a:prstGeom prst="blockArc">
          <a:avLst>
            <a:gd name="adj1" fmla="val 18900000"/>
            <a:gd name="adj2" fmla="val 2700000"/>
            <a:gd name="adj3" fmla="val 351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805EAFA-9794-4624-8F71-592151037ACF}">
      <dsp:nvSpPr>
        <dsp:cNvPr id="0" name=""/>
        <dsp:cNvSpPr/>
      </dsp:nvSpPr>
      <dsp:spPr>
        <a:xfrm>
          <a:off x="516567" y="351528"/>
          <a:ext cx="6286403" cy="70342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58341" tIns="55880" rIns="55880" bIns="5588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kern="1200" dirty="0" smtClean="0"/>
            <a:t>Участие в формировании подхода к аудиту</a:t>
          </a:r>
          <a:endParaRPr lang="ru-RU" sz="2200" kern="1200" dirty="0"/>
        </a:p>
      </dsp:txBody>
      <dsp:txXfrm>
        <a:off x="516567" y="351528"/>
        <a:ext cx="6286403" cy="703422"/>
      </dsp:txXfrm>
    </dsp:sp>
    <dsp:sp modelId="{55D56532-4A7E-456F-A831-A1DD2116A140}">
      <dsp:nvSpPr>
        <dsp:cNvPr id="0" name=""/>
        <dsp:cNvSpPr/>
      </dsp:nvSpPr>
      <dsp:spPr>
        <a:xfrm>
          <a:off x="76928" y="263600"/>
          <a:ext cx="879277" cy="87927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AE92E11-5E5F-4834-9A5C-9A9A50F19614}">
      <dsp:nvSpPr>
        <dsp:cNvPr id="0" name=""/>
        <dsp:cNvSpPr/>
      </dsp:nvSpPr>
      <dsp:spPr>
        <a:xfrm>
          <a:off x="919855" y="1406844"/>
          <a:ext cx="5883114" cy="70342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58341" tIns="55880" rIns="55880" bIns="5588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kern="1200" dirty="0" smtClean="0"/>
            <a:t>Анализ и проверка данных</a:t>
          </a:r>
          <a:endParaRPr lang="ru-RU" sz="2200" kern="1200" dirty="0"/>
        </a:p>
      </dsp:txBody>
      <dsp:txXfrm>
        <a:off x="919855" y="1406844"/>
        <a:ext cx="5883114" cy="703422"/>
      </dsp:txXfrm>
    </dsp:sp>
    <dsp:sp modelId="{AB7C7383-082C-41AD-B77D-77ECD1CB4D36}">
      <dsp:nvSpPr>
        <dsp:cNvPr id="0" name=""/>
        <dsp:cNvSpPr/>
      </dsp:nvSpPr>
      <dsp:spPr>
        <a:xfrm>
          <a:off x="480216" y="1318916"/>
          <a:ext cx="879277" cy="87927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8887473-3DA7-4D96-A734-1EFAF578BED1}">
      <dsp:nvSpPr>
        <dsp:cNvPr id="0" name=""/>
        <dsp:cNvSpPr/>
      </dsp:nvSpPr>
      <dsp:spPr>
        <a:xfrm>
          <a:off x="919855" y="2462161"/>
          <a:ext cx="5883114" cy="70342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58341" tIns="55880" rIns="55880" bIns="5588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kern="1200" dirty="0" err="1" smtClean="0"/>
            <a:t>Финализация</a:t>
          </a:r>
          <a:r>
            <a:rPr lang="ru-RU" sz="2200" kern="1200" dirty="0" smtClean="0"/>
            <a:t> проектов</a:t>
          </a:r>
          <a:endParaRPr lang="ru-RU" sz="2200" kern="1200" dirty="0"/>
        </a:p>
      </dsp:txBody>
      <dsp:txXfrm>
        <a:off x="919855" y="2462161"/>
        <a:ext cx="5883114" cy="703422"/>
      </dsp:txXfrm>
    </dsp:sp>
    <dsp:sp modelId="{E126C500-70D7-4033-8F6F-4D89415BB2D4}">
      <dsp:nvSpPr>
        <dsp:cNvPr id="0" name=""/>
        <dsp:cNvSpPr/>
      </dsp:nvSpPr>
      <dsp:spPr>
        <a:xfrm>
          <a:off x="480216" y="2374233"/>
          <a:ext cx="879277" cy="87927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F5C9CFD-C2CA-4289-B0A9-5EE986AC3279}">
      <dsp:nvSpPr>
        <dsp:cNvPr id="0" name=""/>
        <dsp:cNvSpPr/>
      </dsp:nvSpPr>
      <dsp:spPr>
        <a:xfrm>
          <a:off x="516567" y="3517477"/>
          <a:ext cx="6286403" cy="70342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58341" tIns="55880" rIns="55880" bIns="5588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kern="1200" dirty="0" smtClean="0"/>
            <a:t>Общение с клиентом</a:t>
          </a:r>
          <a:endParaRPr lang="ru-RU" sz="2200" kern="1200" dirty="0"/>
        </a:p>
      </dsp:txBody>
      <dsp:txXfrm>
        <a:off x="516567" y="3517477"/>
        <a:ext cx="6286403" cy="703422"/>
      </dsp:txXfrm>
    </dsp:sp>
    <dsp:sp modelId="{2B5E32D3-D421-4280-A085-1B13EC985405}">
      <dsp:nvSpPr>
        <dsp:cNvPr id="0" name=""/>
        <dsp:cNvSpPr/>
      </dsp:nvSpPr>
      <dsp:spPr>
        <a:xfrm>
          <a:off x="76928" y="3429549"/>
          <a:ext cx="879277" cy="87927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FA7572F-4696-46D8-8799-C24DF376C1FB}">
      <dsp:nvSpPr>
        <dsp:cNvPr id="0" name=""/>
        <dsp:cNvSpPr/>
      </dsp:nvSpPr>
      <dsp:spPr>
        <a:xfrm>
          <a:off x="0" y="2708"/>
          <a:ext cx="9050757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8DF775E-208B-4BE1-AAD1-93ACFAAB8B37}">
      <dsp:nvSpPr>
        <dsp:cNvPr id="0" name=""/>
        <dsp:cNvSpPr/>
      </dsp:nvSpPr>
      <dsp:spPr>
        <a:xfrm>
          <a:off x="0" y="2708"/>
          <a:ext cx="1810151" cy="55411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R="0" lvl="0" algn="l" defTabSz="466725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50" b="1" i="0" u="none" strike="noStrike" kern="1200" baseline="0" dirty="0" smtClean="0"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Блок по управлению персоналом, организационному развитию и поддержке</a:t>
          </a:r>
          <a:endParaRPr lang="ru-RU" sz="1050" b="1" kern="1200" dirty="0" smtClean="0">
            <a:effectLst/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0" y="2708"/>
        <a:ext cx="1810151" cy="5541140"/>
      </dsp:txXfrm>
    </dsp:sp>
    <dsp:sp modelId="{E248B3A3-8FF5-497E-A52E-44FAD454784C}">
      <dsp:nvSpPr>
        <dsp:cNvPr id="0" name=""/>
        <dsp:cNvSpPr/>
      </dsp:nvSpPr>
      <dsp:spPr>
        <a:xfrm>
          <a:off x="1945912" y="54927"/>
          <a:ext cx="3484541" cy="10443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R="0" lvl="0" algn="l" defTabSz="466725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50" b="1" i="0" u="none" strike="noStrike" kern="1200" baseline="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Дирекция по взаимодействию с функциями и регионами</a:t>
          </a:r>
          <a:endParaRPr lang="ru-RU" sz="1050" kern="1200" dirty="0" smtClean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1945912" y="54927"/>
        <a:ext cx="3484541" cy="1044375"/>
      </dsp:txXfrm>
    </dsp:sp>
    <dsp:sp modelId="{ADAE80AB-E6CD-4380-9940-52A8F94FB34A}">
      <dsp:nvSpPr>
        <dsp:cNvPr id="0" name=""/>
        <dsp:cNvSpPr/>
      </dsp:nvSpPr>
      <dsp:spPr>
        <a:xfrm>
          <a:off x="5566215" y="54927"/>
          <a:ext cx="3484541" cy="3477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t" anchorCtr="0">
          <a:noAutofit/>
        </a:bodyPr>
        <a:lstStyle/>
        <a:p>
          <a:pPr marR="0" lvl="0" algn="l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0" i="0" u="none" strike="noStrike" kern="1200" baseline="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Отдел по подбору и адаптации персонала</a:t>
          </a:r>
          <a:endParaRPr lang="ru-RU" sz="1000" b="0" kern="1200" dirty="0" smtClean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5566215" y="54927"/>
        <a:ext cx="3484541" cy="347785"/>
      </dsp:txXfrm>
    </dsp:sp>
    <dsp:sp modelId="{120F9105-9676-47E5-BC06-0629A07A40C5}">
      <dsp:nvSpPr>
        <dsp:cNvPr id="0" name=""/>
        <dsp:cNvSpPr/>
      </dsp:nvSpPr>
      <dsp:spPr>
        <a:xfrm>
          <a:off x="5430454" y="402712"/>
          <a:ext cx="3484541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2430BE8-0AE2-43A4-B6C5-292C579360F9}">
      <dsp:nvSpPr>
        <dsp:cNvPr id="0" name=""/>
        <dsp:cNvSpPr/>
      </dsp:nvSpPr>
      <dsp:spPr>
        <a:xfrm>
          <a:off x="5566215" y="402712"/>
          <a:ext cx="3484541" cy="347785"/>
        </a:xfrm>
        <a:prstGeom prst="rect">
          <a:avLst/>
        </a:prstGeom>
        <a:noFill/>
        <a:ln>
          <a:noFill/>
        </a:ln>
        <a:effectLst>
          <a:glow rad="228600">
            <a:schemeClr val="accent2">
              <a:satMod val="175000"/>
              <a:alpha val="40000"/>
            </a:schemeClr>
          </a:glow>
        </a:effectLst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t" anchorCtr="0">
          <a:noAutofit/>
        </a:bodyPr>
        <a:lstStyle/>
        <a:p>
          <a:pPr marR="0" lvl="0" algn="l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i="0" u="none" strike="noStrike" kern="1200" baseline="0" dirty="0" smtClean="0">
              <a:solidFill>
                <a:srgbClr val="C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Служба кадрового администрирования и охраны труда</a:t>
          </a:r>
          <a:endParaRPr lang="ru-RU" sz="1000" kern="1200" dirty="0" smtClean="0">
            <a:solidFill>
              <a:srgbClr val="C00000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5566215" y="402712"/>
        <a:ext cx="3484541" cy="347785"/>
      </dsp:txXfrm>
    </dsp:sp>
    <dsp:sp modelId="{50FD0AF6-A77A-4C27-9506-1926A11926AD}">
      <dsp:nvSpPr>
        <dsp:cNvPr id="0" name=""/>
        <dsp:cNvSpPr/>
      </dsp:nvSpPr>
      <dsp:spPr>
        <a:xfrm>
          <a:off x="5430454" y="750497"/>
          <a:ext cx="3484541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A989F0F-080B-4D65-9324-0F1EDF96B5B8}">
      <dsp:nvSpPr>
        <dsp:cNvPr id="0" name=""/>
        <dsp:cNvSpPr/>
      </dsp:nvSpPr>
      <dsp:spPr>
        <a:xfrm>
          <a:off x="5566215" y="750497"/>
          <a:ext cx="3484541" cy="3477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t" anchorCtr="0">
          <a:noAutofit/>
        </a:bodyPr>
        <a:lstStyle/>
        <a:p>
          <a:pPr marR="0" lvl="0" algn="l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0" i="0" u="none" strike="noStrike" kern="1200" baseline="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Служба по региональному подбору</a:t>
          </a:r>
          <a:endParaRPr lang="ru-RU" sz="1000" b="0" kern="1200" dirty="0" smtClean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5566215" y="750497"/>
        <a:ext cx="3484541" cy="347785"/>
      </dsp:txXfrm>
    </dsp:sp>
    <dsp:sp modelId="{58D8978F-D1D6-4121-B462-AC9986A0A164}">
      <dsp:nvSpPr>
        <dsp:cNvPr id="0" name=""/>
        <dsp:cNvSpPr/>
      </dsp:nvSpPr>
      <dsp:spPr>
        <a:xfrm>
          <a:off x="1810151" y="1099302"/>
          <a:ext cx="7240605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64A3D20-C4AB-41E5-B0B1-848396F3C557}">
      <dsp:nvSpPr>
        <dsp:cNvPr id="0" name=""/>
        <dsp:cNvSpPr/>
      </dsp:nvSpPr>
      <dsp:spPr>
        <a:xfrm>
          <a:off x="1945912" y="1151520"/>
          <a:ext cx="3484541" cy="10443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R="0" lvl="0" algn="l" defTabSz="466725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50" b="1" i="0" u="none" strike="noStrike" kern="1200" baseline="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Дирекция по управлению талантами и развитию персонала</a:t>
          </a:r>
          <a:endParaRPr lang="ru-RU" sz="1050" kern="1200" dirty="0" smtClean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1945912" y="1151520"/>
        <a:ext cx="3484541" cy="1044375"/>
      </dsp:txXfrm>
    </dsp:sp>
    <dsp:sp modelId="{74F36F2D-3A4A-4E2F-BDD2-B7A91D977D52}">
      <dsp:nvSpPr>
        <dsp:cNvPr id="0" name=""/>
        <dsp:cNvSpPr/>
      </dsp:nvSpPr>
      <dsp:spPr>
        <a:xfrm>
          <a:off x="5566215" y="1151520"/>
          <a:ext cx="3484541" cy="1738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t" anchorCtr="0">
          <a:noAutofit/>
        </a:bodyPr>
        <a:lstStyle/>
        <a:p>
          <a:pPr marR="0" lvl="0" algn="l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0" i="0" u="none" strike="noStrike" kern="1200" baseline="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Отдел технического и ИТ обучения</a:t>
          </a:r>
          <a:endParaRPr lang="ru-RU" sz="1000" b="0" kern="1200" dirty="0" smtClean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5566215" y="1151520"/>
        <a:ext cx="3484541" cy="173892"/>
      </dsp:txXfrm>
    </dsp:sp>
    <dsp:sp modelId="{14F38BCD-A36E-4657-878B-1FF18092E587}">
      <dsp:nvSpPr>
        <dsp:cNvPr id="0" name=""/>
        <dsp:cNvSpPr/>
      </dsp:nvSpPr>
      <dsp:spPr>
        <a:xfrm>
          <a:off x="5430454" y="1325413"/>
          <a:ext cx="3484541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55FAB75-3B8B-4F12-99A6-C077F30FDBE8}">
      <dsp:nvSpPr>
        <dsp:cNvPr id="0" name=""/>
        <dsp:cNvSpPr/>
      </dsp:nvSpPr>
      <dsp:spPr>
        <a:xfrm>
          <a:off x="5566215" y="1325413"/>
          <a:ext cx="3484541" cy="1738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t" anchorCtr="0">
          <a:noAutofit/>
        </a:bodyPr>
        <a:lstStyle/>
        <a:p>
          <a:pPr marR="0" lvl="0" algn="l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0" i="0" u="none" strike="noStrike" kern="1200" baseline="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Отдел развития и поддержки системы обучения</a:t>
          </a:r>
          <a:endParaRPr lang="ru-RU" sz="1000" b="0" kern="1200" dirty="0" smtClean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5566215" y="1325413"/>
        <a:ext cx="3484541" cy="173892"/>
      </dsp:txXfrm>
    </dsp:sp>
    <dsp:sp modelId="{E6A8D623-6CC5-4E0D-BCCC-8CD9D447411F}">
      <dsp:nvSpPr>
        <dsp:cNvPr id="0" name=""/>
        <dsp:cNvSpPr/>
      </dsp:nvSpPr>
      <dsp:spPr>
        <a:xfrm>
          <a:off x="5430454" y="1499305"/>
          <a:ext cx="3484541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9B2DF73-1A60-4ECA-945B-31ACA15D2328}">
      <dsp:nvSpPr>
        <dsp:cNvPr id="0" name=""/>
        <dsp:cNvSpPr/>
      </dsp:nvSpPr>
      <dsp:spPr>
        <a:xfrm>
          <a:off x="5566215" y="1499305"/>
          <a:ext cx="3484541" cy="1738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t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Служба развития лидерства и менеджмента</a:t>
          </a:r>
          <a:endParaRPr lang="ru-RU" sz="1000" kern="1200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5566215" y="1499305"/>
        <a:ext cx="3484541" cy="173892"/>
      </dsp:txXfrm>
    </dsp:sp>
    <dsp:sp modelId="{4D1CFBD0-DD08-403E-8561-7EC88CE3B631}">
      <dsp:nvSpPr>
        <dsp:cNvPr id="0" name=""/>
        <dsp:cNvSpPr/>
      </dsp:nvSpPr>
      <dsp:spPr>
        <a:xfrm>
          <a:off x="5430454" y="1673198"/>
          <a:ext cx="3484541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50B03F5-BE06-4D4A-924C-90BBE279AFAA}">
      <dsp:nvSpPr>
        <dsp:cNvPr id="0" name=""/>
        <dsp:cNvSpPr/>
      </dsp:nvSpPr>
      <dsp:spPr>
        <a:xfrm>
          <a:off x="5566215" y="1673198"/>
          <a:ext cx="3484541" cy="1738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t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Служба обучения продажам и обслуживанию</a:t>
          </a:r>
          <a:endParaRPr lang="ru-RU" sz="1000" kern="1200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5566215" y="1673198"/>
        <a:ext cx="3484541" cy="173892"/>
      </dsp:txXfrm>
    </dsp:sp>
    <dsp:sp modelId="{D4DB1D3D-173F-4175-805C-2DAE8CED1171}">
      <dsp:nvSpPr>
        <dsp:cNvPr id="0" name=""/>
        <dsp:cNvSpPr/>
      </dsp:nvSpPr>
      <dsp:spPr>
        <a:xfrm>
          <a:off x="5430454" y="1847091"/>
          <a:ext cx="3484541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6CA7355-BD00-40C8-9129-FEBA34DF774A}">
      <dsp:nvSpPr>
        <dsp:cNvPr id="0" name=""/>
        <dsp:cNvSpPr/>
      </dsp:nvSpPr>
      <dsp:spPr>
        <a:xfrm>
          <a:off x="5566215" y="1847091"/>
          <a:ext cx="3484541" cy="1738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t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Служба по развитию управленческих компетенций</a:t>
          </a:r>
          <a:endParaRPr lang="ru-RU" sz="1000" kern="1200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5566215" y="1847091"/>
        <a:ext cx="3484541" cy="173892"/>
      </dsp:txXfrm>
    </dsp:sp>
    <dsp:sp modelId="{7744727F-74D6-4E65-9DBB-DAFB316DF0A4}">
      <dsp:nvSpPr>
        <dsp:cNvPr id="0" name=""/>
        <dsp:cNvSpPr/>
      </dsp:nvSpPr>
      <dsp:spPr>
        <a:xfrm>
          <a:off x="5430454" y="2020983"/>
          <a:ext cx="3484541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B3B99F1-F70F-4E36-A0C8-C73E546C1474}">
      <dsp:nvSpPr>
        <dsp:cNvPr id="0" name=""/>
        <dsp:cNvSpPr/>
      </dsp:nvSpPr>
      <dsp:spPr>
        <a:xfrm>
          <a:off x="5566215" y="2020983"/>
          <a:ext cx="3484541" cy="1738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t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Развитие внутренних тренеров</a:t>
          </a:r>
          <a:endParaRPr lang="ru-RU" sz="1000" kern="1200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5566215" y="2020983"/>
        <a:ext cx="3484541" cy="173892"/>
      </dsp:txXfrm>
    </dsp:sp>
    <dsp:sp modelId="{66716561-651B-4F2C-A074-0E048E679174}">
      <dsp:nvSpPr>
        <dsp:cNvPr id="0" name=""/>
        <dsp:cNvSpPr/>
      </dsp:nvSpPr>
      <dsp:spPr>
        <a:xfrm>
          <a:off x="1810151" y="2195895"/>
          <a:ext cx="7240605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203C372-9BC1-474C-B52E-AD0DD3857B85}">
      <dsp:nvSpPr>
        <dsp:cNvPr id="0" name=""/>
        <dsp:cNvSpPr/>
      </dsp:nvSpPr>
      <dsp:spPr>
        <a:xfrm>
          <a:off x="1945912" y="2248114"/>
          <a:ext cx="3484541" cy="10443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R="0" lvl="0" algn="l" defTabSz="466725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50" b="1" i="0" u="none" strike="noStrike" kern="1200" baseline="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Дирекция по компенсациям и льготам</a:t>
          </a:r>
          <a:endParaRPr lang="ru-RU" sz="1050" kern="1200" dirty="0" smtClean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1945912" y="2248114"/>
        <a:ext cx="3484541" cy="1044375"/>
      </dsp:txXfrm>
    </dsp:sp>
    <dsp:sp modelId="{EAC955B6-A535-43B1-872E-F49A49202D3D}">
      <dsp:nvSpPr>
        <dsp:cNvPr id="0" name=""/>
        <dsp:cNvSpPr/>
      </dsp:nvSpPr>
      <dsp:spPr>
        <a:xfrm>
          <a:off x="5566215" y="2248114"/>
          <a:ext cx="3484541" cy="2610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t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Отдел мотивационных программ</a:t>
          </a:r>
          <a:endParaRPr lang="ru-RU" sz="1000" kern="1200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5566215" y="2248114"/>
        <a:ext cx="3484541" cy="261093"/>
      </dsp:txXfrm>
    </dsp:sp>
    <dsp:sp modelId="{02BB52DF-0C32-4579-A054-B73C64359959}">
      <dsp:nvSpPr>
        <dsp:cNvPr id="0" name=""/>
        <dsp:cNvSpPr/>
      </dsp:nvSpPr>
      <dsp:spPr>
        <a:xfrm>
          <a:off x="5430454" y="2509208"/>
          <a:ext cx="3484541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7F87EEB-A5C3-4BA8-87C5-910FAB93C984}">
      <dsp:nvSpPr>
        <dsp:cNvPr id="0" name=""/>
        <dsp:cNvSpPr/>
      </dsp:nvSpPr>
      <dsp:spPr>
        <a:xfrm>
          <a:off x="5566215" y="2509208"/>
          <a:ext cx="3484541" cy="2610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t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Отдел льгот</a:t>
          </a:r>
          <a:endParaRPr lang="ru-RU" sz="1000" kern="1200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5566215" y="2509208"/>
        <a:ext cx="3484541" cy="261093"/>
      </dsp:txXfrm>
    </dsp:sp>
    <dsp:sp modelId="{05141241-84D5-459B-A901-B50CAB9746DE}">
      <dsp:nvSpPr>
        <dsp:cNvPr id="0" name=""/>
        <dsp:cNvSpPr/>
      </dsp:nvSpPr>
      <dsp:spPr>
        <a:xfrm>
          <a:off x="5430454" y="2770302"/>
          <a:ext cx="3484541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098B9FC-B5AE-472D-84F8-F6DEA57CAF76}">
      <dsp:nvSpPr>
        <dsp:cNvPr id="0" name=""/>
        <dsp:cNvSpPr/>
      </dsp:nvSpPr>
      <dsp:spPr>
        <a:xfrm>
          <a:off x="5566215" y="2770302"/>
          <a:ext cx="3484541" cy="2610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t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Служба бюджетирования, контроля и отчетности</a:t>
          </a:r>
          <a:endParaRPr lang="ru-RU" sz="1000" kern="1200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5566215" y="2770302"/>
        <a:ext cx="3484541" cy="261093"/>
      </dsp:txXfrm>
    </dsp:sp>
    <dsp:sp modelId="{F36C7E65-ABB0-49AD-B10D-ED15D9773D7D}">
      <dsp:nvSpPr>
        <dsp:cNvPr id="0" name=""/>
        <dsp:cNvSpPr/>
      </dsp:nvSpPr>
      <dsp:spPr>
        <a:xfrm>
          <a:off x="5430454" y="3031396"/>
          <a:ext cx="3484541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9EABFE6-EFED-4B3B-857B-FB7CEF0DA6F9}">
      <dsp:nvSpPr>
        <dsp:cNvPr id="0" name=""/>
        <dsp:cNvSpPr/>
      </dsp:nvSpPr>
      <dsp:spPr>
        <a:xfrm>
          <a:off x="5566215" y="3031396"/>
          <a:ext cx="3484541" cy="2610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t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Служба компенсаций</a:t>
          </a:r>
          <a:endParaRPr lang="ru-RU" sz="1000" kern="1200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5566215" y="3031396"/>
        <a:ext cx="3484541" cy="261093"/>
      </dsp:txXfrm>
    </dsp:sp>
    <dsp:sp modelId="{C3448275-9E3E-4485-9EFF-0724390F18B6}">
      <dsp:nvSpPr>
        <dsp:cNvPr id="0" name=""/>
        <dsp:cNvSpPr/>
      </dsp:nvSpPr>
      <dsp:spPr>
        <a:xfrm>
          <a:off x="1810151" y="3292489"/>
          <a:ext cx="7240605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A70CF7C-F70C-490B-939D-0E646C23FADE}">
      <dsp:nvSpPr>
        <dsp:cNvPr id="0" name=""/>
        <dsp:cNvSpPr/>
      </dsp:nvSpPr>
      <dsp:spPr>
        <a:xfrm>
          <a:off x="1945912" y="3344708"/>
          <a:ext cx="3484541" cy="10443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R="0" lvl="0" algn="l" defTabSz="466725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50" b="1" i="0" u="none" strike="noStrike" kern="1200" baseline="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Дирекция по организационному развитию</a:t>
          </a:r>
          <a:endParaRPr lang="ru-RU" sz="1050" kern="1200" dirty="0" smtClean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1945912" y="3344708"/>
        <a:ext cx="3484541" cy="1044375"/>
      </dsp:txXfrm>
    </dsp:sp>
    <dsp:sp modelId="{539BCC9E-D274-4A41-9288-5F73266D0A8F}">
      <dsp:nvSpPr>
        <dsp:cNvPr id="0" name=""/>
        <dsp:cNvSpPr/>
      </dsp:nvSpPr>
      <dsp:spPr>
        <a:xfrm>
          <a:off x="1810151" y="4389083"/>
          <a:ext cx="7240605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2B99C92-28A2-4576-AAD6-049DCA8D6DAD}">
      <dsp:nvSpPr>
        <dsp:cNvPr id="0" name=""/>
        <dsp:cNvSpPr/>
      </dsp:nvSpPr>
      <dsp:spPr>
        <a:xfrm>
          <a:off x="1945912" y="4441302"/>
          <a:ext cx="3484541" cy="10443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R="0" lvl="0" algn="l" defTabSz="466725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50" b="1" i="0" u="none" strike="noStrike" kern="1200" baseline="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Департамент корпоративной культуры и внутренних коммуникаций</a:t>
          </a:r>
          <a:endParaRPr lang="ru-RU" sz="1050" kern="1200" dirty="0" smtClean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1945912" y="4441302"/>
        <a:ext cx="3484541" cy="1044375"/>
      </dsp:txXfrm>
    </dsp:sp>
    <dsp:sp modelId="{1E896502-940F-41FA-A23E-A72402F911DD}">
      <dsp:nvSpPr>
        <dsp:cNvPr id="0" name=""/>
        <dsp:cNvSpPr/>
      </dsp:nvSpPr>
      <dsp:spPr>
        <a:xfrm>
          <a:off x="5566215" y="4441302"/>
          <a:ext cx="3484541" cy="2610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t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Внутренние коммуникации</a:t>
          </a:r>
          <a:endParaRPr lang="ru-RU" sz="1000" kern="1200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5566215" y="4441302"/>
        <a:ext cx="3484541" cy="261093"/>
      </dsp:txXfrm>
    </dsp:sp>
    <dsp:sp modelId="{E5ECE439-FB8D-491D-BF08-0BCDDE4F38BA}">
      <dsp:nvSpPr>
        <dsp:cNvPr id="0" name=""/>
        <dsp:cNvSpPr/>
      </dsp:nvSpPr>
      <dsp:spPr>
        <a:xfrm>
          <a:off x="5430454" y="4702396"/>
          <a:ext cx="3484541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DE564C7-2C4B-4276-B3EE-B41BADB81EAD}">
      <dsp:nvSpPr>
        <dsp:cNvPr id="0" name=""/>
        <dsp:cNvSpPr/>
      </dsp:nvSpPr>
      <dsp:spPr>
        <a:xfrm>
          <a:off x="5566215" y="4702396"/>
          <a:ext cx="3484541" cy="2610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t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Веб-коммуникации</a:t>
          </a:r>
          <a:endParaRPr lang="ru-RU" sz="1000" kern="1200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5566215" y="4702396"/>
        <a:ext cx="3484541" cy="261093"/>
      </dsp:txXfrm>
    </dsp:sp>
    <dsp:sp modelId="{ADC740E3-CED7-4D60-B7C0-2EDB2E632109}">
      <dsp:nvSpPr>
        <dsp:cNvPr id="0" name=""/>
        <dsp:cNvSpPr/>
      </dsp:nvSpPr>
      <dsp:spPr>
        <a:xfrm>
          <a:off x="5430454" y="4963490"/>
          <a:ext cx="3484541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13B02B7-092C-47B0-AF26-D0423F2CFBF4}">
      <dsp:nvSpPr>
        <dsp:cNvPr id="0" name=""/>
        <dsp:cNvSpPr/>
      </dsp:nvSpPr>
      <dsp:spPr>
        <a:xfrm>
          <a:off x="5566215" y="4963490"/>
          <a:ext cx="3484541" cy="2610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t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Корпоративная культура</a:t>
          </a:r>
          <a:endParaRPr lang="ru-RU" sz="1000" kern="1200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5566215" y="4963490"/>
        <a:ext cx="3484541" cy="261093"/>
      </dsp:txXfrm>
    </dsp:sp>
    <dsp:sp modelId="{4EEE76A3-42F2-4765-8CB9-DD7A5B24ED08}">
      <dsp:nvSpPr>
        <dsp:cNvPr id="0" name=""/>
        <dsp:cNvSpPr/>
      </dsp:nvSpPr>
      <dsp:spPr>
        <a:xfrm>
          <a:off x="5430454" y="5224583"/>
          <a:ext cx="3484541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A28CB4C-F850-49E9-8449-FA87322075C8}">
      <dsp:nvSpPr>
        <dsp:cNvPr id="0" name=""/>
        <dsp:cNvSpPr/>
      </dsp:nvSpPr>
      <dsp:spPr>
        <a:xfrm>
          <a:off x="5566215" y="5224583"/>
          <a:ext cx="3484541" cy="2610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t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Корпоративные мероприятия</a:t>
          </a:r>
          <a:endParaRPr lang="ru-RU" sz="1000" kern="1200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5566215" y="5224583"/>
        <a:ext cx="3484541" cy="261093"/>
      </dsp:txXfrm>
    </dsp:sp>
    <dsp:sp modelId="{B81F7958-0958-4B3B-8222-CCFBEF2681FA}">
      <dsp:nvSpPr>
        <dsp:cNvPr id="0" name=""/>
        <dsp:cNvSpPr/>
      </dsp:nvSpPr>
      <dsp:spPr>
        <a:xfrm>
          <a:off x="1810151" y="5485677"/>
          <a:ext cx="7240605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DE1BF3-08FC-47BC-AEB7-E5F3C95BC93E}">
      <dsp:nvSpPr>
        <dsp:cNvPr id="0" name=""/>
        <dsp:cNvSpPr/>
      </dsp:nvSpPr>
      <dsp:spPr>
        <a:xfrm>
          <a:off x="1500187" y="1269"/>
          <a:ext cx="3095624" cy="1238250"/>
        </a:xfrm>
        <a:prstGeom prst="chevron">
          <a:avLst/>
        </a:prstGeom>
        <a:gradFill rotWithShape="0">
          <a:gsLst>
            <a:gs pos="0">
              <a:schemeClr val="accent6">
                <a:shade val="8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shade val="8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shade val="8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1750" tIns="15875" rIns="0" bIns="15875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500" b="1" i="0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Изначальная стоимость товара</a:t>
          </a:r>
          <a:endParaRPr lang="en-US" sz="2500" b="1" i="0" kern="12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2119312" y="1269"/>
        <a:ext cx="1857374" cy="1238250"/>
      </dsp:txXfrm>
    </dsp:sp>
    <dsp:sp modelId="{3406C105-5EBC-4E7C-8B45-F487D07BC4CC}">
      <dsp:nvSpPr>
        <dsp:cNvPr id="0" name=""/>
        <dsp:cNvSpPr/>
      </dsp:nvSpPr>
      <dsp:spPr>
        <a:xfrm>
          <a:off x="1500187" y="1412874"/>
          <a:ext cx="3095624" cy="1238250"/>
        </a:xfrm>
        <a:prstGeom prst="chevron">
          <a:avLst/>
        </a:prstGeom>
        <a:gradFill rotWithShape="0">
          <a:gsLst>
            <a:gs pos="0">
              <a:schemeClr val="accent6">
                <a:shade val="80000"/>
                <a:hueOff val="-190846"/>
                <a:satOff val="8505"/>
                <a:lumOff val="11889"/>
                <a:alphaOff val="0"/>
                <a:shade val="51000"/>
                <a:satMod val="130000"/>
              </a:schemeClr>
            </a:gs>
            <a:gs pos="80000">
              <a:schemeClr val="accent6">
                <a:shade val="80000"/>
                <a:hueOff val="-190846"/>
                <a:satOff val="8505"/>
                <a:lumOff val="11889"/>
                <a:alphaOff val="0"/>
                <a:shade val="93000"/>
                <a:satMod val="130000"/>
              </a:schemeClr>
            </a:gs>
            <a:gs pos="100000">
              <a:schemeClr val="accent6">
                <a:shade val="80000"/>
                <a:hueOff val="-190846"/>
                <a:satOff val="8505"/>
                <a:lumOff val="11889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1750" tIns="15875" rIns="0" bIns="15875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500" b="1" i="0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Стоимость перевозки</a:t>
          </a:r>
          <a:endParaRPr lang="en-US" sz="2500" b="1" i="0" kern="12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2119312" y="1412874"/>
        <a:ext cx="1857374" cy="1238250"/>
      </dsp:txXfrm>
    </dsp:sp>
    <dsp:sp modelId="{DD980A01-3E59-4903-AF3F-DE77F310AC2E}">
      <dsp:nvSpPr>
        <dsp:cNvPr id="0" name=""/>
        <dsp:cNvSpPr/>
      </dsp:nvSpPr>
      <dsp:spPr>
        <a:xfrm>
          <a:off x="1500187" y="2824480"/>
          <a:ext cx="3095624" cy="1238250"/>
        </a:xfrm>
        <a:prstGeom prst="chevron">
          <a:avLst/>
        </a:prstGeom>
        <a:gradFill rotWithShape="0">
          <a:gsLst>
            <a:gs pos="0">
              <a:schemeClr val="accent6">
                <a:shade val="80000"/>
                <a:hueOff val="-381692"/>
                <a:satOff val="17009"/>
                <a:lumOff val="23779"/>
                <a:alphaOff val="0"/>
                <a:shade val="51000"/>
                <a:satMod val="130000"/>
              </a:schemeClr>
            </a:gs>
            <a:gs pos="80000">
              <a:schemeClr val="accent6">
                <a:shade val="80000"/>
                <a:hueOff val="-381692"/>
                <a:satOff val="17009"/>
                <a:lumOff val="23779"/>
                <a:alphaOff val="0"/>
                <a:shade val="93000"/>
                <a:satMod val="130000"/>
              </a:schemeClr>
            </a:gs>
            <a:gs pos="100000">
              <a:schemeClr val="accent6">
                <a:shade val="80000"/>
                <a:hueOff val="-381692"/>
                <a:satOff val="17009"/>
                <a:lumOff val="23779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1750" tIns="15875" rIns="0" bIns="15875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500" b="1" i="0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Страховка</a:t>
          </a:r>
          <a:endParaRPr lang="en-US" sz="2500" b="1" i="0" kern="12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2119312" y="2824480"/>
        <a:ext cx="1857374" cy="123825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3">
  <dgm:title val=""/>
  <dgm:desc val=""/>
  <dgm:catLst>
    <dgm:cat type="pyramid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T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T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rev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t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27B3CB6-0AF8-2140-8C2B-AE5B161F278F}" type="datetimeFigureOut">
              <a:rPr lang="ru-RU" smtClean="0"/>
              <a:t>23.03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CACA68-6C69-904E-9B5F-E07091CB4AB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8280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ru-RU" smtClean="0">
                <a:solidFill>
                  <a:prstClr val="black"/>
                </a:solidFill>
                <a:latin typeface="Calibri"/>
              </a:rPr>
              <a:pPr/>
              <a:t>1</a:t>
            </a:fld>
            <a:endParaRPr lang="ru-RU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0175517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54B304-E99A-554B-A154-AA493B70D9FA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54</a:t>
            </a:fld>
            <a:endParaRPr lang="en-GB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686311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54B304-E99A-554B-A154-AA493B70D9FA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55</a:t>
            </a:fld>
            <a:endParaRPr lang="en-GB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686311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4588" y="687388"/>
            <a:ext cx="4575175" cy="34321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5363" y="4913438"/>
            <a:ext cx="5844153" cy="226808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EA98B-8E54-4CD0-82BB-B61F2ACC55F5}" type="slidenum">
              <a:rPr lang="ru-RU" smtClean="0">
                <a:solidFill>
                  <a:prstClr val="black"/>
                </a:solidFill>
                <a:latin typeface="Calibri"/>
              </a:rPr>
              <a:pPr/>
              <a:t>88</a:t>
            </a:fld>
            <a:endParaRPr lang="ru-RU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882053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4588" y="687388"/>
            <a:ext cx="4575175" cy="34321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5363" y="4913438"/>
            <a:ext cx="5844153" cy="226808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EA98B-8E54-4CD0-82BB-B61F2ACC55F5}" type="slidenum">
              <a:rPr lang="ru-RU" smtClean="0">
                <a:solidFill>
                  <a:prstClr val="black"/>
                </a:solidFill>
                <a:latin typeface="Calibri"/>
              </a:rPr>
              <a:pPr/>
              <a:t>95</a:t>
            </a:fld>
            <a:endParaRPr lang="ru-RU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882053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ru-RU" smtClean="0">
                <a:solidFill>
                  <a:prstClr val="black"/>
                </a:solidFill>
                <a:latin typeface="Calibri"/>
              </a:rPr>
              <a:pPr/>
              <a:t>2</a:t>
            </a:fld>
            <a:endParaRPr lang="ru-RU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477329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ru-RU" smtClean="0">
                <a:solidFill>
                  <a:prstClr val="black"/>
                </a:solidFill>
                <a:latin typeface="Calibri"/>
              </a:rPr>
              <a:pPr/>
              <a:t>4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057775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ru-RU" smtClean="0">
                <a:solidFill>
                  <a:prstClr val="black"/>
                </a:solidFill>
                <a:latin typeface="Calibri"/>
              </a:rPr>
              <a:pPr/>
              <a:t>5</a:t>
            </a:fld>
            <a:endParaRPr lang="ru-RU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110859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ru-RU" smtClean="0">
                <a:solidFill>
                  <a:prstClr val="black"/>
                </a:solidFill>
                <a:latin typeface="Calibri"/>
              </a:rPr>
              <a:pPr/>
              <a:t>8</a:t>
            </a:fld>
            <a:endParaRPr lang="ru-RU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611975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D5EE04-6622-4AD6-A6DC-40BC47304F9B}" type="slidenum">
              <a:rPr lang="ru-RU" smtClean="0">
                <a:solidFill>
                  <a:prstClr val="black"/>
                </a:solidFill>
                <a:latin typeface="Calibri"/>
              </a:rPr>
              <a:pPr/>
              <a:t>9</a:t>
            </a:fld>
            <a:endParaRPr lang="ru-RU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259185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54B304-E99A-554B-A154-AA493B70D9FA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50</a:t>
            </a:fld>
            <a:endParaRPr lang="en-GB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686311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54B304-E99A-554B-A154-AA493B70D9FA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52</a:t>
            </a:fld>
            <a:endParaRPr lang="en-GB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686311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-649288" y="381000"/>
            <a:ext cx="5984876" cy="4489450"/>
          </a:xfrm>
        </p:spPr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54B304-E99A-554B-A154-AA493B70D9FA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53</a:t>
            </a:fld>
            <a:endParaRPr lang="en-GB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488341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30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.xml"/><Relationship Id="rId4" Type="http://schemas.openxmlformats.org/officeDocument/2006/relationships/image" Target="../media/image26.png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9.emf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37.png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1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2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3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30.emf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3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3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157319"/>
            <a:ext cx="8915400" cy="877824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3034591"/>
            <a:ext cx="8001000" cy="3823447"/>
          </a:xfr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292608" tIns="91440" rIns="274320" bIns="91440" rtlCol="0" anchor="t" anchorCtr="0">
            <a:normAutofit/>
          </a:bodyPr>
          <a:lstStyle>
            <a:lvl1pPr marL="0" indent="0" algn="l" defTabSz="914400" rtl="0" eaLnBrk="1" latinLnBrk="0" hangingPunct="1">
              <a:spcBef>
                <a:spcPts val="2000"/>
              </a:spcBef>
              <a:buClr>
                <a:schemeClr val="accent1"/>
              </a:buClr>
              <a:buFont typeface="Wingdings 2" pitchFamily="18" charset="2"/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6C5678-EE20-4FA5-88E2-6E0BD67A2E26}" type="datetime1">
              <a:rPr lang="en-US" smtClean="0"/>
              <a:t>3/23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Footer Text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89C0F2-17E0-497A-9BBE-0C73201AAFE3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24712"/>
            <a:ext cx="8915400" cy="914400"/>
          </a:xfrm>
          <a:solidFill>
            <a:schemeClr val="tx2"/>
          </a:solidFill>
        </p:spPr>
        <p:txBody>
          <a:bodyPr vert="horz" lIns="1188720" tIns="45720" rIns="274320" bIns="45720" rtlCol="0" anchor="ctr">
            <a:normAutofit/>
          </a:bodyPr>
          <a:lstStyle>
            <a:lvl1pPr marL="0" indent="0" algn="l" defTabSz="9144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487989" y="2048256"/>
            <a:ext cx="3427413" cy="4206240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Чтобы добавить рисунок, перетащите его на заполнитель или щелкните значок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4400" y="2039112"/>
            <a:ext cx="4572000" cy="4224528"/>
          </a:xfr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292608" tIns="274320" rIns="274320" bIns="274320" rtlCol="0" anchor="t" anchorCtr="0">
            <a:normAutofit/>
          </a:bodyPr>
          <a:lstStyle>
            <a:lvl1pPr marL="0" indent="0"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0" indent="0" algn="l" defTabSz="914400" rtl="0" eaLnBrk="1" latinLnBrk="0" hangingPunct="1">
              <a:spcBef>
                <a:spcPts val="2000"/>
              </a:spcBef>
              <a:buClr>
                <a:schemeClr val="accent1"/>
              </a:buClr>
              <a:buFont typeface="Wingdings 2" pitchFamily="18" charset="2"/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580094" y="188297"/>
            <a:ext cx="2133600" cy="365125"/>
          </a:xfrm>
        </p:spPr>
        <p:txBody>
          <a:bodyPr/>
          <a:lstStyle/>
          <a:p>
            <a:fld id="{DC3B8377-21E3-4835-B75D-4E2847E2750F}" type="datetime1">
              <a:rPr lang="en-US" smtClean="0"/>
              <a:t>3/23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Footer Text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B540C-44DA-4F69-89C9-7C84606640D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7976313-A85F-B346-A1BB-87A0D6D94864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672523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851DA66-7264-3948-8B6C-3738E042312A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609579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86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964CA76-36BB-FF45-BDAC-E32A00631AB7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628495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1017361-37BF-9F45-8E15-C597EE9498EB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196571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0796147-5000-5F48-B0C5-C0642465F329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3600905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74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74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92C9930-E4EC-D84A-9587-7C3F78AB60B1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524813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61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D0B6A2-87B7-4169-9AD0-6F5D6795539F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3/23/20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9911FE-9CEC-47A9-BD87-00D41E7EAD33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9475882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D0B6A2-87B7-4169-9AD0-6F5D6795539F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3/23/20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9911FE-9CEC-47A9-BD87-00D41E7EAD33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7925835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3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D0B6A2-87B7-4169-9AD0-6F5D6795539F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3/23/20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9911FE-9CEC-47A9-BD87-00D41E7EAD33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4527602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D0B6A2-87B7-4169-9AD0-6F5D6795539F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3/23/20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9911FE-9CEC-47A9-BD87-00D41E7EAD33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790664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 над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4114800"/>
            <a:ext cx="8915400" cy="877824"/>
          </a:xfrm>
        </p:spPr>
        <p:txBody>
          <a:bodyPr tIns="137160" bIns="137160" anchor="b" anchorCtr="0">
            <a:normAutofit/>
          </a:bodyPr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5002343"/>
            <a:ext cx="8001000" cy="1855695"/>
          </a:xfr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2608" tIns="137160" rIns="274320" bIns="137160" rtlCol="0" anchor="t" anchorCtr="0">
            <a:norm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None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4986D-6BE9-4264-908F-02DB36FD8D6C}" type="datetime1">
              <a:rPr lang="en-US" smtClean="0"/>
              <a:t>3/23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Footer Text</a:t>
            </a:r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927100" y="1129553"/>
            <a:ext cx="7988300" cy="2980944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ru-RU" smtClean="0"/>
              <a:t>Чтобы добавить рисунок, перетащите его на заполнитель или щелкните значок</a:t>
            </a:r>
            <a:endParaRPr/>
          </a:p>
        </p:txBody>
      </p:sp>
    </p:spTree>
  </p:cSld>
  <p:clrMapOvr>
    <a:masterClrMapping/>
  </p:clrMapOvr>
  <p:hf sldNum="0" hdr="0" ftr="0" dt="0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43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4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D0B6A2-87B7-4169-9AD0-6F5D6795539F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3/23/20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9911FE-9CEC-47A9-BD87-00D41E7EAD33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3106791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D0B6A2-87B7-4169-9AD0-6F5D6795539F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3/23/20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9911FE-9CEC-47A9-BD87-00D41E7EAD33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145115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D0B6A2-87B7-4169-9AD0-6F5D6795539F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3/23/20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9911FE-9CEC-47A9-BD87-00D41E7EAD33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6647398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86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D0B6A2-87B7-4169-9AD0-6F5D6795539F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3/23/20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9911FE-9CEC-47A9-BD87-00D41E7EAD33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7579541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D0B6A2-87B7-4169-9AD0-6F5D6795539F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3/23/20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9911FE-9CEC-47A9-BD87-00D41E7EAD33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3562376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D0B6A2-87B7-4169-9AD0-6F5D6795539F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3/23/20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9911FE-9CEC-47A9-BD87-00D41E7EAD33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1734524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74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74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D0B6A2-87B7-4169-9AD0-6F5D6795539F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3/23/20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9911FE-9CEC-47A9-BD87-00D41E7EAD33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5241750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54" descr="Sberbank_russian"/>
          <p:cNvPicPr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00" y="2"/>
            <a:ext cx="9152100" cy="6874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1" y="350019"/>
            <a:ext cx="993718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smtClean="0">
                <a:solidFill>
                  <a:srgbClr val="000000"/>
                </a:solidFill>
              </a:rPr>
              <a:t>WORKING DRAFT</a:t>
            </a:r>
            <a:endParaRPr lang="ru-RU" sz="900" b="1" dirty="0" smtClean="0">
              <a:solidFill>
                <a:srgbClr val="000000"/>
              </a:solidFill>
            </a:endParaRP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66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905" y="508678"/>
            <a:ext cx="305182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000000"/>
                </a:solidFill>
              </a:rPr>
              <a:t>Last Modified 22.12.2014 12:09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92" y="669111"/>
            <a:ext cx="365691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smtClean="0">
                <a:solidFill>
                  <a:srgbClr val="000000"/>
                </a:solidFill>
              </a:rPr>
              <a:t>Printed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5" y="19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400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848" y="3275"/>
              <a:ext cx="2924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400" b="1" dirty="0" smtClean="0">
                  <a:solidFill>
                    <a:srgbClr val="FFFFFF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6"/>
              <a:ext cx="3226" cy="1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1987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800" dirty="0" smtClean="0">
                  <a:solidFill>
                    <a:srgbClr val="000000"/>
                  </a:solidFill>
                  <a:latin typeface="Arial"/>
                </a:rPr>
                <a:t>КОНФИДЕНЦИАЛЬНАЯ ИНФОРМАЦИЯ, СОБСТВЕННОСТЬ McKINSEY </a:t>
              </a:r>
              <a:r>
                <a:rPr lang="ru-RU" sz="800" smtClean="0">
                  <a:solidFill>
                    <a:srgbClr val="000000"/>
                  </a:solidFill>
                  <a:latin typeface="Arial"/>
                </a:rPr>
                <a:t>&amp; COMPANY</a:t>
              </a:r>
              <a:endParaRPr lang="ru-RU" sz="800" dirty="0" smtClean="0">
                <a:solidFill>
                  <a:srgbClr val="000000"/>
                </a:solidFill>
                <a:latin typeface="Arial"/>
              </a:endParaRPr>
            </a:p>
            <a:p>
              <a:pPr defTabSz="81987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800" dirty="0" smtClean="0">
                  <a:solidFill>
                    <a:srgbClr val="000000"/>
                  </a:solidFill>
                  <a:latin typeface="Arial"/>
                </a:rPr>
                <a:t>Любое использование этого документа без специального разрешения McKinsey </a:t>
              </a:r>
              <a:r>
                <a:rPr lang="ru-RU" sz="800" smtClean="0">
                  <a:solidFill>
                    <a:srgbClr val="000000"/>
                  </a:solidFill>
                  <a:latin typeface="Arial"/>
                </a:rPr>
                <a:t>&amp; Company </a:t>
              </a:r>
              <a:r>
                <a:rPr lang="ru-RU" sz="800" dirty="0" smtClean="0">
                  <a:solidFill>
                    <a:srgbClr val="000000"/>
                  </a:solidFill>
                  <a:latin typeface="Arial"/>
                </a:rPr>
                <a:t>строго запрещено</a:t>
              </a:r>
              <a:endParaRPr lang="ru-RU" sz="8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  <a:latin typeface="Arial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8" y="6574700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93475" y="2760180"/>
            <a:ext cx="5248284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ru-RU" sz="3200" noProof="0" dirty="0" smtClean="0">
                <a:solidFill>
                  <a:schemeClr val="bg1"/>
                </a:solidFill>
              </a:defRPr>
            </a:lvl1pPr>
          </a:lstStyle>
          <a:p>
            <a:pPr lvl="0" defTabSz="913104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93489" y="4233989"/>
            <a:ext cx="4577669" cy="27699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>
              <a:defRPr lang="ru-RU" sz="1800" b="1" kern="1200" noProof="0" smtClean="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lvl="0" defTabSz="949364" latinLnBrk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  <p:sp>
        <p:nvSpPr>
          <p:cNvPr id="21" name="Rectangle 1027" hidden="1"/>
          <p:cNvSpPr txBox="1">
            <a:spLocks noChangeArrowheads="1"/>
          </p:cNvSpPr>
          <p:nvPr userDrawn="1"/>
        </p:nvSpPr>
        <p:spPr bwMode="auto">
          <a:xfrm>
            <a:off x="2993543" y="5053462"/>
            <a:ext cx="5394069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latin typeface="Arial"/>
              </a:rPr>
              <a:t>Click to </a:t>
            </a:r>
            <a:r>
              <a:rPr lang="en-US" sz="1600" smtClean="0">
                <a:latin typeface="Arial"/>
              </a:rPr>
              <a:t>edit Master </a:t>
            </a:r>
            <a:r>
              <a:rPr lang="en-US" sz="1600" dirty="0" smtClean="0">
                <a:latin typeface="Arial"/>
              </a:rPr>
              <a:t>subtitle style</a:t>
            </a:r>
            <a:endParaRPr lang="en-US" sz="1600" dirty="0">
              <a:latin typeface="Arial"/>
            </a:endParaRPr>
          </a:p>
        </p:txBody>
      </p:sp>
      <p:pic>
        <p:nvPicPr>
          <p:cNvPr id="5005" name="Picture 90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" y="0"/>
            <a:ext cx="157212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6214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49656" y="233893"/>
            <a:ext cx="6830240" cy="292388"/>
          </a:xfrm>
        </p:spPr>
        <p:txBody>
          <a:bodyPr anchor="ctr" anchorCtr="0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3" name="Picture 48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41" y="656820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53" descr="SBERBANK of Russia By your side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979939" y="93945"/>
            <a:ext cx="2070156" cy="513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737308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Title"/>
          <p:cNvSpPr>
            <a:spLocks noGrp="1"/>
          </p:cNvSpPr>
          <p:nvPr>
            <p:ph type="body" sz="quarter" idx="11"/>
          </p:nvPr>
        </p:nvSpPr>
        <p:spPr>
          <a:xfrm>
            <a:off x="3039648" y="2934392"/>
            <a:ext cx="5664527" cy="861774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5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432361" y="2934512"/>
            <a:ext cx="2306456" cy="430887"/>
          </a:xfrm>
        </p:spPr>
        <p:txBody>
          <a:bodyPr/>
          <a:lstStyle>
            <a:lvl1pPr marL="0" indent="0" algn="r">
              <a:buNone/>
              <a:defRPr sz="2800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dirty="0" smtClean="0"/>
              <a:t>Section #</a:t>
            </a:r>
          </a:p>
        </p:txBody>
      </p:sp>
      <p:cxnSp>
        <p:nvCxnSpPr>
          <p:cNvPr id="10" name="Straight Connector 9"/>
          <p:cNvCxnSpPr/>
          <p:nvPr/>
        </p:nvCxnSpPr>
        <p:spPr bwMode="auto">
          <a:xfrm>
            <a:off x="2889185" y="2859699"/>
            <a:ext cx="0" cy="1064029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" name="Straight Connector 4"/>
          <p:cNvCxnSpPr/>
          <p:nvPr userDrawn="1"/>
        </p:nvCxnSpPr>
        <p:spPr bwMode="auto">
          <a:xfrm>
            <a:off x="2889185" y="2859699"/>
            <a:ext cx="0" cy="1064029"/>
          </a:xfrm>
          <a:prstGeom prst="line">
            <a:avLst/>
          </a:prstGeom>
          <a:noFill/>
          <a:ln w="9525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3371847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рисунк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4114800"/>
            <a:ext cx="8915400" cy="877824"/>
          </a:xfrm>
        </p:spPr>
        <p:txBody>
          <a:bodyPr tIns="137160" bIns="137160" anchor="b" anchorCtr="0">
            <a:normAutofit/>
          </a:bodyPr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5002343"/>
            <a:ext cx="8001000" cy="1855695"/>
          </a:xfr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2608" tIns="137160" rIns="274320" bIns="137160" rtlCol="0" anchor="t" anchorCtr="0">
            <a:norm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None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80094" y="188297"/>
            <a:ext cx="2133600" cy="365125"/>
          </a:xfrm>
        </p:spPr>
        <p:txBody>
          <a:bodyPr/>
          <a:lstStyle/>
          <a:p>
            <a:fld id="{B0C4986D-6BE9-4264-908F-02DB36FD8D6C}" type="datetime1">
              <a:rPr lang="en-US" smtClean="0"/>
              <a:t>3/23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Footer Text</a:t>
            </a:r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927100" y="1129553"/>
            <a:ext cx="3986784" cy="2980944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ru-RU" smtClean="0"/>
              <a:t>Чтобы добавить рисунок, перетащите его на заполнитель или щелкните значок</a:t>
            </a:r>
            <a:endParaRPr/>
          </a:p>
        </p:txBody>
      </p:sp>
      <p:sp>
        <p:nvSpPr>
          <p:cNvPr id="7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4928616" y="1129553"/>
            <a:ext cx="3986784" cy="2980944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ru-RU" smtClean="0"/>
              <a:t>Чтобы добавить рисунок, перетащите его на заполнитель или щелкните значок</a:t>
            </a:r>
            <a:endParaRPr/>
          </a:p>
        </p:txBody>
      </p:sp>
    </p:spTree>
  </p:cSld>
  <p:clrMapOvr>
    <a:masterClrMapping/>
  </p:clrMapOvr>
  <p:hf sldNum="0" hdr="0" ftr="0" dt="0"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349900"/>
            <a:ext cx="993718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797" y="508635"/>
            <a:ext cx="283164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000000"/>
                </a:solidFill>
              </a:rPr>
              <a:t>Last Modified 11.06.2013 11:21 Russian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796" y="668991"/>
            <a:ext cx="251943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000000"/>
                </a:solidFill>
              </a:rPr>
              <a:t>Printed 10.06.2013 11:52 Russian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400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400" dirty="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6"/>
              <a:ext cx="3226" cy="1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800" dirty="0" smtClean="0">
                  <a:solidFill>
                    <a:srgbClr val="000000"/>
                  </a:solidFill>
                  <a:latin typeface="Arial"/>
                </a:rPr>
                <a:t>КОНФИДЕНЦИАЛЬНАЯ ИНФОРМАЦИЯ, СОБСТВЕННОСТЬ McKINSEY &amp; COMPANY</a:t>
              </a:r>
            </a:p>
            <a:p>
              <a:pPr defTabSz="821202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800" dirty="0" smtClean="0">
                  <a:solidFill>
                    <a:srgbClr val="000000"/>
                  </a:solidFill>
                  <a:latin typeface="Arial"/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8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  <a:latin typeface="Arial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2" y="6574581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70593" y="2132280"/>
            <a:ext cx="6259287" cy="507831"/>
          </a:xfrm>
          <a:prstGeom prst="rect">
            <a:avLst/>
          </a:prstGeom>
        </p:spPr>
        <p:txBody>
          <a:bodyPr anchor="ctr" anchorCtr="0"/>
          <a:lstStyle>
            <a:lvl1pPr>
              <a:defRPr sz="3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noProof="0" smtClean="0"/>
              <a:t>Образец заголовка</a:t>
            </a:r>
            <a:endParaRPr lang="ru-RU" noProof="0" dirty="0" smtClean="0"/>
          </a:p>
        </p:txBody>
      </p:sp>
      <p:sp>
        <p:nvSpPr>
          <p:cNvPr id="19" name="Прямоугольник 18"/>
          <p:cNvSpPr/>
          <p:nvPr userDrawn="1"/>
        </p:nvSpPr>
        <p:spPr>
          <a:xfrm>
            <a:off x="-1620" y="835204"/>
            <a:ext cx="9145619" cy="46648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600" dirty="0" err="1" smtClean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36" name="Picture 7" descr="Screen Shot 2013-12-24 at 12.16.45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4901" y="169393"/>
            <a:ext cx="1985020" cy="637214"/>
          </a:xfrm>
          <a:prstGeom prst="rect">
            <a:avLst/>
          </a:prstGeom>
        </p:spPr>
      </p:pic>
      <p:grpSp>
        <p:nvGrpSpPr>
          <p:cNvPr id="2" name="Группа 1"/>
          <p:cNvGrpSpPr/>
          <p:nvPr userDrawn="1"/>
        </p:nvGrpSpPr>
        <p:grpSpPr>
          <a:xfrm>
            <a:off x="-9158" y="4884442"/>
            <a:ext cx="9175002" cy="2156737"/>
            <a:chOff x="-8976" y="4787170"/>
            <a:chExt cx="8991821" cy="2113802"/>
          </a:xfrm>
        </p:grpSpPr>
        <p:pic>
          <p:nvPicPr>
            <p:cNvPr id="43" name="Picture 2"/>
            <p:cNvPicPr>
              <a:picLocks noChangeAspect="1" noChangeArrowheads="1"/>
            </p:cNvPicPr>
            <p:nvPr userDrawn="1"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19" r="801"/>
            <a:stretch/>
          </p:blipFill>
          <p:spPr bwMode="auto">
            <a:xfrm>
              <a:off x="-1" y="4787170"/>
              <a:ext cx="8961439" cy="1841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44" name="Группа 43"/>
            <p:cNvGrpSpPr/>
            <p:nvPr userDrawn="1"/>
          </p:nvGrpSpPr>
          <p:grpSpPr>
            <a:xfrm>
              <a:off x="-8976" y="5750183"/>
              <a:ext cx="8991821" cy="1150789"/>
              <a:chOff x="-8976" y="5750183"/>
              <a:chExt cx="8991821" cy="1150789"/>
            </a:xfrm>
          </p:grpSpPr>
          <p:sp>
            <p:nvSpPr>
              <p:cNvPr id="45" name="Freeform 11"/>
              <p:cNvSpPr>
                <a:spLocks/>
              </p:cNvSpPr>
              <p:nvPr/>
            </p:nvSpPr>
            <p:spPr bwMode="auto">
              <a:xfrm rot="21401812">
                <a:off x="3021" y="6317320"/>
                <a:ext cx="5333974" cy="583652"/>
              </a:xfrm>
              <a:custGeom>
                <a:avLst/>
                <a:gdLst/>
                <a:ahLst/>
                <a:cxnLst/>
                <a:rect l="l" t="t" r="r" b="b"/>
                <a:pathLst>
                  <a:path w="5333974" h="583652">
                    <a:moveTo>
                      <a:pt x="5276645" y="572390"/>
                    </a:moveTo>
                    <a:cubicBezTo>
                      <a:pt x="5295731" y="576282"/>
                      <a:pt x="5314854" y="579973"/>
                      <a:pt x="5333974" y="583652"/>
                    </a:cubicBezTo>
                    <a:lnTo>
                      <a:pt x="5276180" y="580462"/>
                    </a:lnTo>
                    <a:close/>
                    <a:moveTo>
                      <a:pt x="2002421" y="7710"/>
                    </a:moveTo>
                    <a:cubicBezTo>
                      <a:pt x="2746081" y="41292"/>
                      <a:pt x="3941635" y="311324"/>
                      <a:pt x="5151013" y="547708"/>
                    </a:cubicBezTo>
                    <a:lnTo>
                      <a:pt x="3682725" y="462967"/>
                    </a:lnTo>
                    <a:lnTo>
                      <a:pt x="3682598" y="465178"/>
                    </a:lnTo>
                    <a:cubicBezTo>
                      <a:pt x="2972445" y="364324"/>
                      <a:pt x="2335517" y="281380"/>
                      <a:pt x="1880469" y="260831"/>
                    </a:cubicBezTo>
                    <a:cubicBezTo>
                      <a:pt x="1585660" y="247519"/>
                      <a:pt x="1283245" y="266577"/>
                      <a:pt x="989675" y="307538"/>
                    </a:cubicBezTo>
                    <a:lnTo>
                      <a:pt x="0" y="250419"/>
                    </a:lnTo>
                    <a:lnTo>
                      <a:pt x="4858" y="169923"/>
                    </a:lnTo>
                    <a:cubicBezTo>
                      <a:pt x="543116" y="59278"/>
                      <a:pt x="1231841" y="-26781"/>
                      <a:pt x="2002421" y="7710"/>
                    </a:cubicBezTo>
                    <a:close/>
                  </a:path>
                </a:pathLst>
              </a:custGeom>
              <a:solidFill>
                <a:srgbClr val="A7D0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>
                  <a:solidFill>
                    <a:srgbClr val="000000"/>
                  </a:solidFill>
                  <a:latin typeface="Arial"/>
                </a:endParaRPr>
              </a:p>
            </p:txBody>
          </p:sp>
          <p:grpSp>
            <p:nvGrpSpPr>
              <p:cNvPr id="46" name="Группа 45"/>
              <p:cNvGrpSpPr/>
              <p:nvPr/>
            </p:nvGrpSpPr>
            <p:grpSpPr>
              <a:xfrm>
                <a:off x="-8976" y="5750183"/>
                <a:ext cx="8991821" cy="1095217"/>
                <a:chOff x="-8976" y="5750183"/>
                <a:chExt cx="8991821" cy="1095217"/>
              </a:xfrm>
            </p:grpSpPr>
            <p:sp>
              <p:nvSpPr>
                <p:cNvPr id="47" name="Freeform 8"/>
                <p:cNvSpPr>
                  <a:spLocks/>
                </p:cNvSpPr>
                <p:nvPr/>
              </p:nvSpPr>
              <p:spPr bwMode="auto">
                <a:xfrm rot="21401812">
                  <a:off x="8766" y="5750183"/>
                  <a:ext cx="8974079" cy="9975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4079" h="997596">
                      <a:moveTo>
                        <a:pt x="8974079" y="256658"/>
                      </a:moveTo>
                      <a:lnTo>
                        <a:pt x="8969227" y="340728"/>
                      </a:lnTo>
                      <a:cubicBezTo>
                        <a:pt x="8564536" y="640458"/>
                        <a:pt x="7878802" y="997596"/>
                        <a:pt x="6912361" y="997596"/>
                      </a:cubicBezTo>
                      <a:cubicBezTo>
                        <a:pt x="5249207" y="997596"/>
                        <a:pt x="3171705" y="95150"/>
                        <a:pt x="1612138" y="95151"/>
                      </a:cubicBezTo>
                      <a:cubicBezTo>
                        <a:pt x="878567" y="95151"/>
                        <a:pt x="351898" y="189883"/>
                        <a:pt x="0" y="290901"/>
                      </a:cubicBezTo>
                      <a:lnTo>
                        <a:pt x="5097" y="206451"/>
                      </a:lnTo>
                      <a:cubicBezTo>
                        <a:pt x="356949" y="99692"/>
                        <a:pt x="882082" y="-1"/>
                        <a:pt x="1612138" y="0"/>
                      </a:cubicBezTo>
                      <a:cubicBezTo>
                        <a:pt x="3168828" y="0"/>
                        <a:pt x="5249207" y="961914"/>
                        <a:pt x="6912361" y="961913"/>
                      </a:cubicBezTo>
                      <a:cubicBezTo>
                        <a:pt x="7883088" y="961913"/>
                        <a:pt x="8570523" y="577496"/>
                        <a:pt x="8974079" y="256658"/>
                      </a:cubicBezTo>
                      <a:close/>
                    </a:path>
                  </a:pathLst>
                </a:custGeom>
                <a:solidFill>
                  <a:srgbClr val="CBDB2A"/>
                </a:solidFill>
                <a:ln w="12700">
                  <a:solidFill>
                    <a:srgbClr val="CBDB2A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sz="160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8" name="Freeform 9"/>
                <p:cNvSpPr>
                  <a:spLocks/>
                </p:cNvSpPr>
                <p:nvPr/>
              </p:nvSpPr>
              <p:spPr bwMode="auto">
                <a:xfrm rot="21401812">
                  <a:off x="-8976" y="5845921"/>
                  <a:ext cx="8991280" cy="9561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6656" h="956109">
                      <a:moveTo>
                        <a:pt x="8976656" y="245543"/>
                      </a:moveTo>
                      <a:lnTo>
                        <a:pt x="8968839" y="380995"/>
                      </a:lnTo>
                      <a:cubicBezTo>
                        <a:pt x="8560462" y="647681"/>
                        <a:pt x="7881915" y="956109"/>
                        <a:pt x="6935009" y="956109"/>
                      </a:cubicBezTo>
                      <a:cubicBezTo>
                        <a:pt x="5268979" y="956109"/>
                        <a:pt x="3185721" y="144234"/>
                        <a:pt x="1623278" y="144234"/>
                      </a:cubicBezTo>
                      <a:cubicBezTo>
                        <a:pt x="882318" y="144234"/>
                        <a:pt x="352320" y="230846"/>
                        <a:pt x="0" y="322515"/>
                      </a:cubicBezTo>
                      <a:lnTo>
                        <a:pt x="7638" y="195957"/>
                      </a:lnTo>
                      <a:cubicBezTo>
                        <a:pt x="359537" y="94859"/>
                        <a:pt x="886396" y="0"/>
                        <a:pt x="1620399" y="0"/>
                      </a:cubicBezTo>
                      <a:cubicBezTo>
                        <a:pt x="3177089" y="0"/>
                        <a:pt x="5257469" y="902579"/>
                        <a:pt x="6920623" y="902579"/>
                      </a:cubicBezTo>
                      <a:cubicBezTo>
                        <a:pt x="7886613" y="902579"/>
                        <a:pt x="8572070" y="545423"/>
                        <a:pt x="8976656" y="245543"/>
                      </a:cubicBezTo>
                      <a:close/>
                    </a:path>
                  </a:pathLst>
                </a:custGeom>
                <a:solidFill>
                  <a:srgbClr val="6D9D3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sz="160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9" name="Freeform 10"/>
                <p:cNvSpPr>
                  <a:spLocks/>
                </p:cNvSpPr>
                <p:nvPr/>
              </p:nvSpPr>
              <p:spPr bwMode="auto">
                <a:xfrm rot="21401812">
                  <a:off x="5052" y="5990568"/>
                  <a:ext cx="8964051" cy="8548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5335" h="854832">
                      <a:moveTo>
                        <a:pt x="8975335" y="228107"/>
                      </a:moveTo>
                      <a:lnTo>
                        <a:pt x="8968669" y="343617"/>
                      </a:lnTo>
                      <a:cubicBezTo>
                        <a:pt x="8565323" y="579247"/>
                        <a:pt x="7907768" y="846431"/>
                        <a:pt x="6996356" y="854832"/>
                      </a:cubicBezTo>
                      <a:lnTo>
                        <a:pt x="6771421" y="842418"/>
                      </a:lnTo>
                      <a:lnTo>
                        <a:pt x="6160628" y="808709"/>
                      </a:lnTo>
                      <a:cubicBezTo>
                        <a:pt x="4658324" y="648621"/>
                        <a:pt x="2957691" y="118920"/>
                        <a:pt x="1633308" y="118921"/>
                      </a:cubicBezTo>
                      <a:cubicBezTo>
                        <a:pt x="885697" y="118921"/>
                        <a:pt x="352711" y="198599"/>
                        <a:pt x="0" y="282365"/>
                      </a:cubicBezTo>
                      <a:lnTo>
                        <a:pt x="6280" y="178326"/>
                      </a:lnTo>
                      <a:cubicBezTo>
                        <a:pt x="358237" y="86650"/>
                        <a:pt x="887657" y="1"/>
                        <a:pt x="1627553" y="0"/>
                      </a:cubicBezTo>
                      <a:cubicBezTo>
                        <a:pt x="3187184" y="1"/>
                        <a:pt x="5267650" y="811631"/>
                        <a:pt x="6930874" y="811631"/>
                      </a:cubicBezTo>
                      <a:cubicBezTo>
                        <a:pt x="7887631" y="811631"/>
                        <a:pt x="8569204" y="496328"/>
                        <a:pt x="8975335" y="228107"/>
                      </a:cubicBezTo>
                      <a:close/>
                    </a:path>
                  </a:pathLst>
                </a:custGeom>
                <a:solidFill>
                  <a:srgbClr val="8DC63F"/>
                </a:solidFill>
                <a:ln w="19050">
                  <a:solidFill>
                    <a:srgbClr val="8DC63F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sz="160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</p:grpSp>
      </p:grpSp>
      <p:pic>
        <p:nvPicPr>
          <p:cNvPr id="50" name="Picture 2"/>
          <p:cNvPicPr>
            <a:picLocks noChangeAspect="1" noChangeArrowheads="1"/>
          </p:cNvPicPr>
          <p:nvPr userDrawn="1"/>
        </p:nvPicPr>
        <p:blipFill rotWithShape="1">
          <a:blip r:embed="rId5" cstate="email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28" b="4627"/>
          <a:stretch/>
        </p:blipFill>
        <p:spPr bwMode="auto">
          <a:xfrm>
            <a:off x="4341360" y="3255687"/>
            <a:ext cx="4802640" cy="3107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70611" y="3698325"/>
            <a:ext cx="5909557" cy="251222"/>
          </a:xfrm>
        </p:spPr>
        <p:txBody>
          <a:bodyPr wrap="square">
            <a:spAutoFit/>
          </a:bodyPr>
          <a:lstStyle>
            <a:lvl1pPr>
              <a:defRPr sz="16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  <a:endParaRPr lang="ru-RU" noProof="0" dirty="0" smtClean="0"/>
          </a:p>
        </p:txBody>
      </p:sp>
    </p:spTree>
    <p:extLst>
      <p:ext uri="{BB962C8B-B14F-4D97-AF65-F5344CB8AC3E}">
        <p14:creationId xmlns:p14="http://schemas.microsoft.com/office/powerpoint/2010/main" val="12238382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12933" y="3772430"/>
            <a:ext cx="5036084" cy="219820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/>
          </p:nvPr>
        </p:nvSpPr>
        <p:spPr>
          <a:xfrm>
            <a:off x="3512950" y="2191205"/>
            <a:ext cx="5293639" cy="507831"/>
          </a:xfrm>
        </p:spPr>
        <p:txBody>
          <a:bodyPr/>
          <a:lstStyle>
            <a:lvl1pPr>
              <a:defRPr sz="3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6" name="Picture 2" descr="C:\Users\LUKANI~1\AppData\Local\Temp\Rar$DI05.591\Деревце-с-облачками_done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" y="1634983"/>
            <a:ext cx="3523021" cy="3491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149387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12933" y="3772430"/>
            <a:ext cx="5036084" cy="219820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512950" y="2191205"/>
            <a:ext cx="5293639" cy="507831"/>
          </a:xfrm>
        </p:spPr>
        <p:txBody>
          <a:bodyPr/>
          <a:lstStyle>
            <a:lvl1pPr>
              <a:defRPr sz="3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grpSp>
        <p:nvGrpSpPr>
          <p:cNvPr id="2" name="Группа 1"/>
          <p:cNvGrpSpPr/>
          <p:nvPr userDrawn="1"/>
        </p:nvGrpSpPr>
        <p:grpSpPr>
          <a:xfrm>
            <a:off x="-238276" y="1457321"/>
            <a:ext cx="3672718" cy="4386576"/>
            <a:chOff x="-273711" y="1428309"/>
            <a:chExt cx="3682622" cy="4398665"/>
          </a:xfrm>
        </p:grpSpPr>
        <p:pic>
          <p:nvPicPr>
            <p:cNvPr id="8" name="Picture 2" descr="C:\Users\Lukanina-AN\AppData\Local\Microsoft\Windows\Temporary Internet Files\Low\Content.IE5\U9HPN9CK\WEareTEAM[1].png"/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4435296">
              <a:off x="1464937" y="1092742"/>
              <a:ext cx="1608407" cy="22795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2" descr="C:\Users\LUKANI~1\AppData\Local\Temp\Rar$DI00.669\ImLeader_done.png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7674329">
              <a:off x="82787" y="1695408"/>
              <a:ext cx="1266509" cy="19795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3" descr="C:\Users\LUKANI~1\AppData\Local\Temp\Rar$DI03.218\все-для-клиента_done.png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353251">
              <a:off x="472355" y="2831967"/>
              <a:ext cx="2499145" cy="29950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546472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12933" y="3772430"/>
            <a:ext cx="5036084" cy="219820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512950" y="2191205"/>
            <a:ext cx="5293639" cy="507831"/>
          </a:xfrm>
        </p:spPr>
        <p:txBody>
          <a:bodyPr/>
          <a:lstStyle>
            <a:lvl1pPr>
              <a:defRPr sz="3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7" name="Picture 2" descr="C:\Users\LUKANI~1\AppData\Local\Temp\Rar$DI00.709\воздушный-шар_done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687" y="1666959"/>
            <a:ext cx="3237987" cy="3755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52513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12933" y="3772430"/>
            <a:ext cx="5036084" cy="219820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  <p:sp>
        <p:nvSpPr>
          <p:cNvPr id="5" name="Текст 6"/>
          <p:cNvSpPr>
            <a:spLocks noGrp="1"/>
          </p:cNvSpPr>
          <p:nvPr>
            <p:ph type="body" sz="quarter" idx="10"/>
          </p:nvPr>
        </p:nvSpPr>
        <p:spPr>
          <a:xfrm>
            <a:off x="3512950" y="2191205"/>
            <a:ext cx="5293639" cy="507831"/>
          </a:xfrm>
        </p:spPr>
        <p:txBody>
          <a:bodyPr/>
          <a:lstStyle>
            <a:lvl1pPr>
              <a:defRPr sz="3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6" name="Picture 2" descr="C:\Users\LUKANI~1\AppData\Local\Temp\Rar$DI07.270\деревце-с-солнышком_done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86863" y="1445596"/>
            <a:ext cx="4147114" cy="4384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092799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12933" y="3772430"/>
            <a:ext cx="5036084" cy="219820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512950" y="2191205"/>
            <a:ext cx="5293639" cy="507831"/>
          </a:xfrm>
        </p:spPr>
        <p:txBody>
          <a:bodyPr/>
          <a:lstStyle>
            <a:lvl1pPr>
              <a:defRPr sz="3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7" name="Picture 2" descr="C:\Users\LUKANI~1\AppData\Local\Temp\Rar$DI09.235\земной-шар_done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709" y="2064785"/>
            <a:ext cx="3327963" cy="3051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087097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er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8" y="6271924"/>
            <a:ext cx="594677" cy="582843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72" y="1718550"/>
            <a:ext cx="6331957" cy="1256112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0" name="source"/>
          <p:cNvSpPr>
            <a:spLocks noGrp="1"/>
          </p:cNvSpPr>
          <p:nvPr>
            <p:ph type="body" sz="quarter" idx="11" hasCustomPrompt="1"/>
          </p:nvPr>
        </p:nvSpPr>
        <p:spPr>
          <a:xfrm>
            <a:off x="640370" y="6614570"/>
            <a:ext cx="7926979" cy="157014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21" name="footnote"/>
          <p:cNvSpPr>
            <a:spLocks noGrp="1"/>
          </p:cNvSpPr>
          <p:nvPr>
            <p:ph type="body" sz="quarter" idx="12" hasCustomPrompt="1"/>
          </p:nvPr>
        </p:nvSpPr>
        <p:spPr>
          <a:xfrm>
            <a:off x="640370" y="6376148"/>
            <a:ext cx="7926979" cy="157014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9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490" y="491202"/>
            <a:ext cx="6916719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заголовка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529090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n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34" y="6274340"/>
            <a:ext cx="638310" cy="574269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72" y="1718550"/>
            <a:ext cx="6331957" cy="1256112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footnote"/>
          <p:cNvSpPr>
            <a:spLocks noGrp="1"/>
          </p:cNvSpPr>
          <p:nvPr>
            <p:ph type="body" sz="quarter" idx="13" hasCustomPrompt="1"/>
          </p:nvPr>
        </p:nvSpPr>
        <p:spPr>
          <a:xfrm>
            <a:off x="640370" y="6376148"/>
            <a:ext cx="7926979" cy="157014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1" name="source"/>
          <p:cNvSpPr>
            <a:spLocks noGrp="1"/>
          </p:cNvSpPr>
          <p:nvPr>
            <p:ph type="body" sz="quarter" idx="14" hasCustomPrompt="1"/>
          </p:nvPr>
        </p:nvSpPr>
        <p:spPr>
          <a:xfrm>
            <a:off x="640370" y="6614570"/>
            <a:ext cx="7926979" cy="157014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490" y="491202"/>
            <a:ext cx="6916719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969043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ves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-4" y="6360597"/>
            <a:ext cx="451939" cy="502715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72" y="1718550"/>
            <a:ext cx="6331957" cy="1256112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footnote"/>
          <p:cNvSpPr>
            <a:spLocks noGrp="1"/>
          </p:cNvSpPr>
          <p:nvPr>
            <p:ph type="body" sz="quarter" idx="13" hasCustomPrompt="1"/>
          </p:nvPr>
        </p:nvSpPr>
        <p:spPr>
          <a:xfrm>
            <a:off x="640370" y="6376148"/>
            <a:ext cx="7926979" cy="157014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6" name="source"/>
          <p:cNvSpPr>
            <a:spLocks noGrp="1"/>
          </p:cNvSpPr>
          <p:nvPr>
            <p:ph type="body" sz="quarter" idx="14" hasCustomPrompt="1"/>
          </p:nvPr>
        </p:nvSpPr>
        <p:spPr>
          <a:xfrm>
            <a:off x="640370" y="6614570"/>
            <a:ext cx="7926979" cy="157014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490" y="491202"/>
            <a:ext cx="6916719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674926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72" y="1718550"/>
            <a:ext cx="6331957" cy="1256112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21489" y="6614570"/>
            <a:ext cx="8445848" cy="157014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21489" y="6376148"/>
            <a:ext cx="8445848" cy="157014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490" y="491202"/>
            <a:ext cx="6916719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заголовка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0958602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рисунк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4114800"/>
            <a:ext cx="8915400" cy="877824"/>
          </a:xfrm>
        </p:spPr>
        <p:txBody>
          <a:bodyPr tIns="137160" bIns="137160" anchor="b" anchorCtr="0">
            <a:normAutofit/>
          </a:bodyPr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5002343"/>
            <a:ext cx="8001000" cy="1855695"/>
          </a:xfr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2608" tIns="137160" rIns="274320" bIns="137160" rtlCol="0" anchor="t" anchorCtr="0">
            <a:norm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None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80094" y="188297"/>
            <a:ext cx="2133600" cy="365125"/>
          </a:xfrm>
        </p:spPr>
        <p:txBody>
          <a:bodyPr/>
          <a:lstStyle/>
          <a:p>
            <a:fld id="{B0C4986D-6BE9-4264-908F-02DB36FD8D6C}" type="datetime1">
              <a:rPr lang="en-US" smtClean="0"/>
              <a:t>3/23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Footer Text</a:t>
            </a:r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927100" y="1129553"/>
            <a:ext cx="6601968" cy="2980944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ru-RU" smtClean="0"/>
              <a:t>Чтобы добавить рисунок, перетащите его на заполнитель или щелкните значок</a:t>
            </a:r>
            <a:endParaRPr/>
          </a:p>
        </p:txBody>
      </p:sp>
      <p:sp>
        <p:nvSpPr>
          <p:cNvPr id="7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7543800" y="1129553"/>
            <a:ext cx="1371600" cy="1481328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ru-RU" smtClean="0"/>
              <a:t>Чтобы добавить рисунок, перетащите его на заполнитель или щелкните значок</a:t>
            </a:r>
            <a:endParaRPr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7543800" y="2629169"/>
            <a:ext cx="1371600" cy="1481328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ru-RU" smtClean="0"/>
              <a:t>Чтобы добавить рисунок, перетащите его на заполнитель или щелкните значок</a:t>
            </a:r>
            <a:endParaRPr/>
          </a:p>
        </p:txBody>
      </p:sp>
    </p:spTree>
  </p:cSld>
  <p:clrMapOvr>
    <a:masterClrMapping/>
  </p:clrMapOvr>
  <p:hf sldNum="0" hdr="0" ftr="0" dt="0"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800656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54" descr="Sberbank_russian"/>
          <p:cNvPicPr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00" y="2"/>
            <a:ext cx="9152100" cy="6874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1" y="350019"/>
            <a:ext cx="993718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smtClean="0">
                <a:solidFill>
                  <a:srgbClr val="000000"/>
                </a:solidFill>
              </a:rPr>
              <a:t>WORKING DRAFT</a:t>
            </a:r>
            <a:endParaRPr lang="ru-RU" sz="900" b="1" dirty="0" smtClean="0">
              <a:solidFill>
                <a:srgbClr val="000000"/>
              </a:solidFill>
            </a:endParaRP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66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905" y="508678"/>
            <a:ext cx="305182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000000"/>
                </a:solidFill>
              </a:rPr>
              <a:t>Last Modified 22.12.2014 12:09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92" y="669111"/>
            <a:ext cx="365691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smtClean="0">
                <a:solidFill>
                  <a:srgbClr val="000000"/>
                </a:solidFill>
              </a:rPr>
              <a:t>Printed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5" y="19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400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848" y="3275"/>
              <a:ext cx="2924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400" b="1" dirty="0" smtClean="0">
                  <a:solidFill>
                    <a:srgbClr val="FFFFFF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6"/>
              <a:ext cx="3226" cy="1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1987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800" dirty="0" smtClean="0">
                  <a:solidFill>
                    <a:srgbClr val="000000"/>
                  </a:solidFill>
                  <a:latin typeface="Arial"/>
                </a:rPr>
                <a:t>КОНФИДЕНЦИАЛЬНАЯ ИНФОРМАЦИЯ, СОБСТВЕННОСТЬ McKINSEY </a:t>
              </a:r>
              <a:r>
                <a:rPr lang="ru-RU" sz="800" smtClean="0">
                  <a:solidFill>
                    <a:srgbClr val="000000"/>
                  </a:solidFill>
                  <a:latin typeface="Arial"/>
                </a:rPr>
                <a:t>&amp; COMPANY</a:t>
              </a:r>
              <a:endParaRPr lang="ru-RU" sz="800" dirty="0" smtClean="0">
                <a:solidFill>
                  <a:srgbClr val="000000"/>
                </a:solidFill>
                <a:latin typeface="Arial"/>
              </a:endParaRPr>
            </a:p>
            <a:p>
              <a:pPr defTabSz="81987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800" dirty="0" smtClean="0">
                  <a:solidFill>
                    <a:srgbClr val="000000"/>
                  </a:solidFill>
                  <a:latin typeface="Arial"/>
                </a:rPr>
                <a:t>Любое использование этого документа без специального разрешения McKinsey </a:t>
              </a:r>
              <a:r>
                <a:rPr lang="ru-RU" sz="800" smtClean="0">
                  <a:solidFill>
                    <a:srgbClr val="000000"/>
                  </a:solidFill>
                  <a:latin typeface="Arial"/>
                </a:rPr>
                <a:t>&amp; Company </a:t>
              </a:r>
              <a:r>
                <a:rPr lang="ru-RU" sz="800" dirty="0" smtClean="0">
                  <a:solidFill>
                    <a:srgbClr val="000000"/>
                  </a:solidFill>
                  <a:latin typeface="Arial"/>
                </a:rPr>
                <a:t>строго запрещено</a:t>
              </a:r>
              <a:endParaRPr lang="ru-RU" sz="8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  <a:latin typeface="Arial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8" y="6574700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93475" y="2760180"/>
            <a:ext cx="5248284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ru-RU" sz="3200" noProof="0" dirty="0" smtClean="0">
                <a:solidFill>
                  <a:schemeClr val="bg1"/>
                </a:solidFill>
              </a:defRPr>
            </a:lvl1pPr>
          </a:lstStyle>
          <a:p>
            <a:pPr lvl="0" defTabSz="913104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93489" y="4233989"/>
            <a:ext cx="4577669" cy="27699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>
              <a:defRPr lang="ru-RU" sz="1800" b="1" kern="1200" noProof="0" smtClean="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lvl="0" defTabSz="949364" latinLnBrk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  <p:sp>
        <p:nvSpPr>
          <p:cNvPr id="21" name="Rectangle 1027" hidden="1"/>
          <p:cNvSpPr txBox="1">
            <a:spLocks noChangeArrowheads="1"/>
          </p:cNvSpPr>
          <p:nvPr userDrawn="1"/>
        </p:nvSpPr>
        <p:spPr bwMode="auto">
          <a:xfrm>
            <a:off x="2993543" y="5053462"/>
            <a:ext cx="5394069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latin typeface="Arial"/>
              </a:rPr>
              <a:t>Click to </a:t>
            </a:r>
            <a:r>
              <a:rPr lang="en-US" sz="1600" smtClean="0">
                <a:latin typeface="Arial"/>
              </a:rPr>
              <a:t>edit Master </a:t>
            </a:r>
            <a:r>
              <a:rPr lang="en-US" sz="1600" dirty="0" smtClean="0">
                <a:latin typeface="Arial"/>
              </a:rPr>
              <a:t>subtitle style</a:t>
            </a:r>
            <a:endParaRPr lang="en-US" sz="1600" dirty="0">
              <a:latin typeface="Arial"/>
            </a:endParaRPr>
          </a:p>
        </p:txBody>
      </p:sp>
      <p:pic>
        <p:nvPicPr>
          <p:cNvPr id="5005" name="Picture 90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" y="0"/>
            <a:ext cx="157212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01521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Заголовок и подзаголовок">
    <p:bg>
      <p:bgPr>
        <a:solidFill>
          <a:srgbClr val="2222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12"/>
          <p:cNvSpPr/>
          <p:nvPr/>
        </p:nvSpPr>
        <p:spPr>
          <a:xfrm flipV="1">
            <a:off x="285750" y="4317852"/>
            <a:ext cx="8572500" cy="185"/>
          </a:xfrm>
          <a:prstGeom prst="line">
            <a:avLst/>
          </a:prstGeom>
          <a:ln w="38100">
            <a:solidFill>
              <a:srgbClr val="A6AAA9"/>
            </a:solidFill>
            <a:miter lim="400000"/>
          </a:ln>
        </p:spPr>
        <p:txBody>
          <a:bodyPr lIns="35717" tIns="35717" rIns="35717" bIns="35717" anchor="ctr"/>
          <a:lstStyle/>
          <a:p>
            <a:pPr defTabSz="321457" hangingPunct="0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 kern="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sp>
        <p:nvSpPr>
          <p:cNvPr id="13" name="Shape 13"/>
          <p:cNvSpPr>
            <a:spLocks noGrp="1"/>
          </p:cNvSpPr>
          <p:nvPr>
            <p:ph type="title"/>
          </p:nvPr>
        </p:nvSpPr>
        <p:spPr>
          <a:xfrm>
            <a:off x="285750" y="4518458"/>
            <a:ext cx="8572500" cy="190202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2000"/>
            </a:lvl1pPr>
          </a:lstStyle>
          <a:p>
            <a:r>
              <a:t>Текст заголовка</a:t>
            </a:r>
          </a:p>
        </p:txBody>
      </p:sp>
      <p:sp>
        <p:nvSpPr>
          <p:cNvPr id="14" name="Shape 14"/>
          <p:cNvSpPr>
            <a:spLocks noGrp="1"/>
          </p:cNvSpPr>
          <p:nvPr>
            <p:ph type="body" sz="quarter" idx="1"/>
          </p:nvPr>
        </p:nvSpPr>
        <p:spPr>
          <a:xfrm>
            <a:off x="285750" y="3000375"/>
            <a:ext cx="8572500" cy="1268016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80000"/>
              </a:lnSpc>
              <a:spcBef>
                <a:spcPts val="1617"/>
              </a:spcBef>
              <a:buClrTx/>
              <a:buSzTx/>
              <a:buFontTx/>
              <a:buNone/>
              <a:defRPr sz="3800" cap="all">
                <a:solidFill>
                  <a:srgbClr val="A6AAA9"/>
                </a:solidFill>
                <a:latin typeface="+mn-lt"/>
                <a:ea typeface="+mn-ea"/>
                <a:cs typeface="+mn-cs"/>
                <a:sym typeface="DIN Alternate"/>
              </a:defRPr>
            </a:lvl1pPr>
            <a:lvl2pPr marL="0" indent="160729">
              <a:lnSpc>
                <a:spcPct val="80000"/>
              </a:lnSpc>
              <a:spcBef>
                <a:spcPts val="1617"/>
              </a:spcBef>
              <a:buClrTx/>
              <a:buSzTx/>
              <a:buFontTx/>
              <a:buNone/>
              <a:defRPr sz="3800" cap="all">
                <a:solidFill>
                  <a:srgbClr val="A6AAA9"/>
                </a:solidFill>
                <a:latin typeface="+mn-lt"/>
                <a:ea typeface="+mn-ea"/>
                <a:cs typeface="+mn-cs"/>
                <a:sym typeface="DIN Alternate"/>
              </a:defRPr>
            </a:lvl2pPr>
            <a:lvl3pPr marL="0" indent="321457">
              <a:lnSpc>
                <a:spcPct val="80000"/>
              </a:lnSpc>
              <a:spcBef>
                <a:spcPts val="1617"/>
              </a:spcBef>
              <a:buClrTx/>
              <a:buSzTx/>
              <a:buFontTx/>
              <a:buNone/>
              <a:defRPr sz="3800" cap="all">
                <a:solidFill>
                  <a:srgbClr val="A6AAA9"/>
                </a:solidFill>
                <a:latin typeface="+mn-lt"/>
                <a:ea typeface="+mn-ea"/>
                <a:cs typeface="+mn-cs"/>
                <a:sym typeface="DIN Alternate"/>
              </a:defRPr>
            </a:lvl3pPr>
            <a:lvl4pPr marL="0" indent="482186">
              <a:lnSpc>
                <a:spcPct val="80000"/>
              </a:lnSpc>
              <a:spcBef>
                <a:spcPts val="1617"/>
              </a:spcBef>
              <a:buClrTx/>
              <a:buSzTx/>
              <a:buFontTx/>
              <a:buNone/>
              <a:defRPr sz="3800" cap="all">
                <a:solidFill>
                  <a:srgbClr val="A6AAA9"/>
                </a:solidFill>
                <a:latin typeface="+mn-lt"/>
                <a:ea typeface="+mn-ea"/>
                <a:cs typeface="+mn-cs"/>
                <a:sym typeface="DIN Alternate"/>
              </a:defRPr>
            </a:lvl4pPr>
            <a:lvl5pPr marL="0" indent="642915">
              <a:lnSpc>
                <a:spcPct val="80000"/>
              </a:lnSpc>
              <a:spcBef>
                <a:spcPts val="1617"/>
              </a:spcBef>
              <a:buClrTx/>
              <a:buSzTx/>
              <a:buFontTx/>
              <a:buNone/>
              <a:defRPr sz="3800" cap="all">
                <a:solidFill>
                  <a:srgbClr val="A6AAA9"/>
                </a:solidFill>
                <a:latin typeface="+mn-lt"/>
                <a:ea typeface="+mn-ea"/>
                <a:cs typeface="+mn-cs"/>
                <a:sym typeface="DIN Alternate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5" name="Shape 15"/>
          <p:cNvSpPr>
            <a:spLocks noGrp="1"/>
          </p:cNvSpPr>
          <p:nvPr>
            <p:ph type="sldNum" sz="quarter" idx="2"/>
          </p:nvPr>
        </p:nvSpPr>
        <p:spPr>
          <a:xfrm>
            <a:off x="8554528" y="303609"/>
            <a:ext cx="305788" cy="29014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latin typeface="DIN Alternate"/>
                <a:ea typeface="DIN Alternate"/>
                <a:cs typeface="DIN Alternate"/>
              </a:rPr>
              <a:pPr/>
              <a:t>‹#›</a:t>
            </a:fld>
            <a:endParaRPr>
              <a:latin typeface="DIN Alternate"/>
              <a:ea typeface="DIN Alternate"/>
              <a:cs typeface="DIN Alternate"/>
            </a:endParaRPr>
          </a:p>
        </p:txBody>
      </p:sp>
    </p:spTree>
    <p:extLst>
      <p:ext uri="{BB962C8B-B14F-4D97-AF65-F5344CB8AC3E}">
        <p14:creationId xmlns:p14="http://schemas.microsoft.com/office/powerpoint/2010/main" val="160794415"/>
      </p:ext>
    </p:extLst>
  </p:cSld>
  <p:clrMapOvr>
    <a:masterClrMapping/>
  </p:clrMapOvr>
  <p:transition spd="med"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Фото - горизонтально">
    <p:bg>
      <p:bgPr>
        <a:solidFill>
          <a:srgbClr val="2222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hape 22"/>
          <p:cNvSpPr>
            <a:spLocks noGrp="1"/>
          </p:cNvSpPr>
          <p:nvPr>
            <p:ph type="pic" idx="13"/>
          </p:nvPr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lIns="64291" tIns="32145" rIns="64291" bIns="32145">
            <a:noAutofit/>
          </a:bodyPr>
          <a:lstStyle/>
          <a:p>
            <a:endParaRPr/>
          </a:p>
        </p:txBody>
      </p:sp>
      <p:sp>
        <p:nvSpPr>
          <p:cNvPr id="23" name="Shape 23"/>
          <p:cNvSpPr>
            <a:spLocks noGrp="1"/>
          </p:cNvSpPr>
          <p:nvPr>
            <p:ph type="body" sz="quarter" idx="14"/>
          </p:nvPr>
        </p:nvSpPr>
        <p:spPr>
          <a:xfrm flipV="1">
            <a:off x="285750" y="4317852"/>
            <a:ext cx="8572500" cy="185"/>
          </a:xfrm>
          <a:prstGeom prst="line">
            <a:avLst/>
          </a:prstGeom>
          <a:ln w="38100">
            <a:solidFill>
              <a:srgbClr val="A6AAA9"/>
            </a:solidFill>
          </a:ln>
        </p:spPr>
        <p:txBody>
          <a:bodyPr anchor="ctr">
            <a:noAutofit/>
          </a:bodyPr>
          <a:lstStyle>
            <a:lvl1pPr marL="0" indent="0" defTabSz="321457">
              <a:spcBef>
                <a:spcPts val="0"/>
              </a:spcBef>
              <a:buClrTx/>
              <a:buSzTx/>
              <a:buFontTx/>
              <a:buNone/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marL="0" indent="0" defTabSz="457200">
              <a:spcBef>
                <a:spcPts val="0"/>
              </a:spcBef>
              <a:buClrTx/>
              <a:buSzTx/>
              <a:buFontTx/>
              <a:buNone/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/>
          </a:p>
        </p:txBody>
      </p:sp>
      <p:sp>
        <p:nvSpPr>
          <p:cNvPr id="24" name="Shape 24"/>
          <p:cNvSpPr>
            <a:spLocks noGrp="1"/>
          </p:cNvSpPr>
          <p:nvPr>
            <p:ph type="title"/>
          </p:nvPr>
        </p:nvSpPr>
        <p:spPr>
          <a:xfrm>
            <a:off x="285750" y="4518458"/>
            <a:ext cx="8572500" cy="190202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2000"/>
            </a:lvl1pPr>
          </a:lstStyle>
          <a:p>
            <a:r>
              <a:t>Текст заголовка</a:t>
            </a:r>
          </a:p>
        </p:txBody>
      </p:sp>
      <p:sp>
        <p:nvSpPr>
          <p:cNvPr id="25" name="Shape 25"/>
          <p:cNvSpPr>
            <a:spLocks noGrp="1"/>
          </p:cNvSpPr>
          <p:nvPr>
            <p:ph type="body" sz="quarter" idx="1"/>
          </p:nvPr>
        </p:nvSpPr>
        <p:spPr>
          <a:xfrm>
            <a:off x="285750" y="3000375"/>
            <a:ext cx="8572500" cy="1268016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80000"/>
              </a:lnSpc>
              <a:spcBef>
                <a:spcPts val="1617"/>
              </a:spcBef>
              <a:buClrTx/>
              <a:buSzTx/>
              <a:buFontTx/>
              <a:buNone/>
              <a:defRPr sz="3800" cap="all">
                <a:solidFill>
                  <a:srgbClr val="A6AAA9"/>
                </a:solidFill>
                <a:latin typeface="+mn-lt"/>
                <a:ea typeface="+mn-ea"/>
                <a:cs typeface="+mn-cs"/>
                <a:sym typeface="DIN Alternate"/>
              </a:defRPr>
            </a:lvl1pPr>
            <a:lvl2pPr marL="0" indent="160729">
              <a:lnSpc>
                <a:spcPct val="80000"/>
              </a:lnSpc>
              <a:spcBef>
                <a:spcPts val="1617"/>
              </a:spcBef>
              <a:buClrTx/>
              <a:buSzTx/>
              <a:buFontTx/>
              <a:buNone/>
              <a:defRPr sz="3800" cap="all">
                <a:solidFill>
                  <a:srgbClr val="A6AAA9"/>
                </a:solidFill>
                <a:latin typeface="+mn-lt"/>
                <a:ea typeface="+mn-ea"/>
                <a:cs typeface="+mn-cs"/>
                <a:sym typeface="DIN Alternate"/>
              </a:defRPr>
            </a:lvl2pPr>
            <a:lvl3pPr marL="0" indent="321457">
              <a:lnSpc>
                <a:spcPct val="80000"/>
              </a:lnSpc>
              <a:spcBef>
                <a:spcPts val="1617"/>
              </a:spcBef>
              <a:buClrTx/>
              <a:buSzTx/>
              <a:buFontTx/>
              <a:buNone/>
              <a:defRPr sz="3800" cap="all">
                <a:solidFill>
                  <a:srgbClr val="A6AAA9"/>
                </a:solidFill>
                <a:latin typeface="+mn-lt"/>
                <a:ea typeface="+mn-ea"/>
                <a:cs typeface="+mn-cs"/>
                <a:sym typeface="DIN Alternate"/>
              </a:defRPr>
            </a:lvl3pPr>
            <a:lvl4pPr marL="0" indent="482186">
              <a:lnSpc>
                <a:spcPct val="80000"/>
              </a:lnSpc>
              <a:spcBef>
                <a:spcPts val="1617"/>
              </a:spcBef>
              <a:buClrTx/>
              <a:buSzTx/>
              <a:buFontTx/>
              <a:buNone/>
              <a:defRPr sz="3800" cap="all">
                <a:solidFill>
                  <a:srgbClr val="A6AAA9"/>
                </a:solidFill>
                <a:latin typeface="+mn-lt"/>
                <a:ea typeface="+mn-ea"/>
                <a:cs typeface="+mn-cs"/>
                <a:sym typeface="DIN Alternate"/>
              </a:defRPr>
            </a:lvl4pPr>
            <a:lvl5pPr marL="0" indent="642915">
              <a:lnSpc>
                <a:spcPct val="80000"/>
              </a:lnSpc>
              <a:spcBef>
                <a:spcPts val="1617"/>
              </a:spcBef>
              <a:buClrTx/>
              <a:buSzTx/>
              <a:buFontTx/>
              <a:buNone/>
              <a:defRPr sz="3800" cap="all">
                <a:solidFill>
                  <a:srgbClr val="A6AAA9"/>
                </a:solidFill>
                <a:latin typeface="+mn-lt"/>
                <a:ea typeface="+mn-ea"/>
                <a:cs typeface="+mn-cs"/>
                <a:sym typeface="DIN Alternate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6" name="Shape 26"/>
          <p:cNvSpPr>
            <a:spLocks noGrp="1"/>
          </p:cNvSpPr>
          <p:nvPr>
            <p:ph type="sldNum" sz="quarter" idx="2"/>
          </p:nvPr>
        </p:nvSpPr>
        <p:spPr>
          <a:xfrm>
            <a:off x="8554528" y="303609"/>
            <a:ext cx="305788" cy="29014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latin typeface="DIN Alternate"/>
                <a:ea typeface="DIN Alternate"/>
                <a:cs typeface="DIN Alternate"/>
              </a:rPr>
              <a:pPr/>
              <a:t>‹#›</a:t>
            </a:fld>
            <a:endParaRPr>
              <a:latin typeface="DIN Alternate"/>
              <a:ea typeface="DIN Alternate"/>
              <a:cs typeface="DIN Alternate"/>
            </a:endParaRPr>
          </a:p>
        </p:txBody>
      </p:sp>
    </p:spTree>
    <p:extLst>
      <p:ext uri="{BB962C8B-B14F-4D97-AF65-F5344CB8AC3E}">
        <p14:creationId xmlns:p14="http://schemas.microsoft.com/office/powerpoint/2010/main" val="1916760337"/>
      </p:ext>
    </p:extLst>
  </p:cSld>
  <p:clrMapOvr>
    <a:masterClrMapping/>
  </p:clrMapOvr>
  <p:transition spd="med"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Заголовок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/>
          <p:nvPr/>
        </p:nvSpPr>
        <p:spPr>
          <a:xfrm flipV="1">
            <a:off x="285750" y="4317852"/>
            <a:ext cx="8572500" cy="185"/>
          </a:xfrm>
          <a:prstGeom prst="line">
            <a:avLst/>
          </a:prstGeom>
          <a:ln w="38100">
            <a:solidFill>
              <a:srgbClr val="A6AAA9"/>
            </a:solidFill>
            <a:miter lim="400000"/>
          </a:ln>
        </p:spPr>
        <p:txBody>
          <a:bodyPr lIns="35717" tIns="35717" rIns="35717" bIns="35717" anchor="ctr"/>
          <a:lstStyle/>
          <a:p>
            <a:pPr defTabSz="321457" hangingPunct="0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 kern="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sp>
        <p:nvSpPr>
          <p:cNvPr id="34" name="Shape 34"/>
          <p:cNvSpPr>
            <a:spLocks noGrp="1"/>
          </p:cNvSpPr>
          <p:nvPr>
            <p:ph type="title"/>
          </p:nvPr>
        </p:nvSpPr>
        <p:spPr>
          <a:xfrm>
            <a:off x="285750" y="4518458"/>
            <a:ext cx="8572500" cy="190202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2000"/>
            </a:lvl1pPr>
          </a:lstStyle>
          <a:p>
            <a:r>
              <a:t>Текст заголовка</a:t>
            </a:r>
          </a:p>
        </p:txBody>
      </p:sp>
      <p:sp>
        <p:nvSpPr>
          <p:cNvPr id="35" name="Shape 35"/>
          <p:cNvSpPr>
            <a:spLocks noGrp="1"/>
          </p:cNvSpPr>
          <p:nvPr>
            <p:ph type="body" sz="quarter" idx="1"/>
          </p:nvPr>
        </p:nvSpPr>
        <p:spPr>
          <a:xfrm>
            <a:off x="285750" y="3000375"/>
            <a:ext cx="8572500" cy="1268016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80000"/>
              </a:lnSpc>
              <a:spcBef>
                <a:spcPts val="1617"/>
              </a:spcBef>
              <a:buClrTx/>
              <a:buSzTx/>
              <a:buFontTx/>
              <a:buNone/>
              <a:defRPr sz="3800" cap="all">
                <a:solidFill>
                  <a:srgbClr val="A6AAA9"/>
                </a:solidFill>
                <a:latin typeface="+mn-lt"/>
                <a:ea typeface="+mn-ea"/>
                <a:cs typeface="+mn-cs"/>
                <a:sym typeface="DIN Alternate"/>
              </a:defRPr>
            </a:lvl1pPr>
            <a:lvl2pPr marL="0" indent="160729">
              <a:lnSpc>
                <a:spcPct val="80000"/>
              </a:lnSpc>
              <a:spcBef>
                <a:spcPts val="1617"/>
              </a:spcBef>
              <a:buClrTx/>
              <a:buSzTx/>
              <a:buFontTx/>
              <a:buNone/>
              <a:defRPr sz="3800" cap="all">
                <a:solidFill>
                  <a:srgbClr val="A6AAA9"/>
                </a:solidFill>
                <a:latin typeface="+mn-lt"/>
                <a:ea typeface="+mn-ea"/>
                <a:cs typeface="+mn-cs"/>
                <a:sym typeface="DIN Alternate"/>
              </a:defRPr>
            </a:lvl2pPr>
            <a:lvl3pPr marL="0" indent="321457">
              <a:lnSpc>
                <a:spcPct val="80000"/>
              </a:lnSpc>
              <a:spcBef>
                <a:spcPts val="1617"/>
              </a:spcBef>
              <a:buClrTx/>
              <a:buSzTx/>
              <a:buFontTx/>
              <a:buNone/>
              <a:defRPr sz="3800" cap="all">
                <a:solidFill>
                  <a:srgbClr val="A6AAA9"/>
                </a:solidFill>
                <a:latin typeface="+mn-lt"/>
                <a:ea typeface="+mn-ea"/>
                <a:cs typeface="+mn-cs"/>
                <a:sym typeface="DIN Alternate"/>
              </a:defRPr>
            </a:lvl3pPr>
            <a:lvl4pPr marL="0" indent="482186">
              <a:lnSpc>
                <a:spcPct val="80000"/>
              </a:lnSpc>
              <a:spcBef>
                <a:spcPts val="1617"/>
              </a:spcBef>
              <a:buClrTx/>
              <a:buSzTx/>
              <a:buFontTx/>
              <a:buNone/>
              <a:defRPr sz="3800" cap="all">
                <a:solidFill>
                  <a:srgbClr val="A6AAA9"/>
                </a:solidFill>
                <a:latin typeface="+mn-lt"/>
                <a:ea typeface="+mn-ea"/>
                <a:cs typeface="+mn-cs"/>
                <a:sym typeface="DIN Alternate"/>
              </a:defRPr>
            </a:lvl4pPr>
            <a:lvl5pPr marL="0" indent="642915">
              <a:lnSpc>
                <a:spcPct val="80000"/>
              </a:lnSpc>
              <a:spcBef>
                <a:spcPts val="1617"/>
              </a:spcBef>
              <a:buClrTx/>
              <a:buSzTx/>
              <a:buFontTx/>
              <a:buNone/>
              <a:defRPr sz="3800" cap="all">
                <a:solidFill>
                  <a:srgbClr val="A6AAA9"/>
                </a:solidFill>
                <a:latin typeface="+mn-lt"/>
                <a:ea typeface="+mn-ea"/>
                <a:cs typeface="+mn-cs"/>
                <a:sym typeface="DIN Alternate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6" name="Shape 36"/>
          <p:cNvSpPr>
            <a:spLocks noGrp="1"/>
          </p:cNvSpPr>
          <p:nvPr>
            <p:ph type="sldNum" sz="quarter" idx="2"/>
          </p:nvPr>
        </p:nvSpPr>
        <p:spPr>
          <a:xfrm>
            <a:off x="8531619" y="294680"/>
            <a:ext cx="305788" cy="29014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latin typeface="DIN Alternate"/>
                <a:ea typeface="DIN Alternate"/>
                <a:cs typeface="DIN Alternate"/>
              </a:rPr>
              <a:pPr/>
              <a:t>‹#›</a:t>
            </a:fld>
            <a:endParaRPr>
              <a:latin typeface="DIN Alternate"/>
              <a:ea typeface="DIN Alternate"/>
              <a:cs typeface="DIN Alternate"/>
            </a:endParaRPr>
          </a:p>
        </p:txBody>
      </p:sp>
    </p:spTree>
    <p:extLst>
      <p:ext uri="{BB962C8B-B14F-4D97-AF65-F5344CB8AC3E}">
        <p14:creationId xmlns:p14="http://schemas.microsoft.com/office/powerpoint/2010/main" val="1235655170"/>
      </p:ext>
    </p:extLst>
  </p:cSld>
  <p:clrMapOvr>
    <a:masterClrMapping/>
  </p:clrMapOvr>
  <p:transition spd="med"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Заголовок - по центру">
    <p:bg>
      <p:bgPr>
        <a:solidFill>
          <a:srgbClr val="2222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Shape 43"/>
          <p:cNvSpPr>
            <a:spLocks noGrp="1"/>
          </p:cNvSpPr>
          <p:nvPr>
            <p:ph type="title"/>
          </p:nvPr>
        </p:nvSpPr>
        <p:spPr>
          <a:xfrm>
            <a:off x="285750" y="2839677"/>
            <a:ext cx="8572500" cy="3178969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2000"/>
            </a:lvl1pPr>
          </a:lstStyle>
          <a:p>
            <a:r>
              <a:t>Текст заголовка</a:t>
            </a:r>
          </a:p>
        </p:txBody>
      </p:sp>
      <p:sp>
        <p:nvSpPr>
          <p:cNvPr id="44" name="Shape 44"/>
          <p:cNvSpPr>
            <a:spLocks noGrp="1"/>
          </p:cNvSpPr>
          <p:nvPr>
            <p:ph type="sldNum" sz="quarter" idx="2"/>
          </p:nvPr>
        </p:nvSpPr>
        <p:spPr>
          <a:xfrm>
            <a:off x="8554528" y="303609"/>
            <a:ext cx="305788" cy="29014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latin typeface="DIN Alternate"/>
                <a:ea typeface="DIN Alternate"/>
                <a:cs typeface="DIN Alternate"/>
              </a:rPr>
              <a:pPr/>
              <a:t>‹#›</a:t>
            </a:fld>
            <a:endParaRPr>
              <a:latin typeface="DIN Alternate"/>
              <a:ea typeface="DIN Alternate"/>
              <a:cs typeface="DIN Alternate"/>
            </a:endParaRPr>
          </a:p>
        </p:txBody>
      </p:sp>
    </p:spTree>
    <p:extLst>
      <p:ext uri="{BB962C8B-B14F-4D97-AF65-F5344CB8AC3E}">
        <p14:creationId xmlns:p14="http://schemas.microsoft.com/office/powerpoint/2010/main" val="972962227"/>
      </p:ext>
    </p:extLst>
  </p:cSld>
  <p:clrMapOvr>
    <a:masterClrMapping/>
  </p:clrMapOvr>
  <p:transition spd="med"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Фото - вертикально">
    <p:bg>
      <p:bgPr>
        <a:solidFill>
          <a:srgbClr val="2222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/>
          <p:nvPr/>
        </p:nvSpPr>
        <p:spPr>
          <a:xfrm flipV="1">
            <a:off x="4143377" y="4317899"/>
            <a:ext cx="4714875" cy="102"/>
          </a:xfrm>
          <a:prstGeom prst="line">
            <a:avLst/>
          </a:prstGeom>
          <a:ln w="38100">
            <a:solidFill>
              <a:srgbClr val="A6AAA9"/>
            </a:solidFill>
            <a:miter lim="400000"/>
          </a:ln>
        </p:spPr>
        <p:txBody>
          <a:bodyPr lIns="35717" tIns="35717" rIns="35717" bIns="35717" anchor="ctr"/>
          <a:lstStyle/>
          <a:p>
            <a:pPr defTabSz="321457" hangingPunct="0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 kern="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sp>
        <p:nvSpPr>
          <p:cNvPr id="52" name="Shape 52"/>
          <p:cNvSpPr>
            <a:spLocks noGrp="1"/>
          </p:cNvSpPr>
          <p:nvPr>
            <p:ph type="pic" idx="13"/>
          </p:nvPr>
        </p:nvSpPr>
        <p:spPr>
          <a:xfrm>
            <a:off x="2" y="0"/>
            <a:ext cx="3857625" cy="6858000"/>
          </a:xfrm>
          <a:prstGeom prst="rect">
            <a:avLst/>
          </a:prstGeom>
        </p:spPr>
        <p:txBody>
          <a:bodyPr lIns="64291" tIns="32145" rIns="64291" bIns="32145">
            <a:noAutofit/>
          </a:bodyPr>
          <a:lstStyle/>
          <a:p>
            <a:endParaRPr/>
          </a:p>
        </p:txBody>
      </p:sp>
      <p:sp>
        <p:nvSpPr>
          <p:cNvPr id="53" name="Shape 53"/>
          <p:cNvSpPr>
            <a:spLocks noGrp="1"/>
          </p:cNvSpPr>
          <p:nvPr>
            <p:ph type="title"/>
          </p:nvPr>
        </p:nvSpPr>
        <p:spPr>
          <a:xfrm>
            <a:off x="4143377" y="4518458"/>
            <a:ext cx="4714875" cy="190202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2000"/>
            </a:lvl1pPr>
          </a:lstStyle>
          <a:p>
            <a:r>
              <a:t>Текст заголовка</a:t>
            </a:r>
          </a:p>
        </p:txBody>
      </p:sp>
      <p:sp>
        <p:nvSpPr>
          <p:cNvPr id="54" name="Shape 54"/>
          <p:cNvSpPr>
            <a:spLocks noGrp="1"/>
          </p:cNvSpPr>
          <p:nvPr>
            <p:ph type="body" sz="quarter" idx="1"/>
          </p:nvPr>
        </p:nvSpPr>
        <p:spPr>
          <a:xfrm>
            <a:off x="4143377" y="3000375"/>
            <a:ext cx="4714875" cy="1268016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80000"/>
              </a:lnSpc>
              <a:spcBef>
                <a:spcPts val="1617"/>
              </a:spcBef>
              <a:buClrTx/>
              <a:buSzTx/>
              <a:buFontTx/>
              <a:buNone/>
              <a:defRPr sz="3800" cap="all">
                <a:solidFill>
                  <a:srgbClr val="A6AAA9"/>
                </a:solidFill>
                <a:latin typeface="+mn-lt"/>
                <a:ea typeface="+mn-ea"/>
                <a:cs typeface="+mn-cs"/>
                <a:sym typeface="DIN Alternate"/>
              </a:defRPr>
            </a:lvl1pPr>
            <a:lvl2pPr marL="0" indent="160729">
              <a:lnSpc>
                <a:spcPct val="80000"/>
              </a:lnSpc>
              <a:spcBef>
                <a:spcPts val="1617"/>
              </a:spcBef>
              <a:buClrTx/>
              <a:buSzTx/>
              <a:buFontTx/>
              <a:buNone/>
              <a:defRPr sz="3800" cap="all">
                <a:solidFill>
                  <a:srgbClr val="A6AAA9"/>
                </a:solidFill>
                <a:latin typeface="+mn-lt"/>
                <a:ea typeface="+mn-ea"/>
                <a:cs typeface="+mn-cs"/>
                <a:sym typeface="DIN Alternate"/>
              </a:defRPr>
            </a:lvl2pPr>
            <a:lvl3pPr marL="0" indent="321457">
              <a:lnSpc>
                <a:spcPct val="80000"/>
              </a:lnSpc>
              <a:spcBef>
                <a:spcPts val="1617"/>
              </a:spcBef>
              <a:buClrTx/>
              <a:buSzTx/>
              <a:buFontTx/>
              <a:buNone/>
              <a:defRPr sz="3800" cap="all">
                <a:solidFill>
                  <a:srgbClr val="A6AAA9"/>
                </a:solidFill>
                <a:latin typeface="+mn-lt"/>
                <a:ea typeface="+mn-ea"/>
                <a:cs typeface="+mn-cs"/>
                <a:sym typeface="DIN Alternate"/>
              </a:defRPr>
            </a:lvl3pPr>
            <a:lvl4pPr marL="0" indent="482186">
              <a:lnSpc>
                <a:spcPct val="80000"/>
              </a:lnSpc>
              <a:spcBef>
                <a:spcPts val="1617"/>
              </a:spcBef>
              <a:buClrTx/>
              <a:buSzTx/>
              <a:buFontTx/>
              <a:buNone/>
              <a:defRPr sz="3800" cap="all">
                <a:solidFill>
                  <a:srgbClr val="A6AAA9"/>
                </a:solidFill>
                <a:latin typeface="+mn-lt"/>
                <a:ea typeface="+mn-ea"/>
                <a:cs typeface="+mn-cs"/>
                <a:sym typeface="DIN Alternate"/>
              </a:defRPr>
            </a:lvl4pPr>
            <a:lvl5pPr marL="0" indent="642915">
              <a:lnSpc>
                <a:spcPct val="80000"/>
              </a:lnSpc>
              <a:spcBef>
                <a:spcPts val="1617"/>
              </a:spcBef>
              <a:buClrTx/>
              <a:buSzTx/>
              <a:buFontTx/>
              <a:buNone/>
              <a:defRPr sz="3800" cap="all">
                <a:solidFill>
                  <a:srgbClr val="A6AAA9"/>
                </a:solidFill>
                <a:latin typeface="+mn-lt"/>
                <a:ea typeface="+mn-ea"/>
                <a:cs typeface="+mn-cs"/>
                <a:sym typeface="DIN Alternate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5" name="Shape 55"/>
          <p:cNvSpPr>
            <a:spLocks noGrp="1"/>
          </p:cNvSpPr>
          <p:nvPr>
            <p:ph type="sldNum" sz="quarter" idx="2"/>
          </p:nvPr>
        </p:nvSpPr>
        <p:spPr>
          <a:xfrm>
            <a:off x="8554528" y="303609"/>
            <a:ext cx="305788" cy="29014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latin typeface="DIN Alternate"/>
                <a:ea typeface="DIN Alternate"/>
                <a:cs typeface="DIN Alternate"/>
              </a:rPr>
              <a:pPr/>
              <a:t>‹#›</a:t>
            </a:fld>
            <a:endParaRPr>
              <a:latin typeface="DIN Alternate"/>
              <a:ea typeface="DIN Alternate"/>
              <a:cs typeface="DIN Alternate"/>
            </a:endParaRPr>
          </a:p>
        </p:txBody>
      </p:sp>
    </p:spTree>
    <p:extLst>
      <p:ext uri="{BB962C8B-B14F-4D97-AF65-F5344CB8AC3E}">
        <p14:creationId xmlns:p14="http://schemas.microsoft.com/office/powerpoint/2010/main" val="1830496245"/>
      </p:ext>
    </p:extLst>
  </p:cSld>
  <p:clrMapOvr>
    <a:masterClrMapping/>
  </p:clrMapOvr>
  <p:transition spd="med"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- в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Shape 62"/>
          <p:cNvSpPr>
            <a:spLocks noGrp="1"/>
          </p:cNvSpPr>
          <p:nvPr>
            <p:ph type="body" sz="quarter" idx="13"/>
          </p:nvPr>
        </p:nvSpPr>
        <p:spPr>
          <a:xfrm>
            <a:off x="285752" y="352798"/>
            <a:ext cx="7858125" cy="290140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defTabSz="321457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defRPr sz="1700" cap="all" spc="84">
                <a:latin typeface="+mn-lt"/>
                <a:ea typeface="+mn-ea"/>
                <a:cs typeface="+mn-cs"/>
                <a:sym typeface="DIN Alternate"/>
              </a:defRPr>
            </a:lvl1pPr>
          </a:lstStyle>
          <a:p>
            <a:r>
              <a:t>Текст</a:t>
            </a:r>
          </a:p>
        </p:txBody>
      </p:sp>
      <p:sp>
        <p:nvSpPr>
          <p:cNvPr id="63" name="Shape 6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64" name="Shape 64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latin typeface="DIN Alternate"/>
                <a:ea typeface="DIN Alternate"/>
                <a:cs typeface="DIN Alternate"/>
              </a:rPr>
              <a:pPr/>
              <a:t>‹#›</a:t>
            </a:fld>
            <a:endParaRPr>
              <a:latin typeface="DIN Alternate"/>
              <a:ea typeface="DIN Alternate"/>
              <a:cs typeface="DIN Alternate"/>
            </a:endParaRPr>
          </a:p>
        </p:txBody>
      </p:sp>
    </p:spTree>
    <p:extLst>
      <p:ext uri="{BB962C8B-B14F-4D97-AF65-F5344CB8AC3E}">
        <p14:creationId xmlns:p14="http://schemas.microsoft.com/office/powerpoint/2010/main" val="1771331613"/>
      </p:ext>
    </p:extLst>
  </p:cSld>
  <p:clrMapOvr>
    <a:masterClrMapping/>
  </p:clrMapOvr>
  <p:transition spd="med"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пункты">
    <p:bg>
      <p:bgPr>
        <a:solidFill>
          <a:srgbClr val="2222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Shape 71"/>
          <p:cNvSpPr>
            <a:spLocks noGrp="1"/>
          </p:cNvSpPr>
          <p:nvPr>
            <p:ph type="body" sz="quarter" idx="13"/>
          </p:nvPr>
        </p:nvSpPr>
        <p:spPr>
          <a:xfrm>
            <a:off x="285752" y="352798"/>
            <a:ext cx="7858125" cy="290140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defTabSz="321457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defRPr sz="1700" cap="all" spc="84">
                <a:latin typeface="+mn-lt"/>
                <a:ea typeface="+mn-ea"/>
                <a:cs typeface="+mn-cs"/>
                <a:sym typeface="DIN Alternate"/>
              </a:defRPr>
            </a:lvl1pPr>
          </a:lstStyle>
          <a:p>
            <a:r>
              <a:t>Текст</a:t>
            </a:r>
          </a:p>
        </p:txBody>
      </p:sp>
      <p:sp>
        <p:nvSpPr>
          <p:cNvPr id="72" name="Shape 7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73" name="Shape 73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buChar char="▸"/>
            </a:lvl1pPr>
            <a:lvl2pPr>
              <a:buClr>
                <a:schemeClr val="accent1"/>
              </a:buClr>
              <a:buChar char="▸"/>
            </a:lvl2pPr>
            <a:lvl3pPr>
              <a:buClr>
                <a:schemeClr val="accent1"/>
              </a:buClr>
              <a:buChar char="▸"/>
            </a:lvl3pPr>
            <a:lvl4pPr>
              <a:buClr>
                <a:schemeClr val="accent1"/>
              </a:buClr>
              <a:buChar char="▸"/>
            </a:lvl4pPr>
            <a:lvl5pPr>
              <a:buClr>
                <a:schemeClr val="accent1"/>
              </a:buClr>
              <a:buChar char="▸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74" name="Shape 74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latin typeface="DIN Alternate"/>
                <a:ea typeface="DIN Alternate"/>
                <a:cs typeface="DIN Alternate"/>
              </a:rPr>
              <a:pPr/>
              <a:t>‹#›</a:t>
            </a:fld>
            <a:endParaRPr>
              <a:latin typeface="DIN Alternate"/>
              <a:ea typeface="DIN Alternate"/>
              <a:cs typeface="DIN Alternate"/>
            </a:endParaRPr>
          </a:p>
        </p:txBody>
      </p:sp>
    </p:spTree>
    <p:extLst>
      <p:ext uri="{BB962C8B-B14F-4D97-AF65-F5344CB8AC3E}">
        <p14:creationId xmlns:p14="http://schemas.microsoft.com/office/powerpoint/2010/main" val="1736498869"/>
      </p:ext>
    </p:extLst>
  </p:cSld>
  <p:clrMapOvr>
    <a:masterClrMapping/>
  </p:clrMapOvr>
  <p:transition spd="med"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пункты, дополн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Shape 81"/>
          <p:cNvSpPr>
            <a:spLocks noGrp="1"/>
          </p:cNvSpPr>
          <p:nvPr>
            <p:ph type="body" sz="quarter" idx="13"/>
          </p:nvPr>
        </p:nvSpPr>
        <p:spPr>
          <a:xfrm>
            <a:off x="285752" y="352798"/>
            <a:ext cx="7858125" cy="290140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defTabSz="321457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defRPr sz="1700" cap="all" spc="84">
                <a:latin typeface="+mn-lt"/>
                <a:ea typeface="+mn-ea"/>
                <a:cs typeface="+mn-cs"/>
                <a:sym typeface="DIN Alternate"/>
              </a:defRPr>
            </a:lvl1pPr>
          </a:lstStyle>
          <a:p>
            <a:r>
              <a:t>Текст</a:t>
            </a:r>
          </a:p>
        </p:txBody>
      </p:sp>
      <p:sp>
        <p:nvSpPr>
          <p:cNvPr id="82" name="Shape 8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83" name="Shape 83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buChar char="▸"/>
            </a:lvl1pPr>
            <a:lvl2pPr>
              <a:buClr>
                <a:schemeClr val="accent1"/>
              </a:buClr>
              <a:buChar char="▸"/>
            </a:lvl2pPr>
            <a:lvl3pPr>
              <a:buClr>
                <a:schemeClr val="accent1"/>
              </a:buClr>
              <a:buChar char="▸"/>
            </a:lvl3pPr>
            <a:lvl4pPr>
              <a:buClr>
                <a:schemeClr val="accent1"/>
              </a:buClr>
              <a:buChar char="▸"/>
            </a:lvl4pPr>
            <a:lvl5pPr>
              <a:buClr>
                <a:schemeClr val="accent1"/>
              </a:buClr>
              <a:buChar char="▸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84" name="Shape 84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latin typeface="DIN Alternate"/>
                <a:ea typeface="DIN Alternate"/>
                <a:cs typeface="DIN Alternate"/>
              </a:rPr>
              <a:pPr/>
              <a:t>‹#›</a:t>
            </a:fld>
            <a:endParaRPr>
              <a:latin typeface="DIN Alternate"/>
              <a:ea typeface="DIN Alternate"/>
              <a:cs typeface="DIN Alternate"/>
            </a:endParaRPr>
          </a:p>
        </p:txBody>
      </p:sp>
    </p:spTree>
    <p:extLst>
      <p:ext uri="{BB962C8B-B14F-4D97-AF65-F5344CB8AC3E}">
        <p14:creationId xmlns:p14="http://schemas.microsoft.com/office/powerpoint/2010/main" val="1731435871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.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5pPr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51B39-B140-43FE-96DB-472A2B59CE7C}" type="datetime1">
              <a:rPr lang="en-US" smtClean="0"/>
              <a:t>3/2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Footer Text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B540C-44DA-4F69-89C9-7C84606640D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, пункты и фото">
    <p:bg>
      <p:bgPr>
        <a:solidFill>
          <a:srgbClr val="2222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Shape 91"/>
          <p:cNvSpPr>
            <a:spLocks noGrp="1"/>
          </p:cNvSpPr>
          <p:nvPr>
            <p:ph type="body" sz="quarter" idx="13"/>
          </p:nvPr>
        </p:nvSpPr>
        <p:spPr>
          <a:xfrm>
            <a:off x="285752" y="352798"/>
            <a:ext cx="7858125" cy="290140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defTabSz="321457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defRPr sz="1700" cap="all" spc="84">
                <a:latin typeface="+mn-lt"/>
                <a:ea typeface="+mn-ea"/>
                <a:cs typeface="+mn-cs"/>
                <a:sym typeface="DIN Alternate"/>
              </a:defRPr>
            </a:lvl1pPr>
          </a:lstStyle>
          <a:p>
            <a:r>
              <a:t>Текст</a:t>
            </a:r>
          </a:p>
        </p:txBody>
      </p:sp>
      <p:sp>
        <p:nvSpPr>
          <p:cNvPr id="92" name="Shape 92"/>
          <p:cNvSpPr>
            <a:spLocks noGrp="1"/>
          </p:cNvSpPr>
          <p:nvPr>
            <p:ph type="pic" sz="half" idx="14"/>
          </p:nvPr>
        </p:nvSpPr>
        <p:spPr>
          <a:xfrm>
            <a:off x="5000627" y="1080492"/>
            <a:ext cx="3857625" cy="5482828"/>
          </a:xfrm>
          <a:prstGeom prst="rect">
            <a:avLst/>
          </a:prstGeom>
        </p:spPr>
        <p:txBody>
          <a:bodyPr lIns="64291" tIns="32145" rIns="64291" bIns="32145">
            <a:noAutofit/>
          </a:bodyPr>
          <a:lstStyle/>
          <a:p>
            <a:endParaRPr/>
          </a:p>
        </p:txBody>
      </p:sp>
      <p:sp>
        <p:nvSpPr>
          <p:cNvPr id="93" name="Shape 93"/>
          <p:cNvSpPr>
            <a:spLocks noGrp="1"/>
          </p:cNvSpPr>
          <p:nvPr>
            <p:ph type="title"/>
          </p:nvPr>
        </p:nvSpPr>
        <p:spPr>
          <a:xfrm>
            <a:off x="285752" y="1080492"/>
            <a:ext cx="4429125" cy="508992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94" name="Shape 94"/>
          <p:cNvSpPr>
            <a:spLocks noGrp="1"/>
          </p:cNvSpPr>
          <p:nvPr>
            <p:ph type="body" sz="half" idx="1"/>
          </p:nvPr>
        </p:nvSpPr>
        <p:spPr>
          <a:xfrm>
            <a:off x="285752" y="1928812"/>
            <a:ext cx="4429125" cy="4295180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buChar char="▸"/>
              <a:defRPr sz="2000"/>
            </a:lvl1pPr>
            <a:lvl2pPr>
              <a:buClr>
                <a:schemeClr val="accent1"/>
              </a:buClr>
              <a:buChar char="▸"/>
              <a:defRPr sz="2000"/>
            </a:lvl2pPr>
            <a:lvl3pPr>
              <a:buClr>
                <a:schemeClr val="accent1"/>
              </a:buClr>
              <a:buChar char="▸"/>
              <a:defRPr sz="2000"/>
            </a:lvl3pPr>
            <a:lvl4pPr>
              <a:buClr>
                <a:schemeClr val="accent1"/>
              </a:buClr>
              <a:buChar char="▸"/>
              <a:defRPr sz="2000"/>
            </a:lvl4pPr>
            <a:lvl5pPr>
              <a:buClr>
                <a:schemeClr val="accent1"/>
              </a:buClr>
              <a:buChar char="▸"/>
              <a:defRPr sz="20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95" name="Shape 9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latin typeface="DIN Alternate"/>
                <a:ea typeface="DIN Alternate"/>
                <a:cs typeface="DIN Alternate"/>
              </a:rPr>
              <a:pPr/>
              <a:t>‹#›</a:t>
            </a:fld>
            <a:endParaRPr>
              <a:latin typeface="DIN Alternate"/>
              <a:ea typeface="DIN Alternate"/>
              <a:cs typeface="DIN Alternate"/>
            </a:endParaRPr>
          </a:p>
        </p:txBody>
      </p:sp>
    </p:spTree>
    <p:extLst>
      <p:ext uri="{BB962C8B-B14F-4D97-AF65-F5344CB8AC3E}">
        <p14:creationId xmlns:p14="http://schemas.microsoft.com/office/powerpoint/2010/main" val="2114496575"/>
      </p:ext>
    </p:extLst>
  </p:cSld>
  <p:clrMapOvr>
    <a:masterClrMapping/>
  </p:clrMapOvr>
  <p:transition spd="med"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нкты">
    <p:bg>
      <p:bgPr>
        <a:solidFill>
          <a:srgbClr val="2222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Shape 102"/>
          <p:cNvSpPr>
            <a:spLocks noGrp="1"/>
          </p:cNvSpPr>
          <p:nvPr>
            <p:ph type="body" sz="quarter" idx="13"/>
          </p:nvPr>
        </p:nvSpPr>
        <p:spPr>
          <a:xfrm>
            <a:off x="285752" y="352798"/>
            <a:ext cx="7858125" cy="290140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defTabSz="321457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defRPr sz="1700" cap="all" spc="84">
                <a:latin typeface="+mn-lt"/>
                <a:ea typeface="+mn-ea"/>
                <a:cs typeface="+mn-cs"/>
                <a:sym typeface="DIN Alternate"/>
              </a:defRPr>
            </a:lvl1pPr>
          </a:lstStyle>
          <a:p>
            <a:r>
              <a:t>Текст</a:t>
            </a:r>
          </a:p>
        </p:txBody>
      </p:sp>
      <p:sp>
        <p:nvSpPr>
          <p:cNvPr id="103" name="Shape 103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buChar char="▸"/>
            </a:lvl1pPr>
            <a:lvl2pPr>
              <a:buClr>
                <a:schemeClr val="accent1"/>
              </a:buClr>
              <a:buChar char="▸"/>
            </a:lvl2pPr>
            <a:lvl3pPr>
              <a:buClr>
                <a:schemeClr val="accent1"/>
              </a:buClr>
              <a:buChar char="▸"/>
            </a:lvl3pPr>
            <a:lvl4pPr>
              <a:buClr>
                <a:schemeClr val="accent1"/>
              </a:buClr>
              <a:buChar char="▸"/>
            </a:lvl4pPr>
            <a:lvl5pPr>
              <a:buClr>
                <a:schemeClr val="accent1"/>
              </a:buClr>
              <a:buChar char="▸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04" name="Shape 104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latin typeface="DIN Alternate"/>
                <a:ea typeface="DIN Alternate"/>
                <a:cs typeface="DIN Alternate"/>
              </a:rPr>
              <a:pPr/>
              <a:t>‹#›</a:t>
            </a:fld>
            <a:endParaRPr>
              <a:latin typeface="DIN Alternate"/>
              <a:ea typeface="DIN Alternate"/>
              <a:cs typeface="DIN Alternate"/>
            </a:endParaRPr>
          </a:p>
        </p:txBody>
      </p:sp>
    </p:spTree>
    <p:extLst>
      <p:ext uri="{BB962C8B-B14F-4D97-AF65-F5344CB8AC3E}">
        <p14:creationId xmlns:p14="http://schemas.microsoft.com/office/powerpoint/2010/main" val="3448585732"/>
      </p:ext>
    </p:extLst>
  </p:cSld>
  <p:clrMapOvr>
    <a:masterClrMapping/>
  </p:clrMapOvr>
  <p:transition spd="med"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Фото - 3 шт.">
    <p:bg>
      <p:bgPr>
        <a:solidFill>
          <a:srgbClr val="2222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Shape 111"/>
          <p:cNvSpPr>
            <a:spLocks noGrp="1"/>
          </p:cNvSpPr>
          <p:nvPr>
            <p:ph type="pic" sz="half" idx="13"/>
          </p:nvPr>
        </p:nvSpPr>
        <p:spPr>
          <a:xfrm>
            <a:off x="4572548" y="0"/>
            <a:ext cx="4572001" cy="3420070"/>
          </a:xfrm>
          <a:prstGeom prst="rect">
            <a:avLst/>
          </a:prstGeom>
        </p:spPr>
        <p:txBody>
          <a:bodyPr lIns="64291" tIns="32145" rIns="64291" bIns="32145">
            <a:noAutofit/>
          </a:bodyPr>
          <a:lstStyle/>
          <a:p>
            <a:endParaRPr/>
          </a:p>
        </p:txBody>
      </p:sp>
      <p:sp>
        <p:nvSpPr>
          <p:cNvPr id="112" name="Shape 112"/>
          <p:cNvSpPr>
            <a:spLocks noGrp="1"/>
          </p:cNvSpPr>
          <p:nvPr>
            <p:ph type="pic" sz="half" idx="14"/>
          </p:nvPr>
        </p:nvSpPr>
        <p:spPr>
          <a:xfrm>
            <a:off x="4572000" y="3446860"/>
            <a:ext cx="4572000" cy="3420070"/>
          </a:xfrm>
          <a:prstGeom prst="rect">
            <a:avLst/>
          </a:prstGeom>
        </p:spPr>
        <p:txBody>
          <a:bodyPr lIns="64291" tIns="32145" rIns="64291" bIns="32145">
            <a:noAutofit/>
          </a:bodyPr>
          <a:lstStyle/>
          <a:p>
            <a:endParaRPr/>
          </a:p>
        </p:txBody>
      </p:sp>
      <p:sp>
        <p:nvSpPr>
          <p:cNvPr id="113" name="Shape 113"/>
          <p:cNvSpPr>
            <a:spLocks noGrp="1"/>
          </p:cNvSpPr>
          <p:nvPr>
            <p:ph type="pic" idx="15"/>
          </p:nvPr>
        </p:nvSpPr>
        <p:spPr>
          <a:xfrm>
            <a:off x="1" y="0"/>
            <a:ext cx="4548188" cy="6858000"/>
          </a:xfrm>
          <a:prstGeom prst="rect">
            <a:avLst/>
          </a:prstGeom>
        </p:spPr>
        <p:txBody>
          <a:bodyPr lIns="64291" tIns="32145" rIns="64291" bIns="32145">
            <a:noAutofit/>
          </a:bodyPr>
          <a:lstStyle/>
          <a:p>
            <a:endParaRPr/>
          </a:p>
        </p:txBody>
      </p:sp>
      <p:sp>
        <p:nvSpPr>
          <p:cNvPr id="114" name="Shape 114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latin typeface="DIN Alternate"/>
                <a:ea typeface="DIN Alternate"/>
                <a:cs typeface="DIN Alternate"/>
              </a:rPr>
              <a:pPr/>
              <a:t>‹#›</a:t>
            </a:fld>
            <a:endParaRPr>
              <a:latin typeface="DIN Alternate"/>
              <a:ea typeface="DIN Alternate"/>
              <a:cs typeface="DIN Alternate"/>
            </a:endParaRPr>
          </a:p>
        </p:txBody>
      </p:sp>
    </p:spTree>
    <p:extLst>
      <p:ext uri="{BB962C8B-B14F-4D97-AF65-F5344CB8AC3E}">
        <p14:creationId xmlns:p14="http://schemas.microsoft.com/office/powerpoint/2010/main" val="1147360010"/>
      </p:ext>
    </p:extLst>
  </p:cSld>
  <p:clrMapOvr>
    <a:masterClrMapping/>
  </p:clrMapOvr>
  <p:transition spd="med"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Цитата">
    <p:bg>
      <p:bgPr>
        <a:solidFill>
          <a:srgbClr val="2222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Shape 121"/>
          <p:cNvSpPr/>
          <p:nvPr/>
        </p:nvSpPr>
        <p:spPr>
          <a:xfrm>
            <a:off x="330417" y="1660926"/>
            <a:ext cx="8483203" cy="367679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24" y="0"/>
                </a:moveTo>
                <a:cubicBezTo>
                  <a:pt x="100" y="0"/>
                  <a:pt x="0" y="232"/>
                  <a:pt x="0" y="516"/>
                </a:cubicBezTo>
                <a:lnTo>
                  <a:pt x="0" y="18789"/>
                </a:lnTo>
                <a:cubicBezTo>
                  <a:pt x="0" y="19073"/>
                  <a:pt x="100" y="19305"/>
                  <a:pt x="224" y="19305"/>
                </a:cubicBezTo>
                <a:lnTo>
                  <a:pt x="17228" y="19305"/>
                </a:lnTo>
                <a:lnTo>
                  <a:pt x="17850" y="21600"/>
                </a:lnTo>
                <a:lnTo>
                  <a:pt x="18471" y="19305"/>
                </a:lnTo>
                <a:lnTo>
                  <a:pt x="21376" y="19305"/>
                </a:lnTo>
                <a:cubicBezTo>
                  <a:pt x="21500" y="19305"/>
                  <a:pt x="21600" y="19073"/>
                  <a:pt x="21600" y="18789"/>
                </a:cubicBezTo>
                <a:lnTo>
                  <a:pt x="21600" y="516"/>
                </a:lnTo>
                <a:cubicBezTo>
                  <a:pt x="21600" y="232"/>
                  <a:pt x="21500" y="0"/>
                  <a:pt x="21376" y="0"/>
                </a:cubicBezTo>
                <a:lnTo>
                  <a:pt x="224" y="0"/>
                </a:ln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35717" tIns="35717" rIns="35717" bIns="35717" anchor="ctr"/>
          <a:lstStyle/>
          <a:p>
            <a:pPr algn="ctr" defTabSz="410751" hangingPunct="0">
              <a:lnSpc>
                <a:spcPct val="80000"/>
              </a:lnSpc>
              <a:defRPr sz="2800" cap="all">
                <a:solidFill>
                  <a:srgbClr val="FFFFFF"/>
                </a:solidFill>
                <a:latin typeface="+mn-lt"/>
                <a:ea typeface="+mn-ea"/>
                <a:cs typeface="+mn-cs"/>
                <a:sym typeface="DIN Alternate"/>
              </a:defRPr>
            </a:pPr>
            <a:endParaRPr sz="2800" kern="0" cap="all">
              <a:solidFill>
                <a:srgbClr val="FFFFFF"/>
              </a:solidFill>
              <a:latin typeface="DIN Alternate"/>
              <a:ea typeface="DIN Alternate"/>
              <a:cs typeface="DIN Alternate"/>
              <a:sym typeface="DIN Alternate"/>
            </a:endParaRPr>
          </a:p>
        </p:txBody>
      </p:sp>
      <p:sp>
        <p:nvSpPr>
          <p:cNvPr id="122" name="Shape 122"/>
          <p:cNvSpPr>
            <a:spLocks noGrp="1"/>
          </p:cNvSpPr>
          <p:nvPr>
            <p:ph type="body" sz="half" idx="13"/>
          </p:nvPr>
        </p:nvSpPr>
        <p:spPr>
          <a:xfrm>
            <a:off x="625080" y="2044935"/>
            <a:ext cx="7893844" cy="1731047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defRPr sz="6600" cap="all">
                <a:solidFill>
                  <a:srgbClr val="FFFFFF"/>
                </a:solidFill>
                <a:latin typeface="+mn-lt"/>
                <a:ea typeface="+mn-ea"/>
                <a:cs typeface="+mn-cs"/>
                <a:sym typeface="DIN Alternate"/>
              </a:defRPr>
            </a:lvl1pPr>
          </a:lstStyle>
          <a:p>
            <a:r>
              <a:t>Введите цитату здесь.</a:t>
            </a:r>
          </a:p>
        </p:txBody>
      </p:sp>
      <p:sp>
        <p:nvSpPr>
          <p:cNvPr id="123" name="Shape 123"/>
          <p:cNvSpPr>
            <a:spLocks noGrp="1"/>
          </p:cNvSpPr>
          <p:nvPr>
            <p:ph type="body" sz="quarter" idx="14"/>
          </p:nvPr>
        </p:nvSpPr>
        <p:spPr>
          <a:xfrm>
            <a:off x="285750" y="5476911"/>
            <a:ext cx="8572500" cy="61074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r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defRPr sz="4200">
                <a:latin typeface="+mn-lt"/>
                <a:ea typeface="+mn-ea"/>
                <a:cs typeface="+mn-cs"/>
                <a:sym typeface="DIN Alternate"/>
              </a:defRPr>
            </a:lvl1pPr>
          </a:lstStyle>
          <a:p>
            <a:r>
              <a:t>Иван Арсентьев</a:t>
            </a:r>
          </a:p>
        </p:txBody>
      </p:sp>
      <p:sp>
        <p:nvSpPr>
          <p:cNvPr id="124" name="Shape 124"/>
          <p:cNvSpPr>
            <a:spLocks noGrp="1"/>
          </p:cNvSpPr>
          <p:nvPr>
            <p:ph type="body" sz="quarter" idx="15"/>
          </p:nvPr>
        </p:nvSpPr>
        <p:spPr>
          <a:xfrm>
            <a:off x="285752" y="352798"/>
            <a:ext cx="7858125" cy="290140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defTabSz="321457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defRPr sz="1700" cap="all" spc="84">
                <a:latin typeface="+mn-lt"/>
                <a:ea typeface="+mn-ea"/>
                <a:cs typeface="+mn-cs"/>
                <a:sym typeface="DIN Alternate"/>
              </a:defRPr>
            </a:lvl1pPr>
          </a:lstStyle>
          <a:p>
            <a:r>
              <a:t>Текст</a:t>
            </a:r>
          </a:p>
        </p:txBody>
      </p:sp>
      <p:sp>
        <p:nvSpPr>
          <p:cNvPr id="125" name="Shape 12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latin typeface="DIN Alternate"/>
                <a:ea typeface="DIN Alternate"/>
                <a:cs typeface="DIN Alternate"/>
              </a:rPr>
              <a:pPr/>
              <a:t>‹#›</a:t>
            </a:fld>
            <a:endParaRPr>
              <a:latin typeface="DIN Alternate"/>
              <a:ea typeface="DIN Alternate"/>
              <a:cs typeface="DIN Alternate"/>
            </a:endParaRPr>
          </a:p>
        </p:txBody>
      </p:sp>
    </p:spTree>
    <p:extLst>
      <p:ext uri="{BB962C8B-B14F-4D97-AF65-F5344CB8AC3E}">
        <p14:creationId xmlns:p14="http://schemas.microsoft.com/office/powerpoint/2010/main" val="1646383269"/>
      </p:ext>
    </p:extLst>
  </p:cSld>
  <p:clrMapOvr>
    <a:masterClrMapping/>
  </p:clrMapOvr>
  <p:transition spd="med"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Цитата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Shape 132"/>
          <p:cNvSpPr>
            <a:spLocks noGrp="1"/>
          </p:cNvSpPr>
          <p:nvPr>
            <p:ph type="body" sz="quarter" idx="13"/>
          </p:nvPr>
        </p:nvSpPr>
        <p:spPr>
          <a:xfrm>
            <a:off x="4143377" y="1857410"/>
            <a:ext cx="4714875" cy="2543577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defRPr sz="6600" cap="all">
                <a:solidFill>
                  <a:srgbClr val="FFFFFF"/>
                </a:solidFill>
                <a:latin typeface="+mn-lt"/>
                <a:ea typeface="+mn-ea"/>
                <a:cs typeface="+mn-cs"/>
                <a:sym typeface="DIN Alternate"/>
              </a:defRPr>
            </a:lvl1pPr>
          </a:lstStyle>
          <a:p>
            <a:r>
              <a:t>Введите цитату здесь.</a:t>
            </a:r>
          </a:p>
        </p:txBody>
      </p:sp>
      <p:sp>
        <p:nvSpPr>
          <p:cNvPr id="133" name="Shape 133"/>
          <p:cNvSpPr>
            <a:spLocks noGrp="1"/>
          </p:cNvSpPr>
          <p:nvPr>
            <p:ph type="pic" idx="14"/>
          </p:nvPr>
        </p:nvSpPr>
        <p:spPr>
          <a:xfrm>
            <a:off x="2" y="0"/>
            <a:ext cx="3857625" cy="6858000"/>
          </a:xfrm>
          <a:prstGeom prst="rect">
            <a:avLst/>
          </a:prstGeom>
        </p:spPr>
        <p:txBody>
          <a:bodyPr lIns="64291" tIns="32145" rIns="64291" bIns="32145">
            <a:noAutofit/>
          </a:bodyPr>
          <a:lstStyle/>
          <a:p>
            <a:endParaRPr/>
          </a:p>
        </p:txBody>
      </p:sp>
      <p:sp>
        <p:nvSpPr>
          <p:cNvPr id="134" name="Shape 134"/>
          <p:cNvSpPr>
            <a:spLocks noGrp="1"/>
          </p:cNvSpPr>
          <p:nvPr>
            <p:ph type="body" sz="quarter" idx="15"/>
          </p:nvPr>
        </p:nvSpPr>
        <p:spPr>
          <a:xfrm>
            <a:off x="4143377" y="5421254"/>
            <a:ext cx="4714875" cy="718462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 defTabSz="321457">
              <a:spcBef>
                <a:spcPts val="0"/>
              </a:spcBef>
              <a:buClrTx/>
              <a:buSzTx/>
              <a:buFontTx/>
              <a:buNone/>
              <a:defRPr sz="4200">
                <a:solidFill>
                  <a:srgbClr val="232323"/>
                </a:solidFill>
                <a:latin typeface="+mn-lt"/>
                <a:ea typeface="+mn-ea"/>
                <a:cs typeface="+mn-cs"/>
                <a:sym typeface="DIN Alternate"/>
              </a:defRPr>
            </a:lvl1pPr>
          </a:lstStyle>
          <a:p>
            <a:r>
              <a:t>Иван Арсентьев</a:t>
            </a:r>
          </a:p>
        </p:txBody>
      </p:sp>
      <p:sp>
        <p:nvSpPr>
          <p:cNvPr id="135" name="Shape 13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latin typeface="DIN Alternate"/>
                <a:ea typeface="DIN Alternate"/>
                <a:cs typeface="DIN Alternate"/>
              </a:rPr>
              <a:pPr/>
              <a:t>‹#›</a:t>
            </a:fld>
            <a:endParaRPr>
              <a:latin typeface="DIN Alternate"/>
              <a:ea typeface="DIN Alternate"/>
              <a:cs typeface="DIN Alternate"/>
            </a:endParaRPr>
          </a:p>
        </p:txBody>
      </p:sp>
    </p:spTree>
    <p:extLst>
      <p:ext uri="{BB962C8B-B14F-4D97-AF65-F5344CB8AC3E}">
        <p14:creationId xmlns:p14="http://schemas.microsoft.com/office/powerpoint/2010/main" val="753847674"/>
      </p:ext>
    </p:extLst>
  </p:cSld>
  <p:clrMapOvr>
    <a:masterClrMapping/>
  </p:clrMapOvr>
  <p:transition spd="med"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Фото">
    <p:bg>
      <p:bgPr>
        <a:solidFill>
          <a:srgbClr val="2222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Shape 142"/>
          <p:cNvSpPr>
            <a:spLocks noGrp="1"/>
          </p:cNvSpPr>
          <p:nvPr>
            <p:ph type="pic" idx="13"/>
          </p:nvPr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lIns="64291" tIns="32145" rIns="64291" bIns="32145">
            <a:noAutofit/>
          </a:bodyPr>
          <a:lstStyle/>
          <a:p>
            <a:endParaRPr/>
          </a:p>
        </p:txBody>
      </p:sp>
      <p:sp>
        <p:nvSpPr>
          <p:cNvPr id="143" name="Shape 14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latin typeface="DIN Alternate"/>
                <a:ea typeface="DIN Alternate"/>
                <a:cs typeface="DIN Alternate"/>
              </a:rPr>
              <a:pPr/>
              <a:t>‹#›</a:t>
            </a:fld>
            <a:endParaRPr>
              <a:latin typeface="DIN Alternate"/>
              <a:ea typeface="DIN Alternate"/>
              <a:cs typeface="DIN Alternate"/>
            </a:endParaRPr>
          </a:p>
        </p:txBody>
      </p:sp>
    </p:spTree>
    <p:extLst>
      <p:ext uri="{BB962C8B-B14F-4D97-AF65-F5344CB8AC3E}">
        <p14:creationId xmlns:p14="http://schemas.microsoft.com/office/powerpoint/2010/main" val="1602747336"/>
      </p:ext>
    </p:extLst>
  </p:cSld>
  <p:clrMapOvr>
    <a:masterClrMapping/>
  </p:clrMapOvr>
  <p:transition spd="med"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Пустой">
    <p:bg>
      <p:bgPr>
        <a:solidFill>
          <a:srgbClr val="2222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Shape 15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latin typeface="DIN Alternate"/>
                <a:ea typeface="DIN Alternate"/>
                <a:cs typeface="DIN Alternate"/>
              </a:rPr>
              <a:pPr/>
              <a:t>‹#›</a:t>
            </a:fld>
            <a:endParaRPr>
              <a:latin typeface="DIN Alternate"/>
              <a:ea typeface="DIN Alternate"/>
              <a:cs typeface="DIN Alternate"/>
            </a:endParaRPr>
          </a:p>
        </p:txBody>
      </p:sp>
    </p:spTree>
    <p:extLst>
      <p:ext uri="{BB962C8B-B14F-4D97-AF65-F5344CB8AC3E}">
        <p14:creationId xmlns:p14="http://schemas.microsoft.com/office/powerpoint/2010/main" val="2529014469"/>
      </p:ext>
    </p:extLst>
  </p:cSld>
  <p:clrMapOvr>
    <a:masterClrMapping/>
  </p:clrMapOvr>
  <p:transition spd="med"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3.03.2017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08580064"/>
      </p:ext>
    </p:extLst>
  </p:cSld>
  <p:clrMapOvr>
    <a:masterClrMapping/>
  </p:clrMapOvr>
  <p:transition spd="slow">
    <p:split dir="in"/>
  </p:transition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3.03.2017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0806718"/>
      </p:ext>
    </p:extLst>
  </p:cSld>
  <p:clrMapOvr>
    <a:masterClrMapping/>
  </p:clrMapOvr>
  <p:transition spd="slow">
    <p:split dir="in"/>
  </p:transition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3.03.2017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12852405"/>
      </p:ext>
    </p:extLst>
  </p:cSld>
  <p:clrMapOvr>
    <a:masterClrMapping/>
  </p:clrMapOvr>
  <p:transition spd="slow">
    <p:split dir="in"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87553" y="1129554"/>
            <a:ext cx="914400" cy="5533278"/>
          </a:xfrm>
        </p:spPr>
        <p:txBody>
          <a:bodyPr vert="eaVert" lIns="274320" tIns="685800" bIns="685800"/>
          <a:lstStyle/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17600" y="1734671"/>
            <a:ext cx="6426200" cy="4542304"/>
          </a:xfrm>
        </p:spPr>
        <p:txBody>
          <a:bodyPr vert="eaVert"/>
          <a:lstStyle>
            <a:lvl5pPr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600BB2-27C5-458B-ABCE-839C88CF47CE}" type="datetime1">
              <a:rPr lang="en-US" smtClean="0"/>
              <a:t>3/2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Footer Text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B540C-44DA-4F69-89C9-7C84606640D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3.03.2017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17654375"/>
      </p:ext>
    </p:extLst>
  </p:cSld>
  <p:clrMapOvr>
    <a:masterClrMapping/>
  </p:clrMapOvr>
  <p:transition spd="slow">
    <p:split dir="in"/>
  </p:transition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3.03.2017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06313190"/>
      </p:ext>
    </p:extLst>
  </p:cSld>
  <p:clrMapOvr>
    <a:masterClrMapping/>
  </p:clrMapOvr>
  <p:transition spd="slow">
    <p:split dir="in"/>
  </p:transition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3.03.2017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96812191"/>
      </p:ext>
    </p:extLst>
  </p:cSld>
  <p:clrMapOvr>
    <a:masterClrMapping/>
  </p:clrMapOvr>
  <p:transition spd="slow">
    <p:split dir="in"/>
  </p:transition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3.03.2017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92871004"/>
      </p:ext>
    </p:extLst>
  </p:cSld>
  <p:clrMapOvr>
    <a:masterClrMapping/>
  </p:clrMapOvr>
  <p:transition spd="slow">
    <p:split dir="in"/>
  </p:transition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3.03.2017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85199807"/>
      </p:ext>
    </p:extLst>
  </p:cSld>
  <p:clrMapOvr>
    <a:masterClrMapping/>
  </p:clrMapOvr>
  <p:transition spd="slow">
    <p:split dir="in"/>
  </p:transition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3.03.2017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15690276"/>
      </p:ext>
    </p:extLst>
  </p:cSld>
  <p:clrMapOvr>
    <a:masterClrMapping/>
  </p:clrMapOvr>
  <p:transition spd="slow">
    <p:split dir="in"/>
  </p:transition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3.03.2017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46137063"/>
      </p:ext>
    </p:extLst>
  </p:cSld>
  <p:clrMapOvr>
    <a:masterClrMapping/>
  </p:clrMapOvr>
  <p:transition spd="slow">
    <p:split dir="in"/>
  </p:transition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3.03.2017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94580539"/>
      </p:ext>
    </p:extLst>
  </p:cSld>
  <p:clrMapOvr>
    <a:masterClrMapping/>
  </p:clrMapOvr>
  <p:transition spd="slow">
    <p:split dir="in"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олилиния 6"/>
          <p:cNvSpPr>
            <a:spLocks/>
          </p:cNvSpPr>
          <p:nvPr/>
        </p:nvSpPr>
        <p:spPr bwMode="auto">
          <a:xfrm>
            <a:off x="0" y="4752126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 vert="horz" wrap="square" lIns="91440" tIns="45720" rIns="91440" bIns="45720" anchor="t" compatLnSpc="1"/>
          <a:lstStyle/>
          <a:p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8" name="Полилиния 7"/>
          <p:cNvSpPr>
            <a:spLocks/>
          </p:cNvSpPr>
          <p:nvPr/>
        </p:nvSpPr>
        <p:spPr bwMode="auto">
          <a:xfrm>
            <a:off x="6105527" y="0"/>
            <a:ext cx="3038475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1608" y="1590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 vert="horz" wrap="square" lIns="91440" tIns="45720" rIns="91440" bIns="45720" anchor="t" compatLnSpc="1"/>
          <a:lstStyle/>
          <a:p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ctrTitle"/>
          </p:nvPr>
        </p:nvSpPr>
        <p:spPr>
          <a:xfrm>
            <a:off x="429064" y="3337560"/>
            <a:ext cx="6480048" cy="2301240"/>
          </a:xfrm>
        </p:spPr>
        <p:txBody>
          <a:bodyPr rIns="45720" anchor="t"/>
          <a:lstStyle>
            <a:lvl1pPr algn="r">
              <a:defRPr lang="en-US" b="1" cap="all" baseline="0" dirty="0">
                <a:ln w="5000" cmpd="sng">
                  <a:solidFill>
                    <a:schemeClr val="accent1">
                      <a:tint val="80000"/>
                      <a:shade val="99000"/>
                      <a:satMod val="50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63000"/>
                        <a:satMod val="255000"/>
                      </a:schemeClr>
                    </a:gs>
                    <a:gs pos="9000">
                      <a:schemeClr val="accent1">
                        <a:tint val="63000"/>
                        <a:satMod val="255000"/>
                      </a:schemeClr>
                    </a:gs>
                    <a:gs pos="53000">
                      <a:schemeClr val="accent1">
                        <a:shade val="60000"/>
                        <a:satMod val="100000"/>
                      </a:schemeClr>
                    </a:gs>
                    <a:gs pos="90000">
                      <a:schemeClr val="accent1">
                        <a:tint val="63000"/>
                        <a:satMod val="255000"/>
                      </a:schemeClr>
                    </a:gs>
                    <a:gs pos="100000">
                      <a:schemeClr val="accent1">
                        <a:tint val="63000"/>
                        <a:satMod val="255000"/>
                      </a:schemeClr>
                    </a:gs>
                  </a:gsLst>
                  <a:lin ang="5400000"/>
                </a:gradFill>
                <a:effectLst>
                  <a:outerShdw blurRad="50800" dist="38100" dir="5400000" algn="t" rotWithShape="0">
                    <a:prstClr val="black">
                      <a:alpha val="50000"/>
                    </a:prstClr>
                  </a:outerShdw>
                </a:effectLst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7" name="Подзаголовок 16"/>
          <p:cNvSpPr>
            <a:spLocks noGrp="1"/>
          </p:cNvSpPr>
          <p:nvPr>
            <p:ph type="subTitle" idx="1"/>
          </p:nvPr>
        </p:nvSpPr>
        <p:spPr>
          <a:xfrm>
            <a:off x="433050" y="1544812"/>
            <a:ext cx="6480048" cy="1752600"/>
          </a:xfrm>
        </p:spPr>
        <p:txBody>
          <a:bodyPr tIns="0" rIns="45720" bIns="0" anchor="b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  <a:effectLst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30" name="Дата 2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404D21-7FDD-4708-8D30-82C7EE3AC17D}" type="datetimeFigureOut">
              <a:rPr lang="ru-RU" smtClean="0">
                <a:solidFill>
                  <a:srgbClr val="C5D1D7">
                    <a:shade val="50000"/>
                  </a:srgbClr>
                </a:solidFill>
                <a:latin typeface="Arial"/>
              </a:rPr>
              <a:pPr/>
              <a:t>23.03.2017</a:t>
            </a:fld>
            <a:endParaRPr lang="ru-RU">
              <a:solidFill>
                <a:srgbClr val="C5D1D7">
                  <a:shade val="50000"/>
                </a:srgbClr>
              </a:solidFill>
              <a:latin typeface="Arial"/>
            </a:endParaRPr>
          </a:p>
        </p:txBody>
      </p:sp>
      <p:sp>
        <p:nvSpPr>
          <p:cNvPr id="19" name="Нижний колонтитул 1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C5D1D7">
                  <a:shade val="50000"/>
                </a:srgbClr>
              </a:solidFill>
              <a:latin typeface="Arial"/>
            </a:endParaRPr>
          </a:p>
        </p:txBody>
      </p:sp>
      <p:sp>
        <p:nvSpPr>
          <p:cNvPr id="27" name="Номер слайда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245B36-406B-424E-8B9C-65ACEF4557A4}" type="slidenum">
              <a:rPr lang="ru-RU" smtClean="0">
                <a:solidFill>
                  <a:srgbClr val="C5D1D7">
                    <a:shade val="50000"/>
                  </a:srgbClr>
                </a:solidFill>
                <a:latin typeface="Arial"/>
              </a:rPr>
              <a:pPr/>
              <a:t>‹#›</a:t>
            </a:fld>
            <a:endParaRPr lang="ru-RU">
              <a:solidFill>
                <a:srgbClr val="C5D1D7">
                  <a:shade val="5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612690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404D21-7FDD-4708-8D30-82C7EE3AC17D}" type="datetimeFigureOut">
              <a:rPr lang="ru-RU" smtClean="0">
                <a:solidFill>
                  <a:srgbClr val="C5D1D7">
                    <a:shade val="50000"/>
                  </a:srgbClr>
                </a:solidFill>
                <a:latin typeface="Arial"/>
              </a:rPr>
              <a:pPr/>
              <a:t>23.03.2017</a:t>
            </a:fld>
            <a:endParaRPr lang="ru-RU">
              <a:solidFill>
                <a:srgbClr val="C5D1D7">
                  <a:shade val="50000"/>
                </a:srgbClr>
              </a:solidFill>
              <a:latin typeface="Arial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C5D1D7">
                  <a:shade val="50000"/>
                </a:srgbClr>
              </a:solidFill>
              <a:latin typeface="Arial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245B36-406B-424E-8B9C-65ACEF4557A4}" type="slidenum">
              <a:rPr lang="ru-RU" smtClean="0">
                <a:solidFill>
                  <a:srgbClr val="C5D1D7">
                    <a:shade val="50000"/>
                  </a:srgbClr>
                </a:solidFill>
                <a:latin typeface="Arial"/>
              </a:rPr>
              <a:pPr/>
              <a:t>‹#›</a:t>
            </a:fld>
            <a:endParaRPr lang="ru-RU">
              <a:solidFill>
                <a:srgbClr val="C5D1D7">
                  <a:shade val="5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10013152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олилиния 6"/>
          <p:cNvSpPr>
            <a:spLocks/>
          </p:cNvSpPr>
          <p:nvPr/>
        </p:nvSpPr>
        <p:spPr bwMode="auto">
          <a:xfrm>
            <a:off x="0" y="4752126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 vert="horz" wrap="square" lIns="91440" tIns="45720" rIns="91440" bIns="45720" anchor="t" compatLnSpc="1"/>
          <a:lstStyle/>
          <a:p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9" name="Полилиния 8"/>
          <p:cNvSpPr>
            <a:spLocks/>
          </p:cNvSpPr>
          <p:nvPr/>
        </p:nvSpPr>
        <p:spPr bwMode="auto">
          <a:xfrm>
            <a:off x="6105527" y="0"/>
            <a:ext cx="3038475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1608" y="1590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 vert="horz" wrap="square" lIns="91440" tIns="45720" rIns="91440" bIns="45720" anchor="t" compatLnSpc="1"/>
          <a:lstStyle/>
          <a:p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3583875"/>
            <a:ext cx="6629400" cy="1826363"/>
          </a:xfrm>
        </p:spPr>
        <p:txBody>
          <a:bodyPr tIns="0" bIns="0" anchor="t"/>
          <a:lstStyle>
            <a:lvl1pPr algn="l">
              <a:buNone/>
              <a:defRPr sz="4200" b="1" cap="none" baseline="0">
                <a:ln w="5000" cmpd="sng">
                  <a:solidFill>
                    <a:schemeClr val="accent1">
                      <a:tint val="80000"/>
                      <a:shade val="99000"/>
                      <a:satMod val="50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63000"/>
                        <a:satMod val="255000"/>
                      </a:schemeClr>
                    </a:gs>
                    <a:gs pos="9000">
                      <a:schemeClr val="accent1">
                        <a:tint val="63000"/>
                        <a:satMod val="255000"/>
                      </a:schemeClr>
                    </a:gs>
                    <a:gs pos="53000">
                      <a:schemeClr val="accent1">
                        <a:shade val="60000"/>
                        <a:satMod val="100000"/>
                      </a:schemeClr>
                    </a:gs>
                    <a:gs pos="90000">
                      <a:schemeClr val="accent1">
                        <a:tint val="63000"/>
                        <a:satMod val="255000"/>
                      </a:schemeClr>
                    </a:gs>
                    <a:gs pos="100000">
                      <a:schemeClr val="accent1">
                        <a:tint val="63000"/>
                        <a:satMod val="255000"/>
                      </a:schemeClr>
                    </a:gs>
                  </a:gsLst>
                  <a:lin ang="5400000"/>
                </a:gradFill>
                <a:effectLst>
                  <a:outerShdw blurRad="50800" dist="38100" dir="5400000" algn="t" rotWithShape="0">
                    <a:prstClr val="black">
                      <a:alpha val="50000"/>
                    </a:prstClr>
                  </a:outerShdw>
                </a:effectLst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5800" y="2485800"/>
            <a:ext cx="6629400" cy="1066688"/>
          </a:xfrm>
        </p:spPr>
        <p:txBody>
          <a:bodyPr lIns="45720" tIns="0" rIns="45720" bIns="0" anchor="b"/>
          <a:lstStyle>
            <a:lvl1pPr marL="0" indent="0" algn="l">
              <a:buNone/>
              <a:defRPr sz="2000">
                <a:solidFill>
                  <a:schemeClr val="tx1"/>
                </a:solidFill>
                <a:effectLst/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404D21-7FDD-4708-8D30-82C7EE3AC17D}" type="datetimeFigureOut">
              <a:rPr lang="ru-RU" smtClean="0">
                <a:solidFill>
                  <a:srgbClr val="C5D1D7">
                    <a:shade val="50000"/>
                  </a:srgbClr>
                </a:solidFill>
                <a:latin typeface="Arial"/>
              </a:rPr>
              <a:pPr/>
              <a:t>23.03.2017</a:t>
            </a:fld>
            <a:endParaRPr lang="ru-RU">
              <a:solidFill>
                <a:srgbClr val="C5D1D7">
                  <a:shade val="50000"/>
                </a:srgbClr>
              </a:solidFill>
              <a:latin typeface="Arial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C5D1D7">
                  <a:shade val="50000"/>
                </a:srgbClr>
              </a:solidFill>
              <a:latin typeface="Arial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245B36-406B-424E-8B9C-65ACEF4557A4}" type="slidenum">
              <a:rPr lang="ru-RU" smtClean="0">
                <a:solidFill>
                  <a:srgbClr val="C5D1D7">
                    <a:shade val="50000"/>
                  </a:srgbClr>
                </a:solidFill>
                <a:latin typeface="Arial"/>
              </a:rPr>
              <a:pPr/>
              <a:t>‹#›</a:t>
            </a:fld>
            <a:endParaRPr lang="ru-RU">
              <a:solidFill>
                <a:srgbClr val="C5D1D7">
                  <a:shade val="5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653364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467600" cy="1143000"/>
          </a:xfrm>
        </p:spPr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3657600" cy="4525963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267200" y="1600206"/>
            <a:ext cx="3657600" cy="4525963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404D21-7FDD-4708-8D30-82C7EE3AC17D}" type="datetimeFigureOut">
              <a:rPr lang="ru-RU" smtClean="0">
                <a:solidFill>
                  <a:srgbClr val="C5D1D7">
                    <a:shade val="50000"/>
                  </a:srgbClr>
                </a:solidFill>
                <a:latin typeface="Arial"/>
              </a:rPr>
              <a:pPr/>
              <a:t>23.03.2017</a:t>
            </a:fld>
            <a:endParaRPr lang="ru-RU">
              <a:solidFill>
                <a:srgbClr val="C5D1D7">
                  <a:shade val="50000"/>
                </a:srgbClr>
              </a:solidFill>
              <a:latin typeface="Arial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C5D1D7">
                  <a:shade val="50000"/>
                </a:srgbClr>
              </a:solidFill>
              <a:latin typeface="Arial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245B36-406B-424E-8B9C-65ACEF4557A4}" type="slidenum">
              <a:rPr lang="ru-RU" smtClean="0">
                <a:solidFill>
                  <a:srgbClr val="C5D1D7">
                    <a:shade val="50000"/>
                  </a:srgbClr>
                </a:solidFill>
                <a:latin typeface="Arial"/>
              </a:rPr>
              <a:pPr/>
              <a:t>‹#›</a:t>
            </a:fld>
            <a:endParaRPr lang="ru-RU">
              <a:solidFill>
                <a:srgbClr val="C5D1D7">
                  <a:shade val="5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00849432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1D738E-8962-435F-8C43-147B8DD7E819}" type="datetime1">
              <a:rPr lang="en-US" smtClean="0"/>
              <a:t>3/2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Footer Text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B540C-44DA-4F69-89C9-7C84606640D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 anchor="ctr"/>
          <a:lstStyle>
            <a:lvl1pPr>
              <a:defRPr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5486400"/>
            <a:ext cx="4040188" cy="838200"/>
          </a:xfrm>
        </p:spPr>
        <p:txBody>
          <a:bodyPr anchor="t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45044" y="5486400"/>
            <a:ext cx="4041775" cy="838200"/>
          </a:xfrm>
        </p:spPr>
        <p:txBody>
          <a:bodyPr anchor="t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2"/>
          </p:nvPr>
        </p:nvSpPr>
        <p:spPr>
          <a:xfrm>
            <a:off x="457200" y="1516912"/>
            <a:ext cx="4040188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44" y="1516912"/>
            <a:ext cx="4041775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404D21-7FDD-4708-8D30-82C7EE3AC17D}" type="datetimeFigureOut">
              <a:rPr lang="ru-RU" smtClean="0">
                <a:solidFill>
                  <a:srgbClr val="C5D1D7">
                    <a:shade val="50000"/>
                  </a:srgbClr>
                </a:solidFill>
                <a:latin typeface="Arial"/>
              </a:rPr>
              <a:pPr/>
              <a:t>23.03.2017</a:t>
            </a:fld>
            <a:endParaRPr lang="ru-RU">
              <a:solidFill>
                <a:srgbClr val="C5D1D7">
                  <a:shade val="50000"/>
                </a:srgbClr>
              </a:solidFill>
              <a:latin typeface="Arial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C5D1D7">
                  <a:shade val="50000"/>
                </a:srgbClr>
              </a:solidFill>
              <a:latin typeface="Arial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245B36-406B-424E-8B9C-65ACEF4557A4}" type="slidenum">
              <a:rPr lang="ru-RU" smtClean="0">
                <a:solidFill>
                  <a:srgbClr val="C5D1D7">
                    <a:shade val="50000"/>
                  </a:srgbClr>
                </a:solidFill>
                <a:latin typeface="Arial"/>
              </a:rPr>
              <a:pPr/>
              <a:t>‹#›</a:t>
            </a:fld>
            <a:endParaRPr lang="ru-RU">
              <a:solidFill>
                <a:srgbClr val="C5D1D7">
                  <a:shade val="5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81526110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320"/>
            <a:ext cx="7470648" cy="1143000"/>
          </a:xfrm>
        </p:spPr>
        <p:txBody>
          <a:bodyPr anchor="ctr"/>
          <a:lstStyle>
            <a:lvl1pPr algn="l">
              <a:defRPr sz="4600"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404D21-7FDD-4708-8D30-82C7EE3AC17D}" type="datetimeFigureOut">
              <a:rPr lang="ru-RU" smtClean="0">
                <a:solidFill>
                  <a:srgbClr val="C5D1D7">
                    <a:shade val="50000"/>
                  </a:srgbClr>
                </a:solidFill>
                <a:latin typeface="Arial"/>
              </a:rPr>
              <a:pPr/>
              <a:t>23.03.2017</a:t>
            </a:fld>
            <a:endParaRPr lang="ru-RU">
              <a:solidFill>
                <a:srgbClr val="C5D1D7">
                  <a:shade val="50000"/>
                </a:srgbClr>
              </a:solidFill>
              <a:latin typeface="Arial"/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D245B36-406B-424E-8B9C-65ACEF4557A4}" type="slidenum">
              <a:rPr lang="ru-RU" smtClean="0">
                <a:solidFill>
                  <a:srgbClr val="C5D1D7">
                    <a:shade val="50000"/>
                  </a:srgbClr>
                </a:solidFill>
                <a:latin typeface="Arial"/>
              </a:rPr>
              <a:pPr/>
              <a:t>‹#›</a:t>
            </a:fld>
            <a:endParaRPr lang="ru-RU">
              <a:solidFill>
                <a:srgbClr val="C5D1D7">
                  <a:shade val="50000"/>
                </a:srgbClr>
              </a:solidFill>
              <a:latin typeface="Arial"/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>
              <a:solidFill>
                <a:srgbClr val="C5D1D7">
                  <a:shade val="5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57083911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404D21-7FDD-4708-8D30-82C7EE3AC17D}" type="datetimeFigureOut">
              <a:rPr lang="ru-RU" smtClean="0">
                <a:solidFill>
                  <a:srgbClr val="C5D1D7">
                    <a:shade val="50000"/>
                  </a:srgbClr>
                </a:solidFill>
                <a:latin typeface="Arial"/>
              </a:rPr>
              <a:pPr/>
              <a:t>23.03.2017</a:t>
            </a:fld>
            <a:endParaRPr lang="ru-RU">
              <a:solidFill>
                <a:srgbClr val="C5D1D7">
                  <a:shade val="50000"/>
                </a:srgbClr>
              </a:solidFill>
              <a:latin typeface="Arial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C5D1D7">
                  <a:shade val="50000"/>
                </a:srgbClr>
              </a:solidFill>
              <a:latin typeface="Arial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245B36-406B-424E-8B9C-65ACEF4557A4}" type="slidenum">
              <a:rPr lang="ru-RU" smtClean="0">
                <a:solidFill>
                  <a:srgbClr val="C5D1D7">
                    <a:shade val="50000"/>
                  </a:srgbClr>
                </a:solidFill>
                <a:latin typeface="Arial"/>
              </a:rPr>
              <a:pPr/>
              <a:t>‹#›</a:t>
            </a:fld>
            <a:endParaRPr lang="ru-RU">
              <a:solidFill>
                <a:srgbClr val="C5D1D7">
                  <a:shade val="5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60443924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85528"/>
            <a:ext cx="3200400" cy="730250"/>
          </a:xfrm>
        </p:spPr>
        <p:txBody>
          <a:bodyPr tIns="0" bIns="0" anchor="t"/>
          <a:lstStyle>
            <a:lvl1pPr algn="l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214424"/>
            <a:ext cx="2743200" cy="914400"/>
          </a:xfrm>
        </p:spPr>
        <p:txBody>
          <a:bodyPr lIns="45720" tIns="0" rIns="45720" bIns="0" anchor="b"/>
          <a:lstStyle>
            <a:lvl1pPr marL="0" indent="0" algn="l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1"/>
          </p:nvPr>
        </p:nvSpPr>
        <p:spPr>
          <a:xfrm>
            <a:off x="457200" y="1981200"/>
            <a:ext cx="7086600" cy="3810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404D21-7FDD-4708-8D30-82C7EE3AC17D}" type="datetimeFigureOut">
              <a:rPr lang="ru-RU" smtClean="0">
                <a:solidFill>
                  <a:srgbClr val="C5D1D7">
                    <a:shade val="50000"/>
                  </a:srgbClr>
                </a:solidFill>
                <a:latin typeface="Arial"/>
              </a:rPr>
              <a:pPr/>
              <a:t>23.03.2017</a:t>
            </a:fld>
            <a:endParaRPr lang="ru-RU">
              <a:solidFill>
                <a:srgbClr val="C5D1D7">
                  <a:shade val="50000"/>
                </a:srgbClr>
              </a:solidFill>
              <a:latin typeface="Arial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C5D1D7">
                  <a:shade val="50000"/>
                </a:srgbClr>
              </a:solidFill>
              <a:latin typeface="Arial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156448" y="6422102"/>
            <a:ext cx="762000" cy="365125"/>
          </a:xfrm>
        </p:spPr>
        <p:txBody>
          <a:bodyPr/>
          <a:lstStyle/>
          <a:p>
            <a:fld id="{ED245B36-406B-424E-8B9C-65ACEF4557A4}" type="slidenum">
              <a:rPr lang="ru-RU" smtClean="0">
                <a:solidFill>
                  <a:srgbClr val="C5D1D7">
                    <a:shade val="50000"/>
                  </a:srgbClr>
                </a:solidFill>
                <a:latin typeface="Arial"/>
              </a:rPr>
              <a:pPr/>
              <a:t>‹#›</a:t>
            </a:fld>
            <a:endParaRPr lang="ru-RU">
              <a:solidFill>
                <a:srgbClr val="C5D1D7">
                  <a:shade val="5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14082595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556732" y="1705709"/>
            <a:ext cx="3053868" cy="1253808"/>
          </a:xfrm>
        </p:spPr>
        <p:txBody>
          <a:bodyPr anchor="b"/>
          <a:lstStyle>
            <a:lvl1pPr algn="l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065628" y="1019907"/>
            <a:ext cx="4114800" cy="4114800"/>
          </a:xfrm>
          <a:prstGeom prst="ellipse">
            <a:avLst/>
          </a:prstGeom>
          <a:solidFill>
            <a:schemeClr val="bg2">
              <a:shade val="50000"/>
            </a:schemeClr>
          </a:solidFill>
          <a:ln w="50800" cap="flat">
            <a:solidFill>
              <a:schemeClr val="bg2"/>
            </a:solidFill>
            <a:miter lim="800000"/>
          </a:ln>
          <a:effectLst>
            <a:outerShdw blurRad="152000" dist="345000" dir="5400000" sx="-80000" sy="-18000" rotWithShape="0">
              <a:srgbClr val="000000">
                <a:alpha val="25000"/>
              </a:srgbClr>
            </a:outerShdw>
          </a:effectLst>
          <a:scene3d>
            <a:camera prst="orthographicFront"/>
            <a:lightRig rig="contrasting" dir="t">
              <a:rot lat="0" lon="0" rev="2400000"/>
            </a:lightRig>
          </a:scene3d>
          <a:sp3d contourW="7620">
            <a:bevelT w="63500" h="63500"/>
            <a:contourClr>
              <a:schemeClr val="bg2">
                <a:shade val="50000"/>
              </a:schemeClr>
            </a:contourClr>
          </a:sp3d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556735" y="2998765"/>
            <a:ext cx="3053866" cy="2663482"/>
          </a:xfrm>
        </p:spPr>
        <p:txBody>
          <a:bodyPr lIns="45720" rIns="45720"/>
          <a:lstStyle>
            <a:lvl1pPr marL="0" indent="0">
              <a:buFontTx/>
              <a:buNone/>
              <a:defRPr sz="12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422102"/>
            <a:ext cx="2133600" cy="365125"/>
          </a:xfrm>
        </p:spPr>
        <p:txBody>
          <a:bodyPr/>
          <a:lstStyle/>
          <a:p>
            <a:fld id="{FA404D21-7FDD-4708-8D30-82C7EE3AC17D}" type="datetimeFigureOut">
              <a:rPr lang="ru-RU" smtClean="0">
                <a:solidFill>
                  <a:srgbClr val="C5D1D7">
                    <a:shade val="50000"/>
                  </a:srgbClr>
                </a:solidFill>
                <a:latin typeface="Arial"/>
              </a:rPr>
              <a:pPr/>
              <a:t>23.03.2017</a:t>
            </a:fld>
            <a:endParaRPr lang="ru-RU">
              <a:solidFill>
                <a:srgbClr val="C5D1D7">
                  <a:shade val="50000"/>
                </a:srgbClr>
              </a:solidFill>
              <a:latin typeface="Arial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C5D1D7">
                  <a:shade val="50000"/>
                </a:srgbClr>
              </a:solidFill>
              <a:latin typeface="Arial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245B36-406B-424E-8B9C-65ACEF4557A4}" type="slidenum">
              <a:rPr lang="ru-RU" smtClean="0">
                <a:solidFill>
                  <a:srgbClr val="C5D1D7">
                    <a:shade val="50000"/>
                  </a:srgbClr>
                </a:solidFill>
                <a:latin typeface="Arial"/>
              </a:rPr>
              <a:pPr/>
              <a:t>‹#›</a:t>
            </a:fld>
            <a:endParaRPr lang="ru-RU">
              <a:solidFill>
                <a:srgbClr val="C5D1D7">
                  <a:shade val="5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55139861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404D21-7FDD-4708-8D30-82C7EE3AC17D}" type="datetimeFigureOut">
              <a:rPr lang="ru-RU" smtClean="0">
                <a:solidFill>
                  <a:srgbClr val="C5D1D7">
                    <a:shade val="50000"/>
                  </a:srgbClr>
                </a:solidFill>
                <a:latin typeface="Arial"/>
              </a:rPr>
              <a:pPr/>
              <a:t>23.03.2017</a:t>
            </a:fld>
            <a:endParaRPr lang="ru-RU">
              <a:solidFill>
                <a:srgbClr val="C5D1D7">
                  <a:shade val="50000"/>
                </a:srgbClr>
              </a:solidFill>
              <a:latin typeface="Arial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C5D1D7">
                  <a:shade val="50000"/>
                </a:srgbClr>
              </a:solidFill>
              <a:latin typeface="Arial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245B36-406B-424E-8B9C-65ACEF4557A4}" type="slidenum">
              <a:rPr lang="ru-RU" smtClean="0">
                <a:solidFill>
                  <a:srgbClr val="C5D1D7">
                    <a:shade val="50000"/>
                  </a:srgbClr>
                </a:solidFill>
                <a:latin typeface="Arial"/>
              </a:rPr>
              <a:pPr/>
              <a:t>‹#›</a:t>
            </a:fld>
            <a:endParaRPr lang="ru-RU">
              <a:solidFill>
                <a:srgbClr val="C5D1D7">
                  <a:shade val="5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0638008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76"/>
            <a:ext cx="2057400" cy="5851525"/>
          </a:xfrm>
        </p:spPr>
        <p:txBody>
          <a:bodyPr vert="eaVert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76"/>
            <a:ext cx="6019800" cy="5851525"/>
          </a:xfrm>
        </p:spPr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404D21-7FDD-4708-8D30-82C7EE3AC17D}" type="datetimeFigureOut">
              <a:rPr lang="ru-RU" smtClean="0">
                <a:solidFill>
                  <a:srgbClr val="C5D1D7">
                    <a:shade val="50000"/>
                  </a:srgbClr>
                </a:solidFill>
                <a:latin typeface="Arial"/>
              </a:rPr>
              <a:pPr/>
              <a:t>23.03.2017</a:t>
            </a:fld>
            <a:endParaRPr lang="ru-RU">
              <a:solidFill>
                <a:srgbClr val="C5D1D7">
                  <a:shade val="50000"/>
                </a:srgbClr>
              </a:solidFill>
              <a:latin typeface="Arial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C5D1D7">
                  <a:shade val="50000"/>
                </a:srgbClr>
              </a:solidFill>
              <a:latin typeface="Arial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245B36-406B-424E-8B9C-65ACEF4557A4}" type="slidenum">
              <a:rPr lang="ru-RU" smtClean="0">
                <a:solidFill>
                  <a:srgbClr val="C5D1D7">
                    <a:shade val="50000"/>
                  </a:srgbClr>
                </a:solidFill>
                <a:latin typeface="Arial"/>
              </a:rPr>
              <a:pPr/>
              <a:t>‹#›</a:t>
            </a:fld>
            <a:endParaRPr lang="ru-RU">
              <a:solidFill>
                <a:srgbClr val="C5D1D7">
                  <a:shade val="5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04936934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>
            <a:spLocks noGrp="1"/>
          </p:cNvSpPr>
          <p:nvPr>
            <p:ph type="body" sz="quarter" idx="1"/>
          </p:nvPr>
        </p:nvSpPr>
        <p:spPr>
          <a:xfrm>
            <a:off x="3512933" y="3772433"/>
            <a:ext cx="5036085" cy="21982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  <a:lvl2pPr marL="173108" indent="-171487">
              <a:defRPr sz="1400" b="1">
                <a:solidFill>
                  <a:srgbClr val="049536"/>
                </a:solidFill>
              </a:defRPr>
            </a:lvl2pPr>
            <a:lvl3pPr marL="433074" indent="-233848">
              <a:defRPr sz="1400" b="1">
                <a:solidFill>
                  <a:srgbClr val="049536"/>
                </a:solidFill>
              </a:defRPr>
            </a:lvl3pPr>
            <a:lvl4pPr marL="606992" indent="-138889">
              <a:defRPr sz="1400" b="1">
                <a:solidFill>
                  <a:srgbClr val="049536"/>
                </a:solidFill>
              </a:defRPr>
            </a:lvl4pPr>
            <a:lvl5pPr marL="748425" indent="-116214">
              <a:defRPr sz="1400" b="1">
                <a:solidFill>
                  <a:srgbClr val="049536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4" name="Shape 34"/>
          <p:cNvSpPr>
            <a:spLocks noGrp="1"/>
          </p:cNvSpPr>
          <p:nvPr>
            <p:ph type="body" sz="quarter" idx="13"/>
          </p:nvPr>
        </p:nvSpPr>
        <p:spPr>
          <a:xfrm>
            <a:off x="3512950" y="2191167"/>
            <a:ext cx="5293643" cy="507834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pic>
        <p:nvPicPr>
          <p:cNvPr id="35" name="image4.png" descr="C:\Users\LUKANI~1\AppData\Local\Temp\Rar$DI05.591\Деревце-с-облачками_done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2" y="1635019"/>
            <a:ext cx="3523023" cy="3491239"/>
          </a:xfrm>
          <a:prstGeom prst="rect">
            <a:avLst/>
          </a:prstGeom>
          <a:ln w="12700">
            <a:miter lim="400000"/>
          </a:ln>
        </p:spPr>
      </p:pic>
      <p:sp>
        <p:nvSpPr>
          <p:cNvPr id="36" name="Shape 3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98667323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Shape 43"/>
          <p:cNvSpPr>
            <a:spLocks noGrp="1"/>
          </p:cNvSpPr>
          <p:nvPr>
            <p:ph type="body" sz="quarter" idx="1"/>
          </p:nvPr>
        </p:nvSpPr>
        <p:spPr>
          <a:xfrm>
            <a:off x="3512933" y="3772433"/>
            <a:ext cx="5036085" cy="21982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  <a:lvl2pPr marL="173108" indent="-171487">
              <a:defRPr sz="1400" b="1">
                <a:solidFill>
                  <a:srgbClr val="049536"/>
                </a:solidFill>
              </a:defRPr>
            </a:lvl2pPr>
            <a:lvl3pPr marL="433074" indent="-233848">
              <a:defRPr sz="1400" b="1">
                <a:solidFill>
                  <a:srgbClr val="049536"/>
                </a:solidFill>
              </a:defRPr>
            </a:lvl3pPr>
            <a:lvl4pPr marL="606992" indent="-138889">
              <a:defRPr sz="1400" b="1">
                <a:solidFill>
                  <a:srgbClr val="049536"/>
                </a:solidFill>
              </a:defRPr>
            </a:lvl4pPr>
            <a:lvl5pPr marL="748425" indent="-116214">
              <a:defRPr sz="1400" b="1">
                <a:solidFill>
                  <a:srgbClr val="049536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4" name="Shape 44"/>
          <p:cNvSpPr>
            <a:spLocks noGrp="1"/>
          </p:cNvSpPr>
          <p:nvPr>
            <p:ph type="body" sz="quarter" idx="13"/>
          </p:nvPr>
        </p:nvSpPr>
        <p:spPr>
          <a:xfrm>
            <a:off x="3512950" y="2191167"/>
            <a:ext cx="5293643" cy="507834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grpSp>
        <p:nvGrpSpPr>
          <p:cNvPr id="48" name="Group 48"/>
          <p:cNvGrpSpPr/>
          <p:nvPr/>
        </p:nvGrpSpPr>
        <p:grpSpPr>
          <a:xfrm>
            <a:off x="-418006" y="1173876"/>
            <a:ext cx="4079749" cy="5121580"/>
            <a:chOff x="-1" y="0"/>
            <a:chExt cx="4079748" cy="5121578"/>
          </a:xfrm>
        </p:grpSpPr>
        <p:pic>
          <p:nvPicPr>
            <p:cNvPr id="45" name="image5.png" descr="C:\Users\Lukanina-AN\AppData\Local\Microsoft\Windows\Temporary Internet Files\Low\Content.IE5\U9HPN9CK\WEareTEAM[1].png"/>
            <p:cNvPicPr>
              <a:picLocks noChangeAspect="1"/>
            </p:cNvPicPr>
            <p:nvPr/>
          </p:nvPicPr>
          <p:blipFill>
            <a:blip r:embed="rId2">
              <a:extLst/>
            </a:blip>
            <a:stretch>
              <a:fillRect/>
            </a:stretch>
          </p:blipFill>
          <p:spPr>
            <a:xfrm rot="4435296">
              <a:off x="1913746" y="-51270"/>
              <a:ext cx="1603989" cy="2273413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46" name="image6.png" descr="C:\Users\LUKANI~1\AppData\Local\Temp\Rar$DI00.669\ImLeader_done.png"/>
            <p:cNvPicPr>
              <a:picLocks noChangeAspect="1"/>
            </p:cNvPicPr>
            <p:nvPr/>
          </p:nvPicPr>
          <p:blipFill>
            <a:blip r:embed="rId3">
              <a:extLst/>
            </a:blip>
            <a:stretch>
              <a:fillRect/>
            </a:stretch>
          </p:blipFill>
          <p:spPr>
            <a:xfrm rot="7674329">
              <a:off x="535302" y="549748"/>
              <a:ext cx="1263032" cy="1974186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47" name="image7.png" descr="C:\Users\LUKANI~1\AppData\Local\Temp\Rar$DI03.218\все-для-клиента_done.png"/>
            <p:cNvPicPr>
              <a:picLocks noChangeAspect="1"/>
            </p:cNvPicPr>
            <p:nvPr/>
          </p:nvPicPr>
          <p:blipFill>
            <a:blip r:embed="rId4">
              <a:extLst/>
            </a:blip>
            <a:stretch>
              <a:fillRect/>
            </a:stretch>
          </p:blipFill>
          <p:spPr>
            <a:xfrm rot="2353251">
              <a:off x="923786" y="1683242"/>
              <a:ext cx="2492427" cy="298678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49" name="Shape 49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77544869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Shape 56"/>
          <p:cNvSpPr>
            <a:spLocks noGrp="1"/>
          </p:cNvSpPr>
          <p:nvPr>
            <p:ph type="body" sz="quarter" idx="1"/>
          </p:nvPr>
        </p:nvSpPr>
        <p:spPr>
          <a:xfrm>
            <a:off x="3512933" y="3772433"/>
            <a:ext cx="5036085" cy="21982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  <a:lvl2pPr marL="173108" indent="-171487">
              <a:defRPr sz="1400" b="1">
                <a:solidFill>
                  <a:srgbClr val="049536"/>
                </a:solidFill>
              </a:defRPr>
            </a:lvl2pPr>
            <a:lvl3pPr marL="433074" indent="-233848">
              <a:defRPr sz="1400" b="1">
                <a:solidFill>
                  <a:srgbClr val="049536"/>
                </a:solidFill>
              </a:defRPr>
            </a:lvl3pPr>
            <a:lvl4pPr marL="606992" indent="-138889">
              <a:defRPr sz="1400" b="1">
                <a:solidFill>
                  <a:srgbClr val="049536"/>
                </a:solidFill>
              </a:defRPr>
            </a:lvl4pPr>
            <a:lvl5pPr marL="748425" indent="-116214">
              <a:defRPr sz="1400" b="1">
                <a:solidFill>
                  <a:srgbClr val="049536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7" name="Shape 57"/>
          <p:cNvSpPr>
            <a:spLocks noGrp="1"/>
          </p:cNvSpPr>
          <p:nvPr>
            <p:ph type="body" sz="quarter" idx="13"/>
          </p:nvPr>
        </p:nvSpPr>
        <p:spPr>
          <a:xfrm>
            <a:off x="3512950" y="2191167"/>
            <a:ext cx="5293643" cy="507834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pic>
        <p:nvPicPr>
          <p:cNvPr id="58" name="image8.png" descr="C:\Users\LUKANI~1\AppData\Local\Temp\Rar$DI00.709\воздушный-шар_done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37706" y="1666963"/>
            <a:ext cx="3237989" cy="3755483"/>
          </a:xfrm>
          <a:prstGeom prst="rect">
            <a:avLst/>
          </a:prstGeom>
          <a:ln w="12700">
            <a:miter lim="400000"/>
          </a:ln>
        </p:spPr>
      </p:pic>
      <p:sp>
        <p:nvSpPr>
          <p:cNvPr id="59" name="Shape 59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91092039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 с рисун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5025435"/>
            <a:ext cx="8915400" cy="9144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5943600"/>
            <a:ext cx="8001000" cy="914400"/>
          </a:xfr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92608" tIns="91440" rIns="274320" bIns="91440" rtlCol="0" anchor="t" anchorCtr="0"/>
          <a:lstStyle>
            <a:lvl1pPr marL="0" indent="0" algn="l" defTabSz="914400" rtl="0" eaLnBrk="1" latinLnBrk="0" hangingPunct="1">
              <a:spcBef>
                <a:spcPts val="300"/>
              </a:spcBef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4986D-6BE9-4264-908F-02DB36FD8D6C}" type="datetime1">
              <a:rPr lang="en-US" smtClean="0"/>
              <a:t>3/23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Footer Text</a:t>
            </a:r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927100" y="1129553"/>
            <a:ext cx="7988300" cy="3886200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ru-RU" smtClean="0"/>
              <a:t>Чтобы добавить рисунок, перетащите его на заполнитель или щелкните значок</a:t>
            </a:r>
            <a:endParaRPr/>
          </a:p>
        </p:txBody>
      </p:sp>
    </p:spTree>
  </p:cSld>
  <p:clrMapOvr>
    <a:masterClrMapping/>
  </p:clrMapOvr>
  <p:hf sldNum="0"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Shape 66"/>
          <p:cNvSpPr>
            <a:spLocks noGrp="1"/>
          </p:cNvSpPr>
          <p:nvPr>
            <p:ph type="body" sz="quarter" idx="1"/>
          </p:nvPr>
        </p:nvSpPr>
        <p:spPr>
          <a:xfrm>
            <a:off x="3512933" y="3772433"/>
            <a:ext cx="5036085" cy="21982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  <a:lvl2pPr marL="173108" indent="-171487">
              <a:defRPr sz="1400" b="1">
                <a:solidFill>
                  <a:srgbClr val="049536"/>
                </a:solidFill>
              </a:defRPr>
            </a:lvl2pPr>
            <a:lvl3pPr marL="433074" indent="-233848">
              <a:defRPr sz="1400" b="1">
                <a:solidFill>
                  <a:srgbClr val="049536"/>
                </a:solidFill>
              </a:defRPr>
            </a:lvl3pPr>
            <a:lvl4pPr marL="606992" indent="-138889">
              <a:defRPr sz="1400" b="1">
                <a:solidFill>
                  <a:srgbClr val="049536"/>
                </a:solidFill>
              </a:defRPr>
            </a:lvl4pPr>
            <a:lvl5pPr marL="748425" indent="-116214">
              <a:defRPr sz="1400" b="1">
                <a:solidFill>
                  <a:srgbClr val="049536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sz="quarter" idx="13"/>
          </p:nvPr>
        </p:nvSpPr>
        <p:spPr>
          <a:xfrm>
            <a:off x="3512950" y="2191167"/>
            <a:ext cx="5293643" cy="507834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pic>
        <p:nvPicPr>
          <p:cNvPr id="68" name="image9.png" descr="C:\Users\LUKANI~1\AppData\Local\Temp\Rar$DI07.270\деревце-с-солнышком_done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-286865" y="1445594"/>
            <a:ext cx="4147116" cy="4384884"/>
          </a:xfrm>
          <a:prstGeom prst="rect">
            <a:avLst/>
          </a:prstGeom>
          <a:ln w="12700">
            <a:miter lim="400000"/>
          </a:ln>
        </p:spPr>
      </p:pic>
      <p:sp>
        <p:nvSpPr>
          <p:cNvPr id="69" name="Shape 69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46029802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Shape 76"/>
          <p:cNvSpPr>
            <a:spLocks noGrp="1"/>
          </p:cNvSpPr>
          <p:nvPr>
            <p:ph type="body" sz="quarter" idx="1"/>
          </p:nvPr>
        </p:nvSpPr>
        <p:spPr>
          <a:xfrm>
            <a:off x="3512933" y="3772433"/>
            <a:ext cx="5036085" cy="21982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  <a:lvl2pPr marL="173108" indent="-171487">
              <a:defRPr sz="1400" b="1">
                <a:solidFill>
                  <a:srgbClr val="049536"/>
                </a:solidFill>
              </a:defRPr>
            </a:lvl2pPr>
            <a:lvl3pPr marL="433074" indent="-233848">
              <a:defRPr sz="1400" b="1">
                <a:solidFill>
                  <a:srgbClr val="049536"/>
                </a:solidFill>
              </a:defRPr>
            </a:lvl3pPr>
            <a:lvl4pPr marL="606992" indent="-138889">
              <a:defRPr sz="1400" b="1">
                <a:solidFill>
                  <a:srgbClr val="049536"/>
                </a:solidFill>
              </a:defRPr>
            </a:lvl4pPr>
            <a:lvl5pPr marL="748425" indent="-116214">
              <a:defRPr sz="1400" b="1">
                <a:solidFill>
                  <a:srgbClr val="049536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77" name="Shape 77"/>
          <p:cNvSpPr>
            <a:spLocks noGrp="1"/>
          </p:cNvSpPr>
          <p:nvPr>
            <p:ph type="body" sz="quarter" idx="13"/>
          </p:nvPr>
        </p:nvSpPr>
        <p:spPr>
          <a:xfrm>
            <a:off x="3512950" y="2191167"/>
            <a:ext cx="5293643" cy="507834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pic>
        <p:nvPicPr>
          <p:cNvPr id="78" name="image10.png" descr="C:\Users\LUKANI~1\AppData\Local\Temp\Rar$DI09.235\земной-шар_done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33707" y="2064785"/>
            <a:ext cx="3327964" cy="3051184"/>
          </a:xfrm>
          <a:prstGeom prst="rect">
            <a:avLst/>
          </a:prstGeom>
          <a:ln w="12700">
            <a:miter lim="400000"/>
          </a:ln>
        </p:spPr>
      </p:pic>
      <p:sp>
        <p:nvSpPr>
          <p:cNvPr id="79" name="Shape 79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59982448"/>
      </p:ext>
    </p:extLst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Flower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6" name="image11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 flipH="1">
            <a:off x="19" y="6271888"/>
            <a:ext cx="594677" cy="582846"/>
          </a:xfrm>
          <a:prstGeom prst="rect">
            <a:avLst/>
          </a:prstGeom>
          <a:ln w="12700">
            <a:miter lim="400000"/>
          </a:ln>
        </p:spPr>
      </p:pic>
      <p:sp>
        <p:nvSpPr>
          <p:cNvPr id="87" name="Shape 87"/>
          <p:cNvSpPr>
            <a:spLocks noGrp="1"/>
          </p:cNvSpPr>
          <p:nvPr>
            <p:ph type="body" sz="quarter" idx="1"/>
          </p:nvPr>
        </p:nvSpPr>
        <p:spPr>
          <a:xfrm>
            <a:off x="1532370" y="1718586"/>
            <a:ext cx="6331961" cy="125611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88" name="Shape 88"/>
          <p:cNvSpPr>
            <a:spLocks noGrp="1"/>
          </p:cNvSpPr>
          <p:nvPr>
            <p:ph type="body" sz="quarter" idx="13"/>
          </p:nvPr>
        </p:nvSpPr>
        <p:spPr>
          <a:xfrm>
            <a:off x="640370" y="6614607"/>
            <a:ext cx="7926979" cy="157017"/>
          </a:xfrm>
          <a:prstGeom prst="rect">
            <a:avLst/>
          </a:prstGeom>
        </p:spPr>
        <p:txBody>
          <a:bodyPr>
            <a:normAutofit/>
          </a:bodyPr>
          <a:lstStyle/>
          <a:p>
            <a:pPr defTabSz="657738">
              <a:defRPr sz="1152"/>
            </a:pPr>
            <a:endParaRPr/>
          </a:p>
        </p:txBody>
      </p:sp>
      <p:sp>
        <p:nvSpPr>
          <p:cNvPr id="89" name="Shape 89"/>
          <p:cNvSpPr>
            <a:spLocks noGrp="1"/>
          </p:cNvSpPr>
          <p:nvPr>
            <p:ph type="body" sz="quarter" idx="14"/>
          </p:nvPr>
        </p:nvSpPr>
        <p:spPr>
          <a:xfrm>
            <a:off x="640370" y="6376186"/>
            <a:ext cx="7926979" cy="157017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 defTabSz="657738">
              <a:defRPr sz="1152"/>
            </a:pPr>
            <a:endParaRPr/>
          </a:p>
        </p:txBody>
      </p:sp>
      <p:sp>
        <p:nvSpPr>
          <p:cNvPr id="90" name="Shape 9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91" name="Shape 9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85481556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un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8" name="image12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650" y="6274303"/>
            <a:ext cx="638315" cy="574272"/>
          </a:xfrm>
          <a:prstGeom prst="rect">
            <a:avLst/>
          </a:prstGeom>
          <a:ln w="12700">
            <a:miter lim="400000"/>
          </a:ln>
        </p:spPr>
      </p:pic>
      <p:sp>
        <p:nvSpPr>
          <p:cNvPr id="99" name="Shape 99"/>
          <p:cNvSpPr>
            <a:spLocks noGrp="1"/>
          </p:cNvSpPr>
          <p:nvPr>
            <p:ph type="body" sz="quarter" idx="1"/>
          </p:nvPr>
        </p:nvSpPr>
        <p:spPr>
          <a:xfrm>
            <a:off x="1532370" y="1718586"/>
            <a:ext cx="6331961" cy="125611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00" name="Shape 100"/>
          <p:cNvSpPr>
            <a:spLocks noGrp="1"/>
          </p:cNvSpPr>
          <p:nvPr>
            <p:ph type="body" sz="quarter" idx="13"/>
          </p:nvPr>
        </p:nvSpPr>
        <p:spPr>
          <a:xfrm>
            <a:off x="640370" y="6376186"/>
            <a:ext cx="7926979" cy="157017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 defTabSz="657738">
              <a:defRPr sz="1152"/>
            </a:pPr>
            <a:endParaRPr/>
          </a:p>
        </p:txBody>
      </p:sp>
      <p:sp>
        <p:nvSpPr>
          <p:cNvPr id="101" name="Shape 101"/>
          <p:cNvSpPr>
            <a:spLocks noGrp="1"/>
          </p:cNvSpPr>
          <p:nvPr>
            <p:ph type="body" sz="quarter" idx="14"/>
          </p:nvPr>
        </p:nvSpPr>
        <p:spPr>
          <a:xfrm>
            <a:off x="640370" y="6614607"/>
            <a:ext cx="7926979" cy="157017"/>
          </a:xfrm>
          <a:prstGeom prst="rect">
            <a:avLst/>
          </a:prstGeom>
        </p:spPr>
        <p:txBody>
          <a:bodyPr>
            <a:normAutofit/>
          </a:bodyPr>
          <a:lstStyle/>
          <a:p>
            <a:pPr defTabSz="657738">
              <a:defRPr sz="1152"/>
            </a:pPr>
            <a:endParaRPr/>
          </a:p>
        </p:txBody>
      </p:sp>
      <p:sp>
        <p:nvSpPr>
          <p:cNvPr id="102" name="Shape 10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103" name="Shape 10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14975123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Leaves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0" name="image13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 flipH="1">
            <a:off x="-5" y="6360559"/>
            <a:ext cx="451942" cy="502718"/>
          </a:xfrm>
          <a:prstGeom prst="rect">
            <a:avLst/>
          </a:prstGeom>
          <a:ln w="12700">
            <a:miter lim="400000"/>
          </a:ln>
        </p:spPr>
      </p:pic>
      <p:sp>
        <p:nvSpPr>
          <p:cNvPr id="111" name="Shape 111"/>
          <p:cNvSpPr>
            <a:spLocks noGrp="1"/>
          </p:cNvSpPr>
          <p:nvPr>
            <p:ph type="body" sz="quarter" idx="1"/>
          </p:nvPr>
        </p:nvSpPr>
        <p:spPr>
          <a:xfrm>
            <a:off x="1532370" y="1718586"/>
            <a:ext cx="6331961" cy="125611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12" name="Shape 112"/>
          <p:cNvSpPr>
            <a:spLocks noGrp="1"/>
          </p:cNvSpPr>
          <p:nvPr>
            <p:ph type="body" sz="quarter" idx="13"/>
          </p:nvPr>
        </p:nvSpPr>
        <p:spPr>
          <a:xfrm>
            <a:off x="640370" y="6376186"/>
            <a:ext cx="7926979" cy="157017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 defTabSz="657738">
              <a:defRPr sz="1152"/>
            </a:pPr>
            <a:endParaRPr/>
          </a:p>
        </p:txBody>
      </p:sp>
      <p:sp>
        <p:nvSpPr>
          <p:cNvPr id="113" name="Shape 113"/>
          <p:cNvSpPr>
            <a:spLocks noGrp="1"/>
          </p:cNvSpPr>
          <p:nvPr>
            <p:ph type="body" sz="quarter" idx="14"/>
          </p:nvPr>
        </p:nvSpPr>
        <p:spPr>
          <a:xfrm>
            <a:off x="640370" y="6614607"/>
            <a:ext cx="7926979" cy="157017"/>
          </a:xfrm>
          <a:prstGeom prst="rect">
            <a:avLst/>
          </a:prstGeom>
        </p:spPr>
        <p:txBody>
          <a:bodyPr>
            <a:normAutofit/>
          </a:bodyPr>
          <a:lstStyle/>
          <a:p>
            <a:pPr defTabSz="657738">
              <a:defRPr sz="1152"/>
            </a:pPr>
            <a:endParaRPr/>
          </a:p>
        </p:txBody>
      </p:sp>
      <p:sp>
        <p:nvSpPr>
          <p:cNvPr id="114" name="Shape 114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115" name="Shape 11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28630815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Shape 122"/>
          <p:cNvSpPr>
            <a:spLocks noGrp="1"/>
          </p:cNvSpPr>
          <p:nvPr>
            <p:ph type="body" sz="quarter" idx="1"/>
          </p:nvPr>
        </p:nvSpPr>
        <p:spPr>
          <a:xfrm>
            <a:off x="1532370" y="1718586"/>
            <a:ext cx="6331961" cy="1256115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23" name="Shape 123"/>
          <p:cNvSpPr>
            <a:spLocks noGrp="1"/>
          </p:cNvSpPr>
          <p:nvPr>
            <p:ph type="body" sz="quarter" idx="13"/>
          </p:nvPr>
        </p:nvSpPr>
        <p:spPr>
          <a:xfrm>
            <a:off x="121487" y="6614607"/>
            <a:ext cx="8445852" cy="157017"/>
          </a:xfrm>
          <a:prstGeom prst="rect">
            <a:avLst/>
          </a:prstGeom>
        </p:spPr>
        <p:txBody>
          <a:bodyPr>
            <a:normAutofit/>
          </a:bodyPr>
          <a:lstStyle/>
          <a:p>
            <a:pPr defTabSz="657738">
              <a:defRPr sz="1152"/>
            </a:pPr>
            <a:endParaRPr/>
          </a:p>
        </p:txBody>
      </p:sp>
      <p:sp>
        <p:nvSpPr>
          <p:cNvPr id="124" name="Shape 124"/>
          <p:cNvSpPr>
            <a:spLocks noGrp="1"/>
          </p:cNvSpPr>
          <p:nvPr>
            <p:ph type="body" sz="quarter" idx="14"/>
          </p:nvPr>
        </p:nvSpPr>
        <p:spPr>
          <a:xfrm>
            <a:off x="121487" y="6376186"/>
            <a:ext cx="8445852" cy="157017"/>
          </a:xfrm>
          <a:prstGeom prst="rect">
            <a:avLst/>
          </a:prstGeom>
        </p:spPr>
        <p:txBody>
          <a:bodyPr>
            <a:normAutofit/>
          </a:bodyPr>
          <a:lstStyle/>
          <a:p>
            <a:pPr defTabSz="657738">
              <a:defRPr sz="1152"/>
            </a:pPr>
            <a:endParaRPr/>
          </a:p>
        </p:txBody>
      </p:sp>
      <p:sp>
        <p:nvSpPr>
          <p:cNvPr id="125" name="Shape 125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126" name="Shape 12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31864602"/>
      </p:ext>
    </p:extLst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Shape 13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134" name="Shape 134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14822086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1" name="image1.jpeg" descr="Sberbank_russian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-8100" y="2"/>
            <a:ext cx="9152102" cy="6874197"/>
          </a:xfrm>
          <a:prstGeom prst="rect">
            <a:avLst/>
          </a:prstGeom>
          <a:ln w="12700">
            <a:miter lim="400000"/>
          </a:ln>
        </p:spPr>
      </p:pic>
      <p:sp>
        <p:nvSpPr>
          <p:cNvPr id="142" name="Shape 142"/>
          <p:cNvSpPr>
            <a:spLocks noGrp="1"/>
          </p:cNvSpPr>
          <p:nvPr>
            <p:ph type="title"/>
          </p:nvPr>
        </p:nvSpPr>
        <p:spPr>
          <a:xfrm>
            <a:off x="2993475" y="2760141"/>
            <a:ext cx="5248284" cy="984888"/>
          </a:xfrm>
          <a:prstGeom prst="rect">
            <a:avLst/>
          </a:prstGeom>
        </p:spPr>
        <p:txBody>
          <a:bodyPr anchor="t"/>
          <a:lstStyle>
            <a:lvl1pPr defTabSz="913102">
              <a:defRPr sz="3200">
                <a:solidFill>
                  <a:srgbClr val="FFFFFF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43" name="Shape 143"/>
          <p:cNvSpPr>
            <a:spLocks noGrp="1"/>
          </p:cNvSpPr>
          <p:nvPr>
            <p:ph type="body" sz="quarter" idx="1"/>
          </p:nvPr>
        </p:nvSpPr>
        <p:spPr>
          <a:xfrm>
            <a:off x="2993488" y="4233953"/>
            <a:ext cx="4577671" cy="277002"/>
          </a:xfrm>
          <a:prstGeom prst="rect">
            <a:avLst/>
          </a:prstGeom>
        </p:spPr>
        <p:txBody>
          <a:bodyPr anchor="b">
            <a:normAutofit/>
          </a:bodyPr>
          <a:lstStyle>
            <a:lvl1pPr defTabSz="949364">
              <a:defRPr sz="1800" b="1">
                <a:solidFill>
                  <a:srgbClr val="FFFFFF"/>
                </a:solidFill>
              </a:defRPr>
            </a:lvl1pPr>
            <a:lvl2pPr marL="222104" indent="-220483" defTabSz="949364">
              <a:defRPr sz="1800" b="1">
                <a:solidFill>
                  <a:srgbClr val="FFFFFF"/>
                </a:solidFill>
              </a:defRPr>
            </a:lvl2pPr>
            <a:lvl3pPr marL="499886" indent="-300661" defTabSz="949364">
              <a:defRPr sz="1800" b="1">
                <a:solidFill>
                  <a:srgbClr val="FFFFFF"/>
                </a:solidFill>
              </a:defRPr>
            </a:lvl3pPr>
            <a:lvl4pPr marL="646675" indent="-178573" defTabSz="949364">
              <a:defRPr sz="1800" b="1">
                <a:solidFill>
                  <a:srgbClr val="FFFFFF"/>
                </a:solidFill>
              </a:defRPr>
            </a:lvl4pPr>
            <a:lvl5pPr marL="781630" indent="-149419" defTabSz="949364">
              <a:defRPr sz="1800" b="1">
                <a:solidFill>
                  <a:srgbClr val="FFFFFF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pic>
        <p:nvPicPr>
          <p:cNvPr id="144" name="image14.pn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4" y="0"/>
            <a:ext cx="157214" cy="152400"/>
          </a:xfrm>
          <a:prstGeom prst="rect">
            <a:avLst/>
          </a:prstGeom>
          <a:ln w="12700">
            <a:miter lim="400000"/>
          </a:ln>
        </p:spPr>
      </p:pic>
      <p:sp>
        <p:nvSpPr>
          <p:cNvPr id="145" name="Shape 145"/>
          <p:cNvSpPr>
            <a:spLocks noGrp="1"/>
          </p:cNvSpPr>
          <p:nvPr>
            <p:ph type="sldNum" sz="quarter" idx="2"/>
          </p:nvPr>
        </p:nvSpPr>
        <p:spPr>
          <a:xfrm>
            <a:off x="6268531" y="6217891"/>
            <a:ext cx="284689" cy="276995"/>
          </a:xfrm>
          <a:prstGeom prst="rect">
            <a:avLst/>
          </a:prstGeom>
        </p:spPr>
        <p:txBody>
          <a:bodyPr lIns="45718" tIns="45718" rIns="45718" bIns="45718"/>
          <a:lstStyle>
            <a:lvl1pPr algn="r">
              <a:defRPr sz="1200"/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01332911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2" name="image15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6139" y="6676627"/>
            <a:ext cx="8988495" cy="124723"/>
          </a:xfrm>
          <a:prstGeom prst="rect">
            <a:avLst/>
          </a:prstGeom>
          <a:ln w="12700">
            <a:miter lim="400000"/>
          </a:ln>
        </p:spPr>
      </p:pic>
      <p:pic>
        <p:nvPicPr>
          <p:cNvPr id="153" name="image15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6139" y="656857"/>
            <a:ext cx="8988495" cy="124723"/>
          </a:xfrm>
          <a:prstGeom prst="rect">
            <a:avLst/>
          </a:prstGeom>
          <a:ln w="12700">
            <a:miter lim="400000"/>
          </a:ln>
        </p:spPr>
      </p:pic>
      <p:pic>
        <p:nvPicPr>
          <p:cNvPr id="154" name="image16.png"/>
          <p:cNvPicPr>
            <a:picLocks noChangeAspect="1"/>
          </p:cNvPicPr>
          <p:nvPr/>
        </p:nvPicPr>
        <p:blipFill>
          <a:blip r:embed="rId3">
            <a:extLst/>
          </a:blip>
          <a:srcRect t="11224" r="6099" b="7909"/>
          <a:stretch>
            <a:fillRect/>
          </a:stretch>
        </p:blipFill>
        <p:spPr>
          <a:xfrm>
            <a:off x="6979958" y="93942"/>
            <a:ext cx="2070157" cy="513464"/>
          </a:xfrm>
          <a:prstGeom prst="rect">
            <a:avLst/>
          </a:prstGeom>
          <a:ln w="12700">
            <a:miter lim="400000"/>
          </a:ln>
        </p:spPr>
      </p:pic>
      <p:pic>
        <p:nvPicPr>
          <p:cNvPr id="155" name="image14.png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4" y="0"/>
            <a:ext cx="157214" cy="152400"/>
          </a:xfrm>
          <a:prstGeom prst="rect">
            <a:avLst/>
          </a:prstGeom>
          <a:ln w="12700">
            <a:miter lim="400000"/>
          </a:ln>
        </p:spPr>
      </p:pic>
      <p:sp>
        <p:nvSpPr>
          <p:cNvPr id="156" name="Shape 156"/>
          <p:cNvSpPr>
            <a:spLocks noGrp="1"/>
          </p:cNvSpPr>
          <p:nvPr>
            <p:ph type="title"/>
          </p:nvPr>
        </p:nvSpPr>
        <p:spPr>
          <a:xfrm>
            <a:off x="149656" y="233929"/>
            <a:ext cx="6830240" cy="292391"/>
          </a:xfrm>
          <a:prstGeom prst="rect">
            <a:avLst/>
          </a:prstGeom>
        </p:spPr>
        <p:txBody>
          <a:bodyPr anchor="ctr"/>
          <a:lstStyle>
            <a:lvl1pPr defTabSz="912054">
              <a:defRPr>
                <a:solidFill>
                  <a:srgbClr val="000000"/>
                </a:solidFill>
              </a:defRPr>
            </a:lvl1pPr>
          </a:lstStyle>
          <a:p>
            <a:r>
              <a:t>Текст заголовка</a:t>
            </a:r>
          </a:p>
        </p:txBody>
      </p:sp>
      <p:pic>
        <p:nvPicPr>
          <p:cNvPr id="157" name="image15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6139" y="656857"/>
            <a:ext cx="8988495" cy="124723"/>
          </a:xfrm>
          <a:prstGeom prst="rect">
            <a:avLst/>
          </a:prstGeom>
          <a:ln w="12700">
            <a:miter lim="400000"/>
          </a:ln>
        </p:spPr>
      </p:pic>
      <p:pic>
        <p:nvPicPr>
          <p:cNvPr id="158" name="image16.png" descr="SBERBANK of Russia By your side"/>
          <p:cNvPicPr>
            <a:picLocks noChangeAspect="1"/>
          </p:cNvPicPr>
          <p:nvPr/>
        </p:nvPicPr>
        <p:blipFill>
          <a:blip r:embed="rId3">
            <a:extLst/>
          </a:blip>
          <a:srcRect t="11224" r="6099" b="7909"/>
          <a:stretch>
            <a:fillRect/>
          </a:stretch>
        </p:blipFill>
        <p:spPr>
          <a:xfrm>
            <a:off x="6979958" y="93942"/>
            <a:ext cx="2070157" cy="513464"/>
          </a:xfrm>
          <a:prstGeom prst="rect">
            <a:avLst/>
          </a:prstGeom>
          <a:ln w="12700">
            <a:miter lim="400000"/>
          </a:ln>
        </p:spPr>
      </p:pic>
      <p:sp>
        <p:nvSpPr>
          <p:cNvPr id="159" name="Shape 159"/>
          <p:cNvSpPr>
            <a:spLocks noGrp="1"/>
          </p:cNvSpPr>
          <p:nvPr>
            <p:ph type="sldNum" sz="quarter" idx="2"/>
          </p:nvPr>
        </p:nvSpPr>
        <p:spPr>
          <a:xfrm>
            <a:off x="8806091" y="6547814"/>
            <a:ext cx="156731" cy="153888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46377541"/>
      </p:ext>
    </p:extLst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6" name="image15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6139" y="6676627"/>
            <a:ext cx="8988495" cy="124723"/>
          </a:xfrm>
          <a:prstGeom prst="rect">
            <a:avLst/>
          </a:prstGeom>
          <a:ln w="12700">
            <a:miter lim="400000"/>
          </a:ln>
        </p:spPr>
      </p:pic>
      <p:pic>
        <p:nvPicPr>
          <p:cNvPr id="167" name="image15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6139" y="656857"/>
            <a:ext cx="8988495" cy="124723"/>
          </a:xfrm>
          <a:prstGeom prst="rect">
            <a:avLst/>
          </a:prstGeom>
          <a:ln w="12700">
            <a:miter lim="400000"/>
          </a:ln>
        </p:spPr>
      </p:pic>
      <p:pic>
        <p:nvPicPr>
          <p:cNvPr id="168" name="image16.png"/>
          <p:cNvPicPr>
            <a:picLocks noChangeAspect="1"/>
          </p:cNvPicPr>
          <p:nvPr/>
        </p:nvPicPr>
        <p:blipFill>
          <a:blip r:embed="rId3">
            <a:extLst/>
          </a:blip>
          <a:srcRect t="11224" r="6099" b="7909"/>
          <a:stretch>
            <a:fillRect/>
          </a:stretch>
        </p:blipFill>
        <p:spPr>
          <a:xfrm>
            <a:off x="6979958" y="93942"/>
            <a:ext cx="2070157" cy="513464"/>
          </a:xfrm>
          <a:prstGeom prst="rect">
            <a:avLst/>
          </a:prstGeom>
          <a:ln w="12700">
            <a:miter lim="400000"/>
          </a:ln>
        </p:spPr>
      </p:pic>
      <p:pic>
        <p:nvPicPr>
          <p:cNvPr id="169" name="image14.png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4" y="0"/>
            <a:ext cx="157214" cy="152400"/>
          </a:xfrm>
          <a:prstGeom prst="rect">
            <a:avLst/>
          </a:prstGeom>
          <a:ln w="12700">
            <a:miter lim="400000"/>
          </a:ln>
        </p:spPr>
      </p:pic>
      <p:sp>
        <p:nvSpPr>
          <p:cNvPr id="170" name="Shape 170"/>
          <p:cNvSpPr>
            <a:spLocks noGrp="1"/>
          </p:cNvSpPr>
          <p:nvPr>
            <p:ph type="body" sz="quarter" idx="1"/>
          </p:nvPr>
        </p:nvSpPr>
        <p:spPr>
          <a:xfrm>
            <a:off x="3039630" y="2934392"/>
            <a:ext cx="5664532" cy="861776"/>
          </a:xfrm>
          <a:prstGeom prst="rect">
            <a:avLst/>
          </a:prstGeom>
        </p:spPr>
        <p:txBody>
          <a:bodyPr>
            <a:normAutofit/>
          </a:bodyPr>
          <a:lstStyle>
            <a:lvl1pPr defTabSz="912054">
              <a:defRPr sz="2800"/>
            </a:lvl1pPr>
            <a:lvl2pPr marL="0" indent="0" defTabSz="912054">
              <a:buSzTx/>
              <a:buNone/>
              <a:defRPr sz="2800"/>
            </a:lvl2pPr>
            <a:lvl3pPr marL="666921" indent="-467696" defTabSz="912054">
              <a:defRPr sz="2800"/>
            </a:lvl3pPr>
            <a:lvl4pPr marL="745883" indent="-277781" defTabSz="912054">
              <a:defRPr sz="2800"/>
            </a:lvl4pPr>
            <a:lvl5pPr marL="864641" indent="-232430" defTabSz="912054">
              <a:defRPr sz="2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71" name="Shape 171"/>
          <p:cNvSpPr>
            <a:spLocks noGrp="1"/>
          </p:cNvSpPr>
          <p:nvPr>
            <p:ph type="body" sz="quarter" idx="13"/>
          </p:nvPr>
        </p:nvSpPr>
        <p:spPr>
          <a:xfrm>
            <a:off x="432361" y="2934473"/>
            <a:ext cx="2306456" cy="43089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172" name="Shape 172"/>
          <p:cNvSpPr/>
          <p:nvPr/>
        </p:nvSpPr>
        <p:spPr>
          <a:xfrm flipH="1">
            <a:off x="2889185" y="2859662"/>
            <a:ext cx="3" cy="1064032"/>
          </a:xfrm>
          <a:prstGeom prst="line">
            <a:avLst/>
          </a:prstGeom>
          <a:ln>
            <a:solidFill>
              <a:srgbClr val="FFAE18"/>
            </a:solidFill>
          </a:ln>
        </p:spPr>
        <p:txBody>
          <a:bodyPr lIns="45718" tIns="45718" rIns="45718" bIns="45718"/>
          <a:lstStyle/>
          <a:p>
            <a:pPr hangingPunct="0"/>
            <a:endParaRPr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3" name="Shape 173"/>
          <p:cNvSpPr/>
          <p:nvPr/>
        </p:nvSpPr>
        <p:spPr>
          <a:xfrm flipH="1">
            <a:off x="2889185" y="2859662"/>
            <a:ext cx="3" cy="1064032"/>
          </a:xfrm>
          <a:prstGeom prst="line">
            <a:avLst/>
          </a:prstGeom>
          <a:ln>
            <a:solidFill>
              <a:srgbClr val="808080"/>
            </a:solidFill>
          </a:ln>
        </p:spPr>
        <p:txBody>
          <a:bodyPr lIns="45718" tIns="45718" rIns="45718" bIns="45718"/>
          <a:lstStyle/>
          <a:p>
            <a:pPr hangingPunct="0"/>
            <a:endParaRPr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4" name="Shape 174"/>
          <p:cNvSpPr>
            <a:spLocks noGrp="1"/>
          </p:cNvSpPr>
          <p:nvPr>
            <p:ph type="sldNum" sz="quarter" idx="2"/>
          </p:nvPr>
        </p:nvSpPr>
        <p:spPr>
          <a:xfrm>
            <a:off x="8806091" y="6547814"/>
            <a:ext cx="156731" cy="153888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1050295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200399"/>
            <a:ext cx="8915400" cy="2286000"/>
          </a:xfrm>
          <a:solidFill>
            <a:schemeClr val="tx2"/>
          </a:solidFill>
        </p:spPr>
        <p:txBody>
          <a:bodyPr vert="horz" lIns="1188720" tIns="45720" rIns="274320" bIns="45720" rtlCol="0" anchor="b" anchorCtr="0">
            <a:normAutofit/>
          </a:bodyPr>
          <a:lstStyle>
            <a:lvl1pPr marL="0" indent="0" algn="l" defTabSz="9144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5484607"/>
            <a:ext cx="8001000" cy="777240"/>
          </a:xfr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292608" tIns="91440" rIns="274320" bIns="91440" rtlCol="0" anchor="ctr" anchorCtr="0">
            <a:norm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Clr>
                <a:schemeClr val="accent1"/>
              </a:buClr>
              <a:buFont typeface="Wingdings 2" pitchFamily="18" charset="2"/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CAEA93-55E7-4DA9-90C2-089A26EEFEC4}" type="datetime1">
              <a:rPr lang="en-US" smtClean="0"/>
              <a:t>3/2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Footer Text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B540C-44DA-4F69-89C9-7C84606640D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BC8AE6-C404-45C0-A24C-9AD03FF87F18}" type="datetime1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3.03.2017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34343D-424D-479E-A25B-CEA996702F2B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3062943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5D0067-5EE4-43F8-907B-7A91F07AD90F}" type="datetime1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3.03.2017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34343D-424D-479E-A25B-CEA996702F2B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4223349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7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50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40893E-7B0E-4617-9BFC-FFA863003233}" type="datetime1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3.03.2017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34343D-424D-479E-A25B-CEA996702F2B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1899946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687EFD-10F2-414C-A0FE-4CC14EF1DE5C}" type="datetime1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3.03.2017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34343D-424D-479E-A25B-CEA996702F2B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5740688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2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2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9D405C-5C77-42F6-813B-10C5E22331A2}" type="datetime1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3.03.2017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34343D-424D-479E-A25B-CEA996702F2B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340001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B6AE48-D569-4CCD-8032-345AF78FAA0A}" type="datetime1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3.03.2017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34343D-424D-479E-A25B-CEA996702F2B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6328256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330C4C-9733-49F3-AC70-D3FC0DC30F8D}" type="datetime1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3.03.2017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34343D-424D-479E-A25B-CEA996702F2B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4463535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6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42E14-29C5-4498-8EF5-3D762B5A946F}" type="datetime1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3.03.2017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34343D-424D-479E-A25B-CEA996702F2B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4834137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66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06AEFD-61D3-4182-BF63-B31E3EED12DD}" type="datetime1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3.03.2017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34343D-424D-479E-A25B-CEA996702F2B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990774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37BE3B-CB67-4C09-9BE3-89CE4D784CA5}" type="datetime1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3.03.2017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34343D-424D-479E-A25B-CEA996702F2B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281640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17600" y="2595563"/>
            <a:ext cx="3566160" cy="368141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47534" y="2595563"/>
            <a:ext cx="3566160" cy="368141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580094" y="188297"/>
            <a:ext cx="2133600" cy="365125"/>
          </a:xfrm>
        </p:spPr>
        <p:txBody>
          <a:bodyPr/>
          <a:lstStyle/>
          <a:p>
            <a:fld id="{E34CF3C7-6809-4F39-BD67-A75817BDDE0A}" type="datetime1">
              <a:rPr lang="en-US" smtClean="0"/>
              <a:t>3/23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Footer Text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B540C-44DA-4F69-89C9-7C84606640D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93F03-0867-4501-BDE5-CF8B6E7252D8}" type="datetime1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3.03.2017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34343D-424D-479E-A25B-CEA996702F2B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0270819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 userDrawn="1"/>
        </p:nvGrpSpPr>
        <p:grpSpPr bwMode="gray">
          <a:xfrm>
            <a:off x="1752617" y="293963"/>
            <a:ext cx="7391401" cy="5770367"/>
            <a:chOff x="19140487" y="306163"/>
            <a:chExt cx="7443799" cy="5742167"/>
          </a:xfrm>
        </p:grpSpPr>
        <p:sp>
          <p:nvSpPr>
            <p:cNvPr id="23" name="Rectangle 17"/>
            <p:cNvSpPr>
              <a:spLocks noChangeArrowheads="1"/>
            </p:cNvSpPr>
            <p:nvPr/>
          </p:nvSpPr>
          <p:spPr bwMode="gray">
            <a:xfrm>
              <a:off x="19140488" y="4188799"/>
              <a:ext cx="2302206" cy="1859531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87"/>
              <a:endParaRPr lang="en-GB" sz="2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" name="Rectangle 7"/>
            <p:cNvSpPr>
              <a:spLocks noChangeArrowheads="1"/>
            </p:cNvSpPr>
            <p:nvPr/>
          </p:nvSpPr>
          <p:spPr bwMode="gray">
            <a:xfrm>
              <a:off x="25663403" y="4032250"/>
              <a:ext cx="920883" cy="2016079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87"/>
              <a:endParaRPr lang="en-GB" sz="2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Rectangle 8"/>
            <p:cNvSpPr>
              <a:spLocks noChangeArrowheads="1"/>
            </p:cNvSpPr>
            <p:nvPr/>
          </p:nvSpPr>
          <p:spPr bwMode="gray">
            <a:xfrm>
              <a:off x="25049482" y="2899477"/>
              <a:ext cx="734694" cy="1289321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87"/>
              <a:endParaRPr lang="en-GB" sz="2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3" name="Rectangle 9"/>
            <p:cNvSpPr>
              <a:spLocks noChangeArrowheads="1"/>
            </p:cNvSpPr>
            <p:nvPr/>
          </p:nvSpPr>
          <p:spPr bwMode="gray">
            <a:xfrm>
              <a:off x="25049482" y="4032250"/>
              <a:ext cx="734693" cy="2016079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87"/>
              <a:endParaRPr lang="en-GB" sz="2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" name="Rectangle 11"/>
            <p:cNvSpPr>
              <a:spLocks noChangeArrowheads="1"/>
            </p:cNvSpPr>
            <p:nvPr/>
          </p:nvSpPr>
          <p:spPr bwMode="gray">
            <a:xfrm>
              <a:off x="24665780" y="691765"/>
              <a:ext cx="477045" cy="2278447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87"/>
              <a:endParaRPr lang="en-GB" sz="2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" name="Rectangle 12"/>
            <p:cNvSpPr>
              <a:spLocks noChangeArrowheads="1"/>
            </p:cNvSpPr>
            <p:nvPr/>
          </p:nvSpPr>
          <p:spPr bwMode="gray">
            <a:xfrm>
              <a:off x="24665780" y="2899478"/>
              <a:ext cx="477045" cy="1289321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87"/>
              <a:endParaRPr lang="en-GB" sz="2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Rectangle 13"/>
            <p:cNvSpPr>
              <a:spLocks noChangeArrowheads="1"/>
            </p:cNvSpPr>
            <p:nvPr/>
          </p:nvSpPr>
          <p:spPr bwMode="gray">
            <a:xfrm>
              <a:off x="24665780" y="4032250"/>
              <a:ext cx="477045" cy="2016079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87"/>
              <a:endParaRPr lang="en-GB" sz="2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Rectangle 14"/>
            <p:cNvSpPr>
              <a:spLocks noChangeArrowheads="1"/>
            </p:cNvSpPr>
            <p:nvPr/>
          </p:nvSpPr>
          <p:spPr bwMode="gray">
            <a:xfrm>
              <a:off x="19140488" y="669925"/>
              <a:ext cx="5678603" cy="2300288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87"/>
              <a:endParaRPr lang="en-GB" sz="2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Rectangle 15"/>
            <p:cNvSpPr>
              <a:spLocks noChangeArrowheads="1"/>
            </p:cNvSpPr>
            <p:nvPr/>
          </p:nvSpPr>
          <p:spPr bwMode="gray">
            <a:xfrm>
              <a:off x="19140488" y="2899478"/>
              <a:ext cx="5678603" cy="1289321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87"/>
              <a:endParaRPr lang="en-GB" sz="2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" name="Freeform 16"/>
            <p:cNvSpPr>
              <a:spLocks/>
            </p:cNvSpPr>
            <p:nvPr/>
          </p:nvSpPr>
          <p:spPr bwMode="gray">
            <a:xfrm>
              <a:off x="19140488" y="4032250"/>
              <a:ext cx="5678603" cy="201607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87"/>
              <a:endParaRPr lang="en-GB" sz="2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0" name="Rectangle 10"/>
            <p:cNvSpPr>
              <a:spLocks noChangeArrowheads="1"/>
            </p:cNvSpPr>
            <p:nvPr/>
          </p:nvSpPr>
          <p:spPr bwMode="gray">
            <a:xfrm>
              <a:off x="19140487" y="306163"/>
              <a:ext cx="5678602" cy="385603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87"/>
              <a:endParaRPr lang="en-GB" sz="200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22" name="PwCFirm"/>
          <p:cNvSpPr txBox="1"/>
          <p:nvPr userDrawn="1"/>
        </p:nvSpPr>
        <p:spPr>
          <a:xfrm>
            <a:off x="1882442" y="400827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defTabSz="914287"/>
            <a:r>
              <a:rPr lang="en-US" sz="9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www.p</a:t>
            </a:r>
            <a:r>
              <a:rPr lang="ru-RU" sz="9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w</a:t>
            </a:r>
            <a:r>
              <a:rPr lang="en-US" sz="9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.ru</a:t>
            </a:r>
            <a:endParaRPr lang="ru-RU" sz="9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1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882443" y="838200"/>
            <a:ext cx="5383882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2800" b="1" i="1" baseline="0">
                <a:solidFill>
                  <a:schemeClr val="bg1"/>
                </a:solidFill>
              </a:defRPr>
            </a:lvl1pPr>
          </a:lstStyle>
          <a:p>
            <a:r>
              <a:rPr lang="ru-RU" noProof="0" dirty="0" err="1" smtClean="0"/>
              <a:t>Click</a:t>
            </a:r>
            <a:r>
              <a:rPr lang="ru-RU" noProof="0" dirty="0" smtClean="0"/>
              <a:t> </a:t>
            </a:r>
            <a:r>
              <a:rPr lang="ru-RU" noProof="0" dirty="0" err="1" smtClean="0"/>
              <a:t>to</a:t>
            </a:r>
            <a:r>
              <a:rPr lang="ru-RU" noProof="0" dirty="0" smtClean="0"/>
              <a:t> </a:t>
            </a:r>
            <a:r>
              <a:rPr lang="ru-RU" noProof="0" dirty="0" err="1" smtClean="0"/>
              <a:t>add</a:t>
            </a:r>
            <a:r>
              <a:rPr lang="ru-RU" noProof="0" dirty="0" smtClean="0"/>
              <a:t> </a:t>
            </a:r>
            <a:r>
              <a:rPr lang="ru-RU" noProof="0" dirty="0" err="1" smtClean="0"/>
              <a:t>the</a:t>
            </a:r>
            <a:r>
              <a:rPr lang="ru-RU" noProof="0" dirty="0" smtClean="0"/>
              <a:t> </a:t>
            </a:r>
            <a:r>
              <a:rPr lang="ru-RU" noProof="0" dirty="0" err="1" smtClean="0"/>
              <a:t>presentation’s</a:t>
            </a:r>
            <a:r>
              <a:rPr lang="ru-RU" noProof="0" dirty="0" smtClean="0"/>
              <a:t> </a:t>
            </a:r>
            <a:r>
              <a:rPr lang="ru-RU" noProof="0" dirty="0" err="1" smtClean="0"/>
              <a:t>main</a:t>
            </a:r>
            <a:r>
              <a:rPr lang="ru-RU" noProof="0" dirty="0" smtClean="0"/>
              <a:t> </a:t>
            </a:r>
            <a:r>
              <a:rPr lang="ru-RU" noProof="0" dirty="0" err="1" smtClean="0"/>
              <a:t>title</a:t>
            </a:r>
            <a:endParaRPr lang="ru-RU" noProof="0" dirty="0"/>
          </a:p>
        </p:txBody>
      </p:sp>
      <p:sp>
        <p:nvSpPr>
          <p:cNvPr id="122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882443" y="1828836"/>
            <a:ext cx="5383882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8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700">
                <a:solidFill>
                  <a:schemeClr val="bg1"/>
                </a:solidFill>
                <a:latin typeface="+mj-lt"/>
              </a:defRPr>
            </a:lvl2pPr>
            <a:lvl3pPr marL="441832" indent="0" algn="l">
              <a:buNone/>
              <a:defRPr sz="1700">
                <a:solidFill>
                  <a:schemeClr val="bg1"/>
                </a:solidFill>
                <a:latin typeface="+mj-lt"/>
              </a:defRPr>
            </a:lvl3pPr>
            <a:lvl4pPr marL="883664" indent="0" algn="l">
              <a:buNone/>
              <a:defRPr sz="1700">
                <a:solidFill>
                  <a:schemeClr val="bg1"/>
                </a:solidFill>
                <a:latin typeface="+mj-lt"/>
              </a:defRPr>
            </a:lvl4pPr>
            <a:lvl5pPr marL="1325496" indent="0" algn="l">
              <a:buNone/>
              <a:defRPr sz="1700">
                <a:solidFill>
                  <a:schemeClr val="bg1"/>
                </a:solidFill>
                <a:latin typeface="+mj-lt"/>
              </a:defRPr>
            </a:lvl5pPr>
            <a:lvl6pPr marL="1767327" indent="0" algn="l">
              <a:buNone/>
              <a:defRPr sz="1700">
                <a:solidFill>
                  <a:schemeClr val="bg1"/>
                </a:solidFill>
                <a:latin typeface="+mj-lt"/>
              </a:defRPr>
            </a:lvl6pPr>
            <a:lvl7pPr marL="2209160" indent="0" algn="l">
              <a:buNone/>
              <a:defRPr sz="1700">
                <a:solidFill>
                  <a:schemeClr val="bg1"/>
                </a:solidFill>
                <a:latin typeface="+mj-lt"/>
              </a:defRPr>
            </a:lvl7pPr>
            <a:lvl8pPr marL="2650991" indent="0" algn="l">
              <a:buNone/>
              <a:defRPr sz="1700">
                <a:solidFill>
                  <a:schemeClr val="bg1"/>
                </a:solidFill>
                <a:latin typeface="+mj-lt"/>
              </a:defRPr>
            </a:lvl8pPr>
            <a:lvl9pPr marL="3092823" indent="0" algn="l">
              <a:buNone/>
              <a:defRPr sz="17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ru-RU" noProof="0" dirty="0" err="1" smtClean="0"/>
              <a:t>Subtitle</a:t>
            </a:r>
            <a:r>
              <a:rPr lang="ru-RU" noProof="0" dirty="0" smtClean="0"/>
              <a:t> </a:t>
            </a:r>
            <a:r>
              <a:rPr lang="ru-RU" noProof="0" dirty="0" err="1" smtClean="0"/>
              <a:t>and</a:t>
            </a:r>
            <a:r>
              <a:rPr lang="ru-RU" noProof="0" dirty="0" smtClean="0"/>
              <a:t> </a:t>
            </a:r>
            <a:r>
              <a:rPr lang="ru-RU" noProof="0" dirty="0" err="1" smtClean="0"/>
              <a:t>date</a:t>
            </a:r>
            <a:r>
              <a:rPr lang="ru-RU" noProof="0" dirty="0" smtClean="0"/>
              <a:t> (</a:t>
            </a:r>
            <a:r>
              <a:rPr lang="ru-RU" noProof="0" dirty="0" err="1" smtClean="0"/>
              <a:t>move</a:t>
            </a:r>
            <a:r>
              <a:rPr lang="ru-RU" noProof="0" dirty="0" smtClean="0"/>
              <a:t> </a:t>
            </a:r>
            <a:r>
              <a:rPr lang="ru-RU" noProof="0" dirty="0" err="1" smtClean="0"/>
              <a:t>higher</a:t>
            </a:r>
            <a:r>
              <a:rPr lang="ru-RU" noProof="0" dirty="0" smtClean="0"/>
              <a:t> </a:t>
            </a:r>
            <a:r>
              <a:rPr lang="ru-RU" noProof="0" dirty="0" err="1" smtClean="0"/>
              <a:t>if</a:t>
            </a:r>
            <a:r>
              <a:rPr lang="ru-RU" noProof="0" dirty="0" smtClean="0"/>
              <a:t> </a:t>
            </a:r>
            <a:r>
              <a:rPr lang="ru-RU" noProof="0" dirty="0" err="1" smtClean="0"/>
              <a:t>title</a:t>
            </a:r>
            <a:r>
              <a:rPr lang="ru-RU" noProof="0" dirty="0" smtClean="0"/>
              <a:t> </a:t>
            </a:r>
            <a:r>
              <a:rPr lang="ru-RU" noProof="0" dirty="0" err="1" smtClean="0"/>
              <a:t>is</a:t>
            </a:r>
            <a:r>
              <a:rPr lang="ru-RU" noProof="0" dirty="0" smtClean="0"/>
              <a:t> </a:t>
            </a:r>
            <a:r>
              <a:rPr lang="ru-RU" noProof="0" dirty="0" err="1" smtClean="0"/>
              <a:t>only</a:t>
            </a:r>
            <a:r>
              <a:rPr lang="ru-RU" noProof="0" dirty="0" smtClean="0"/>
              <a:t> </a:t>
            </a:r>
            <a:r>
              <a:rPr lang="ru-RU" noProof="0" dirty="0" err="1" smtClean="0"/>
              <a:t>one</a:t>
            </a:r>
            <a:r>
              <a:rPr lang="ru-RU" noProof="0" dirty="0" smtClean="0"/>
              <a:t> </a:t>
            </a:r>
            <a:r>
              <a:rPr lang="ru-RU" noProof="0" dirty="0" err="1" smtClean="0"/>
              <a:t>line</a:t>
            </a:r>
            <a:r>
              <a:rPr lang="ru-RU" noProof="0" dirty="0" smtClean="0"/>
              <a:t>)</a:t>
            </a:r>
          </a:p>
        </p:txBody>
      </p:sp>
      <p:grpSp>
        <p:nvGrpSpPr>
          <p:cNvPr id="123" name="Group 32"/>
          <p:cNvGrpSpPr/>
          <p:nvPr userDrawn="1"/>
        </p:nvGrpSpPr>
        <p:grpSpPr>
          <a:xfrm>
            <a:off x="1083783" y="6064295"/>
            <a:ext cx="782026" cy="483962"/>
            <a:chOff x="518032" y="978681"/>
            <a:chExt cx="4572000" cy="2667393"/>
          </a:xfrm>
        </p:grpSpPr>
        <p:sp>
          <p:nvSpPr>
            <p:cNvPr id="124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87"/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5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87"/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40409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492840" y="1752601"/>
            <a:ext cx="8155776" cy="4419600"/>
          </a:xfrm>
        </p:spPr>
        <p:txBody>
          <a:bodyPr anchor="t"/>
          <a:lstStyle>
            <a:lvl1pPr>
              <a:spcAft>
                <a:spcPts val="526"/>
              </a:spcAft>
              <a:defRPr sz="900" baseline="0"/>
            </a:lvl1pPr>
            <a:lvl2pPr marL="155877" indent="-155877">
              <a:spcAft>
                <a:spcPts val="526"/>
              </a:spcAft>
              <a:defRPr sz="900"/>
            </a:lvl2pPr>
            <a:lvl3pPr marL="317322" indent="-161444">
              <a:spcAft>
                <a:spcPts val="526"/>
              </a:spcAft>
              <a:defRPr sz="900"/>
            </a:lvl3pPr>
            <a:lvl4pPr marL="473199" indent="-155877">
              <a:spcAft>
                <a:spcPts val="526"/>
              </a:spcAft>
              <a:defRPr sz="900"/>
            </a:lvl4pPr>
            <a:lvl5pPr marL="629076" indent="-155877">
              <a:spcAft>
                <a:spcPts val="526"/>
              </a:spcAft>
              <a:tabLst/>
              <a:defRPr sz="9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ru-RU" noProof="0" dirty="0"/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4785" y="6324600"/>
            <a:ext cx="5257800" cy="152400"/>
          </a:xfrm>
          <a:prstGeom prst="rect">
            <a:avLst/>
          </a:prstGeom>
        </p:spPr>
        <p:txBody>
          <a:bodyPr vert="horz" lIns="0" tIns="0" rIns="0" bIns="0" anchor="t" anchorCtr="0">
            <a:no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32" name="PwCFirm"/>
          <p:cNvSpPr txBox="1"/>
          <p:nvPr/>
        </p:nvSpPr>
        <p:spPr>
          <a:xfrm>
            <a:off x="504786" y="6477037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defTabSz="914287"/>
            <a:r>
              <a:rPr lang="ru-RU" sz="7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wC</a:t>
            </a:r>
            <a:endParaRPr lang="ru-RU" sz="7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5" name="Shape 14"/>
          <p:cNvCxnSpPr/>
          <p:nvPr/>
        </p:nvCxnSpPr>
        <p:spPr>
          <a:xfrm rot="5400000" flipH="1" flipV="1">
            <a:off x="4442257" y="-3466125"/>
            <a:ext cx="130634" cy="8282084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20040" y="6477001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123088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Май 2015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4787" y="685800"/>
            <a:ext cx="8142302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910149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492858" y="1752609"/>
            <a:ext cx="4020101" cy="4419599"/>
          </a:xfrm>
        </p:spPr>
        <p:txBody>
          <a:bodyPr/>
          <a:lstStyle>
            <a:lvl1pPr>
              <a:spcAft>
                <a:spcPts val="526"/>
              </a:spcAft>
              <a:defRPr sz="900"/>
            </a:lvl1pPr>
            <a:lvl2pPr marL="158661" indent="-158661">
              <a:spcAft>
                <a:spcPts val="526"/>
              </a:spcAft>
              <a:defRPr sz="900"/>
            </a:lvl2pPr>
            <a:lvl3pPr marL="317322" indent="-158661">
              <a:spcAft>
                <a:spcPts val="526"/>
              </a:spcAft>
              <a:defRPr sz="900"/>
            </a:lvl3pPr>
            <a:lvl4pPr marL="475982" indent="-158661">
              <a:spcAft>
                <a:spcPts val="526"/>
              </a:spcAft>
              <a:defRPr sz="900"/>
            </a:lvl4pPr>
            <a:lvl5pPr marL="626293" indent="-158661">
              <a:spcAft>
                <a:spcPts val="526"/>
              </a:spcAft>
              <a:defRPr sz="9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ru-RU" noProof="0" dirty="0"/>
          </a:p>
        </p:txBody>
      </p:sp>
      <p:cxnSp>
        <p:nvCxnSpPr>
          <p:cNvPr id="14" name="Shape 14"/>
          <p:cNvCxnSpPr/>
          <p:nvPr userDrawn="1"/>
        </p:nvCxnSpPr>
        <p:spPr>
          <a:xfrm rot="5400000" flipH="1" flipV="1">
            <a:off x="4442257" y="-3466125"/>
            <a:ext cx="130634" cy="8282084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504804" y="685800"/>
            <a:ext cx="8146615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ru-RU" noProof="0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4785" y="6324600"/>
            <a:ext cx="5257800" cy="152400"/>
          </a:xfrm>
          <a:prstGeom prst="rect">
            <a:avLst/>
          </a:prstGeom>
        </p:spPr>
        <p:txBody>
          <a:bodyPr vert="horz" lIns="0" tIns="0" rIns="0" bIns="0" anchor="t" anchorCtr="0">
            <a:no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6" name="PwCFirm"/>
          <p:cNvSpPr txBox="1"/>
          <p:nvPr userDrawn="1"/>
        </p:nvSpPr>
        <p:spPr>
          <a:xfrm>
            <a:off x="504786" y="6477037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defTabSz="914287"/>
            <a:r>
              <a:rPr lang="ru-RU" sz="7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wC</a:t>
            </a:r>
            <a:endParaRPr lang="ru-RU" sz="7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20040" y="6477001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7123088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Май 2015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9" name="Content Placeholder 26"/>
          <p:cNvSpPr>
            <a:spLocks noGrp="1"/>
          </p:cNvSpPr>
          <p:nvPr>
            <p:ph sz="quarter" idx="15"/>
          </p:nvPr>
        </p:nvSpPr>
        <p:spPr>
          <a:xfrm>
            <a:off x="4632435" y="1752609"/>
            <a:ext cx="4020101" cy="4419599"/>
          </a:xfrm>
        </p:spPr>
        <p:txBody>
          <a:bodyPr/>
          <a:lstStyle>
            <a:lvl1pPr>
              <a:spcAft>
                <a:spcPts val="526"/>
              </a:spcAft>
              <a:defRPr sz="900"/>
            </a:lvl1pPr>
            <a:lvl2pPr marL="158661" indent="-158661">
              <a:spcAft>
                <a:spcPts val="526"/>
              </a:spcAft>
              <a:defRPr sz="900"/>
            </a:lvl2pPr>
            <a:lvl3pPr marL="317322" indent="-158661">
              <a:spcAft>
                <a:spcPts val="526"/>
              </a:spcAft>
              <a:defRPr sz="900"/>
            </a:lvl3pPr>
            <a:lvl4pPr marL="475982" indent="-158661">
              <a:spcAft>
                <a:spcPts val="526"/>
              </a:spcAft>
              <a:defRPr sz="900"/>
            </a:lvl4pPr>
            <a:lvl5pPr marL="626293" indent="-158661">
              <a:spcAft>
                <a:spcPts val="526"/>
              </a:spcAft>
              <a:defRPr sz="9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7734531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Content Placeholder 26"/>
          <p:cNvSpPr>
            <a:spLocks noGrp="1"/>
          </p:cNvSpPr>
          <p:nvPr>
            <p:ph sz="quarter" idx="13"/>
          </p:nvPr>
        </p:nvSpPr>
        <p:spPr>
          <a:xfrm>
            <a:off x="492858" y="1752609"/>
            <a:ext cx="2637979" cy="4419599"/>
          </a:xfrm>
        </p:spPr>
        <p:txBody>
          <a:bodyPr/>
          <a:lstStyle>
            <a:lvl1pPr>
              <a:spcAft>
                <a:spcPts val="526"/>
              </a:spcAft>
              <a:defRPr sz="900"/>
            </a:lvl1pPr>
            <a:lvl2pPr marL="158661" indent="-158661">
              <a:spcAft>
                <a:spcPts val="526"/>
              </a:spcAft>
              <a:defRPr sz="900"/>
            </a:lvl2pPr>
            <a:lvl3pPr marL="317322" indent="-158661">
              <a:spcAft>
                <a:spcPts val="526"/>
              </a:spcAft>
              <a:defRPr sz="900"/>
            </a:lvl3pPr>
            <a:lvl4pPr marL="475982" indent="-158661">
              <a:spcAft>
                <a:spcPts val="526"/>
              </a:spcAft>
              <a:defRPr sz="900"/>
            </a:lvl4pPr>
            <a:lvl5pPr marL="626293" indent="-150310">
              <a:spcAft>
                <a:spcPts val="526"/>
              </a:spcAft>
              <a:defRPr sz="9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ru-RU" noProof="0" dirty="0"/>
          </a:p>
        </p:txBody>
      </p:sp>
      <p:cxnSp>
        <p:nvCxnSpPr>
          <p:cNvPr id="14" name="Shape 14"/>
          <p:cNvCxnSpPr/>
          <p:nvPr userDrawn="1"/>
        </p:nvCxnSpPr>
        <p:spPr>
          <a:xfrm rot="5400000" flipH="1" flipV="1">
            <a:off x="4442257" y="-3466125"/>
            <a:ext cx="130634" cy="8282084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504804" y="685800"/>
            <a:ext cx="8146615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ru-RU" noProof="0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4785" y="6324600"/>
            <a:ext cx="5257800" cy="152400"/>
          </a:xfrm>
          <a:prstGeom prst="rect">
            <a:avLst/>
          </a:prstGeom>
        </p:spPr>
        <p:txBody>
          <a:bodyPr vert="horz" lIns="0" tIns="0" rIns="0" bIns="0" anchor="t" anchorCtr="0">
            <a:no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7" name="PwCFirm"/>
          <p:cNvSpPr txBox="1"/>
          <p:nvPr userDrawn="1"/>
        </p:nvSpPr>
        <p:spPr>
          <a:xfrm>
            <a:off x="504786" y="6477037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defTabSz="914287"/>
            <a:r>
              <a:rPr lang="ru-RU" sz="7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wC</a:t>
            </a:r>
            <a:endParaRPr lang="ru-RU" sz="7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20040" y="6477001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7123088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Май 2015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20" name="Content Placeholder 26"/>
          <p:cNvSpPr>
            <a:spLocks noGrp="1"/>
          </p:cNvSpPr>
          <p:nvPr>
            <p:ph sz="quarter" idx="14"/>
          </p:nvPr>
        </p:nvSpPr>
        <p:spPr>
          <a:xfrm>
            <a:off x="3254386" y="1752609"/>
            <a:ext cx="2637979" cy="4419599"/>
          </a:xfrm>
        </p:spPr>
        <p:txBody>
          <a:bodyPr/>
          <a:lstStyle>
            <a:lvl1pPr>
              <a:spcAft>
                <a:spcPts val="526"/>
              </a:spcAft>
              <a:defRPr sz="900"/>
            </a:lvl1pPr>
            <a:lvl2pPr marL="158661" indent="-158661">
              <a:spcAft>
                <a:spcPts val="526"/>
              </a:spcAft>
              <a:defRPr sz="900"/>
            </a:lvl2pPr>
            <a:lvl3pPr marL="317322" indent="-158661">
              <a:spcAft>
                <a:spcPts val="526"/>
              </a:spcAft>
              <a:defRPr sz="900"/>
            </a:lvl3pPr>
            <a:lvl4pPr marL="475982" indent="-158661">
              <a:spcAft>
                <a:spcPts val="526"/>
              </a:spcAft>
              <a:defRPr sz="900"/>
            </a:lvl4pPr>
            <a:lvl5pPr marL="626293" indent="-150310">
              <a:spcAft>
                <a:spcPts val="526"/>
              </a:spcAft>
              <a:defRPr sz="9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ru-RU" noProof="0" dirty="0"/>
          </a:p>
        </p:txBody>
      </p:sp>
      <p:sp>
        <p:nvSpPr>
          <p:cNvPr id="21" name="Content Placeholder 26"/>
          <p:cNvSpPr>
            <a:spLocks noGrp="1"/>
          </p:cNvSpPr>
          <p:nvPr>
            <p:ph sz="quarter" idx="15"/>
          </p:nvPr>
        </p:nvSpPr>
        <p:spPr>
          <a:xfrm>
            <a:off x="6015915" y="1752609"/>
            <a:ext cx="2637979" cy="4419599"/>
          </a:xfrm>
        </p:spPr>
        <p:txBody>
          <a:bodyPr/>
          <a:lstStyle>
            <a:lvl1pPr>
              <a:spcAft>
                <a:spcPts val="526"/>
              </a:spcAft>
              <a:defRPr sz="900"/>
            </a:lvl1pPr>
            <a:lvl2pPr marL="158661" indent="-158661">
              <a:spcAft>
                <a:spcPts val="526"/>
              </a:spcAft>
              <a:defRPr sz="900"/>
            </a:lvl2pPr>
            <a:lvl3pPr marL="317322" indent="-158661">
              <a:spcAft>
                <a:spcPts val="526"/>
              </a:spcAft>
              <a:defRPr sz="900"/>
            </a:lvl3pPr>
            <a:lvl4pPr marL="475982" indent="-158661">
              <a:spcAft>
                <a:spcPts val="526"/>
              </a:spcAft>
              <a:defRPr sz="900"/>
            </a:lvl4pPr>
            <a:lvl5pPr marL="626293" indent="-150310">
              <a:spcAft>
                <a:spcPts val="526"/>
              </a:spcAft>
              <a:defRPr sz="9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24202229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un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492858" y="3289052"/>
            <a:ext cx="4020101" cy="2883148"/>
          </a:xfrm>
        </p:spPr>
        <p:txBody>
          <a:bodyPr/>
          <a:lstStyle>
            <a:lvl1pPr>
              <a:spcAft>
                <a:spcPts val="526"/>
              </a:spcAft>
              <a:defRPr sz="900"/>
            </a:lvl1pPr>
            <a:lvl2pPr marL="158661" indent="-158661">
              <a:spcAft>
                <a:spcPts val="526"/>
              </a:spcAft>
              <a:defRPr sz="900"/>
            </a:lvl2pPr>
            <a:lvl3pPr marL="317322" indent="-158661">
              <a:spcAft>
                <a:spcPts val="526"/>
              </a:spcAft>
              <a:defRPr sz="900"/>
            </a:lvl3pPr>
            <a:lvl4pPr marL="475982" indent="-158661">
              <a:spcAft>
                <a:spcPts val="526"/>
              </a:spcAft>
              <a:defRPr sz="900"/>
            </a:lvl4pPr>
            <a:lvl5pPr marL="626293" indent="-158661">
              <a:spcAft>
                <a:spcPts val="526"/>
              </a:spcAft>
              <a:defRPr sz="9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ru-RU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92840" y="1752637"/>
            <a:ext cx="8155776" cy="1384049"/>
          </a:xfrm>
        </p:spPr>
        <p:txBody>
          <a:bodyPr/>
          <a:lstStyle>
            <a:lvl1pPr>
              <a:spcAft>
                <a:spcPts val="526"/>
              </a:spcAft>
              <a:defRPr sz="9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cxnSp>
        <p:nvCxnSpPr>
          <p:cNvPr id="16" name="Shape 14"/>
          <p:cNvCxnSpPr/>
          <p:nvPr userDrawn="1"/>
        </p:nvCxnSpPr>
        <p:spPr>
          <a:xfrm rot="5400000" flipH="1" flipV="1">
            <a:off x="4442257" y="-3466125"/>
            <a:ext cx="130634" cy="8282084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504804" y="685800"/>
            <a:ext cx="8146615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ru-RU" noProof="0" dirty="0"/>
          </a:p>
        </p:txBody>
      </p:sp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4785" y="6324600"/>
            <a:ext cx="5257800" cy="152400"/>
          </a:xfrm>
          <a:prstGeom prst="rect">
            <a:avLst/>
          </a:prstGeom>
        </p:spPr>
        <p:txBody>
          <a:bodyPr vert="horz" lIns="0" tIns="0" rIns="0" bIns="0" anchor="t" anchorCtr="0">
            <a:no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22" name="PwCFirm"/>
          <p:cNvSpPr txBox="1"/>
          <p:nvPr userDrawn="1"/>
        </p:nvSpPr>
        <p:spPr>
          <a:xfrm>
            <a:off x="504786" y="6477037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defTabSz="914287"/>
            <a:r>
              <a:rPr lang="ru-RU" sz="7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wC</a:t>
            </a:r>
            <a:endParaRPr lang="ru-RU" sz="7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20040" y="6477001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24" name="Date Placeholder 3"/>
          <p:cNvSpPr>
            <a:spLocks noGrp="1"/>
          </p:cNvSpPr>
          <p:nvPr>
            <p:ph type="dt" sz="half" idx="2"/>
          </p:nvPr>
        </p:nvSpPr>
        <p:spPr>
          <a:xfrm>
            <a:off x="7123088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Май 2015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25" name="Content Placeholder 26"/>
          <p:cNvSpPr>
            <a:spLocks noGrp="1"/>
          </p:cNvSpPr>
          <p:nvPr>
            <p:ph sz="quarter" idx="17"/>
          </p:nvPr>
        </p:nvSpPr>
        <p:spPr>
          <a:xfrm>
            <a:off x="4632435" y="3289052"/>
            <a:ext cx="4020101" cy="2883148"/>
          </a:xfrm>
        </p:spPr>
        <p:txBody>
          <a:bodyPr/>
          <a:lstStyle>
            <a:lvl1pPr>
              <a:spcAft>
                <a:spcPts val="526"/>
              </a:spcAft>
              <a:defRPr sz="900"/>
            </a:lvl1pPr>
            <a:lvl2pPr marL="158661" indent="-158661">
              <a:spcAft>
                <a:spcPts val="526"/>
              </a:spcAft>
              <a:defRPr sz="900"/>
            </a:lvl2pPr>
            <a:lvl3pPr marL="317322" indent="-158661">
              <a:spcAft>
                <a:spcPts val="526"/>
              </a:spcAft>
              <a:defRPr sz="900"/>
            </a:lvl3pPr>
            <a:lvl4pPr marL="475982" indent="-158661">
              <a:spcAft>
                <a:spcPts val="526"/>
              </a:spcAft>
              <a:defRPr sz="900"/>
            </a:lvl4pPr>
            <a:lvl5pPr marL="626293" indent="-158661">
              <a:spcAft>
                <a:spcPts val="526"/>
              </a:spcAft>
              <a:defRPr sz="9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8689013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and Lef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6019800" y="1752601"/>
            <a:ext cx="2628816" cy="2133600"/>
          </a:xfrm>
        </p:spPr>
        <p:txBody>
          <a:bodyPr/>
          <a:lstStyle>
            <a:lvl1pPr>
              <a:spcAft>
                <a:spcPts val="526"/>
              </a:spcAft>
              <a:defRPr sz="9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6019801" y="4038600"/>
            <a:ext cx="2627288" cy="2133600"/>
          </a:xfrm>
        </p:spPr>
        <p:txBody>
          <a:bodyPr/>
          <a:lstStyle>
            <a:lvl1pPr>
              <a:spcAft>
                <a:spcPts val="526"/>
              </a:spcAft>
              <a:defRPr sz="9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92840" y="1752601"/>
            <a:ext cx="5399508" cy="4419600"/>
          </a:xfrm>
        </p:spPr>
        <p:txBody>
          <a:bodyPr/>
          <a:lstStyle>
            <a:lvl1pPr>
              <a:spcAft>
                <a:spcPts val="526"/>
              </a:spcAft>
              <a:defRPr sz="9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cxnSp>
        <p:nvCxnSpPr>
          <p:cNvPr id="16" name="Shape 14"/>
          <p:cNvCxnSpPr/>
          <p:nvPr userDrawn="1"/>
        </p:nvCxnSpPr>
        <p:spPr>
          <a:xfrm rot="5400000" flipH="1" flipV="1">
            <a:off x="4442257" y="-3466125"/>
            <a:ext cx="130634" cy="8282084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504804" y="685800"/>
            <a:ext cx="8146615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ru-RU" noProof="0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4785" y="6324600"/>
            <a:ext cx="5257800" cy="152400"/>
          </a:xfrm>
          <a:prstGeom prst="rect">
            <a:avLst/>
          </a:prstGeom>
        </p:spPr>
        <p:txBody>
          <a:bodyPr vert="horz" lIns="0" tIns="0" rIns="0" bIns="0" anchor="t" anchorCtr="0">
            <a:no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8" name="PwCFirm"/>
          <p:cNvSpPr txBox="1"/>
          <p:nvPr userDrawn="1"/>
        </p:nvSpPr>
        <p:spPr>
          <a:xfrm>
            <a:off x="504786" y="6477037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defTabSz="914287"/>
            <a:r>
              <a:rPr lang="ru-RU" sz="7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wC</a:t>
            </a:r>
            <a:endParaRPr lang="ru-RU" sz="7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20040" y="6477001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7123088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Май 2015</a:t>
            </a:r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521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and 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492840" y="1752601"/>
            <a:ext cx="2631360" cy="2133600"/>
          </a:xfrm>
        </p:spPr>
        <p:txBody>
          <a:bodyPr/>
          <a:lstStyle>
            <a:lvl1pPr>
              <a:spcAft>
                <a:spcPts val="526"/>
              </a:spcAft>
              <a:defRPr sz="9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492840" y="4038601"/>
            <a:ext cx="2631360" cy="2133600"/>
          </a:xfrm>
        </p:spPr>
        <p:txBody>
          <a:bodyPr/>
          <a:lstStyle>
            <a:lvl1pPr>
              <a:spcAft>
                <a:spcPts val="526"/>
              </a:spcAft>
              <a:defRPr sz="9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3255727" y="1752601"/>
            <a:ext cx="5391362" cy="4419600"/>
          </a:xfrm>
        </p:spPr>
        <p:txBody>
          <a:bodyPr/>
          <a:lstStyle>
            <a:lvl1pPr>
              <a:spcAft>
                <a:spcPts val="526"/>
              </a:spcAft>
              <a:defRPr sz="9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cxnSp>
        <p:nvCxnSpPr>
          <p:cNvPr id="16" name="Shape 14"/>
          <p:cNvCxnSpPr/>
          <p:nvPr userDrawn="1"/>
        </p:nvCxnSpPr>
        <p:spPr>
          <a:xfrm rot="5400000" flipH="1" flipV="1">
            <a:off x="4442257" y="-3466125"/>
            <a:ext cx="130634" cy="8282084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504804" y="685800"/>
            <a:ext cx="8146615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ru-RU" noProof="0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4785" y="6324600"/>
            <a:ext cx="5257800" cy="152400"/>
          </a:xfrm>
          <a:prstGeom prst="rect">
            <a:avLst/>
          </a:prstGeom>
        </p:spPr>
        <p:txBody>
          <a:bodyPr vert="horz" lIns="0" tIns="0" rIns="0" bIns="0" anchor="t" anchorCtr="0">
            <a:no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8" name="PwCFirm"/>
          <p:cNvSpPr txBox="1"/>
          <p:nvPr userDrawn="1"/>
        </p:nvSpPr>
        <p:spPr>
          <a:xfrm>
            <a:off x="504786" y="6477037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defTabSz="914287"/>
            <a:r>
              <a:rPr lang="ru-RU" sz="7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wC</a:t>
            </a:r>
            <a:endParaRPr lang="ru-RU" sz="7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20040" y="6477001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7123088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Май 2015</a:t>
            </a:r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49243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 with I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63874" y="685800"/>
            <a:ext cx="5383216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1" smtClean="0"/>
              <a:t>Click to edit Master title style</a:t>
            </a:r>
            <a:endParaRPr lang="ru-RU" noProof="1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3255727" y="1752601"/>
            <a:ext cx="5391362" cy="4419600"/>
          </a:xfrm>
        </p:spPr>
        <p:txBody>
          <a:bodyPr/>
          <a:lstStyle>
            <a:lvl1pPr>
              <a:spcAft>
                <a:spcPts val="526"/>
              </a:spcAft>
              <a:defRPr sz="900" baseline="0"/>
            </a:lvl1pPr>
            <a:lvl2pPr marL="158661" indent="-158661">
              <a:spcAft>
                <a:spcPts val="526"/>
              </a:spcAft>
              <a:defRPr sz="900"/>
            </a:lvl2pPr>
            <a:lvl3pPr marL="317322" indent="-158661">
              <a:spcAft>
                <a:spcPts val="526"/>
              </a:spcAft>
              <a:defRPr sz="900"/>
            </a:lvl3pPr>
            <a:lvl4pPr marL="475982" indent="-158661">
              <a:spcAft>
                <a:spcPts val="526"/>
              </a:spcAft>
              <a:defRPr sz="900"/>
            </a:lvl4pPr>
            <a:lvl5pPr marL="626293" indent="-158661">
              <a:spcAft>
                <a:spcPts val="526"/>
              </a:spcAft>
              <a:tabLst/>
              <a:defRPr sz="900"/>
            </a:lvl5pPr>
          </a:lstStyle>
          <a:p>
            <a:pPr lvl="0"/>
            <a:r>
              <a:rPr lang="en-US" noProof="1" smtClean="0"/>
              <a:t>Click to edit Master text styles</a:t>
            </a:r>
          </a:p>
          <a:p>
            <a:pPr lvl="1"/>
            <a:r>
              <a:rPr lang="en-US" noProof="1" smtClean="0"/>
              <a:t>Second level</a:t>
            </a:r>
          </a:p>
          <a:p>
            <a:pPr lvl="2"/>
            <a:r>
              <a:rPr lang="en-US" noProof="1" smtClean="0"/>
              <a:t>Third level</a:t>
            </a:r>
          </a:p>
          <a:p>
            <a:pPr lvl="3"/>
            <a:r>
              <a:rPr lang="en-US" noProof="1" smtClean="0"/>
              <a:t>Fourth level</a:t>
            </a:r>
          </a:p>
          <a:p>
            <a:pPr lvl="4"/>
            <a:r>
              <a:rPr lang="en-US" noProof="1" smtClean="0"/>
              <a:t>Fifth level</a:t>
            </a:r>
            <a:endParaRPr lang="ru-RU" noProof="1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492840" y="1752600"/>
            <a:ext cx="2631360" cy="2130552"/>
          </a:xfrm>
        </p:spPr>
        <p:txBody>
          <a:bodyPr/>
          <a:lstStyle>
            <a:lvl1pPr>
              <a:spcAft>
                <a:spcPts val="526"/>
              </a:spcAft>
              <a:defRPr sz="900" b="1" i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cxnSp>
        <p:nvCxnSpPr>
          <p:cNvPr id="30" name="Shape 29"/>
          <p:cNvCxnSpPr/>
          <p:nvPr/>
        </p:nvCxnSpPr>
        <p:spPr>
          <a:xfrm rot="5400000" flipH="1" flipV="1">
            <a:off x="5822305" y="-2080647"/>
            <a:ext cx="130634" cy="5511127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4785" y="6324600"/>
            <a:ext cx="5257800" cy="152400"/>
          </a:xfrm>
          <a:prstGeom prst="rect">
            <a:avLst/>
          </a:prstGeom>
        </p:spPr>
        <p:txBody>
          <a:bodyPr vert="horz" lIns="0" tIns="0" rIns="0" bIns="0" anchor="t" anchorCtr="0">
            <a:no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5" name="PwCFirm"/>
          <p:cNvSpPr txBox="1"/>
          <p:nvPr userDrawn="1"/>
        </p:nvSpPr>
        <p:spPr>
          <a:xfrm>
            <a:off x="504786" y="6477037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defTabSz="914287"/>
            <a:r>
              <a:rPr lang="ru-RU" sz="7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wC</a:t>
            </a:r>
            <a:endParaRPr lang="ru-RU" sz="7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20040" y="6477001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7123088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Май 2015</a:t>
            </a:r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03802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hape 14"/>
          <p:cNvCxnSpPr/>
          <p:nvPr userDrawn="1"/>
        </p:nvCxnSpPr>
        <p:spPr>
          <a:xfrm rot="5400000" flipH="1" flipV="1">
            <a:off x="4442257" y="-3466125"/>
            <a:ext cx="130634" cy="8282084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4804" y="685800"/>
            <a:ext cx="8146615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ru-RU" noProof="0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4785" y="6324600"/>
            <a:ext cx="5257800" cy="152400"/>
          </a:xfrm>
          <a:prstGeom prst="rect">
            <a:avLst/>
          </a:prstGeom>
        </p:spPr>
        <p:txBody>
          <a:bodyPr vert="horz" lIns="0" tIns="0" rIns="0" bIns="0" anchor="t" anchorCtr="0">
            <a:no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5" name="PwCFirm"/>
          <p:cNvSpPr txBox="1"/>
          <p:nvPr userDrawn="1"/>
        </p:nvSpPr>
        <p:spPr>
          <a:xfrm>
            <a:off x="504786" y="6477037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defTabSz="914287"/>
            <a:r>
              <a:rPr lang="ru-RU" sz="7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wC</a:t>
            </a:r>
            <a:endParaRPr lang="ru-RU" sz="7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20040" y="6477001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7123088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Май 2015</a:t>
            </a:r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57829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20588" y="2017751"/>
            <a:ext cx="3566160" cy="877887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20588" y="3065929"/>
            <a:ext cx="3566160" cy="3211046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 marL="2055813" indent="-344488">
              <a:defRPr sz="1600"/>
            </a:lvl6pPr>
            <a:lvl7pPr marL="2055813" indent="-344488">
              <a:defRPr sz="1600"/>
            </a:lvl7pPr>
            <a:lvl8pPr marL="2055813" indent="-344488">
              <a:defRPr sz="1600"/>
            </a:lvl8pPr>
            <a:lvl9pPr marL="2055813" indent="-344488"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47534" y="2017751"/>
            <a:ext cx="3566160" cy="877887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47534" y="3065929"/>
            <a:ext cx="3566160" cy="3211046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 marL="2055813" indent="-344488">
              <a:defRPr sz="1600"/>
            </a:lvl6pPr>
            <a:lvl7pPr marL="2055813" indent="-344488">
              <a:defRPr sz="1600"/>
            </a:lvl7pPr>
            <a:lvl8pPr marL="2055813" indent="-344488">
              <a:defRPr sz="1600"/>
            </a:lvl8pPr>
            <a:lvl9pPr marL="2055813" indent="-344488"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580094" y="188297"/>
            <a:ext cx="2133600" cy="365125"/>
          </a:xfrm>
        </p:spPr>
        <p:txBody>
          <a:bodyPr/>
          <a:lstStyle/>
          <a:p>
            <a:fld id="{F7EAEB24-CE78-465C-A726-91D0868FA48F}" type="datetime1">
              <a:rPr lang="en-US" smtClean="0"/>
              <a:t>3/23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1120588" y="188297"/>
            <a:ext cx="2895600" cy="365125"/>
          </a:xfrm>
        </p:spPr>
        <p:txBody>
          <a:bodyPr/>
          <a:lstStyle/>
          <a:p>
            <a:r>
              <a:rPr lang="en-US" smtClean="0"/>
              <a:t>Footer Text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B540C-44DA-4F69-89C9-7C84606640D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1" name="Straight Connector 10"/>
          <p:cNvCxnSpPr/>
          <p:nvPr/>
        </p:nvCxnSpPr>
        <p:spPr>
          <a:xfrm>
            <a:off x="1212028" y="2904565"/>
            <a:ext cx="3383280" cy="1588"/>
          </a:xfrm>
          <a:prstGeom prst="line">
            <a:avLst/>
          </a:prstGeom>
          <a:ln w="38100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5238974" y="2904565"/>
            <a:ext cx="3383280" cy="1588"/>
          </a:xfrm>
          <a:prstGeom prst="line">
            <a:avLst/>
          </a:prstGeom>
          <a:ln w="38100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1212028" y="2904565"/>
            <a:ext cx="3383280" cy="1588"/>
          </a:xfrm>
          <a:prstGeom prst="line">
            <a:avLst/>
          </a:prstGeom>
          <a:ln w="38100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5238974" y="2904565"/>
            <a:ext cx="3383280" cy="1588"/>
          </a:xfrm>
          <a:prstGeom prst="line">
            <a:avLst/>
          </a:prstGeom>
          <a:ln w="38100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1212028" y="2904565"/>
            <a:ext cx="3383280" cy="1588"/>
          </a:xfrm>
          <a:prstGeom prst="line">
            <a:avLst/>
          </a:prstGeom>
          <a:ln w="38100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5238974" y="2904565"/>
            <a:ext cx="3383280" cy="1588"/>
          </a:xfrm>
          <a:prstGeom prst="line">
            <a:avLst/>
          </a:prstGeom>
          <a:ln w="38100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976234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4785" y="6324600"/>
            <a:ext cx="5257800" cy="152400"/>
          </a:xfrm>
          <a:prstGeom prst="rect">
            <a:avLst/>
          </a:prstGeom>
        </p:spPr>
        <p:txBody>
          <a:bodyPr vert="horz" lIns="0" tIns="0" rIns="0" bIns="0" anchor="t" anchorCtr="0">
            <a:no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5" name="PwCFirm"/>
          <p:cNvSpPr txBox="1"/>
          <p:nvPr userDrawn="1"/>
        </p:nvSpPr>
        <p:spPr>
          <a:xfrm>
            <a:off x="504786" y="6477037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defTabSz="914287"/>
            <a:r>
              <a:rPr lang="ru-RU" sz="7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wC</a:t>
            </a:r>
            <a:endParaRPr lang="ru-RU" sz="7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20040" y="6477001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7123088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Май 2015</a:t>
            </a:r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9138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6"/>
          <p:cNvSpPr>
            <a:spLocks noGrp="1"/>
          </p:cNvSpPr>
          <p:nvPr>
            <p:ph sz="quarter" idx="15"/>
          </p:nvPr>
        </p:nvSpPr>
        <p:spPr>
          <a:xfrm>
            <a:off x="492840" y="1752601"/>
            <a:ext cx="8155776" cy="4419600"/>
          </a:xfrm>
        </p:spPr>
        <p:txBody>
          <a:bodyPr/>
          <a:lstStyle>
            <a:lvl1pPr>
              <a:spcAft>
                <a:spcPts val="526"/>
              </a:spcAft>
              <a:defRPr sz="900" baseline="0">
                <a:solidFill>
                  <a:schemeClr val="tx2"/>
                </a:solidFill>
              </a:defRPr>
            </a:lvl1pPr>
            <a:lvl2pPr marL="158661" indent="-158661">
              <a:spcAft>
                <a:spcPts val="526"/>
              </a:spcAft>
              <a:buClr>
                <a:schemeClr val="tx2"/>
              </a:buClr>
              <a:defRPr sz="900">
                <a:solidFill>
                  <a:schemeClr val="tx2"/>
                </a:solidFill>
              </a:defRPr>
            </a:lvl2pPr>
            <a:lvl3pPr marL="317322" indent="-158661">
              <a:spcAft>
                <a:spcPts val="526"/>
              </a:spcAft>
              <a:buClr>
                <a:schemeClr val="tx2"/>
              </a:buClr>
              <a:defRPr sz="900">
                <a:solidFill>
                  <a:schemeClr val="tx2"/>
                </a:solidFill>
              </a:defRPr>
            </a:lvl3pPr>
            <a:lvl4pPr marL="475982" indent="-158661">
              <a:spcAft>
                <a:spcPts val="526"/>
              </a:spcAft>
              <a:buClr>
                <a:schemeClr val="tx2"/>
              </a:buClr>
              <a:defRPr sz="900">
                <a:solidFill>
                  <a:schemeClr val="tx2"/>
                </a:solidFill>
              </a:defRPr>
            </a:lvl4pPr>
            <a:lvl5pPr marL="626293" indent="-150310">
              <a:spcAft>
                <a:spcPts val="526"/>
              </a:spcAft>
              <a:buClr>
                <a:schemeClr val="tx2"/>
              </a:buClr>
              <a:defRPr sz="900">
                <a:solidFill>
                  <a:schemeClr val="tx2"/>
                </a:solidFill>
              </a:defRPr>
            </a:lvl5pPr>
            <a:lvl6pPr>
              <a:buClr>
                <a:schemeClr val="tx2"/>
              </a:buClr>
              <a:defRPr sz="3100" baseline="0">
                <a:solidFill>
                  <a:schemeClr val="tx2"/>
                </a:solidFill>
              </a:defRPr>
            </a:lvl6pPr>
            <a:lvl7pPr>
              <a:buClr>
                <a:schemeClr val="tx2"/>
              </a:buClr>
              <a:buAutoNum type="alphaLcPeriod"/>
              <a:defRPr sz="3100" baseline="0">
                <a:solidFill>
                  <a:schemeClr val="tx2"/>
                </a:solidFill>
              </a:defRPr>
            </a:lvl7pPr>
            <a:lvl8pPr>
              <a:buClr>
                <a:schemeClr val="tx2"/>
              </a:buClr>
              <a:buNone/>
              <a:defRPr sz="3100">
                <a:solidFill>
                  <a:schemeClr val="tx2"/>
                </a:solidFill>
              </a:defRPr>
            </a:lvl8pPr>
            <a:lvl9pPr>
              <a:defRPr sz="31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ru-RU" noProof="0" dirty="0"/>
          </a:p>
        </p:txBody>
      </p:sp>
      <p:cxnSp>
        <p:nvCxnSpPr>
          <p:cNvPr id="12" name="Shape 14"/>
          <p:cNvCxnSpPr/>
          <p:nvPr userDrawn="1"/>
        </p:nvCxnSpPr>
        <p:spPr>
          <a:xfrm rot="5400000" flipH="1" flipV="1">
            <a:off x="4442257" y="-3466125"/>
            <a:ext cx="130634" cy="8282084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504804" y="685800"/>
            <a:ext cx="8146615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ru-RU" noProof="0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4785" y="6324600"/>
            <a:ext cx="5257800" cy="152400"/>
          </a:xfrm>
          <a:prstGeom prst="rect">
            <a:avLst/>
          </a:prstGeom>
        </p:spPr>
        <p:txBody>
          <a:bodyPr vert="horz" lIns="0" tIns="0" rIns="0" bIns="0" anchor="t" anchorCtr="0">
            <a:no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7" name="PwCFirm"/>
          <p:cNvSpPr txBox="1"/>
          <p:nvPr userDrawn="1"/>
        </p:nvSpPr>
        <p:spPr>
          <a:xfrm>
            <a:off x="504786" y="6477037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defTabSz="914287"/>
            <a:r>
              <a:rPr lang="ru-RU" sz="7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wC</a:t>
            </a:r>
            <a:endParaRPr lang="ru-RU" sz="7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20040" y="6477001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7123088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Май 2015</a:t>
            </a:r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23933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: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6913" y="1759801"/>
            <a:ext cx="8155776" cy="44196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defRPr sz="1100" b="1" baseline="0">
                <a:solidFill>
                  <a:schemeClr val="bg1"/>
                </a:solidFill>
              </a:defRPr>
            </a:lvl1pPr>
            <a:lvl2pPr marL="158661" indent="-15866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Clr>
                <a:schemeClr val="bg1"/>
              </a:buClr>
              <a:defRPr sz="1100" b="1">
                <a:solidFill>
                  <a:schemeClr val="bg1"/>
                </a:solidFill>
              </a:defRPr>
            </a:lvl2pPr>
            <a:lvl3pPr marL="317322" indent="-15866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Clr>
                <a:schemeClr val="bg1"/>
              </a:buClr>
              <a:defRPr sz="1100" b="1">
                <a:solidFill>
                  <a:schemeClr val="bg1"/>
                </a:solidFill>
              </a:defRPr>
            </a:lvl3pPr>
            <a:lvl4pPr marL="475982" indent="-15866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Clr>
                <a:schemeClr val="bg1"/>
              </a:buClr>
              <a:defRPr sz="1100" b="1">
                <a:solidFill>
                  <a:schemeClr val="bg1"/>
                </a:solidFill>
              </a:defRPr>
            </a:lvl4pPr>
            <a:lvl5pPr marL="626293" indent="-158661">
              <a:lnSpc>
                <a:spcPct val="100000"/>
              </a:lnSpc>
              <a:spcBef>
                <a:spcPts val="0"/>
              </a:spcBef>
              <a:spcAft>
                <a:spcPts val="526"/>
              </a:spcAft>
              <a:buClr>
                <a:schemeClr val="bg1"/>
              </a:buClr>
              <a:defRPr sz="1100" b="1">
                <a:solidFill>
                  <a:schemeClr val="bg1"/>
                </a:solidFill>
              </a:defRPr>
            </a:lvl5pPr>
            <a:lvl6pPr marL="1557151" indent="-262338">
              <a:lnSpc>
                <a:spcPts val="3479"/>
              </a:lnSpc>
              <a:spcBef>
                <a:spcPts val="0"/>
              </a:spcBef>
              <a:spcAft>
                <a:spcPts val="58"/>
              </a:spcAft>
              <a:buClr>
                <a:schemeClr val="bg1"/>
              </a:buClr>
              <a:buFont typeface="Arial" pitchFamily="34" charset="0"/>
              <a:buNone/>
              <a:defRPr sz="2700">
                <a:solidFill>
                  <a:schemeClr val="bg1"/>
                </a:solidFill>
              </a:defRPr>
            </a:lvl6pPr>
            <a:lvl7pPr>
              <a:defRPr sz="2700">
                <a:solidFill>
                  <a:schemeClr val="bg1"/>
                </a:solidFill>
              </a:defRPr>
            </a:lvl7pPr>
            <a:lvl8pPr>
              <a:lnSpc>
                <a:spcPts val="3479"/>
              </a:lnSpc>
              <a:defRPr sz="2700">
                <a:solidFill>
                  <a:schemeClr val="bg1"/>
                </a:solidFill>
              </a:defRPr>
            </a:lvl8pPr>
            <a:lvl9pPr>
              <a:defRPr sz="27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ru-RU" noProof="0" dirty="0" smtClean="0"/>
          </a:p>
        </p:txBody>
      </p:sp>
      <p:cxnSp>
        <p:nvCxnSpPr>
          <p:cNvPr id="13" name="Shape 14"/>
          <p:cNvCxnSpPr/>
          <p:nvPr userDrawn="1"/>
        </p:nvCxnSpPr>
        <p:spPr>
          <a:xfrm rot="5400000" flipH="1" flipV="1">
            <a:off x="4442257" y="-3466125"/>
            <a:ext cx="130634" cy="8282084"/>
          </a:xfrm>
          <a:prstGeom prst="bentConnector2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4804" y="685800"/>
            <a:ext cx="8146615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ru-RU" noProof="0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4785" y="6324600"/>
            <a:ext cx="5257800" cy="152400"/>
          </a:xfrm>
          <a:prstGeom prst="rect">
            <a:avLst/>
          </a:prstGeom>
        </p:spPr>
        <p:txBody>
          <a:bodyPr vert="horz" lIns="0" tIns="0" rIns="0" bIns="0" anchor="t" anchorCtr="0">
            <a:noAutofit/>
          </a:bodyPr>
          <a:lstStyle>
            <a:lvl1pPr algn="l">
              <a:defRPr sz="7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5" name="PwCFirm"/>
          <p:cNvSpPr txBox="1"/>
          <p:nvPr userDrawn="1"/>
        </p:nvSpPr>
        <p:spPr>
          <a:xfrm>
            <a:off x="504786" y="6477037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defTabSz="914287"/>
            <a:r>
              <a:rPr lang="ru-RU" sz="7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PwC</a:t>
            </a:r>
            <a:endParaRPr lang="ru-RU" sz="7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20040" y="6477001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7123088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Май 2015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4601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Subtitle 2"/>
          <p:cNvSpPr>
            <a:spLocks noGrp="1"/>
          </p:cNvSpPr>
          <p:nvPr>
            <p:ph type="subTitle" idx="1"/>
          </p:nvPr>
        </p:nvSpPr>
        <p:spPr bwMode="black">
          <a:xfrm>
            <a:off x="492841" y="1752600"/>
            <a:ext cx="8154248" cy="1522304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2800">
                <a:solidFill>
                  <a:schemeClr val="tx1"/>
                </a:solidFill>
              </a:defRPr>
            </a:lvl1pPr>
            <a:lvl2pPr marL="4418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83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254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673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09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509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0928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346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ru-RU" noProof="0" dirty="0" smtClean="0"/>
          </a:p>
        </p:txBody>
      </p:sp>
      <p:cxnSp>
        <p:nvCxnSpPr>
          <p:cNvPr id="13" name="Shape 14"/>
          <p:cNvCxnSpPr/>
          <p:nvPr userDrawn="1"/>
        </p:nvCxnSpPr>
        <p:spPr>
          <a:xfrm rot="5400000" flipH="1" flipV="1">
            <a:off x="4442257" y="-3466125"/>
            <a:ext cx="130634" cy="8282084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4804" y="685800"/>
            <a:ext cx="8146615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800"/>
            </a:lvl1pPr>
          </a:lstStyle>
          <a:p>
            <a:r>
              <a:rPr lang="en-US" noProof="0" smtClean="0"/>
              <a:t>Click to edit Master title style</a:t>
            </a:r>
            <a:endParaRPr lang="ru-RU" noProof="0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4785" y="6324600"/>
            <a:ext cx="5257800" cy="152400"/>
          </a:xfrm>
          <a:prstGeom prst="rect">
            <a:avLst/>
          </a:prstGeom>
        </p:spPr>
        <p:txBody>
          <a:bodyPr vert="horz" lIns="0" tIns="0" rIns="0" bIns="0" anchor="t" anchorCtr="0">
            <a:no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5" name="PwCFirm"/>
          <p:cNvSpPr txBox="1"/>
          <p:nvPr userDrawn="1"/>
        </p:nvSpPr>
        <p:spPr>
          <a:xfrm>
            <a:off x="504786" y="6477037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defTabSz="914287"/>
            <a:r>
              <a:rPr lang="ru-RU" sz="7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wC</a:t>
            </a:r>
            <a:endParaRPr lang="ru-RU" sz="7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20040" y="6477001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7123088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Май 2015</a:t>
            </a:r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67086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: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ubtitle 2"/>
          <p:cNvSpPr>
            <a:spLocks noGrp="1"/>
          </p:cNvSpPr>
          <p:nvPr>
            <p:ph type="subTitle" idx="1"/>
          </p:nvPr>
        </p:nvSpPr>
        <p:spPr bwMode="black">
          <a:xfrm>
            <a:off x="496656" y="1755293"/>
            <a:ext cx="8143831" cy="1528257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28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700">
                <a:solidFill>
                  <a:schemeClr val="bg1"/>
                </a:solidFill>
                <a:latin typeface="+mj-lt"/>
              </a:defRPr>
            </a:lvl2pPr>
            <a:lvl3pPr marL="441832" indent="0" algn="l">
              <a:buNone/>
              <a:defRPr sz="1700">
                <a:solidFill>
                  <a:schemeClr val="bg1"/>
                </a:solidFill>
                <a:latin typeface="+mj-lt"/>
              </a:defRPr>
            </a:lvl3pPr>
            <a:lvl4pPr marL="883664" indent="0" algn="l">
              <a:buNone/>
              <a:defRPr sz="1700">
                <a:solidFill>
                  <a:schemeClr val="bg1"/>
                </a:solidFill>
                <a:latin typeface="+mj-lt"/>
              </a:defRPr>
            </a:lvl4pPr>
            <a:lvl5pPr marL="1325496" indent="0" algn="l">
              <a:buNone/>
              <a:defRPr sz="1700">
                <a:solidFill>
                  <a:schemeClr val="bg1"/>
                </a:solidFill>
                <a:latin typeface="+mj-lt"/>
              </a:defRPr>
            </a:lvl5pPr>
            <a:lvl6pPr marL="1767327" indent="0" algn="l">
              <a:buNone/>
              <a:defRPr sz="1700">
                <a:solidFill>
                  <a:schemeClr val="bg1"/>
                </a:solidFill>
                <a:latin typeface="+mj-lt"/>
              </a:defRPr>
            </a:lvl6pPr>
            <a:lvl7pPr marL="2209160" indent="0" algn="l">
              <a:buNone/>
              <a:defRPr sz="1700">
                <a:solidFill>
                  <a:schemeClr val="bg1"/>
                </a:solidFill>
                <a:latin typeface="+mj-lt"/>
              </a:defRPr>
            </a:lvl7pPr>
            <a:lvl8pPr marL="2650991" indent="0" algn="l">
              <a:buNone/>
              <a:defRPr sz="1700">
                <a:solidFill>
                  <a:schemeClr val="bg1"/>
                </a:solidFill>
                <a:latin typeface="+mj-lt"/>
              </a:defRPr>
            </a:lvl8pPr>
            <a:lvl9pPr marL="3092823" indent="0" algn="l">
              <a:buNone/>
              <a:defRPr sz="17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ru-RU" noProof="0" dirty="0" smtClean="0"/>
          </a:p>
        </p:txBody>
      </p:sp>
      <p:cxnSp>
        <p:nvCxnSpPr>
          <p:cNvPr id="13" name="Shape 14"/>
          <p:cNvCxnSpPr/>
          <p:nvPr userDrawn="1"/>
        </p:nvCxnSpPr>
        <p:spPr>
          <a:xfrm rot="5400000" flipH="1" flipV="1">
            <a:off x="4442257" y="-3466125"/>
            <a:ext cx="130634" cy="8282084"/>
          </a:xfrm>
          <a:prstGeom prst="bentConnector2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4804" y="685800"/>
            <a:ext cx="8146615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8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ru-RU" noProof="0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4785" y="6324600"/>
            <a:ext cx="5257800" cy="152400"/>
          </a:xfrm>
          <a:prstGeom prst="rect">
            <a:avLst/>
          </a:prstGeom>
        </p:spPr>
        <p:txBody>
          <a:bodyPr vert="horz" lIns="0" tIns="0" rIns="0" bIns="0" anchor="t" anchorCtr="0">
            <a:noAutofit/>
          </a:bodyPr>
          <a:lstStyle>
            <a:lvl1pPr algn="l">
              <a:defRPr sz="7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5" name="PwCFirm"/>
          <p:cNvSpPr txBox="1"/>
          <p:nvPr userDrawn="1"/>
        </p:nvSpPr>
        <p:spPr>
          <a:xfrm>
            <a:off x="504786" y="6477037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defTabSz="914287"/>
            <a:r>
              <a:rPr lang="ru-RU" sz="7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PwC</a:t>
            </a:r>
            <a:endParaRPr lang="ru-RU" sz="7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20040" y="6477001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7123088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Май 2015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11994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: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19"/>
          <p:cNvSpPr>
            <a:spLocks noGrp="1"/>
          </p:cNvSpPr>
          <p:nvPr>
            <p:ph sz="quarter" idx="13"/>
          </p:nvPr>
        </p:nvSpPr>
        <p:spPr>
          <a:xfrm>
            <a:off x="492840" y="2525770"/>
            <a:ext cx="4002960" cy="3646430"/>
          </a:xfrm>
        </p:spPr>
        <p:txBody>
          <a:bodyPr/>
          <a:lstStyle>
            <a:lvl1pPr>
              <a:spcAft>
                <a:spcPts val="526"/>
              </a:spcAft>
              <a:defRPr sz="900">
                <a:solidFill>
                  <a:schemeClr val="bg1"/>
                </a:solidFill>
              </a:defRPr>
            </a:lvl1pPr>
            <a:lvl2pPr marL="158661" indent="-158661">
              <a:spcAft>
                <a:spcPts val="526"/>
              </a:spcAft>
              <a:buClr>
                <a:schemeClr val="bg1"/>
              </a:buClr>
              <a:defRPr sz="900">
                <a:solidFill>
                  <a:schemeClr val="bg1"/>
                </a:solidFill>
              </a:defRPr>
            </a:lvl2pPr>
            <a:lvl3pPr marL="317322" indent="-158661">
              <a:spcAft>
                <a:spcPts val="526"/>
              </a:spcAft>
              <a:buClr>
                <a:schemeClr val="bg1"/>
              </a:buClr>
              <a:defRPr sz="900">
                <a:solidFill>
                  <a:schemeClr val="bg1"/>
                </a:solidFill>
              </a:defRPr>
            </a:lvl3pPr>
            <a:lvl4pPr marL="475982" indent="-158661">
              <a:spcAft>
                <a:spcPts val="526"/>
              </a:spcAft>
              <a:buClr>
                <a:schemeClr val="bg1"/>
              </a:buClr>
              <a:defRPr sz="900">
                <a:solidFill>
                  <a:schemeClr val="bg1"/>
                </a:solidFill>
              </a:defRPr>
            </a:lvl4pPr>
            <a:lvl5pPr marL="626293" indent="-158661">
              <a:spcAft>
                <a:spcPts val="526"/>
              </a:spcAft>
              <a:buClr>
                <a:schemeClr val="bg1"/>
              </a:buClr>
              <a:defRPr sz="900"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ru-RU" noProof="0" dirty="0" smtClean="0"/>
          </a:p>
        </p:txBody>
      </p:sp>
      <p:sp>
        <p:nvSpPr>
          <p:cNvPr id="3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92840" y="1752605"/>
            <a:ext cx="8155776" cy="620769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280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700">
                <a:solidFill>
                  <a:schemeClr val="bg1"/>
                </a:solidFill>
                <a:latin typeface="+mj-lt"/>
              </a:defRPr>
            </a:lvl2pPr>
            <a:lvl3pPr marL="441832" indent="0" algn="l">
              <a:buNone/>
              <a:defRPr sz="1700">
                <a:solidFill>
                  <a:schemeClr val="bg1"/>
                </a:solidFill>
                <a:latin typeface="+mj-lt"/>
              </a:defRPr>
            </a:lvl3pPr>
            <a:lvl4pPr marL="883664" indent="0" algn="l">
              <a:buNone/>
              <a:defRPr sz="1700">
                <a:solidFill>
                  <a:schemeClr val="bg1"/>
                </a:solidFill>
                <a:latin typeface="+mj-lt"/>
              </a:defRPr>
            </a:lvl4pPr>
            <a:lvl5pPr marL="1325496" indent="0" algn="l">
              <a:buNone/>
              <a:defRPr sz="1700">
                <a:solidFill>
                  <a:schemeClr val="bg1"/>
                </a:solidFill>
                <a:latin typeface="+mj-lt"/>
              </a:defRPr>
            </a:lvl5pPr>
            <a:lvl6pPr marL="1767327" indent="0" algn="l">
              <a:buNone/>
              <a:defRPr sz="1700">
                <a:solidFill>
                  <a:schemeClr val="bg1"/>
                </a:solidFill>
                <a:latin typeface="+mj-lt"/>
              </a:defRPr>
            </a:lvl6pPr>
            <a:lvl7pPr marL="2209160" indent="0" algn="l">
              <a:buNone/>
              <a:defRPr sz="1700">
                <a:solidFill>
                  <a:schemeClr val="bg1"/>
                </a:solidFill>
                <a:latin typeface="+mj-lt"/>
              </a:defRPr>
            </a:lvl7pPr>
            <a:lvl8pPr marL="2650991" indent="0" algn="l">
              <a:buNone/>
              <a:defRPr sz="1700">
                <a:solidFill>
                  <a:schemeClr val="bg1"/>
                </a:solidFill>
                <a:latin typeface="+mj-lt"/>
              </a:defRPr>
            </a:lvl8pPr>
            <a:lvl9pPr marL="3092823" indent="0" algn="l">
              <a:buNone/>
              <a:defRPr sz="17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ru-RU" noProof="0" dirty="0" smtClean="0"/>
          </a:p>
        </p:txBody>
      </p:sp>
      <p:cxnSp>
        <p:nvCxnSpPr>
          <p:cNvPr id="14" name="Shape 14"/>
          <p:cNvCxnSpPr/>
          <p:nvPr userDrawn="1"/>
        </p:nvCxnSpPr>
        <p:spPr>
          <a:xfrm rot="5400000" flipH="1" flipV="1">
            <a:off x="4442257" y="-3466125"/>
            <a:ext cx="130634" cy="8282084"/>
          </a:xfrm>
          <a:prstGeom prst="bentConnector2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504804" y="685800"/>
            <a:ext cx="8146615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800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ru-RU" noProof="0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4785" y="6324600"/>
            <a:ext cx="5257800" cy="152400"/>
          </a:xfrm>
          <a:prstGeom prst="rect">
            <a:avLst/>
          </a:prstGeom>
        </p:spPr>
        <p:txBody>
          <a:bodyPr vert="horz" lIns="0" tIns="0" rIns="0" bIns="0" anchor="t" anchorCtr="0">
            <a:noAutofit/>
          </a:bodyPr>
          <a:lstStyle>
            <a:lvl1pPr algn="l">
              <a:defRPr sz="7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6" name="PwCFirm"/>
          <p:cNvSpPr txBox="1"/>
          <p:nvPr userDrawn="1"/>
        </p:nvSpPr>
        <p:spPr>
          <a:xfrm>
            <a:off x="504786" y="6477037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defTabSz="914287"/>
            <a:r>
              <a:rPr lang="ru-RU" sz="7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PwC</a:t>
            </a:r>
            <a:endParaRPr lang="ru-RU" sz="7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20040" y="6477001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7123088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Май 2015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5723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PwCFirm"/>
          <p:cNvSpPr txBox="1"/>
          <p:nvPr userDrawn="1"/>
        </p:nvSpPr>
        <p:spPr>
          <a:xfrm>
            <a:off x="1882442" y="374904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defTabSz="914287"/>
            <a:r>
              <a:rPr lang="en-US" sz="9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ww.p</a:t>
            </a:r>
            <a:r>
              <a:rPr lang="ru-RU" sz="9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</a:t>
            </a:r>
            <a:r>
              <a:rPr lang="en-US" sz="9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.ru</a:t>
            </a:r>
            <a:endParaRPr lang="ru-RU" sz="9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41" name="Shape 140"/>
          <p:cNvCxnSpPr/>
          <p:nvPr/>
        </p:nvCxnSpPr>
        <p:spPr>
          <a:xfrm rot="5400000" flipH="1" flipV="1">
            <a:off x="5107140" y="-2744939"/>
            <a:ext cx="130634" cy="6839712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1877678" y="838200"/>
            <a:ext cx="5388645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2800" b="1" i="1" baseline="0">
                <a:solidFill>
                  <a:schemeClr val="tx1"/>
                </a:solidFill>
              </a:defRPr>
            </a:lvl1pPr>
          </a:lstStyle>
          <a:p>
            <a:r>
              <a:rPr lang="ru-RU" noProof="0" dirty="0" err="1" smtClean="0"/>
              <a:t>Click</a:t>
            </a:r>
            <a:r>
              <a:rPr lang="ru-RU" noProof="0" dirty="0" smtClean="0"/>
              <a:t> </a:t>
            </a:r>
            <a:r>
              <a:rPr lang="ru-RU" noProof="0" dirty="0" err="1" smtClean="0"/>
              <a:t>to</a:t>
            </a:r>
            <a:r>
              <a:rPr lang="ru-RU" noProof="0" dirty="0" smtClean="0"/>
              <a:t> </a:t>
            </a:r>
            <a:r>
              <a:rPr lang="ru-RU" noProof="0" dirty="0" err="1" smtClean="0"/>
              <a:t>add</a:t>
            </a:r>
            <a:r>
              <a:rPr lang="ru-RU" noProof="0" dirty="0" smtClean="0"/>
              <a:t> </a:t>
            </a:r>
            <a:r>
              <a:rPr lang="ru-RU" noProof="0" dirty="0" err="1" smtClean="0"/>
              <a:t>the</a:t>
            </a:r>
            <a:r>
              <a:rPr lang="ru-RU" noProof="0" dirty="0" smtClean="0"/>
              <a:t> </a:t>
            </a:r>
            <a:r>
              <a:rPr lang="ru-RU" noProof="0" dirty="0" err="1" smtClean="0"/>
              <a:t>presentation’s</a:t>
            </a:r>
            <a:r>
              <a:rPr lang="ru-RU" noProof="0" dirty="0" smtClean="0"/>
              <a:t> </a:t>
            </a:r>
            <a:r>
              <a:rPr lang="ru-RU" noProof="0" dirty="0" err="1" smtClean="0"/>
              <a:t>main</a:t>
            </a:r>
            <a:r>
              <a:rPr lang="ru-RU" noProof="0" dirty="0" smtClean="0"/>
              <a:t> </a:t>
            </a:r>
            <a:r>
              <a:rPr lang="ru-RU" noProof="0" dirty="0" err="1" smtClean="0"/>
              <a:t>title</a:t>
            </a:r>
            <a:endParaRPr lang="ru-RU" noProof="0" dirty="0"/>
          </a:p>
        </p:txBody>
      </p:sp>
      <p:sp>
        <p:nvSpPr>
          <p:cNvPr id="14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1877679" y="1828836"/>
            <a:ext cx="5388646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8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1700">
                <a:solidFill>
                  <a:schemeClr val="bg1"/>
                </a:solidFill>
                <a:latin typeface="+mj-lt"/>
              </a:defRPr>
            </a:lvl2pPr>
            <a:lvl3pPr marL="441832" indent="0" algn="l">
              <a:buNone/>
              <a:defRPr sz="1700">
                <a:solidFill>
                  <a:schemeClr val="bg1"/>
                </a:solidFill>
                <a:latin typeface="+mj-lt"/>
              </a:defRPr>
            </a:lvl3pPr>
            <a:lvl4pPr marL="883664" indent="0" algn="l">
              <a:buNone/>
              <a:defRPr sz="1700">
                <a:solidFill>
                  <a:schemeClr val="bg1"/>
                </a:solidFill>
                <a:latin typeface="+mj-lt"/>
              </a:defRPr>
            </a:lvl4pPr>
            <a:lvl5pPr marL="1325496" indent="0" algn="l">
              <a:buNone/>
              <a:defRPr sz="1700">
                <a:solidFill>
                  <a:schemeClr val="bg1"/>
                </a:solidFill>
                <a:latin typeface="+mj-lt"/>
              </a:defRPr>
            </a:lvl5pPr>
            <a:lvl6pPr marL="1767327" indent="0" algn="l">
              <a:buNone/>
              <a:defRPr sz="1700">
                <a:solidFill>
                  <a:schemeClr val="bg1"/>
                </a:solidFill>
                <a:latin typeface="+mj-lt"/>
              </a:defRPr>
            </a:lvl6pPr>
            <a:lvl7pPr marL="2209160" indent="0" algn="l">
              <a:buNone/>
              <a:defRPr sz="1700">
                <a:solidFill>
                  <a:schemeClr val="bg1"/>
                </a:solidFill>
                <a:latin typeface="+mj-lt"/>
              </a:defRPr>
            </a:lvl7pPr>
            <a:lvl8pPr marL="2650991" indent="0" algn="l">
              <a:buNone/>
              <a:defRPr sz="1700">
                <a:solidFill>
                  <a:schemeClr val="bg1"/>
                </a:solidFill>
                <a:latin typeface="+mj-lt"/>
              </a:defRPr>
            </a:lvl8pPr>
            <a:lvl9pPr marL="3092823" indent="0" algn="l">
              <a:buNone/>
              <a:defRPr sz="17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ru-RU" noProof="0" dirty="0" err="1" smtClean="0"/>
              <a:t>Subtitle</a:t>
            </a:r>
            <a:r>
              <a:rPr lang="ru-RU" noProof="0" dirty="0" smtClean="0"/>
              <a:t> </a:t>
            </a:r>
            <a:r>
              <a:rPr lang="ru-RU" noProof="0" dirty="0" err="1" smtClean="0"/>
              <a:t>and</a:t>
            </a:r>
            <a:r>
              <a:rPr lang="ru-RU" noProof="0" dirty="0" smtClean="0"/>
              <a:t> </a:t>
            </a:r>
            <a:r>
              <a:rPr lang="ru-RU" noProof="0" dirty="0" err="1" smtClean="0"/>
              <a:t>date</a:t>
            </a:r>
            <a:r>
              <a:rPr lang="ru-RU" noProof="0" dirty="0" smtClean="0"/>
              <a:t> (</a:t>
            </a:r>
            <a:r>
              <a:rPr lang="ru-RU" noProof="0" dirty="0" err="1" smtClean="0"/>
              <a:t>move</a:t>
            </a:r>
            <a:r>
              <a:rPr lang="ru-RU" noProof="0" dirty="0" smtClean="0"/>
              <a:t> </a:t>
            </a:r>
            <a:r>
              <a:rPr lang="ru-RU" noProof="0" dirty="0" err="1" smtClean="0"/>
              <a:t>higher</a:t>
            </a:r>
            <a:r>
              <a:rPr lang="ru-RU" noProof="0" dirty="0" smtClean="0"/>
              <a:t> </a:t>
            </a:r>
            <a:r>
              <a:rPr lang="ru-RU" noProof="0" dirty="0" err="1" smtClean="0"/>
              <a:t>if</a:t>
            </a:r>
            <a:r>
              <a:rPr lang="ru-RU" noProof="0" dirty="0" smtClean="0"/>
              <a:t> </a:t>
            </a:r>
            <a:r>
              <a:rPr lang="ru-RU" noProof="0" dirty="0" err="1" smtClean="0"/>
              <a:t>title</a:t>
            </a:r>
            <a:r>
              <a:rPr lang="ru-RU" noProof="0" dirty="0" smtClean="0"/>
              <a:t> </a:t>
            </a:r>
            <a:r>
              <a:rPr lang="ru-RU" noProof="0" dirty="0" err="1" smtClean="0"/>
              <a:t>is</a:t>
            </a:r>
            <a:r>
              <a:rPr lang="ru-RU" noProof="0" dirty="0" smtClean="0"/>
              <a:t> </a:t>
            </a:r>
            <a:r>
              <a:rPr lang="ru-RU" noProof="0" dirty="0" err="1" smtClean="0"/>
              <a:t>only</a:t>
            </a:r>
            <a:r>
              <a:rPr lang="ru-RU" noProof="0" dirty="0" smtClean="0"/>
              <a:t> </a:t>
            </a:r>
            <a:r>
              <a:rPr lang="ru-RU" noProof="0" dirty="0" err="1" smtClean="0"/>
              <a:t>one</a:t>
            </a:r>
            <a:r>
              <a:rPr lang="ru-RU" noProof="0" dirty="0" smtClean="0"/>
              <a:t> </a:t>
            </a:r>
            <a:r>
              <a:rPr lang="ru-RU" noProof="0" dirty="0" err="1" smtClean="0"/>
              <a:t>line</a:t>
            </a:r>
            <a:r>
              <a:rPr lang="ru-RU" noProof="0" dirty="0" smtClean="0"/>
              <a:t>)</a:t>
            </a:r>
          </a:p>
        </p:txBody>
      </p:sp>
      <p:grpSp>
        <p:nvGrpSpPr>
          <p:cNvPr id="35" name="Group 34"/>
          <p:cNvGrpSpPr>
            <a:grpSpLocks noChangeAspect="1"/>
          </p:cNvGrpSpPr>
          <p:nvPr userDrawn="1"/>
        </p:nvGrpSpPr>
        <p:grpSpPr>
          <a:xfrm>
            <a:off x="1083766" y="5699362"/>
            <a:ext cx="1053890" cy="848931"/>
            <a:chOff x="518032" y="-1032869"/>
            <a:chExt cx="6161413" cy="4678943"/>
          </a:xfrm>
        </p:grpSpPr>
        <p:grpSp>
          <p:nvGrpSpPr>
            <p:cNvPr id="36" name="Group 73"/>
            <p:cNvGrpSpPr>
              <a:grpSpLocks noChangeAspect="1"/>
            </p:cNvGrpSpPr>
            <p:nvPr/>
          </p:nvGrpSpPr>
          <p:grpSpPr>
            <a:xfrm>
              <a:off x="4438637" y="-1032863"/>
              <a:ext cx="2240792" cy="2011550"/>
              <a:chOff x="1905000" y="5715000"/>
              <a:chExt cx="445770" cy="381000"/>
            </a:xfrm>
          </p:grpSpPr>
          <p:sp>
            <p:nvSpPr>
              <p:cNvPr id="40" name="Rectangle 25"/>
              <p:cNvSpPr>
                <a:spLocks noChangeArrowheads="1"/>
              </p:cNvSpPr>
              <p:nvPr userDrawn="1"/>
            </p:nvSpPr>
            <p:spPr bwMode="gray">
              <a:xfrm>
                <a:off x="2293620" y="5988118"/>
                <a:ext cx="57150" cy="107882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87"/>
                <a:endParaRPr lang="en-GB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1" name="Rectangle 26"/>
              <p:cNvSpPr>
                <a:spLocks noChangeArrowheads="1"/>
              </p:cNvSpPr>
              <p:nvPr userDrawn="1"/>
            </p:nvSpPr>
            <p:spPr bwMode="gray">
              <a:xfrm>
                <a:off x="2132171" y="5757333"/>
                <a:ext cx="44291" cy="6691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87"/>
                <a:endParaRPr lang="en-GB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2" name="Rectangle 27"/>
              <p:cNvSpPr>
                <a:spLocks noChangeArrowheads="1"/>
              </p:cNvSpPr>
              <p:nvPr userDrawn="1"/>
            </p:nvSpPr>
            <p:spPr bwMode="gray">
              <a:xfrm>
                <a:off x="1905000" y="5715000"/>
                <a:ext cx="227171" cy="42333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87"/>
                <a:endParaRPr lang="en-GB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3" name="Rectangle 28"/>
              <p:cNvSpPr>
                <a:spLocks noChangeArrowheads="1"/>
              </p:cNvSpPr>
              <p:nvPr userDrawn="1"/>
            </p:nvSpPr>
            <p:spPr bwMode="gray">
              <a:xfrm>
                <a:off x="1905000" y="5757333"/>
                <a:ext cx="227171" cy="6691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87"/>
                <a:endParaRPr lang="en-GB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4" name="Rectangle 29"/>
              <p:cNvSpPr>
                <a:spLocks noChangeArrowheads="1"/>
              </p:cNvSpPr>
              <p:nvPr userDrawn="1"/>
            </p:nvSpPr>
            <p:spPr bwMode="gray">
              <a:xfrm>
                <a:off x="2176462" y="5824247"/>
                <a:ext cx="117158" cy="163871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87"/>
                <a:endParaRPr lang="en-GB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5" name="Rectangle 30"/>
              <p:cNvSpPr>
                <a:spLocks noChangeArrowheads="1"/>
              </p:cNvSpPr>
              <p:nvPr userDrawn="1"/>
            </p:nvSpPr>
            <p:spPr bwMode="gray">
              <a:xfrm>
                <a:off x="2176462" y="5988118"/>
                <a:ext cx="117158" cy="107882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87"/>
                <a:endParaRPr lang="en-GB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6" name="Rectangle 31"/>
              <p:cNvSpPr>
                <a:spLocks noChangeArrowheads="1"/>
              </p:cNvSpPr>
              <p:nvPr userDrawn="1"/>
            </p:nvSpPr>
            <p:spPr bwMode="gray">
              <a:xfrm>
                <a:off x="2132171" y="5824247"/>
                <a:ext cx="44291" cy="163871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87"/>
                <a:endParaRPr lang="en-GB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7" name="Rectangle 32"/>
              <p:cNvSpPr>
                <a:spLocks noChangeArrowheads="1"/>
              </p:cNvSpPr>
              <p:nvPr userDrawn="1"/>
            </p:nvSpPr>
            <p:spPr bwMode="gray">
              <a:xfrm>
                <a:off x="2132171" y="5988118"/>
                <a:ext cx="44291" cy="107882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87"/>
                <a:endParaRPr lang="en-GB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8" name="Freeform 33"/>
              <p:cNvSpPr>
                <a:spLocks/>
              </p:cNvSpPr>
              <p:nvPr userDrawn="1"/>
            </p:nvSpPr>
            <p:spPr bwMode="gray">
              <a:xfrm>
                <a:off x="1905000" y="5824247"/>
                <a:ext cx="227171" cy="16387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9" y="0"/>
                  </a:cxn>
                  <a:cxn ang="0">
                    <a:pos x="159" y="120"/>
                  </a:cxn>
                  <a:cxn ang="0">
                    <a:pos x="99" y="120"/>
                  </a:cxn>
                  <a:cxn ang="0">
                    <a:pos x="99" y="80"/>
                  </a:cxn>
                  <a:cxn ang="0">
                    <a:pos x="0" y="80"/>
                  </a:cxn>
                  <a:cxn ang="0">
                    <a:pos x="0" y="0"/>
                  </a:cxn>
                </a:cxnLst>
                <a:rect l="0" t="0" r="r" b="b"/>
                <a:pathLst>
                  <a:path w="159" h="120">
                    <a:moveTo>
                      <a:pt x="0" y="0"/>
                    </a:moveTo>
                    <a:lnTo>
                      <a:pt x="159" y="0"/>
                    </a:lnTo>
                    <a:lnTo>
                      <a:pt x="159" y="120"/>
                    </a:lnTo>
                    <a:lnTo>
                      <a:pt x="99" y="120"/>
                    </a:lnTo>
                    <a:lnTo>
                      <a:pt x="99" y="80"/>
                    </a:lnTo>
                    <a:lnTo>
                      <a:pt x="0" y="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87"/>
                <a:endParaRPr lang="en-GB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9" name="Rectangle 34"/>
              <p:cNvSpPr>
                <a:spLocks noChangeArrowheads="1"/>
              </p:cNvSpPr>
              <p:nvPr userDrawn="1"/>
            </p:nvSpPr>
            <p:spPr bwMode="gray">
              <a:xfrm>
                <a:off x="2046446" y="5988118"/>
                <a:ext cx="85725" cy="107882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87"/>
                <a:endParaRPr lang="en-GB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0" name="Rectangle 35"/>
              <p:cNvSpPr>
                <a:spLocks noChangeArrowheads="1"/>
              </p:cNvSpPr>
              <p:nvPr userDrawn="1"/>
            </p:nvSpPr>
            <p:spPr bwMode="gray">
              <a:xfrm>
                <a:off x="1905000" y="5933495"/>
                <a:ext cx="141446" cy="54624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87"/>
                <a:endParaRPr lang="en-GB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1" name="Rectangle 36"/>
              <p:cNvSpPr>
                <a:spLocks noChangeArrowheads="1"/>
              </p:cNvSpPr>
              <p:nvPr userDrawn="1"/>
            </p:nvSpPr>
            <p:spPr bwMode="gray">
              <a:xfrm>
                <a:off x="1905000" y="5988118"/>
                <a:ext cx="141446" cy="107882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87"/>
                <a:endParaRPr lang="en-GB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2" name="Rectangle 25"/>
              <p:cNvSpPr>
                <a:spLocks noChangeArrowheads="1"/>
              </p:cNvSpPr>
              <p:nvPr/>
            </p:nvSpPr>
            <p:spPr bwMode="gray">
              <a:xfrm>
                <a:off x="2293620" y="5988118"/>
                <a:ext cx="57150" cy="107882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87"/>
                <a:endParaRPr lang="en-GB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3" name="Rectangle 26"/>
              <p:cNvSpPr>
                <a:spLocks noChangeArrowheads="1"/>
              </p:cNvSpPr>
              <p:nvPr/>
            </p:nvSpPr>
            <p:spPr bwMode="gray">
              <a:xfrm>
                <a:off x="2132171" y="5757333"/>
                <a:ext cx="44291" cy="6691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87"/>
                <a:endParaRPr lang="en-GB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4" name="Rectangle 27"/>
              <p:cNvSpPr>
                <a:spLocks noChangeArrowheads="1"/>
              </p:cNvSpPr>
              <p:nvPr/>
            </p:nvSpPr>
            <p:spPr bwMode="gray">
              <a:xfrm>
                <a:off x="1905000" y="5715000"/>
                <a:ext cx="227171" cy="42333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87"/>
                <a:endParaRPr lang="en-GB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5" name="Rectangle 28"/>
              <p:cNvSpPr>
                <a:spLocks noChangeArrowheads="1"/>
              </p:cNvSpPr>
              <p:nvPr/>
            </p:nvSpPr>
            <p:spPr bwMode="gray">
              <a:xfrm>
                <a:off x="1905000" y="5757333"/>
                <a:ext cx="227171" cy="6691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87"/>
                <a:endParaRPr lang="en-GB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6" name="Rectangle 29"/>
              <p:cNvSpPr>
                <a:spLocks noChangeArrowheads="1"/>
              </p:cNvSpPr>
              <p:nvPr/>
            </p:nvSpPr>
            <p:spPr bwMode="gray">
              <a:xfrm>
                <a:off x="2176462" y="5824247"/>
                <a:ext cx="117158" cy="163871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87"/>
                <a:endParaRPr lang="en-GB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" name="Rectangle 30"/>
              <p:cNvSpPr>
                <a:spLocks noChangeArrowheads="1"/>
              </p:cNvSpPr>
              <p:nvPr/>
            </p:nvSpPr>
            <p:spPr bwMode="gray">
              <a:xfrm>
                <a:off x="2176462" y="5988118"/>
                <a:ext cx="117158" cy="107882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87"/>
                <a:endParaRPr lang="en-GB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8" name="Rectangle 31"/>
              <p:cNvSpPr>
                <a:spLocks noChangeArrowheads="1"/>
              </p:cNvSpPr>
              <p:nvPr/>
            </p:nvSpPr>
            <p:spPr bwMode="gray">
              <a:xfrm>
                <a:off x="2132171" y="5824247"/>
                <a:ext cx="44291" cy="163871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87"/>
                <a:endParaRPr lang="en-GB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" name="Rectangle 32"/>
              <p:cNvSpPr>
                <a:spLocks noChangeArrowheads="1"/>
              </p:cNvSpPr>
              <p:nvPr/>
            </p:nvSpPr>
            <p:spPr bwMode="gray">
              <a:xfrm>
                <a:off x="2132171" y="5988118"/>
                <a:ext cx="44291" cy="107882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87"/>
                <a:endParaRPr lang="en-GB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0" name="Freeform 33"/>
              <p:cNvSpPr>
                <a:spLocks/>
              </p:cNvSpPr>
              <p:nvPr/>
            </p:nvSpPr>
            <p:spPr bwMode="gray">
              <a:xfrm>
                <a:off x="1905000" y="5824247"/>
                <a:ext cx="227171" cy="16387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9" y="0"/>
                  </a:cxn>
                  <a:cxn ang="0">
                    <a:pos x="159" y="120"/>
                  </a:cxn>
                  <a:cxn ang="0">
                    <a:pos x="99" y="120"/>
                  </a:cxn>
                  <a:cxn ang="0">
                    <a:pos x="99" y="80"/>
                  </a:cxn>
                  <a:cxn ang="0">
                    <a:pos x="0" y="80"/>
                  </a:cxn>
                  <a:cxn ang="0">
                    <a:pos x="0" y="0"/>
                  </a:cxn>
                </a:cxnLst>
                <a:rect l="0" t="0" r="r" b="b"/>
                <a:pathLst>
                  <a:path w="159" h="120">
                    <a:moveTo>
                      <a:pt x="0" y="0"/>
                    </a:moveTo>
                    <a:lnTo>
                      <a:pt x="159" y="0"/>
                    </a:lnTo>
                    <a:lnTo>
                      <a:pt x="159" y="120"/>
                    </a:lnTo>
                    <a:lnTo>
                      <a:pt x="99" y="120"/>
                    </a:lnTo>
                    <a:lnTo>
                      <a:pt x="99" y="80"/>
                    </a:lnTo>
                    <a:lnTo>
                      <a:pt x="0" y="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87"/>
                <a:endParaRPr lang="en-GB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1" name="Rectangle 34"/>
              <p:cNvSpPr>
                <a:spLocks noChangeArrowheads="1"/>
              </p:cNvSpPr>
              <p:nvPr/>
            </p:nvSpPr>
            <p:spPr bwMode="gray">
              <a:xfrm>
                <a:off x="2046446" y="5988118"/>
                <a:ext cx="85725" cy="107882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87"/>
                <a:endParaRPr lang="en-GB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2" name="Rectangle 35"/>
              <p:cNvSpPr>
                <a:spLocks noChangeArrowheads="1"/>
              </p:cNvSpPr>
              <p:nvPr/>
            </p:nvSpPr>
            <p:spPr bwMode="gray">
              <a:xfrm>
                <a:off x="1905000" y="5933495"/>
                <a:ext cx="141446" cy="54624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87"/>
                <a:endParaRPr lang="en-GB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3" name="Rectangle 36"/>
              <p:cNvSpPr>
                <a:spLocks noChangeArrowheads="1"/>
              </p:cNvSpPr>
              <p:nvPr/>
            </p:nvSpPr>
            <p:spPr bwMode="gray">
              <a:xfrm>
                <a:off x="1905000" y="5988118"/>
                <a:ext cx="141446" cy="107882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87"/>
                <a:endParaRPr lang="en-GB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37" name="Group 32"/>
            <p:cNvGrpSpPr/>
            <p:nvPr/>
          </p:nvGrpSpPr>
          <p:grpSpPr>
            <a:xfrm>
              <a:off x="518032" y="978681"/>
              <a:ext cx="4572000" cy="2667393"/>
              <a:chOff x="518032" y="978681"/>
              <a:chExt cx="4572000" cy="2667393"/>
            </a:xfrm>
          </p:grpSpPr>
          <p:sp>
            <p:nvSpPr>
              <p:cNvPr id="38" name="Rectangle 37"/>
              <p:cNvSpPr>
                <a:spLocks noChangeArrowheads="1"/>
              </p:cNvSpPr>
              <p:nvPr userDrawn="1"/>
            </p:nvSpPr>
            <p:spPr bwMode="black">
              <a:xfrm>
                <a:off x="3295650" y="978681"/>
                <a:ext cx="1143000" cy="263229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87"/>
                <a:endParaRPr lang="en-GB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9" name="Freeform 7"/>
              <p:cNvSpPr>
                <a:spLocks noEditPoints="1"/>
              </p:cNvSpPr>
              <p:nvPr userDrawn="1"/>
            </p:nvSpPr>
            <p:spPr bwMode="black">
              <a:xfrm>
                <a:off x="518032" y="1922794"/>
                <a:ext cx="4572000" cy="1723280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87"/>
                <a:endParaRPr lang="en-GB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014683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lien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/>
          <p:cNvGrpSpPr/>
          <p:nvPr userDrawn="1"/>
        </p:nvGrpSpPr>
        <p:grpSpPr bwMode="gray">
          <a:xfrm>
            <a:off x="1752617" y="293927"/>
            <a:ext cx="7391401" cy="5770368"/>
            <a:chOff x="19140487" y="306163"/>
            <a:chExt cx="7443799" cy="5742169"/>
          </a:xfrm>
        </p:grpSpPr>
        <p:sp>
          <p:nvSpPr>
            <p:cNvPr id="35" name="Rectangle 17"/>
            <p:cNvSpPr>
              <a:spLocks noChangeArrowheads="1"/>
            </p:cNvSpPr>
            <p:nvPr/>
          </p:nvSpPr>
          <p:spPr bwMode="gray">
            <a:xfrm>
              <a:off x="19140488" y="4188800"/>
              <a:ext cx="2302206" cy="1859532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87"/>
              <a:endParaRPr lang="en-GB" sz="2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Rectangle 7"/>
            <p:cNvSpPr>
              <a:spLocks noChangeArrowheads="1"/>
            </p:cNvSpPr>
            <p:nvPr/>
          </p:nvSpPr>
          <p:spPr bwMode="gray">
            <a:xfrm>
              <a:off x="25663403" y="4032250"/>
              <a:ext cx="920883" cy="2016080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87"/>
              <a:endParaRPr lang="en-GB" sz="2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Rectangle 8"/>
            <p:cNvSpPr>
              <a:spLocks noChangeArrowheads="1"/>
            </p:cNvSpPr>
            <p:nvPr/>
          </p:nvSpPr>
          <p:spPr bwMode="gray">
            <a:xfrm>
              <a:off x="25049482" y="2899477"/>
              <a:ext cx="734694" cy="1289321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87"/>
              <a:endParaRPr lang="en-GB" sz="2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2" name="Rectangle 9"/>
            <p:cNvSpPr>
              <a:spLocks noChangeArrowheads="1"/>
            </p:cNvSpPr>
            <p:nvPr/>
          </p:nvSpPr>
          <p:spPr bwMode="gray">
            <a:xfrm>
              <a:off x="25049482" y="4032250"/>
              <a:ext cx="734693" cy="2016080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87"/>
              <a:endParaRPr lang="en-GB" sz="2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3" name="Rectangle 11"/>
            <p:cNvSpPr>
              <a:spLocks noChangeArrowheads="1"/>
            </p:cNvSpPr>
            <p:nvPr/>
          </p:nvSpPr>
          <p:spPr bwMode="gray">
            <a:xfrm>
              <a:off x="24665780" y="695834"/>
              <a:ext cx="477045" cy="2274378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87"/>
              <a:endParaRPr lang="en-GB" sz="2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" name="Rectangle 12"/>
            <p:cNvSpPr>
              <a:spLocks noChangeArrowheads="1"/>
            </p:cNvSpPr>
            <p:nvPr/>
          </p:nvSpPr>
          <p:spPr bwMode="gray">
            <a:xfrm>
              <a:off x="24665780" y="2899478"/>
              <a:ext cx="477045" cy="1289321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87"/>
              <a:endParaRPr lang="en-GB" sz="2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8" name="Rectangle 13"/>
            <p:cNvSpPr>
              <a:spLocks noChangeArrowheads="1"/>
            </p:cNvSpPr>
            <p:nvPr/>
          </p:nvSpPr>
          <p:spPr bwMode="gray">
            <a:xfrm>
              <a:off x="24665780" y="4032250"/>
              <a:ext cx="477045" cy="2016080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87"/>
              <a:endParaRPr lang="en-GB" sz="2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9" name="Rectangle 14"/>
            <p:cNvSpPr>
              <a:spLocks noChangeArrowheads="1"/>
            </p:cNvSpPr>
            <p:nvPr/>
          </p:nvSpPr>
          <p:spPr bwMode="gray">
            <a:xfrm>
              <a:off x="19140488" y="688343"/>
              <a:ext cx="5678603" cy="2281869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87"/>
              <a:endParaRPr lang="en-GB" sz="2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0" name="Rectangle 15"/>
            <p:cNvSpPr>
              <a:spLocks noChangeArrowheads="1"/>
            </p:cNvSpPr>
            <p:nvPr/>
          </p:nvSpPr>
          <p:spPr bwMode="gray">
            <a:xfrm>
              <a:off x="19140488" y="2899478"/>
              <a:ext cx="5678603" cy="1289321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87"/>
              <a:endParaRPr lang="en-GB" sz="2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1" name="Freeform 16"/>
            <p:cNvSpPr>
              <a:spLocks/>
            </p:cNvSpPr>
            <p:nvPr/>
          </p:nvSpPr>
          <p:spPr bwMode="gray">
            <a:xfrm>
              <a:off x="19140488" y="4032250"/>
              <a:ext cx="5678603" cy="201608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87"/>
              <a:endParaRPr lang="en-GB" sz="2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2" name="Rectangle 10"/>
            <p:cNvSpPr>
              <a:spLocks noChangeArrowheads="1"/>
            </p:cNvSpPr>
            <p:nvPr/>
          </p:nvSpPr>
          <p:spPr bwMode="gray">
            <a:xfrm>
              <a:off x="19140487" y="306163"/>
              <a:ext cx="5678602" cy="389671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87"/>
              <a:endParaRPr lang="en-GB" sz="200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31" name="Picture Placeholder 76"/>
          <p:cNvSpPr>
            <a:spLocks noGrp="1"/>
          </p:cNvSpPr>
          <p:nvPr>
            <p:ph type="pic" sz="quarter" idx="13"/>
          </p:nvPr>
        </p:nvSpPr>
        <p:spPr>
          <a:xfrm>
            <a:off x="609602" y="3048000"/>
            <a:ext cx="914400" cy="762000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 noProof="0" smtClean="0"/>
              <a:t>Click icon to add picture</a:t>
            </a:r>
            <a:endParaRPr lang="ru-RU" noProof="0" dirty="0"/>
          </a:p>
        </p:txBody>
      </p:sp>
      <p:grpSp>
        <p:nvGrpSpPr>
          <p:cNvPr id="3" name="Group 31"/>
          <p:cNvGrpSpPr/>
          <p:nvPr/>
        </p:nvGrpSpPr>
        <p:grpSpPr>
          <a:xfrm>
            <a:off x="489088" y="2901734"/>
            <a:ext cx="1209752" cy="151219"/>
            <a:chOff x="489087" y="2521685"/>
            <a:chExt cx="1209752" cy="151219"/>
          </a:xfrm>
        </p:grpSpPr>
        <p:cxnSp>
          <p:nvCxnSpPr>
            <p:cNvPr id="33" name="Straight Connector 32"/>
            <p:cNvCxnSpPr/>
            <p:nvPr userDrawn="1"/>
          </p:nvCxnSpPr>
          <p:spPr>
            <a:xfrm rot="10800000">
              <a:off x="489087" y="2521686"/>
              <a:ext cx="1209752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 rot="5400000">
              <a:off x="413478" y="2597295"/>
              <a:ext cx="151219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882443" y="838200"/>
            <a:ext cx="5383882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2800" b="1" i="1" baseline="0">
                <a:solidFill>
                  <a:schemeClr val="bg1"/>
                </a:solidFill>
              </a:defRPr>
            </a:lvl1pPr>
          </a:lstStyle>
          <a:p>
            <a:r>
              <a:rPr lang="ru-RU" noProof="0" dirty="0" err="1" smtClean="0"/>
              <a:t>Click</a:t>
            </a:r>
            <a:r>
              <a:rPr lang="ru-RU" noProof="0" dirty="0" smtClean="0"/>
              <a:t> </a:t>
            </a:r>
            <a:r>
              <a:rPr lang="ru-RU" noProof="0" dirty="0" err="1" smtClean="0"/>
              <a:t>to</a:t>
            </a:r>
            <a:r>
              <a:rPr lang="ru-RU" noProof="0" dirty="0" smtClean="0"/>
              <a:t> </a:t>
            </a:r>
            <a:r>
              <a:rPr lang="ru-RU" noProof="0" dirty="0" err="1" smtClean="0"/>
              <a:t>add</a:t>
            </a:r>
            <a:r>
              <a:rPr lang="ru-RU" noProof="0" dirty="0" smtClean="0"/>
              <a:t> </a:t>
            </a:r>
            <a:r>
              <a:rPr lang="ru-RU" noProof="0" dirty="0" err="1" smtClean="0"/>
              <a:t>the</a:t>
            </a:r>
            <a:r>
              <a:rPr lang="ru-RU" noProof="0" dirty="0" smtClean="0"/>
              <a:t> </a:t>
            </a:r>
            <a:r>
              <a:rPr lang="ru-RU" noProof="0" dirty="0" err="1" smtClean="0"/>
              <a:t>presentation’s</a:t>
            </a:r>
            <a:r>
              <a:rPr lang="ru-RU" noProof="0" dirty="0" smtClean="0"/>
              <a:t> </a:t>
            </a:r>
            <a:r>
              <a:rPr lang="ru-RU" noProof="0" dirty="0" err="1" smtClean="0"/>
              <a:t>main</a:t>
            </a:r>
            <a:r>
              <a:rPr lang="ru-RU" noProof="0" dirty="0" smtClean="0"/>
              <a:t> </a:t>
            </a:r>
            <a:r>
              <a:rPr lang="ru-RU" noProof="0" dirty="0" err="1" smtClean="0"/>
              <a:t>title</a:t>
            </a:r>
            <a:endParaRPr lang="ru-RU" noProof="0" dirty="0"/>
          </a:p>
        </p:txBody>
      </p:sp>
      <p:sp>
        <p:nvSpPr>
          <p:cNvPr id="4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882443" y="1828836"/>
            <a:ext cx="5383882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8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700">
                <a:solidFill>
                  <a:schemeClr val="bg1"/>
                </a:solidFill>
                <a:latin typeface="+mj-lt"/>
              </a:defRPr>
            </a:lvl2pPr>
            <a:lvl3pPr marL="441832" indent="0" algn="l">
              <a:buNone/>
              <a:defRPr sz="1700">
                <a:solidFill>
                  <a:schemeClr val="bg1"/>
                </a:solidFill>
                <a:latin typeface="+mj-lt"/>
              </a:defRPr>
            </a:lvl3pPr>
            <a:lvl4pPr marL="883664" indent="0" algn="l">
              <a:buNone/>
              <a:defRPr sz="1700">
                <a:solidFill>
                  <a:schemeClr val="bg1"/>
                </a:solidFill>
                <a:latin typeface="+mj-lt"/>
              </a:defRPr>
            </a:lvl4pPr>
            <a:lvl5pPr marL="1325496" indent="0" algn="l">
              <a:buNone/>
              <a:defRPr sz="1700">
                <a:solidFill>
                  <a:schemeClr val="bg1"/>
                </a:solidFill>
                <a:latin typeface="+mj-lt"/>
              </a:defRPr>
            </a:lvl5pPr>
            <a:lvl6pPr marL="1767327" indent="0" algn="l">
              <a:buNone/>
              <a:defRPr sz="1700">
                <a:solidFill>
                  <a:schemeClr val="bg1"/>
                </a:solidFill>
                <a:latin typeface="+mj-lt"/>
              </a:defRPr>
            </a:lvl6pPr>
            <a:lvl7pPr marL="2209160" indent="0" algn="l">
              <a:buNone/>
              <a:defRPr sz="1700">
                <a:solidFill>
                  <a:schemeClr val="bg1"/>
                </a:solidFill>
                <a:latin typeface="+mj-lt"/>
              </a:defRPr>
            </a:lvl7pPr>
            <a:lvl8pPr marL="2650991" indent="0" algn="l">
              <a:buNone/>
              <a:defRPr sz="1700">
                <a:solidFill>
                  <a:schemeClr val="bg1"/>
                </a:solidFill>
                <a:latin typeface="+mj-lt"/>
              </a:defRPr>
            </a:lvl8pPr>
            <a:lvl9pPr marL="3092823" indent="0" algn="l">
              <a:buNone/>
              <a:defRPr sz="17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ru-RU" noProof="0" dirty="0" err="1" smtClean="0"/>
              <a:t>Subtitle</a:t>
            </a:r>
            <a:r>
              <a:rPr lang="ru-RU" noProof="0" dirty="0" smtClean="0"/>
              <a:t> </a:t>
            </a:r>
            <a:r>
              <a:rPr lang="ru-RU" noProof="0" dirty="0" err="1" smtClean="0"/>
              <a:t>and</a:t>
            </a:r>
            <a:r>
              <a:rPr lang="ru-RU" noProof="0" dirty="0" smtClean="0"/>
              <a:t> </a:t>
            </a:r>
            <a:r>
              <a:rPr lang="ru-RU" noProof="0" dirty="0" err="1" smtClean="0"/>
              <a:t>date</a:t>
            </a:r>
            <a:r>
              <a:rPr lang="ru-RU" noProof="0" dirty="0" smtClean="0"/>
              <a:t> (</a:t>
            </a:r>
            <a:r>
              <a:rPr lang="ru-RU" noProof="0" dirty="0" err="1" smtClean="0"/>
              <a:t>move</a:t>
            </a:r>
            <a:r>
              <a:rPr lang="ru-RU" noProof="0" dirty="0" smtClean="0"/>
              <a:t> </a:t>
            </a:r>
            <a:r>
              <a:rPr lang="ru-RU" noProof="0" dirty="0" err="1" smtClean="0"/>
              <a:t>higher</a:t>
            </a:r>
            <a:r>
              <a:rPr lang="ru-RU" noProof="0" dirty="0" smtClean="0"/>
              <a:t> </a:t>
            </a:r>
            <a:r>
              <a:rPr lang="ru-RU" noProof="0" dirty="0" err="1" smtClean="0"/>
              <a:t>if</a:t>
            </a:r>
            <a:r>
              <a:rPr lang="ru-RU" noProof="0" dirty="0" smtClean="0"/>
              <a:t> </a:t>
            </a:r>
            <a:r>
              <a:rPr lang="ru-RU" noProof="0" dirty="0" err="1" smtClean="0"/>
              <a:t>title</a:t>
            </a:r>
            <a:r>
              <a:rPr lang="ru-RU" noProof="0" dirty="0" smtClean="0"/>
              <a:t> </a:t>
            </a:r>
            <a:r>
              <a:rPr lang="ru-RU" noProof="0" dirty="0" err="1" smtClean="0"/>
              <a:t>is</a:t>
            </a:r>
            <a:r>
              <a:rPr lang="ru-RU" noProof="0" dirty="0" smtClean="0"/>
              <a:t> </a:t>
            </a:r>
            <a:r>
              <a:rPr lang="ru-RU" noProof="0" dirty="0" err="1" smtClean="0"/>
              <a:t>only</a:t>
            </a:r>
            <a:r>
              <a:rPr lang="ru-RU" noProof="0" dirty="0" smtClean="0"/>
              <a:t> </a:t>
            </a:r>
            <a:r>
              <a:rPr lang="ru-RU" noProof="0" dirty="0" err="1" smtClean="0"/>
              <a:t>one</a:t>
            </a:r>
            <a:r>
              <a:rPr lang="ru-RU" noProof="0" dirty="0" smtClean="0"/>
              <a:t> </a:t>
            </a:r>
            <a:r>
              <a:rPr lang="ru-RU" noProof="0" dirty="0" err="1" smtClean="0"/>
              <a:t>line</a:t>
            </a:r>
            <a:r>
              <a:rPr lang="ru-RU" noProof="0" dirty="0" smtClean="0"/>
              <a:t>)</a:t>
            </a:r>
          </a:p>
        </p:txBody>
      </p:sp>
      <p:grpSp>
        <p:nvGrpSpPr>
          <p:cNvPr id="27" name="Group 32"/>
          <p:cNvGrpSpPr/>
          <p:nvPr userDrawn="1"/>
        </p:nvGrpSpPr>
        <p:grpSpPr>
          <a:xfrm>
            <a:off x="1083783" y="6064295"/>
            <a:ext cx="782026" cy="483962"/>
            <a:chOff x="518032" y="978681"/>
            <a:chExt cx="4572000" cy="2667393"/>
          </a:xfrm>
        </p:grpSpPr>
        <p:sp>
          <p:nvSpPr>
            <p:cNvPr id="28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87"/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87"/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30" name="PwCFirm"/>
          <p:cNvSpPr txBox="1"/>
          <p:nvPr userDrawn="1"/>
        </p:nvSpPr>
        <p:spPr>
          <a:xfrm>
            <a:off x="1882442" y="400827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defTabSz="914287"/>
            <a:r>
              <a:rPr lang="en-US" sz="9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www.p</a:t>
            </a:r>
            <a:r>
              <a:rPr lang="ru-RU" sz="9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w</a:t>
            </a:r>
            <a:r>
              <a:rPr lang="en-US" sz="9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.ru</a:t>
            </a:r>
            <a:endParaRPr lang="ru-RU" sz="9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26925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6"/>
          <p:cNvGrpSpPr/>
          <p:nvPr userDrawn="1"/>
        </p:nvGrpSpPr>
        <p:grpSpPr bwMode="gray">
          <a:xfrm>
            <a:off x="1752617" y="293927"/>
            <a:ext cx="7391401" cy="5770366"/>
            <a:chOff x="19140487" y="306163"/>
            <a:chExt cx="7443799" cy="5742167"/>
          </a:xfrm>
        </p:grpSpPr>
        <p:sp>
          <p:nvSpPr>
            <p:cNvPr id="28" name="Rectangle 17"/>
            <p:cNvSpPr>
              <a:spLocks noChangeArrowheads="1"/>
            </p:cNvSpPr>
            <p:nvPr/>
          </p:nvSpPr>
          <p:spPr bwMode="gray">
            <a:xfrm>
              <a:off x="19140488" y="4188799"/>
              <a:ext cx="2302206" cy="1859531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87"/>
              <a:endParaRPr lang="en-GB" sz="2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" name="Rectangle 7"/>
            <p:cNvSpPr>
              <a:spLocks noChangeArrowheads="1"/>
            </p:cNvSpPr>
            <p:nvPr/>
          </p:nvSpPr>
          <p:spPr bwMode="gray">
            <a:xfrm>
              <a:off x="25663403" y="4032250"/>
              <a:ext cx="920883" cy="2016080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87"/>
              <a:endParaRPr lang="en-GB" sz="2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Rectangle 8"/>
            <p:cNvSpPr>
              <a:spLocks noChangeArrowheads="1"/>
            </p:cNvSpPr>
            <p:nvPr/>
          </p:nvSpPr>
          <p:spPr bwMode="gray">
            <a:xfrm>
              <a:off x="25049482" y="2899477"/>
              <a:ext cx="734694" cy="1289321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87"/>
              <a:endParaRPr lang="en-GB" sz="2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Rectangle 9"/>
            <p:cNvSpPr>
              <a:spLocks noChangeArrowheads="1"/>
            </p:cNvSpPr>
            <p:nvPr/>
          </p:nvSpPr>
          <p:spPr bwMode="gray">
            <a:xfrm>
              <a:off x="25049482" y="4032250"/>
              <a:ext cx="734693" cy="2016080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87"/>
              <a:endParaRPr lang="en-GB" sz="2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" name="Rectangle 11"/>
            <p:cNvSpPr>
              <a:spLocks noChangeArrowheads="1"/>
            </p:cNvSpPr>
            <p:nvPr/>
          </p:nvSpPr>
          <p:spPr bwMode="gray">
            <a:xfrm>
              <a:off x="24665780" y="695834"/>
              <a:ext cx="477045" cy="2274378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87"/>
              <a:endParaRPr lang="en-GB" sz="2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3" name="Rectangle 12"/>
            <p:cNvSpPr>
              <a:spLocks noChangeArrowheads="1"/>
            </p:cNvSpPr>
            <p:nvPr/>
          </p:nvSpPr>
          <p:spPr bwMode="gray">
            <a:xfrm>
              <a:off x="24665780" y="2899478"/>
              <a:ext cx="477045" cy="1289321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87"/>
              <a:endParaRPr lang="en-GB" sz="2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0" name="Rectangle 13"/>
            <p:cNvSpPr>
              <a:spLocks noChangeArrowheads="1"/>
            </p:cNvSpPr>
            <p:nvPr/>
          </p:nvSpPr>
          <p:spPr bwMode="gray">
            <a:xfrm>
              <a:off x="24665780" y="4032250"/>
              <a:ext cx="477045" cy="2016080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87"/>
              <a:endParaRPr lang="en-GB" sz="2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1" name="Rectangle 14"/>
            <p:cNvSpPr>
              <a:spLocks noChangeArrowheads="1"/>
            </p:cNvSpPr>
            <p:nvPr/>
          </p:nvSpPr>
          <p:spPr bwMode="gray">
            <a:xfrm>
              <a:off x="19140488" y="669925"/>
              <a:ext cx="5678603" cy="2300288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87"/>
              <a:endParaRPr lang="en-GB" sz="2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2" name="Rectangle 15"/>
            <p:cNvSpPr>
              <a:spLocks noChangeArrowheads="1"/>
            </p:cNvSpPr>
            <p:nvPr/>
          </p:nvSpPr>
          <p:spPr bwMode="gray">
            <a:xfrm>
              <a:off x="19140488" y="2899478"/>
              <a:ext cx="5678603" cy="1289321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87"/>
              <a:endParaRPr lang="en-GB" sz="2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3" name="Freeform 16"/>
            <p:cNvSpPr>
              <a:spLocks/>
            </p:cNvSpPr>
            <p:nvPr/>
          </p:nvSpPr>
          <p:spPr bwMode="gray">
            <a:xfrm>
              <a:off x="19140488" y="4032250"/>
              <a:ext cx="5678603" cy="201608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87"/>
              <a:endParaRPr lang="en-GB" sz="2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" name="Rectangle 10"/>
            <p:cNvSpPr>
              <a:spLocks noChangeArrowheads="1"/>
            </p:cNvSpPr>
            <p:nvPr/>
          </p:nvSpPr>
          <p:spPr bwMode="gray">
            <a:xfrm>
              <a:off x="19140487" y="306163"/>
              <a:ext cx="5678602" cy="389671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87"/>
              <a:endParaRPr lang="en-GB" sz="200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25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882443" y="838200"/>
            <a:ext cx="5383882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2800" b="1" i="1" baseline="0">
                <a:solidFill>
                  <a:schemeClr val="bg1"/>
                </a:solidFill>
              </a:defRPr>
            </a:lvl1pPr>
          </a:lstStyle>
          <a:p>
            <a:r>
              <a:rPr lang="ru-RU" noProof="0" dirty="0" err="1" smtClean="0"/>
              <a:t>Click</a:t>
            </a:r>
            <a:r>
              <a:rPr lang="ru-RU" noProof="0" dirty="0" smtClean="0"/>
              <a:t> </a:t>
            </a:r>
            <a:r>
              <a:rPr lang="ru-RU" noProof="0" dirty="0" err="1" smtClean="0"/>
              <a:t>to</a:t>
            </a:r>
            <a:r>
              <a:rPr lang="ru-RU" noProof="0" dirty="0" smtClean="0"/>
              <a:t> </a:t>
            </a:r>
            <a:r>
              <a:rPr lang="ru-RU" noProof="0" dirty="0" err="1" smtClean="0"/>
              <a:t>add</a:t>
            </a:r>
            <a:r>
              <a:rPr lang="ru-RU" noProof="0" dirty="0" smtClean="0"/>
              <a:t> </a:t>
            </a:r>
            <a:r>
              <a:rPr lang="ru-RU" noProof="0" dirty="0" err="1" smtClean="0"/>
              <a:t>the</a:t>
            </a:r>
            <a:r>
              <a:rPr lang="ru-RU" noProof="0" dirty="0" smtClean="0"/>
              <a:t> </a:t>
            </a:r>
            <a:r>
              <a:rPr lang="ru-RU" noProof="0" dirty="0" err="1" smtClean="0"/>
              <a:t>presentation’s</a:t>
            </a:r>
            <a:r>
              <a:rPr lang="ru-RU" noProof="0" dirty="0" smtClean="0"/>
              <a:t> </a:t>
            </a:r>
            <a:r>
              <a:rPr lang="ru-RU" noProof="0" dirty="0" err="1" smtClean="0"/>
              <a:t>main</a:t>
            </a:r>
            <a:r>
              <a:rPr lang="ru-RU" noProof="0" dirty="0" smtClean="0"/>
              <a:t> </a:t>
            </a:r>
            <a:r>
              <a:rPr lang="ru-RU" noProof="0" dirty="0" err="1" smtClean="0"/>
              <a:t>title</a:t>
            </a:r>
            <a:endParaRPr lang="ru-RU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882443" y="1828836"/>
            <a:ext cx="5383882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8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700">
                <a:solidFill>
                  <a:schemeClr val="bg1"/>
                </a:solidFill>
                <a:latin typeface="+mj-lt"/>
              </a:defRPr>
            </a:lvl2pPr>
            <a:lvl3pPr marL="441832" indent="0" algn="l">
              <a:buNone/>
              <a:defRPr sz="1700">
                <a:solidFill>
                  <a:schemeClr val="bg1"/>
                </a:solidFill>
                <a:latin typeface="+mj-lt"/>
              </a:defRPr>
            </a:lvl3pPr>
            <a:lvl4pPr marL="883664" indent="0" algn="l">
              <a:buNone/>
              <a:defRPr sz="1700">
                <a:solidFill>
                  <a:schemeClr val="bg1"/>
                </a:solidFill>
                <a:latin typeface="+mj-lt"/>
              </a:defRPr>
            </a:lvl4pPr>
            <a:lvl5pPr marL="1325496" indent="0" algn="l">
              <a:buNone/>
              <a:defRPr sz="1700">
                <a:solidFill>
                  <a:schemeClr val="bg1"/>
                </a:solidFill>
                <a:latin typeface="+mj-lt"/>
              </a:defRPr>
            </a:lvl5pPr>
            <a:lvl6pPr marL="1767327" indent="0" algn="l">
              <a:buNone/>
              <a:defRPr sz="1700">
                <a:solidFill>
                  <a:schemeClr val="bg1"/>
                </a:solidFill>
                <a:latin typeface="+mj-lt"/>
              </a:defRPr>
            </a:lvl6pPr>
            <a:lvl7pPr marL="2209160" indent="0" algn="l">
              <a:buNone/>
              <a:defRPr sz="1700">
                <a:solidFill>
                  <a:schemeClr val="bg1"/>
                </a:solidFill>
                <a:latin typeface="+mj-lt"/>
              </a:defRPr>
            </a:lvl7pPr>
            <a:lvl8pPr marL="2650991" indent="0" algn="l">
              <a:buNone/>
              <a:defRPr sz="1700">
                <a:solidFill>
                  <a:schemeClr val="bg1"/>
                </a:solidFill>
                <a:latin typeface="+mj-lt"/>
              </a:defRPr>
            </a:lvl8pPr>
            <a:lvl9pPr marL="3092823" indent="0" algn="l">
              <a:buNone/>
              <a:defRPr sz="17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ru-RU" noProof="0" dirty="0" err="1" smtClean="0"/>
              <a:t>Subtitle</a:t>
            </a:r>
            <a:r>
              <a:rPr lang="ru-RU" noProof="0" dirty="0" smtClean="0"/>
              <a:t> </a:t>
            </a:r>
            <a:r>
              <a:rPr lang="ru-RU" noProof="0" dirty="0" err="1" smtClean="0"/>
              <a:t>and</a:t>
            </a:r>
            <a:r>
              <a:rPr lang="ru-RU" noProof="0" dirty="0" smtClean="0"/>
              <a:t> </a:t>
            </a:r>
            <a:r>
              <a:rPr lang="ru-RU" noProof="0" dirty="0" err="1" smtClean="0"/>
              <a:t>date</a:t>
            </a:r>
            <a:r>
              <a:rPr lang="ru-RU" noProof="0" dirty="0" smtClean="0"/>
              <a:t> (</a:t>
            </a:r>
            <a:r>
              <a:rPr lang="ru-RU" noProof="0" dirty="0" err="1" smtClean="0"/>
              <a:t>move</a:t>
            </a:r>
            <a:r>
              <a:rPr lang="ru-RU" noProof="0" dirty="0" smtClean="0"/>
              <a:t> </a:t>
            </a:r>
            <a:r>
              <a:rPr lang="ru-RU" noProof="0" dirty="0" err="1" smtClean="0"/>
              <a:t>higher</a:t>
            </a:r>
            <a:r>
              <a:rPr lang="ru-RU" noProof="0" dirty="0" smtClean="0"/>
              <a:t> </a:t>
            </a:r>
            <a:r>
              <a:rPr lang="ru-RU" noProof="0" dirty="0" err="1" smtClean="0"/>
              <a:t>if</a:t>
            </a:r>
            <a:r>
              <a:rPr lang="ru-RU" noProof="0" dirty="0" smtClean="0"/>
              <a:t> </a:t>
            </a:r>
            <a:r>
              <a:rPr lang="ru-RU" noProof="0" dirty="0" err="1" smtClean="0"/>
              <a:t>title</a:t>
            </a:r>
            <a:r>
              <a:rPr lang="ru-RU" noProof="0" dirty="0" smtClean="0"/>
              <a:t> </a:t>
            </a:r>
            <a:r>
              <a:rPr lang="ru-RU" noProof="0" dirty="0" err="1" smtClean="0"/>
              <a:t>is</a:t>
            </a:r>
            <a:r>
              <a:rPr lang="ru-RU" noProof="0" dirty="0" smtClean="0"/>
              <a:t> </a:t>
            </a:r>
            <a:r>
              <a:rPr lang="ru-RU" noProof="0" dirty="0" err="1" smtClean="0"/>
              <a:t>only</a:t>
            </a:r>
            <a:r>
              <a:rPr lang="ru-RU" noProof="0" dirty="0" smtClean="0"/>
              <a:t> </a:t>
            </a:r>
            <a:r>
              <a:rPr lang="ru-RU" noProof="0" dirty="0" err="1" smtClean="0"/>
              <a:t>one</a:t>
            </a:r>
            <a:r>
              <a:rPr lang="ru-RU" noProof="0" dirty="0" smtClean="0"/>
              <a:t> </a:t>
            </a:r>
            <a:r>
              <a:rPr lang="ru-RU" noProof="0" dirty="0" err="1" smtClean="0"/>
              <a:t>line</a:t>
            </a:r>
            <a:r>
              <a:rPr lang="ru-RU" noProof="0" dirty="0" smtClean="0"/>
              <a:t>)</a:t>
            </a:r>
          </a:p>
        </p:txBody>
      </p:sp>
      <p:grpSp>
        <p:nvGrpSpPr>
          <p:cNvPr id="20" name="Group 32"/>
          <p:cNvGrpSpPr/>
          <p:nvPr userDrawn="1"/>
        </p:nvGrpSpPr>
        <p:grpSpPr>
          <a:xfrm>
            <a:off x="1083783" y="6064295"/>
            <a:ext cx="782026" cy="483962"/>
            <a:chOff x="518032" y="978681"/>
            <a:chExt cx="4572000" cy="2667393"/>
          </a:xfrm>
        </p:grpSpPr>
        <p:sp>
          <p:nvSpPr>
            <p:cNvPr id="21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87"/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87"/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36" name="PwCFirm"/>
          <p:cNvSpPr txBox="1"/>
          <p:nvPr userDrawn="1"/>
        </p:nvSpPr>
        <p:spPr>
          <a:xfrm>
            <a:off x="1882442" y="400827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defTabSz="914287"/>
            <a:r>
              <a:rPr lang="en-US" sz="9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www.p</a:t>
            </a:r>
            <a:r>
              <a:rPr lang="ru-RU" sz="9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w</a:t>
            </a:r>
            <a:r>
              <a:rPr lang="en-US" sz="9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.ru</a:t>
            </a:r>
            <a:endParaRPr lang="ru-RU" sz="9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81214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BAADF0-1749-4E8B-9691-B44A5F8C0895}" type="datetime1">
              <a:rPr lang="en-US" smtClean="0"/>
              <a:t>3/23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Footer Text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B540C-44DA-4F69-89C9-7C84606640D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tangle 649"/>
          <p:cNvSpPr>
            <a:spLocks noChangeArrowheads="1"/>
          </p:cNvSpPr>
          <p:nvPr/>
        </p:nvSpPr>
        <p:spPr bwMode="gray">
          <a:xfrm>
            <a:off x="7391400" y="685803"/>
            <a:ext cx="1752600" cy="537849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88368" tIns="44184" rIns="88368" bIns="44184" numCol="1" anchor="t" anchorCtr="0" compatLnSpc="1">
            <a:prstTxWarp prst="textNoShape">
              <a:avLst/>
            </a:prstTxWarp>
          </a:bodyPr>
          <a:lstStyle/>
          <a:p>
            <a:pPr defTabSz="914287"/>
            <a:endParaRPr lang="ru-RU" sz="20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Rectangle 648"/>
          <p:cNvSpPr>
            <a:spLocks noChangeArrowheads="1"/>
          </p:cNvSpPr>
          <p:nvPr/>
        </p:nvSpPr>
        <p:spPr bwMode="gray">
          <a:xfrm>
            <a:off x="1752600" y="293927"/>
            <a:ext cx="5638800" cy="39187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88368" tIns="44184" rIns="88368" bIns="44184" numCol="1" anchor="t" anchorCtr="0" compatLnSpc="1">
            <a:prstTxWarp prst="textNoShape">
              <a:avLst/>
            </a:prstTxWarp>
          </a:bodyPr>
          <a:lstStyle/>
          <a:p>
            <a:pPr defTabSz="914287"/>
            <a:endParaRPr lang="ru-RU" sz="20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3" name="Rectangle 650"/>
          <p:cNvSpPr>
            <a:spLocks noChangeArrowheads="1"/>
          </p:cNvSpPr>
          <p:nvPr/>
        </p:nvSpPr>
        <p:spPr bwMode="gray">
          <a:xfrm>
            <a:off x="1752600" y="685837"/>
            <a:ext cx="5638800" cy="5378493"/>
          </a:xfrm>
          <a:prstGeom prst="rect">
            <a:avLst/>
          </a:prstGeom>
          <a:solidFill>
            <a:schemeClr val="tx2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88368" tIns="44184" rIns="88368" bIns="44184" numCol="1" anchor="t" anchorCtr="0" compatLnSpc="1">
            <a:prstTxWarp prst="textNoShape">
              <a:avLst/>
            </a:prstTxWarp>
          </a:bodyPr>
          <a:lstStyle/>
          <a:p>
            <a:pPr defTabSz="914287"/>
            <a:endParaRPr lang="ru-RU" sz="20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882443" y="838200"/>
            <a:ext cx="5383882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2800" b="1" i="1" baseline="0">
                <a:solidFill>
                  <a:schemeClr val="bg1"/>
                </a:solidFill>
              </a:defRPr>
            </a:lvl1pPr>
          </a:lstStyle>
          <a:p>
            <a:r>
              <a:rPr lang="ru-RU" noProof="0" dirty="0" err="1" smtClean="0"/>
              <a:t>Click</a:t>
            </a:r>
            <a:r>
              <a:rPr lang="ru-RU" noProof="0" dirty="0" smtClean="0"/>
              <a:t> </a:t>
            </a:r>
            <a:r>
              <a:rPr lang="ru-RU" noProof="0" dirty="0" err="1" smtClean="0"/>
              <a:t>to</a:t>
            </a:r>
            <a:r>
              <a:rPr lang="ru-RU" noProof="0" dirty="0" smtClean="0"/>
              <a:t> </a:t>
            </a:r>
            <a:r>
              <a:rPr lang="ru-RU" noProof="0" dirty="0" err="1" smtClean="0"/>
              <a:t>add</a:t>
            </a:r>
            <a:r>
              <a:rPr lang="ru-RU" noProof="0" dirty="0" smtClean="0"/>
              <a:t> </a:t>
            </a:r>
            <a:r>
              <a:rPr lang="ru-RU" noProof="0" dirty="0" err="1" smtClean="0"/>
              <a:t>the</a:t>
            </a:r>
            <a:r>
              <a:rPr lang="ru-RU" noProof="0" dirty="0" smtClean="0"/>
              <a:t> </a:t>
            </a:r>
            <a:r>
              <a:rPr lang="ru-RU" noProof="0" dirty="0" err="1" smtClean="0"/>
              <a:t>presentation’s</a:t>
            </a:r>
            <a:r>
              <a:rPr lang="ru-RU" noProof="0" dirty="0" smtClean="0"/>
              <a:t> </a:t>
            </a:r>
            <a:r>
              <a:rPr lang="ru-RU" noProof="0" dirty="0" err="1" smtClean="0"/>
              <a:t>main</a:t>
            </a:r>
            <a:r>
              <a:rPr lang="ru-RU" noProof="0" dirty="0" smtClean="0"/>
              <a:t> </a:t>
            </a:r>
            <a:r>
              <a:rPr lang="ru-RU" noProof="0" dirty="0" err="1" smtClean="0"/>
              <a:t>title</a:t>
            </a:r>
            <a:endParaRPr lang="ru-RU" noProof="0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882443" y="1828836"/>
            <a:ext cx="5383882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8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700">
                <a:solidFill>
                  <a:schemeClr val="bg1"/>
                </a:solidFill>
                <a:latin typeface="+mj-lt"/>
              </a:defRPr>
            </a:lvl2pPr>
            <a:lvl3pPr marL="441832" indent="0" algn="l">
              <a:buNone/>
              <a:defRPr sz="1700">
                <a:solidFill>
                  <a:schemeClr val="bg1"/>
                </a:solidFill>
                <a:latin typeface="+mj-lt"/>
              </a:defRPr>
            </a:lvl3pPr>
            <a:lvl4pPr marL="883664" indent="0" algn="l">
              <a:buNone/>
              <a:defRPr sz="1700">
                <a:solidFill>
                  <a:schemeClr val="bg1"/>
                </a:solidFill>
                <a:latin typeface="+mj-lt"/>
              </a:defRPr>
            </a:lvl4pPr>
            <a:lvl5pPr marL="1325496" indent="0" algn="l">
              <a:buNone/>
              <a:defRPr sz="1700">
                <a:solidFill>
                  <a:schemeClr val="bg1"/>
                </a:solidFill>
                <a:latin typeface="+mj-lt"/>
              </a:defRPr>
            </a:lvl5pPr>
            <a:lvl6pPr marL="1767327" indent="0" algn="l">
              <a:buNone/>
              <a:defRPr sz="1700">
                <a:solidFill>
                  <a:schemeClr val="bg1"/>
                </a:solidFill>
                <a:latin typeface="+mj-lt"/>
              </a:defRPr>
            </a:lvl6pPr>
            <a:lvl7pPr marL="2209160" indent="0" algn="l">
              <a:buNone/>
              <a:defRPr sz="1700">
                <a:solidFill>
                  <a:schemeClr val="bg1"/>
                </a:solidFill>
                <a:latin typeface="+mj-lt"/>
              </a:defRPr>
            </a:lvl7pPr>
            <a:lvl8pPr marL="2650991" indent="0" algn="l">
              <a:buNone/>
              <a:defRPr sz="1700">
                <a:solidFill>
                  <a:schemeClr val="bg1"/>
                </a:solidFill>
                <a:latin typeface="+mj-lt"/>
              </a:defRPr>
            </a:lvl8pPr>
            <a:lvl9pPr marL="3092823" indent="0" algn="l">
              <a:buNone/>
              <a:defRPr sz="17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ru-RU" noProof="0" dirty="0" err="1" smtClean="0"/>
              <a:t>Subtitle</a:t>
            </a:r>
            <a:r>
              <a:rPr lang="ru-RU" noProof="0" dirty="0" smtClean="0"/>
              <a:t> </a:t>
            </a:r>
            <a:r>
              <a:rPr lang="ru-RU" noProof="0" dirty="0" err="1" smtClean="0"/>
              <a:t>and</a:t>
            </a:r>
            <a:r>
              <a:rPr lang="ru-RU" noProof="0" dirty="0" smtClean="0"/>
              <a:t> </a:t>
            </a:r>
            <a:r>
              <a:rPr lang="ru-RU" noProof="0" dirty="0" err="1" smtClean="0"/>
              <a:t>date</a:t>
            </a:r>
            <a:r>
              <a:rPr lang="ru-RU" noProof="0" dirty="0" smtClean="0"/>
              <a:t> (</a:t>
            </a:r>
            <a:r>
              <a:rPr lang="ru-RU" noProof="0" dirty="0" err="1" smtClean="0"/>
              <a:t>move</a:t>
            </a:r>
            <a:r>
              <a:rPr lang="ru-RU" noProof="0" dirty="0" smtClean="0"/>
              <a:t> </a:t>
            </a:r>
            <a:r>
              <a:rPr lang="ru-RU" noProof="0" dirty="0" err="1" smtClean="0"/>
              <a:t>higher</a:t>
            </a:r>
            <a:r>
              <a:rPr lang="ru-RU" noProof="0" dirty="0" smtClean="0"/>
              <a:t> </a:t>
            </a:r>
            <a:r>
              <a:rPr lang="ru-RU" noProof="0" dirty="0" err="1" smtClean="0"/>
              <a:t>if</a:t>
            </a:r>
            <a:r>
              <a:rPr lang="ru-RU" noProof="0" dirty="0" smtClean="0"/>
              <a:t> </a:t>
            </a:r>
            <a:r>
              <a:rPr lang="ru-RU" noProof="0" dirty="0" err="1" smtClean="0"/>
              <a:t>title</a:t>
            </a:r>
            <a:r>
              <a:rPr lang="ru-RU" noProof="0" dirty="0" smtClean="0"/>
              <a:t> </a:t>
            </a:r>
            <a:r>
              <a:rPr lang="ru-RU" noProof="0" dirty="0" err="1" smtClean="0"/>
              <a:t>is</a:t>
            </a:r>
            <a:r>
              <a:rPr lang="ru-RU" noProof="0" dirty="0" smtClean="0"/>
              <a:t> </a:t>
            </a:r>
            <a:r>
              <a:rPr lang="ru-RU" noProof="0" dirty="0" err="1" smtClean="0"/>
              <a:t>only</a:t>
            </a:r>
            <a:r>
              <a:rPr lang="ru-RU" noProof="0" dirty="0" smtClean="0"/>
              <a:t> </a:t>
            </a:r>
            <a:r>
              <a:rPr lang="ru-RU" noProof="0" dirty="0" err="1" smtClean="0"/>
              <a:t>one</a:t>
            </a:r>
            <a:r>
              <a:rPr lang="ru-RU" noProof="0" dirty="0" smtClean="0"/>
              <a:t> </a:t>
            </a:r>
            <a:r>
              <a:rPr lang="ru-RU" noProof="0" dirty="0" err="1" smtClean="0"/>
              <a:t>line</a:t>
            </a:r>
            <a:r>
              <a:rPr lang="ru-RU" noProof="0" dirty="0" smtClean="0"/>
              <a:t>)</a:t>
            </a:r>
          </a:p>
        </p:txBody>
      </p:sp>
      <p:grpSp>
        <p:nvGrpSpPr>
          <p:cNvPr id="17" name="Group 32"/>
          <p:cNvGrpSpPr/>
          <p:nvPr userDrawn="1"/>
        </p:nvGrpSpPr>
        <p:grpSpPr>
          <a:xfrm>
            <a:off x="1083783" y="6064295"/>
            <a:ext cx="782026" cy="483962"/>
            <a:chOff x="518032" y="978681"/>
            <a:chExt cx="4572000" cy="2667393"/>
          </a:xfrm>
        </p:grpSpPr>
        <p:sp>
          <p:nvSpPr>
            <p:cNvPr id="18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DC69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87"/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287"/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20" name="PwCFirm"/>
          <p:cNvSpPr txBox="1"/>
          <p:nvPr userDrawn="1"/>
        </p:nvSpPr>
        <p:spPr>
          <a:xfrm>
            <a:off x="1882442" y="400827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defTabSz="914287"/>
            <a:r>
              <a:rPr lang="en-US" sz="9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www.p</a:t>
            </a:r>
            <a:r>
              <a:rPr lang="ru-RU" sz="9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w</a:t>
            </a:r>
            <a:r>
              <a:rPr lang="en-US" sz="9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.ru</a:t>
            </a:r>
            <a:endParaRPr lang="ru-RU" sz="9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2524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04786" y="5567194"/>
            <a:ext cx="5399508" cy="762000"/>
          </a:xfrm>
        </p:spPr>
        <p:txBody>
          <a:bodyPr anchor="b"/>
          <a:lstStyle>
            <a:lvl1pPr>
              <a:defRPr sz="7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noProof="0" dirty="0" err="1" smtClean="0"/>
              <a:t>Add</a:t>
            </a:r>
            <a:r>
              <a:rPr lang="ru-RU" noProof="0" dirty="0" smtClean="0"/>
              <a:t> </a:t>
            </a:r>
            <a:r>
              <a:rPr lang="ru-RU" noProof="0" dirty="0" err="1" smtClean="0"/>
              <a:t>legal</a:t>
            </a:r>
            <a:r>
              <a:rPr lang="ru-RU" noProof="0" dirty="0" smtClean="0"/>
              <a:t> </a:t>
            </a:r>
            <a:r>
              <a:rPr lang="ru-RU" noProof="0" dirty="0" err="1" smtClean="0"/>
              <a:t>and</a:t>
            </a:r>
            <a:r>
              <a:rPr lang="ru-RU" noProof="0" dirty="0" smtClean="0"/>
              <a:t> </a:t>
            </a:r>
            <a:r>
              <a:rPr lang="ru-RU" noProof="0" dirty="0" err="1" smtClean="0"/>
              <a:t>copyright</a:t>
            </a:r>
            <a:r>
              <a:rPr lang="ru-RU" noProof="0" dirty="0" smtClean="0"/>
              <a:t> </a:t>
            </a:r>
            <a:r>
              <a:rPr lang="ru-RU" noProof="0" dirty="0" err="1" smtClean="0"/>
              <a:t>disclaimers</a:t>
            </a:r>
            <a:r>
              <a:rPr lang="ru-RU" noProof="0" dirty="0" smtClean="0"/>
              <a:t> </a:t>
            </a:r>
            <a:r>
              <a:rPr lang="ru-RU" noProof="0" dirty="0" err="1" smtClean="0"/>
              <a:t>here</a:t>
            </a:r>
            <a:r>
              <a:rPr lang="ru-RU" noProof="0" dirty="0" smtClean="0"/>
              <a:t>.</a:t>
            </a:r>
            <a:endParaRPr lang="ru-RU" noProof="0" dirty="0"/>
          </a:p>
        </p:txBody>
      </p:sp>
      <p:cxnSp>
        <p:nvCxnSpPr>
          <p:cNvPr id="5" name="Shape 14"/>
          <p:cNvCxnSpPr/>
          <p:nvPr userDrawn="1"/>
        </p:nvCxnSpPr>
        <p:spPr>
          <a:xfrm rot="5400000" flipH="1" flipV="1">
            <a:off x="4442257" y="-3466125"/>
            <a:ext cx="130634" cy="8282084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504804" y="685800"/>
            <a:ext cx="8146615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800"/>
            </a:lvl1pPr>
          </a:lstStyle>
          <a:p>
            <a:r>
              <a:rPr lang="en-US" noProof="0" smtClean="0"/>
              <a:t>Click to edit Master title style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3976123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52" y="1"/>
            <a:ext cx="9176004" cy="688264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82257" y="1723914"/>
            <a:ext cx="5712618" cy="1368425"/>
          </a:xfrm>
        </p:spPr>
        <p:txBody>
          <a:bodyPr anchor="t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22878" y="3429013"/>
            <a:ext cx="4582041" cy="27699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4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84895" y="3429013"/>
            <a:ext cx="1132960" cy="276999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1400">
                <a:solidFill>
                  <a:schemeClr val="tx1"/>
                </a:solidFill>
              </a:defRPr>
            </a:lvl1pPr>
          </a:lstStyle>
          <a:p>
            <a:fld id="{D02FC29B-0F10-49D1-9BBF-69BAF008AAF1}" type="datetime1">
              <a:rPr lang="en-GB" smtClean="0">
                <a:solidFill>
                  <a:prstClr val="black"/>
                </a:solidFill>
                <a:latin typeface="Arial"/>
              </a:rPr>
              <a:pPr/>
              <a:t>23/03/2017</a:t>
            </a:fld>
            <a:endParaRPr lang="en-GB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9" name="Rectangle 8"/>
          <p:cNvSpPr/>
          <p:nvPr userDrawn="1"/>
        </p:nvSpPr>
        <p:spPr>
          <a:xfrm rot="16200000">
            <a:off x="1435835" y="142010"/>
            <a:ext cx="691603" cy="1798722"/>
          </a:xfrm>
          <a:prstGeom prst="rect">
            <a:avLst/>
          </a:prstGeom>
          <a:solidFill>
            <a:srgbClr val="B2B3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 defTabSz="685800"/>
            <a:endParaRPr lang="en-GB" sz="140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1" name="Immagine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6978" y="4607755"/>
            <a:ext cx="3025541" cy="1913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7130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952ECD20-5632-4E2C-8518-B79016B9B63F}" type="datetime1">
              <a:rPr lang="en-GB" smtClean="0">
                <a:solidFill>
                  <a:srgbClr val="C6C6C6">
                    <a:lumMod val="75000"/>
                  </a:srgbClr>
                </a:solidFill>
                <a:latin typeface="Arial"/>
              </a:rPr>
              <a:pPr/>
              <a:t>23/03/2017</a:t>
            </a:fld>
            <a:endParaRPr lang="en-GB" dirty="0">
              <a:solidFill>
                <a:srgbClr val="C6C6C6">
                  <a:lumMod val="75000"/>
                </a:srgbClr>
              </a:solidFill>
              <a:latin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endParaRPr lang="en-GB" dirty="0">
              <a:solidFill>
                <a:srgbClr val="C6C6C6">
                  <a:lumMod val="75000"/>
                </a:srgbClr>
              </a:solidFill>
              <a:latin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  <a:latin typeface="Arial"/>
              </a:rPr>
              <a:pPr/>
              <a:t>‹#›</a:t>
            </a:fld>
            <a:endParaRPr lang="en-GB" dirty="0">
              <a:solidFill>
                <a:srgbClr val="C6C6C6">
                  <a:lumMod val="75000"/>
                </a:srgbClr>
              </a:solidFill>
              <a:latin typeface="Arial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1" y="1085403"/>
            <a:ext cx="6281738" cy="27699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31645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579158" y="6264005"/>
            <a:ext cx="1132960" cy="153888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B7798F1E-5DEF-466D-B29C-C6A750B33BFD}" type="datetime1">
              <a:rPr lang="en-GB" smtClean="0">
                <a:solidFill>
                  <a:srgbClr val="C6C6C6">
                    <a:lumMod val="75000"/>
                  </a:srgbClr>
                </a:solidFill>
                <a:latin typeface="Arial"/>
              </a:rPr>
              <a:pPr/>
              <a:t>23/03/2017</a:t>
            </a:fld>
            <a:endParaRPr lang="en-GB" dirty="0">
              <a:solidFill>
                <a:srgbClr val="C6C6C6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712138" y="6264005"/>
            <a:ext cx="6286499" cy="153888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C6C6C6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998619" y="6264005"/>
            <a:ext cx="571500" cy="153888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  <a:latin typeface="Arial"/>
              </a:rPr>
              <a:pPr/>
              <a:t>‹#›</a:t>
            </a:fld>
            <a:endParaRPr lang="en-GB" dirty="0">
              <a:solidFill>
                <a:srgbClr val="C6C6C6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1150891" y="1363716"/>
            <a:ext cx="4557739" cy="2054225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Click to edit </a:t>
            </a:r>
            <a:br>
              <a:rPr lang="en-GB" dirty="0" smtClean="0"/>
            </a:br>
            <a:r>
              <a:rPr lang="en-GB" dirty="0" smtClean="0"/>
              <a:t>Master title style</a:t>
            </a:r>
            <a:endParaRPr lang="en-GB" dirty="0"/>
          </a:p>
        </p:txBody>
      </p:sp>
      <p:sp>
        <p:nvSpPr>
          <p:cNvPr id="29" name="Rectangle 28"/>
          <p:cNvSpPr/>
          <p:nvPr userDrawn="1"/>
        </p:nvSpPr>
        <p:spPr>
          <a:xfrm rot="16200000">
            <a:off x="2022035" y="2820168"/>
            <a:ext cx="1098240" cy="285631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 defTabSz="685800"/>
            <a:endParaRPr lang="en-GB" sz="1400" dirty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8" name="Picture 2" descr="\\psf\Home\Desktop\ENELLOGO1.jp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575364" y="690091"/>
            <a:ext cx="994754" cy="48059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668478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19" y="2057407"/>
            <a:ext cx="4000501" cy="410845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9" y="2057407"/>
            <a:ext cx="3998119" cy="410845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A60D0C-58E8-437A-94E3-7300F2AABB0D}" type="datetime1">
              <a:rPr lang="en-GB" smtClean="0">
                <a:solidFill>
                  <a:srgbClr val="C6C6C6">
                    <a:lumMod val="75000"/>
                  </a:srgbClr>
                </a:solidFill>
                <a:latin typeface="Arial"/>
              </a:rPr>
              <a:pPr/>
              <a:t>23/03/2017</a:t>
            </a:fld>
            <a:endParaRPr lang="en-GB" dirty="0">
              <a:solidFill>
                <a:srgbClr val="C6C6C6">
                  <a:lumMod val="75000"/>
                </a:srgbClr>
              </a:solidFill>
              <a:latin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C6C6C6">
                  <a:lumMod val="75000"/>
                </a:srgbClr>
              </a:solidFill>
              <a:latin typeface="Aria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  <a:latin typeface="Arial"/>
              </a:rPr>
              <a:pPr/>
              <a:t>‹#›</a:t>
            </a:fld>
            <a:endParaRPr lang="en-GB" dirty="0">
              <a:solidFill>
                <a:srgbClr val="C6C6C6">
                  <a:lumMod val="75000"/>
                </a:srgbClr>
              </a:solidFill>
              <a:latin typeface="Arial"/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1" y="1085403"/>
            <a:ext cx="6281738" cy="27699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8554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2" y="2057407"/>
            <a:ext cx="2665809" cy="410845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237310" y="2057407"/>
            <a:ext cx="2665808" cy="410845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672A1D-929E-4EEE-A207-D882334E9B3B}" type="datetime1">
              <a:rPr lang="en-GB" smtClean="0">
                <a:solidFill>
                  <a:srgbClr val="C6C6C6">
                    <a:lumMod val="75000"/>
                  </a:srgbClr>
                </a:solidFill>
                <a:latin typeface="Arial"/>
              </a:rPr>
              <a:pPr/>
              <a:t>23/03/2017</a:t>
            </a:fld>
            <a:endParaRPr lang="en-GB" dirty="0">
              <a:solidFill>
                <a:srgbClr val="C6C6C6">
                  <a:lumMod val="75000"/>
                </a:srgbClr>
              </a:solidFill>
              <a:latin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C6C6C6">
                  <a:lumMod val="75000"/>
                </a:srgbClr>
              </a:solidFill>
              <a:latin typeface="Aria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  <a:latin typeface="Arial"/>
              </a:rPr>
              <a:pPr/>
              <a:t>‹#›</a:t>
            </a:fld>
            <a:endParaRPr lang="en-GB" dirty="0">
              <a:solidFill>
                <a:srgbClr val="C6C6C6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5903119" y="2057407"/>
            <a:ext cx="2665808" cy="410845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71501" y="1085403"/>
            <a:ext cx="6281738" cy="27699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25865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900"/>
              </a:spcBef>
              <a:spcAft>
                <a:spcPts val="900"/>
              </a:spcAft>
              <a:defRPr sz="2900"/>
            </a:lvl1pPr>
            <a:lvl2pPr>
              <a:defRPr i="1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68FB7F-D516-47E9-B930-F0AD923E5458}" type="datetime1">
              <a:rPr lang="en-GB" smtClean="0">
                <a:solidFill>
                  <a:srgbClr val="C6C6C6">
                    <a:lumMod val="75000"/>
                  </a:srgbClr>
                </a:solidFill>
                <a:latin typeface="Arial"/>
              </a:rPr>
              <a:pPr/>
              <a:t>23/03/2017</a:t>
            </a:fld>
            <a:endParaRPr lang="en-GB" dirty="0">
              <a:solidFill>
                <a:srgbClr val="C6C6C6">
                  <a:lumMod val="75000"/>
                </a:srgbClr>
              </a:solidFill>
              <a:latin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C6C6C6">
                  <a:lumMod val="75000"/>
                </a:srgbClr>
              </a:solidFill>
              <a:latin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  <a:latin typeface="Arial"/>
              </a:rPr>
              <a:pPr/>
              <a:t>‹#›</a:t>
            </a:fld>
            <a:endParaRPr lang="en-GB" dirty="0">
              <a:solidFill>
                <a:srgbClr val="C6C6C6">
                  <a:lumMod val="75000"/>
                </a:srgbClr>
              </a:solidFill>
              <a:latin typeface="Arial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1" y="1085403"/>
            <a:ext cx="6281738" cy="27699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75832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DD5E630-F13E-4569-957A-98564E66D872}" type="datetime1">
              <a:rPr lang="en-GB" smtClean="0">
                <a:solidFill>
                  <a:prstClr val="white"/>
                </a:solidFill>
                <a:latin typeface="Arial"/>
              </a:rPr>
              <a:pPr/>
              <a:t>23/03/2017</a:t>
            </a:fld>
            <a:endParaRPr lang="en-GB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prstClr val="white"/>
                </a:solidFill>
                <a:latin typeface="Arial"/>
              </a:rPr>
              <a:pPr/>
              <a:t>‹#›</a:t>
            </a:fld>
            <a:endParaRPr lang="en-GB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7" name="Rectangle 6"/>
          <p:cNvSpPr/>
          <p:nvPr userDrawn="1"/>
        </p:nvSpPr>
        <p:spPr>
          <a:xfrm rot="5400000">
            <a:off x="1274306" y="-13813"/>
            <a:ext cx="878043" cy="22836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 defTabSz="685800"/>
            <a:endParaRPr lang="en-GB" sz="1400" dirty="0">
              <a:solidFill>
                <a:srgbClr val="0655FA"/>
              </a:solidFill>
              <a:latin typeface="Arial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79177" y="1905925"/>
            <a:ext cx="5704961" cy="3577307"/>
          </a:xfr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08256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8BECB-F1E9-4682-82C5-2956D1FE909F}" type="datetime1">
              <a:rPr lang="en-GB" smtClean="0">
                <a:solidFill>
                  <a:srgbClr val="C6C6C6">
                    <a:lumMod val="75000"/>
                  </a:srgbClr>
                </a:solidFill>
                <a:latin typeface="Arial"/>
              </a:rPr>
              <a:pPr/>
              <a:t>23/03/2017</a:t>
            </a:fld>
            <a:endParaRPr lang="en-GB" dirty="0">
              <a:solidFill>
                <a:srgbClr val="C6C6C6">
                  <a:lumMod val="75000"/>
                </a:srgbClr>
              </a:solidFill>
              <a:latin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C6C6C6">
                  <a:lumMod val="75000"/>
                </a:srgbClr>
              </a:solidFill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  <a:latin typeface="Arial"/>
              </a:rPr>
              <a:pPr/>
              <a:t>‹#›</a:t>
            </a:fld>
            <a:endParaRPr lang="en-GB" dirty="0">
              <a:solidFill>
                <a:srgbClr val="C6C6C6">
                  <a:lumMod val="75000"/>
                </a:srgbClr>
              </a:solidFill>
              <a:latin typeface="Arial"/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1" y="1085403"/>
            <a:ext cx="6281738" cy="27699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19373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AF628A-A867-4937-BBE5-207DB6F9C51A}" type="datetime1">
              <a:rPr lang="en-US" smtClean="0"/>
              <a:t>3/23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Footer Text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B540C-44DA-4F69-89C9-7C84606640D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  <a:latin typeface="Arial"/>
              </a:rPr>
              <a:pPr/>
              <a:t>‹#›</a:t>
            </a:fld>
            <a:endParaRPr lang="en-GB" dirty="0">
              <a:solidFill>
                <a:srgbClr val="C6C6C6">
                  <a:lumMod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3756113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EE830810-6506-43D6-8C68-E93C19762893}" type="datetime1">
              <a:rPr lang="en-GB" smtClean="0">
                <a:solidFill>
                  <a:srgbClr val="C6C6C6">
                    <a:lumMod val="75000"/>
                  </a:srgbClr>
                </a:solidFill>
                <a:latin typeface="Arial"/>
              </a:rPr>
              <a:pPr/>
              <a:t>23/03/2017</a:t>
            </a:fld>
            <a:endParaRPr lang="en-GB" dirty="0">
              <a:solidFill>
                <a:srgbClr val="C6C6C6">
                  <a:lumMod val="75000"/>
                </a:srgbClr>
              </a:solidFill>
              <a:latin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endParaRPr lang="en-GB" dirty="0">
              <a:solidFill>
                <a:srgbClr val="C6C6C6">
                  <a:lumMod val="75000"/>
                </a:srgbClr>
              </a:solidFill>
              <a:latin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  <a:latin typeface="Arial"/>
              </a:rPr>
              <a:pPr/>
              <a:t>‹#›</a:t>
            </a:fld>
            <a:endParaRPr lang="en-GB" dirty="0">
              <a:solidFill>
                <a:srgbClr val="C6C6C6">
                  <a:lumMod val="75000"/>
                </a:srgbClr>
              </a:solidFill>
              <a:latin typeface="Arial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1" y="1085403"/>
            <a:ext cx="6281738" cy="27699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9904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19" y="2057407"/>
            <a:ext cx="4000501" cy="4108451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9" y="2057407"/>
            <a:ext cx="3998119" cy="4108451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8CBD1-5B99-4745-9668-A8002966A5A4}" type="datetime1">
              <a:rPr lang="en-GB" smtClean="0">
                <a:solidFill>
                  <a:srgbClr val="C6C6C6">
                    <a:lumMod val="75000"/>
                  </a:srgbClr>
                </a:solidFill>
                <a:latin typeface="Arial"/>
              </a:rPr>
              <a:pPr/>
              <a:t>23/03/2017</a:t>
            </a:fld>
            <a:endParaRPr lang="en-GB">
              <a:solidFill>
                <a:srgbClr val="C6C6C6">
                  <a:lumMod val="75000"/>
                </a:srgbClr>
              </a:solidFill>
              <a:latin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C6C6C6">
                  <a:lumMod val="75000"/>
                </a:srgbClr>
              </a:solidFill>
              <a:latin typeface="Aria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  <a:latin typeface="Arial"/>
              </a:rPr>
              <a:pPr/>
              <a:t>‹#›</a:t>
            </a:fld>
            <a:endParaRPr lang="en-GB">
              <a:solidFill>
                <a:srgbClr val="C6C6C6">
                  <a:lumMod val="75000"/>
                </a:srgbClr>
              </a:solidFill>
              <a:latin typeface="Arial"/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1" y="1085403"/>
            <a:ext cx="6281738" cy="27699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1495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85E878-5C4B-4273-A503-51EE58F75117}" type="datetime1">
              <a:rPr lang="en-GB" smtClean="0">
                <a:solidFill>
                  <a:srgbClr val="C6C6C6">
                    <a:lumMod val="75000"/>
                  </a:srgbClr>
                </a:solidFill>
                <a:latin typeface="Arial"/>
              </a:rPr>
              <a:pPr/>
              <a:t>23/03/2017</a:t>
            </a:fld>
            <a:endParaRPr lang="en-GB">
              <a:solidFill>
                <a:srgbClr val="C6C6C6">
                  <a:lumMod val="75000"/>
                </a:srgbClr>
              </a:solidFill>
              <a:latin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srgbClr val="C6C6C6">
                  <a:lumMod val="75000"/>
                </a:srgbClr>
              </a:solidFill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  <a:latin typeface="Arial"/>
              </a:rPr>
              <a:pPr/>
              <a:t>‹#›</a:t>
            </a:fld>
            <a:endParaRPr lang="en-GB">
              <a:solidFill>
                <a:srgbClr val="C6C6C6">
                  <a:lumMod val="75000"/>
                </a:srgbClr>
              </a:solidFill>
              <a:latin typeface="Arial"/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71501" y="1085405"/>
            <a:ext cx="6281738" cy="276999"/>
          </a:xfrm>
        </p:spPr>
        <p:txBody>
          <a:bodyPr r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2608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777240" y="0"/>
            <a:ext cx="7543800" cy="304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Times New Roman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3200400"/>
            <a:ext cx="7543800" cy="1524000"/>
          </a:xfrm>
        </p:spPr>
        <p:txBody>
          <a:bodyPr>
            <a:noAutofit/>
          </a:bodyPr>
          <a:lstStyle>
            <a:lvl1pPr>
              <a:defRPr sz="8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2000" y="4724400"/>
            <a:ext cx="6858000" cy="990600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8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E52F6D-5044-42FC-B07A-1AE3BE4E6D03}" type="datetimeFigureOut">
              <a:rPr lang="ru-RU" smtClean="0">
                <a:solidFill>
                  <a:srgbClr val="303030">
                    <a:lumMod val="90000"/>
                    <a:lumOff val="10000"/>
                  </a:srgbClr>
                </a:solidFill>
                <a:latin typeface="Times New Roman"/>
              </a:rPr>
              <a:pPr/>
              <a:t>23.03.2017</a:t>
            </a:fld>
            <a:endParaRPr lang="ru-RU">
              <a:solidFill>
                <a:srgbClr val="303030">
                  <a:lumMod val="90000"/>
                  <a:lumOff val="10000"/>
                </a:srgbClr>
              </a:solidFill>
              <a:latin typeface="Times New Roman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03030">
                  <a:lumMod val="90000"/>
                  <a:lumOff val="10000"/>
                </a:srgbClr>
              </a:solidFill>
              <a:latin typeface="Times New Roman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BABB63-2853-4609-A441-35B79B6478E9}" type="slidenum">
              <a:rPr lang="ru-RU" smtClean="0">
                <a:solidFill>
                  <a:prstClr val="black">
                    <a:lumMod val="85000"/>
                    <a:lumOff val="15000"/>
                  </a:prstClr>
                </a:solidFill>
                <a:latin typeface="Impact"/>
              </a:rPr>
              <a:pPr/>
              <a:t>‹#›</a:t>
            </a:fld>
            <a:endParaRPr lang="ru-RU">
              <a:solidFill>
                <a:prstClr val="black">
                  <a:lumMod val="85000"/>
                  <a:lumOff val="15000"/>
                </a:prstClr>
              </a:solidFill>
              <a:latin typeface="Impac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77240" y="6172200"/>
            <a:ext cx="7543800" cy="2743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46890648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E52F6D-5044-42FC-B07A-1AE3BE4E6D03}" type="datetimeFigureOut">
              <a:rPr lang="ru-RU" smtClean="0">
                <a:solidFill>
                  <a:srgbClr val="303030">
                    <a:lumMod val="90000"/>
                    <a:lumOff val="10000"/>
                  </a:srgbClr>
                </a:solidFill>
                <a:latin typeface="Times New Roman"/>
              </a:rPr>
              <a:pPr/>
              <a:t>23.03.2017</a:t>
            </a:fld>
            <a:endParaRPr lang="ru-RU">
              <a:solidFill>
                <a:srgbClr val="303030">
                  <a:lumMod val="90000"/>
                  <a:lumOff val="10000"/>
                </a:srgbClr>
              </a:solidFill>
              <a:latin typeface="Times New Roman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03030">
                  <a:lumMod val="90000"/>
                  <a:lumOff val="10000"/>
                </a:srgbClr>
              </a:solidFill>
              <a:latin typeface="Times New Roman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BABB63-2853-4609-A441-35B79B6478E9}" type="slidenum">
              <a:rPr lang="ru-RU" smtClean="0">
                <a:solidFill>
                  <a:prstClr val="black">
                    <a:lumMod val="85000"/>
                    <a:lumOff val="15000"/>
                  </a:prstClr>
                </a:solidFill>
                <a:latin typeface="Impact"/>
              </a:rPr>
              <a:pPr/>
              <a:t>‹#›</a:t>
            </a:fld>
            <a:endParaRPr lang="ru-RU">
              <a:solidFill>
                <a:prstClr val="black">
                  <a:lumMod val="85000"/>
                  <a:lumOff val="15000"/>
                </a:prstClr>
              </a:solidFill>
              <a:latin typeface="Impact"/>
            </a:endParaRPr>
          </a:p>
        </p:txBody>
      </p:sp>
    </p:spTree>
    <p:extLst>
      <p:ext uri="{BB962C8B-B14F-4D97-AF65-F5344CB8AC3E}">
        <p14:creationId xmlns:p14="http://schemas.microsoft.com/office/powerpoint/2010/main" val="212858336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777240" y="0"/>
            <a:ext cx="7543800" cy="304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Times New Roman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3276600"/>
            <a:ext cx="7543800" cy="1676400"/>
          </a:xfrm>
        </p:spPr>
        <p:txBody>
          <a:bodyPr anchor="b" anchorCtr="0"/>
          <a:lstStyle>
            <a:lvl1pPr algn="l">
              <a:defRPr sz="5400" b="0" cap="all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2000" y="4953000"/>
            <a:ext cx="6858000" cy="9144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E52F6D-5044-42FC-B07A-1AE3BE4E6D03}" type="datetimeFigureOut">
              <a:rPr lang="ru-RU" smtClean="0">
                <a:solidFill>
                  <a:srgbClr val="303030">
                    <a:lumMod val="90000"/>
                    <a:lumOff val="10000"/>
                  </a:srgbClr>
                </a:solidFill>
                <a:latin typeface="Times New Roman"/>
              </a:rPr>
              <a:pPr/>
              <a:t>23.03.2017</a:t>
            </a:fld>
            <a:endParaRPr lang="ru-RU">
              <a:solidFill>
                <a:srgbClr val="303030">
                  <a:lumMod val="90000"/>
                  <a:lumOff val="10000"/>
                </a:srgbClr>
              </a:solidFill>
              <a:latin typeface="Times New Roman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03030">
                  <a:lumMod val="90000"/>
                  <a:lumOff val="10000"/>
                </a:srgbClr>
              </a:solidFill>
              <a:latin typeface="Times New Roman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BABB63-2853-4609-A441-35B79B6478E9}" type="slidenum">
              <a:rPr lang="ru-RU" smtClean="0">
                <a:solidFill>
                  <a:prstClr val="black">
                    <a:lumMod val="85000"/>
                    <a:lumOff val="15000"/>
                  </a:prstClr>
                </a:solidFill>
                <a:latin typeface="Impact"/>
              </a:rPr>
              <a:pPr/>
              <a:t>‹#›</a:t>
            </a:fld>
            <a:endParaRPr lang="ru-RU">
              <a:solidFill>
                <a:prstClr val="black">
                  <a:lumMod val="85000"/>
                  <a:lumOff val="15000"/>
                </a:prstClr>
              </a:solidFill>
              <a:latin typeface="Impac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777240" y="6172200"/>
            <a:ext cx="7543800" cy="2743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63338560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0" y="609601"/>
            <a:ext cx="3657600" cy="376732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609601"/>
            <a:ext cx="3657600" cy="376732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E52F6D-5044-42FC-B07A-1AE3BE4E6D03}" type="datetimeFigureOut">
              <a:rPr lang="ru-RU" smtClean="0">
                <a:solidFill>
                  <a:srgbClr val="303030">
                    <a:lumMod val="90000"/>
                    <a:lumOff val="10000"/>
                  </a:srgbClr>
                </a:solidFill>
                <a:latin typeface="Times New Roman"/>
              </a:rPr>
              <a:pPr/>
              <a:t>23.03.2017</a:t>
            </a:fld>
            <a:endParaRPr lang="ru-RU">
              <a:solidFill>
                <a:srgbClr val="303030">
                  <a:lumMod val="90000"/>
                  <a:lumOff val="10000"/>
                </a:srgbClr>
              </a:solidFill>
              <a:latin typeface="Times New Roman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03030">
                  <a:lumMod val="90000"/>
                  <a:lumOff val="10000"/>
                </a:srgbClr>
              </a:solidFill>
              <a:latin typeface="Times New Roman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BABB63-2853-4609-A441-35B79B6478E9}" type="slidenum">
              <a:rPr lang="ru-RU" smtClean="0">
                <a:solidFill>
                  <a:prstClr val="black">
                    <a:lumMod val="85000"/>
                    <a:lumOff val="15000"/>
                  </a:prstClr>
                </a:solidFill>
                <a:latin typeface="Impact"/>
              </a:rPr>
              <a:pPr/>
              <a:t>‹#›</a:t>
            </a:fld>
            <a:endParaRPr lang="ru-RU">
              <a:solidFill>
                <a:prstClr val="black">
                  <a:lumMod val="85000"/>
                  <a:lumOff val="15000"/>
                </a:prstClr>
              </a:solidFill>
              <a:latin typeface="Impact"/>
            </a:endParaRPr>
          </a:p>
        </p:txBody>
      </p:sp>
    </p:spTree>
    <p:extLst>
      <p:ext uri="{BB962C8B-B14F-4D97-AF65-F5344CB8AC3E}">
        <p14:creationId xmlns:p14="http://schemas.microsoft.com/office/powerpoint/2010/main" val="246837155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8952" y="609600"/>
            <a:ext cx="3657600" cy="6397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8952" y="1329264"/>
            <a:ext cx="3657600" cy="3048000"/>
          </a:xfrm>
        </p:spPr>
        <p:txBody>
          <a:bodyPr anchor="t" anchorCtr="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152" y="609600"/>
            <a:ext cx="3657600" cy="6397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152" y="1329264"/>
            <a:ext cx="3657600" cy="3048000"/>
          </a:xfrm>
        </p:spPr>
        <p:txBody>
          <a:bodyPr anchor="t" anchorCtr="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E52F6D-5044-42FC-B07A-1AE3BE4E6D03}" type="datetimeFigureOut">
              <a:rPr lang="ru-RU" smtClean="0">
                <a:solidFill>
                  <a:srgbClr val="303030">
                    <a:lumMod val="90000"/>
                    <a:lumOff val="10000"/>
                  </a:srgbClr>
                </a:solidFill>
                <a:latin typeface="Times New Roman"/>
              </a:rPr>
              <a:pPr/>
              <a:t>23.03.2017</a:t>
            </a:fld>
            <a:endParaRPr lang="ru-RU">
              <a:solidFill>
                <a:srgbClr val="303030">
                  <a:lumMod val="90000"/>
                  <a:lumOff val="10000"/>
                </a:srgbClr>
              </a:solidFill>
              <a:latin typeface="Times New Roman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03030">
                  <a:lumMod val="90000"/>
                  <a:lumOff val="10000"/>
                </a:srgbClr>
              </a:solidFill>
              <a:latin typeface="Times New Roman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BABB63-2853-4609-A441-35B79B6478E9}" type="slidenum">
              <a:rPr lang="ru-RU" smtClean="0">
                <a:solidFill>
                  <a:prstClr val="black">
                    <a:lumMod val="85000"/>
                    <a:lumOff val="15000"/>
                  </a:prstClr>
                </a:solidFill>
                <a:latin typeface="Impact"/>
              </a:rPr>
              <a:pPr/>
              <a:t>‹#›</a:t>
            </a:fld>
            <a:endParaRPr lang="ru-RU">
              <a:solidFill>
                <a:prstClr val="black">
                  <a:lumMod val="85000"/>
                  <a:lumOff val="15000"/>
                </a:prstClr>
              </a:solidFill>
              <a:latin typeface="Impact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758952" y="1249362"/>
            <a:ext cx="3657600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4645152" y="1249362"/>
            <a:ext cx="3657600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9367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E52F6D-5044-42FC-B07A-1AE3BE4E6D03}" type="datetimeFigureOut">
              <a:rPr lang="ru-RU" smtClean="0">
                <a:solidFill>
                  <a:srgbClr val="303030">
                    <a:lumMod val="90000"/>
                    <a:lumOff val="10000"/>
                  </a:srgbClr>
                </a:solidFill>
                <a:latin typeface="Times New Roman"/>
              </a:rPr>
              <a:pPr/>
              <a:t>23.03.2017</a:t>
            </a:fld>
            <a:endParaRPr lang="ru-RU">
              <a:solidFill>
                <a:srgbClr val="303030">
                  <a:lumMod val="90000"/>
                  <a:lumOff val="10000"/>
                </a:srgbClr>
              </a:solidFill>
              <a:latin typeface="Times New Roman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03030">
                  <a:lumMod val="90000"/>
                  <a:lumOff val="10000"/>
                </a:srgbClr>
              </a:solidFill>
              <a:latin typeface="Times New Roman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BABB63-2853-4609-A441-35B79B6478E9}" type="slidenum">
              <a:rPr lang="ru-RU" smtClean="0">
                <a:solidFill>
                  <a:prstClr val="black">
                    <a:lumMod val="85000"/>
                    <a:lumOff val="15000"/>
                  </a:prstClr>
                </a:solidFill>
                <a:latin typeface="Impact"/>
              </a:rPr>
              <a:pPr/>
              <a:t>‹#›</a:t>
            </a:fld>
            <a:endParaRPr lang="ru-RU">
              <a:solidFill>
                <a:prstClr val="black">
                  <a:lumMod val="85000"/>
                  <a:lumOff val="15000"/>
                </a:prstClr>
              </a:solidFill>
              <a:latin typeface="Impact"/>
            </a:endParaRPr>
          </a:p>
        </p:txBody>
      </p:sp>
    </p:spTree>
    <p:extLst>
      <p:ext uri="{BB962C8B-B14F-4D97-AF65-F5344CB8AC3E}">
        <p14:creationId xmlns:p14="http://schemas.microsoft.com/office/powerpoint/2010/main" val="1795794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24712"/>
            <a:ext cx="8915400" cy="914400"/>
          </a:xfrm>
          <a:solidFill>
            <a:schemeClr val="tx2"/>
          </a:solidFill>
        </p:spPr>
        <p:txBody>
          <a:bodyPr vert="horz" lIns="1188720" tIns="45720" rIns="274320" bIns="45720" rtlCol="0" anchor="ctr">
            <a:normAutofit/>
          </a:bodyPr>
          <a:lstStyle>
            <a:lvl1pPr marL="0" indent="0" algn="l" defTabSz="9144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7534" y="2590838"/>
            <a:ext cx="3566160" cy="368617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 marL="2055813" indent="-344488">
              <a:defRPr sz="2000"/>
            </a:lvl6pPr>
            <a:lvl7pPr marL="2055813" indent="-344488">
              <a:defRPr sz="2000"/>
            </a:lvl7pPr>
            <a:lvl8pPr marL="2055813" indent="-344488">
              <a:defRPr sz="2000"/>
            </a:lvl8pPr>
            <a:lvl9pPr marL="2055813" indent="-344488"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00952" y="2039111"/>
            <a:ext cx="3566160" cy="4224528"/>
          </a:xfr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292608" tIns="274320" rIns="274320" bIns="274320" rtlCol="0" anchor="t" anchorCtr="0">
            <a:normAutofit/>
          </a:bodyPr>
          <a:lstStyle>
            <a:lvl1pPr marL="0" indent="0" algn="l" defTabSz="914400" rtl="0" eaLnBrk="1" latinLnBrk="0" hangingPunct="1">
              <a:spcBef>
                <a:spcPts val="2000"/>
              </a:spcBef>
              <a:buClr>
                <a:schemeClr val="accent1"/>
              </a:buClr>
              <a:buFont typeface="Wingdings 2" pitchFamily="18" charset="2"/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580094" y="188297"/>
            <a:ext cx="2133600" cy="365125"/>
          </a:xfrm>
        </p:spPr>
        <p:txBody>
          <a:bodyPr/>
          <a:lstStyle/>
          <a:p>
            <a:fld id="{118BBB94-68E6-4675-A946-F1C5994EDBD7}" type="datetime1">
              <a:rPr lang="en-US" smtClean="0"/>
              <a:t>3/23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Footer Text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B540C-44DA-4F69-89C9-7C84606640D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E52F6D-5044-42FC-B07A-1AE3BE4E6D03}" type="datetimeFigureOut">
              <a:rPr lang="ru-RU" smtClean="0">
                <a:solidFill>
                  <a:srgbClr val="303030">
                    <a:lumMod val="90000"/>
                    <a:lumOff val="10000"/>
                  </a:srgbClr>
                </a:solidFill>
                <a:latin typeface="Times New Roman"/>
              </a:rPr>
              <a:pPr/>
              <a:t>23.03.2017</a:t>
            </a:fld>
            <a:endParaRPr lang="ru-RU">
              <a:solidFill>
                <a:srgbClr val="303030">
                  <a:lumMod val="90000"/>
                  <a:lumOff val="10000"/>
                </a:srgbClr>
              </a:solidFill>
              <a:latin typeface="Times New Roman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03030">
                  <a:lumMod val="90000"/>
                  <a:lumOff val="10000"/>
                </a:srgbClr>
              </a:solidFill>
              <a:latin typeface="Times New Roman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BABB63-2853-4609-A441-35B79B6478E9}" type="slidenum">
              <a:rPr lang="ru-RU" smtClean="0">
                <a:solidFill>
                  <a:prstClr val="black">
                    <a:lumMod val="85000"/>
                    <a:lumOff val="15000"/>
                  </a:prstClr>
                </a:solidFill>
                <a:latin typeface="Impact"/>
              </a:rPr>
              <a:pPr/>
              <a:t>‹#›</a:t>
            </a:fld>
            <a:endParaRPr lang="ru-RU">
              <a:solidFill>
                <a:prstClr val="black">
                  <a:lumMod val="85000"/>
                  <a:lumOff val="15000"/>
                </a:prstClr>
              </a:solidFill>
              <a:latin typeface="Impact"/>
            </a:endParaRPr>
          </a:p>
        </p:txBody>
      </p:sp>
    </p:spTree>
    <p:extLst>
      <p:ext uri="{BB962C8B-B14F-4D97-AF65-F5344CB8AC3E}">
        <p14:creationId xmlns:p14="http://schemas.microsoft.com/office/powerpoint/2010/main" val="317699347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4572000"/>
            <a:ext cx="6784848" cy="1600200"/>
          </a:xfrm>
        </p:spPr>
        <p:txBody>
          <a:bodyPr anchor="b">
            <a:normAutofit/>
          </a:bodyPr>
          <a:lstStyle>
            <a:lvl1pPr algn="l">
              <a:defRPr sz="5400" b="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10866" y="457236"/>
            <a:ext cx="4594934" cy="4114799"/>
          </a:xfrm>
        </p:spPr>
        <p:txBody>
          <a:bodyPr/>
          <a:lstStyle>
            <a:lvl1pPr>
              <a:defRPr sz="24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2002" y="457200"/>
            <a:ext cx="2673657" cy="4114800"/>
          </a:xfrm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E52F6D-5044-42FC-B07A-1AE3BE4E6D03}" type="datetimeFigureOut">
              <a:rPr lang="ru-RU" smtClean="0">
                <a:solidFill>
                  <a:srgbClr val="303030">
                    <a:lumMod val="90000"/>
                    <a:lumOff val="10000"/>
                  </a:srgbClr>
                </a:solidFill>
                <a:latin typeface="Times New Roman"/>
              </a:rPr>
              <a:pPr/>
              <a:t>23.03.2017</a:t>
            </a:fld>
            <a:endParaRPr lang="ru-RU">
              <a:solidFill>
                <a:srgbClr val="303030">
                  <a:lumMod val="90000"/>
                  <a:lumOff val="10000"/>
                </a:srgbClr>
              </a:solidFill>
              <a:latin typeface="Times New Roman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03030">
                  <a:lumMod val="90000"/>
                  <a:lumOff val="10000"/>
                </a:srgbClr>
              </a:solidFill>
              <a:latin typeface="Times New Roman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BABB63-2853-4609-A441-35B79B6478E9}" type="slidenum">
              <a:rPr lang="ru-RU" smtClean="0">
                <a:solidFill>
                  <a:prstClr val="black">
                    <a:lumMod val="85000"/>
                    <a:lumOff val="15000"/>
                  </a:prstClr>
                </a:solidFill>
                <a:latin typeface="Impact"/>
              </a:rPr>
              <a:pPr/>
              <a:t>‹#›</a:t>
            </a:fld>
            <a:endParaRPr lang="ru-RU">
              <a:solidFill>
                <a:prstClr val="black">
                  <a:lumMod val="85000"/>
                  <a:lumOff val="15000"/>
                </a:prstClr>
              </a:solidFill>
              <a:latin typeface="Impact"/>
            </a:endParaRPr>
          </a:p>
        </p:txBody>
      </p:sp>
      <p:cxnSp>
        <p:nvCxnSpPr>
          <p:cNvPr id="10" name="Straight Connector 9"/>
          <p:cNvCxnSpPr/>
          <p:nvPr/>
        </p:nvCxnSpPr>
        <p:spPr>
          <a:xfrm rot="5400000">
            <a:off x="1677194" y="2514618"/>
            <a:ext cx="3810000" cy="1588"/>
          </a:xfrm>
          <a:prstGeom prst="line">
            <a:avLst/>
          </a:prstGeom>
          <a:ln>
            <a:solidFill>
              <a:schemeClr val="tx2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293038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8952" y="4572000"/>
            <a:ext cx="6784848" cy="1600200"/>
          </a:xfrm>
        </p:spPr>
        <p:txBody>
          <a:bodyPr anchor="b">
            <a:normAutofit/>
          </a:bodyPr>
          <a:lstStyle>
            <a:lvl1pPr algn="l">
              <a:defRPr sz="5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777240" y="457200"/>
            <a:ext cx="7543800" cy="2895600"/>
          </a:xfrm>
          <a:ln w="635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0392" y="3505200"/>
            <a:ext cx="7391400" cy="804862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E52F6D-5044-42FC-B07A-1AE3BE4E6D03}" type="datetimeFigureOut">
              <a:rPr lang="ru-RU" smtClean="0">
                <a:solidFill>
                  <a:srgbClr val="303030">
                    <a:lumMod val="90000"/>
                    <a:lumOff val="10000"/>
                  </a:srgbClr>
                </a:solidFill>
                <a:latin typeface="Times New Roman"/>
              </a:rPr>
              <a:pPr/>
              <a:t>23.03.2017</a:t>
            </a:fld>
            <a:endParaRPr lang="ru-RU">
              <a:solidFill>
                <a:srgbClr val="303030">
                  <a:lumMod val="90000"/>
                  <a:lumOff val="10000"/>
                </a:srgbClr>
              </a:solidFill>
              <a:latin typeface="Times New Roman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03030">
                  <a:lumMod val="90000"/>
                  <a:lumOff val="10000"/>
                </a:srgbClr>
              </a:solidFill>
              <a:latin typeface="Times New Roman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BABB63-2853-4609-A441-35B79B6478E9}" type="slidenum">
              <a:rPr lang="ru-RU" smtClean="0">
                <a:solidFill>
                  <a:prstClr val="black">
                    <a:lumMod val="85000"/>
                    <a:lumOff val="15000"/>
                  </a:prstClr>
                </a:solidFill>
                <a:latin typeface="Impact"/>
              </a:rPr>
              <a:pPr/>
              <a:t>‹#›</a:t>
            </a:fld>
            <a:endParaRPr lang="ru-RU">
              <a:solidFill>
                <a:prstClr val="black">
                  <a:lumMod val="85000"/>
                  <a:lumOff val="15000"/>
                </a:prstClr>
              </a:solidFill>
              <a:latin typeface="Impact"/>
            </a:endParaRPr>
          </a:p>
        </p:txBody>
      </p:sp>
    </p:spTree>
    <p:extLst>
      <p:ext uri="{BB962C8B-B14F-4D97-AF65-F5344CB8AC3E}">
        <p14:creationId xmlns:p14="http://schemas.microsoft.com/office/powerpoint/2010/main" val="84806686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4400" y="685800"/>
            <a:ext cx="7239000" cy="3886200"/>
          </a:xfrm>
        </p:spPr>
        <p:txBody>
          <a:bodyPr vert="eaVert" anchor="t" anchorCtr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E52F6D-5044-42FC-B07A-1AE3BE4E6D03}" type="datetimeFigureOut">
              <a:rPr lang="ru-RU" smtClean="0">
                <a:solidFill>
                  <a:srgbClr val="303030">
                    <a:lumMod val="90000"/>
                    <a:lumOff val="10000"/>
                  </a:srgbClr>
                </a:solidFill>
                <a:latin typeface="Times New Roman"/>
              </a:rPr>
              <a:pPr/>
              <a:t>23.03.2017</a:t>
            </a:fld>
            <a:endParaRPr lang="ru-RU">
              <a:solidFill>
                <a:srgbClr val="303030">
                  <a:lumMod val="90000"/>
                  <a:lumOff val="10000"/>
                </a:srgbClr>
              </a:solidFill>
              <a:latin typeface="Times New Roman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03030">
                  <a:lumMod val="90000"/>
                  <a:lumOff val="10000"/>
                </a:srgbClr>
              </a:solidFill>
              <a:latin typeface="Times New Roman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BABB63-2853-4609-A441-35B79B6478E9}" type="slidenum">
              <a:rPr lang="ru-RU" smtClean="0">
                <a:solidFill>
                  <a:prstClr val="black">
                    <a:lumMod val="85000"/>
                    <a:lumOff val="15000"/>
                  </a:prstClr>
                </a:solidFill>
                <a:latin typeface="Impact"/>
              </a:rPr>
              <a:pPr/>
              <a:t>‹#›</a:t>
            </a:fld>
            <a:endParaRPr lang="ru-RU">
              <a:solidFill>
                <a:prstClr val="black">
                  <a:lumMod val="85000"/>
                  <a:lumOff val="15000"/>
                </a:prstClr>
              </a:solidFill>
              <a:latin typeface="Impact"/>
            </a:endParaRPr>
          </a:p>
        </p:txBody>
      </p:sp>
    </p:spTree>
    <p:extLst>
      <p:ext uri="{BB962C8B-B14F-4D97-AF65-F5344CB8AC3E}">
        <p14:creationId xmlns:p14="http://schemas.microsoft.com/office/powerpoint/2010/main" val="113335620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62000" y="685837"/>
            <a:ext cx="1828800" cy="5410199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90800" y="685801"/>
            <a:ext cx="5715000" cy="4876800"/>
          </a:xfrm>
        </p:spPr>
        <p:txBody>
          <a:bodyPr vert="eaVert" anchor="t" anchorCtr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E52F6D-5044-42FC-B07A-1AE3BE4E6D03}" type="datetimeFigureOut">
              <a:rPr lang="ru-RU" smtClean="0">
                <a:solidFill>
                  <a:srgbClr val="303030">
                    <a:lumMod val="90000"/>
                    <a:lumOff val="10000"/>
                  </a:srgbClr>
                </a:solidFill>
                <a:latin typeface="Times New Roman"/>
              </a:rPr>
              <a:pPr/>
              <a:t>23.03.2017</a:t>
            </a:fld>
            <a:endParaRPr lang="ru-RU">
              <a:solidFill>
                <a:srgbClr val="303030">
                  <a:lumMod val="90000"/>
                  <a:lumOff val="10000"/>
                </a:srgbClr>
              </a:solidFill>
              <a:latin typeface="Times New Roman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03030">
                  <a:lumMod val="90000"/>
                  <a:lumOff val="10000"/>
                </a:srgbClr>
              </a:solidFill>
              <a:latin typeface="Times New Roman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BABB63-2853-4609-A441-35B79B6478E9}" type="slidenum">
              <a:rPr lang="ru-RU" smtClean="0">
                <a:solidFill>
                  <a:prstClr val="black">
                    <a:lumMod val="85000"/>
                    <a:lumOff val="15000"/>
                  </a:prstClr>
                </a:solidFill>
                <a:latin typeface="Impact"/>
              </a:rPr>
              <a:pPr/>
              <a:t>‹#›</a:t>
            </a:fld>
            <a:endParaRPr lang="ru-RU">
              <a:solidFill>
                <a:prstClr val="black">
                  <a:lumMod val="85000"/>
                  <a:lumOff val="15000"/>
                </a:prstClr>
              </a:solidFill>
              <a:latin typeface="Impact"/>
            </a:endParaRPr>
          </a:p>
        </p:txBody>
      </p:sp>
    </p:spTree>
    <p:extLst>
      <p:ext uri="{BB962C8B-B14F-4D97-AF65-F5344CB8AC3E}">
        <p14:creationId xmlns:p14="http://schemas.microsoft.com/office/powerpoint/2010/main" val="188958417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61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C3C5878-58F6-7645-BB5B-C3666DD35B4C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5015508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1F6B9C1-363C-7340-A505-D2ED5ED27988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754069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3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FCFB393-2022-B049-9F8E-23E92674DC45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47970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529ACF8-200F-D342-ADD2-3B293D3008C9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015789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43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4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21CB090-EB2B-C341-B4A6-CF5843170799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16422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image" Target="../media/image27.emf"/><Relationship Id="rId3" Type="http://schemas.openxmlformats.org/officeDocument/2006/relationships/slideLayout" Target="../slideLayouts/slideLayout119.xml"/><Relationship Id="rId7" Type="http://schemas.openxmlformats.org/officeDocument/2006/relationships/tags" Target="../tags/tag2.xml"/><Relationship Id="rId12" Type="http://schemas.openxmlformats.org/officeDocument/2006/relationships/image" Target="../media/image26.png"/><Relationship Id="rId2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117.xml"/><Relationship Id="rId6" Type="http://schemas.openxmlformats.org/officeDocument/2006/relationships/tags" Target="../tags/tag1.xml"/><Relationship Id="rId11" Type="http://schemas.openxmlformats.org/officeDocument/2006/relationships/image" Target="../media/image25.png"/><Relationship Id="rId5" Type="http://schemas.openxmlformats.org/officeDocument/2006/relationships/vmlDrawing" Target="../drawings/vmlDrawing1.vml"/><Relationship Id="rId10" Type="http://schemas.openxmlformats.org/officeDocument/2006/relationships/image" Target="../media/image24.emf"/><Relationship Id="rId4" Type="http://schemas.openxmlformats.org/officeDocument/2006/relationships/theme" Target="../theme/theme10.xml"/><Relationship Id="rId9" Type="http://schemas.openxmlformats.org/officeDocument/2006/relationships/oleObject" Target="../embeddings/oleObject1.bin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7.xml"/><Relationship Id="rId13" Type="http://schemas.openxmlformats.org/officeDocument/2006/relationships/theme" Target="../theme/theme11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122.xml"/><Relationship Id="rId21" Type="http://schemas.openxmlformats.org/officeDocument/2006/relationships/oleObject" Target="../embeddings/oleObject2.bin"/><Relationship Id="rId7" Type="http://schemas.openxmlformats.org/officeDocument/2006/relationships/slideLayout" Target="../slideLayouts/slideLayout126.xml"/><Relationship Id="rId12" Type="http://schemas.openxmlformats.org/officeDocument/2006/relationships/slideLayout" Target="../slideLayouts/slideLayout131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121.xml"/><Relationship Id="rId16" Type="http://schemas.openxmlformats.org/officeDocument/2006/relationships/tags" Target="../tags/tag6.xml"/><Relationship Id="rId20" Type="http://schemas.openxmlformats.org/officeDocument/2006/relationships/tags" Target="../tags/tag10.xml"/><Relationship Id="rId1" Type="http://schemas.openxmlformats.org/officeDocument/2006/relationships/slideLayout" Target="../slideLayouts/slideLayout120.xml"/><Relationship Id="rId6" Type="http://schemas.openxmlformats.org/officeDocument/2006/relationships/slideLayout" Target="../slideLayouts/slideLayout125.xml"/><Relationship Id="rId11" Type="http://schemas.openxmlformats.org/officeDocument/2006/relationships/slideLayout" Target="../slideLayouts/slideLayout130.xml"/><Relationship Id="rId5" Type="http://schemas.openxmlformats.org/officeDocument/2006/relationships/slideLayout" Target="../slideLayouts/slideLayout124.xml"/><Relationship Id="rId15" Type="http://schemas.openxmlformats.org/officeDocument/2006/relationships/tags" Target="../tags/tag5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29.x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123.xml"/><Relationship Id="rId9" Type="http://schemas.openxmlformats.org/officeDocument/2006/relationships/slideLayout" Target="../slideLayouts/slideLayout128.xml"/><Relationship Id="rId14" Type="http://schemas.openxmlformats.org/officeDocument/2006/relationships/vmlDrawing" Target="../drawings/vmlDrawing2.vml"/><Relationship Id="rId22" Type="http://schemas.openxmlformats.org/officeDocument/2006/relationships/image" Target="../media/image31.e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.xml"/><Relationship Id="rId13" Type="http://schemas.openxmlformats.org/officeDocument/2006/relationships/slideLayout" Target="../slideLayouts/slideLayout144.xml"/><Relationship Id="rId3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138.xml"/><Relationship Id="rId12" Type="http://schemas.openxmlformats.org/officeDocument/2006/relationships/slideLayout" Target="../slideLayouts/slideLayout143.xml"/><Relationship Id="rId2" Type="http://schemas.openxmlformats.org/officeDocument/2006/relationships/slideLayout" Target="../slideLayouts/slideLayout133.xml"/><Relationship Id="rId16" Type="http://schemas.openxmlformats.org/officeDocument/2006/relationships/theme" Target="../theme/theme12.xml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42.xml"/><Relationship Id="rId5" Type="http://schemas.openxmlformats.org/officeDocument/2006/relationships/slideLayout" Target="../slideLayouts/slideLayout136.xml"/><Relationship Id="rId15" Type="http://schemas.openxmlformats.org/officeDocument/2006/relationships/slideLayout" Target="../slideLayouts/slideLayout146.xml"/><Relationship Id="rId10" Type="http://schemas.openxmlformats.org/officeDocument/2006/relationships/slideLayout" Target="../slideLayouts/slideLayout141.xml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Relationship Id="rId14" Type="http://schemas.openxmlformats.org/officeDocument/2006/relationships/slideLayout" Target="../slideLayouts/slideLayout145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4.xml"/><Relationship Id="rId3" Type="http://schemas.openxmlformats.org/officeDocument/2006/relationships/slideLayout" Target="../slideLayouts/slideLayout149.xml"/><Relationship Id="rId7" Type="http://schemas.openxmlformats.org/officeDocument/2006/relationships/slideLayout" Target="../slideLayouts/slideLayout153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48.xml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11" Type="http://schemas.openxmlformats.org/officeDocument/2006/relationships/slideLayout" Target="../slideLayouts/slideLayout157.xml"/><Relationship Id="rId5" Type="http://schemas.openxmlformats.org/officeDocument/2006/relationships/slideLayout" Target="../slideLayouts/slideLayout151.xml"/><Relationship Id="rId10" Type="http://schemas.openxmlformats.org/officeDocument/2006/relationships/slideLayout" Target="../slideLayouts/slideLayout156.xml"/><Relationship Id="rId4" Type="http://schemas.openxmlformats.org/officeDocument/2006/relationships/slideLayout" Target="../slideLayouts/slideLayout150.xml"/><Relationship Id="rId9" Type="http://schemas.openxmlformats.org/officeDocument/2006/relationships/slideLayout" Target="../slideLayouts/slideLayout15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image" Target="../media/image16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0" Type="http://schemas.openxmlformats.org/officeDocument/2006/relationships/slideLayout" Target="../slideLayouts/slideLayout9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0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image" Target="../media/image21.jpeg"/><Relationship Id="rId3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12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5" Type="http://schemas.openxmlformats.org/officeDocument/2006/relationships/slideLayout" Target="../slideLayouts/slideLayout110.xml"/><Relationship Id="rId15" Type="http://schemas.openxmlformats.org/officeDocument/2006/relationships/image" Target="../media/image23.jpeg"/><Relationship Id="rId10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image" Target="../media/image2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" y="1123856"/>
            <a:ext cx="8913813" cy="914400"/>
          </a:xfrm>
          <a:prstGeom prst="rect">
            <a:avLst/>
          </a:prstGeom>
          <a:solidFill>
            <a:schemeClr val="tx2"/>
          </a:solidFill>
        </p:spPr>
        <p:txBody>
          <a:bodyPr vert="horz" lIns="1188720" tIns="45720" rIns="27432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14424" y="2595600"/>
            <a:ext cx="7610476" cy="36707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580094" y="18829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B0C4986D-6BE9-4264-908F-02DB36FD8D6C}" type="datetime1">
              <a:rPr lang="en-US" smtClean="0"/>
              <a:t>3/23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20588" y="188297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mtClean="0"/>
              <a:t>Footer Text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89894" y="6569113"/>
            <a:ext cx="457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BA9B540C-44DA-4F69-89C9-7C84606640D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2" y="0"/>
            <a:ext cx="7999413" cy="18288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8" name="Rectangle 7"/>
          <p:cNvSpPr/>
          <p:nvPr/>
        </p:nvSpPr>
        <p:spPr>
          <a:xfrm>
            <a:off x="914402" y="6675120"/>
            <a:ext cx="7999413" cy="18288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99" r:id="rId1"/>
    <p:sldLayoutId id="2147483900" r:id="rId2"/>
    <p:sldLayoutId id="2147483901" r:id="rId3"/>
    <p:sldLayoutId id="2147483902" r:id="rId4"/>
    <p:sldLayoutId id="2147483903" r:id="rId5"/>
    <p:sldLayoutId id="2147483904" r:id="rId6"/>
    <p:sldLayoutId id="2147483905" r:id="rId7"/>
    <p:sldLayoutId id="2147483906" r:id="rId8"/>
    <p:sldLayoutId id="2147483907" r:id="rId9"/>
    <p:sldLayoutId id="2147483908" r:id="rId10"/>
    <p:sldLayoutId id="2147483909" r:id="rId11"/>
    <p:sldLayoutId id="2147483910" r:id="rId12"/>
    <p:sldLayoutId id="2147483911" r:id="rId13"/>
    <p:sldLayoutId id="2147483912" r:id="rId14"/>
    <p:sldLayoutId id="2147483913" r:id="rId15"/>
  </p:sldLayoutIdLst>
  <p:hf sldNum="0" hdr="0" ftr="0" dt="0"/>
  <p:txStyles>
    <p:titleStyle>
      <a:lvl1pPr marL="0" indent="0" algn="l" defTabSz="914400" rtl="0" eaLnBrk="1" latinLnBrk="0" hangingPunct="1">
        <a:spcBef>
          <a:spcPct val="0"/>
        </a:spcBef>
        <a:buNone/>
        <a:defRPr sz="36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ts val="2000"/>
        </a:spcBef>
        <a:buClr>
          <a:schemeClr val="accent1"/>
        </a:buClr>
        <a:buFont typeface="Wingdings 2" pitchFamily="18" charset="2"/>
        <a:buChar char="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685800" indent="-336550" algn="l" defTabSz="914400" rtl="0" eaLnBrk="1" latinLnBrk="0" hangingPunct="1">
        <a:spcBef>
          <a:spcPts val="600"/>
        </a:spcBef>
        <a:buClr>
          <a:schemeClr val="accent1">
            <a:lumMod val="50000"/>
          </a:schemeClr>
        </a:buClr>
        <a:buFont typeface="Wingdings 2" pitchFamily="18" charset="2"/>
        <a:buChar char="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035050" indent="-349250" algn="l" defTabSz="914400" rtl="0" eaLnBrk="1" latinLnBrk="0" hangingPunct="1">
        <a:spcBef>
          <a:spcPts val="600"/>
        </a:spcBef>
        <a:buClr>
          <a:schemeClr val="accent1"/>
        </a:buClr>
        <a:buFont typeface="Wingdings 2" pitchFamily="18" charset="2"/>
        <a:buChar char="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371600" indent="-336550" algn="l" defTabSz="914400" rtl="0" eaLnBrk="1" latinLnBrk="0" hangingPunct="1">
        <a:spcBef>
          <a:spcPts val="600"/>
        </a:spcBef>
        <a:buClr>
          <a:schemeClr val="accent1">
            <a:lumMod val="50000"/>
          </a:schemeClr>
        </a:buClr>
        <a:buFont typeface="Wingdings 2" pitchFamily="18" charset="2"/>
        <a:buChar char="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1720850" indent="-349250" algn="l" defTabSz="914400" rtl="0" eaLnBrk="1" latinLnBrk="0" hangingPunct="1">
        <a:spcBef>
          <a:spcPts val="600"/>
        </a:spcBef>
        <a:buClr>
          <a:schemeClr val="accent1"/>
        </a:buClr>
        <a:buFont typeface="Wingdings 2" pitchFamily="18" charset="2"/>
        <a:buChar char="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055813" indent="-344488" algn="l" defTabSz="914400" rtl="0" eaLnBrk="1" latinLnBrk="0" hangingPunct="1">
        <a:spcBef>
          <a:spcPct val="20000"/>
        </a:spcBef>
        <a:buClr>
          <a:schemeClr val="accent1">
            <a:lumMod val="50000"/>
          </a:schemeClr>
        </a:buClr>
        <a:buFont typeface="Wingdings 2" pitchFamily="18" charset="2"/>
        <a:buChar char=""/>
        <a:defRPr lang="en-US" sz="1800" kern="120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398713" indent="-344488" algn="l" defTabSz="914400" rtl="0" eaLnBrk="1" latinLnBrk="0" hangingPunct="1">
        <a:spcBef>
          <a:spcPct val="20000"/>
        </a:spcBef>
        <a:buClr>
          <a:schemeClr val="accent1"/>
        </a:buClr>
        <a:buFont typeface="Wingdings 2" pitchFamily="18" charset="2"/>
        <a:buChar char=""/>
        <a:defRPr lang="en-US" sz="1800" kern="120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2743200" indent="-344488" algn="l" defTabSz="914400" rtl="0" eaLnBrk="1" latinLnBrk="0" hangingPunct="1">
        <a:spcBef>
          <a:spcPct val="20000"/>
        </a:spcBef>
        <a:buClr>
          <a:schemeClr val="accent1">
            <a:lumMod val="50000"/>
          </a:schemeClr>
        </a:buClr>
        <a:buFont typeface="Wingdings 2" pitchFamily="18" charset="2"/>
        <a:buChar char=""/>
        <a:defRPr lang="en-US" sz="1800" kern="120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3087688" indent="-344488" algn="l" defTabSz="914400" rtl="0" eaLnBrk="1" latinLnBrk="0" hangingPunct="1">
        <a:spcBef>
          <a:spcPct val="20000"/>
        </a:spcBef>
        <a:buClr>
          <a:schemeClr val="accent1"/>
        </a:buClr>
        <a:buFont typeface="Wingdings 2" pitchFamily="18" charset="2"/>
        <a:buChar char=""/>
        <a:defRPr lang="en-US" sz="1800" kern="1200" dirty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229581578"/>
              </p:ext>
            </p:extLst>
          </p:nvPr>
        </p:nvGraphicFramePr>
        <p:xfrm>
          <a:off x="1578" y="1643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23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78" y="1643"/>
                        <a:ext cx="1511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61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2056" fontAlgn="base">
              <a:spcBef>
                <a:spcPct val="0"/>
              </a:spcBef>
              <a:spcAft>
                <a:spcPct val="0"/>
              </a:spcAft>
            </a:pPr>
            <a:endParaRPr lang="ru-RU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55463" y="1981066"/>
            <a:ext cx="203454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</a:rPr>
              <a:t>Last Modified 22.12.2014 12:09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50830" y="4199051"/>
            <a:ext cx="243794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00" dirty="0" smtClean="0">
                <a:solidFill>
                  <a:srgbClr val="000000"/>
                </a:solidFill>
              </a:rPr>
              <a:t>Printed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5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ext</a:t>
            </a:r>
            <a:r>
              <a:rPr lang="ru-RU" dirty="0" smtClean="0"/>
              <a:t> </a:t>
            </a:r>
            <a:r>
              <a:rPr lang="ru-RU" dirty="0" err="1" smtClean="0"/>
              <a:t>styles</a:t>
            </a:r>
            <a:endParaRPr lang="ru-RU" dirty="0" smtClean="0"/>
          </a:p>
          <a:p>
            <a:pPr lvl="1"/>
            <a:r>
              <a:rPr lang="ru-RU" dirty="0" err="1" smtClean="0"/>
              <a:t>Second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ru-RU" dirty="0" smtClean="0"/>
          </a:p>
          <a:p>
            <a:pPr lvl="2"/>
            <a:r>
              <a:rPr lang="ru-RU" dirty="0" err="1" smtClean="0"/>
              <a:t>Third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ru-RU" dirty="0" smtClean="0"/>
          </a:p>
          <a:p>
            <a:pPr lvl="3"/>
            <a:r>
              <a:rPr lang="ru-RU" dirty="0" err="1" smtClean="0"/>
              <a:t>Fourth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ru-RU" dirty="0" smtClean="0"/>
          </a:p>
          <a:p>
            <a:pPr lvl="4"/>
            <a:r>
              <a:rPr lang="ru-RU" dirty="0" err="1" smtClean="0"/>
              <a:t>Fifth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9659" y="234886"/>
            <a:ext cx="6835098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3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9" y="785577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</a:t>
            </a:r>
            <a:r>
              <a:rPr lang="ru-RU" sz="1600" dirty="0" err="1" smtClean="0">
                <a:solidFill>
                  <a:srgbClr val="808080"/>
                </a:solidFill>
              </a:rPr>
              <a:t>measure</a:t>
            </a:r>
            <a:endParaRPr lang="ru-RU" sz="1600" dirty="0" smtClean="0">
              <a:solidFill>
                <a:srgbClr val="808080"/>
              </a:solidFill>
            </a:endParaRPr>
          </a:p>
        </p:txBody>
      </p:sp>
      <p:grpSp>
        <p:nvGrpSpPr>
          <p:cNvPr id="12" name="McK Slide Elements"/>
          <p:cNvGrpSpPr>
            <a:grpSpLocks/>
          </p:cNvGrpSpPr>
          <p:nvPr/>
        </p:nvGrpSpPr>
        <p:grpSpPr bwMode="auto">
          <a:xfrm>
            <a:off x="121542" y="6203623"/>
            <a:ext cx="8722840" cy="518318"/>
            <a:chOff x="75" y="3830"/>
            <a:chExt cx="5385" cy="320"/>
          </a:xfrm>
        </p:grpSpPr>
        <p:sp>
          <p:nvSpPr>
            <p:cNvPr id="13" name="McK 4. Footnote" hidden="1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00" dirty="0" smtClean="0">
                  <a:solidFill>
                    <a:srgbClr val="000000"/>
                  </a:solidFill>
                  <a:latin typeface="Arial"/>
                </a:rPr>
                <a:t>1 Сноска</a:t>
              </a:r>
            </a:p>
          </p:txBody>
        </p:sp>
        <p:sp>
          <p:nvSpPr>
            <p:cNvPr id="14" name="McK 5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/>
            <a:p>
              <a:pPr marL="620974" indent="-620974" defTabSz="912056" fontAlgn="base">
                <a:spcBef>
                  <a:spcPct val="0"/>
                </a:spcBef>
                <a:spcAft>
                  <a:spcPct val="0"/>
                </a:spcAft>
                <a:tabLst>
                  <a:tab pos="624208" algn="l"/>
                </a:tabLst>
              </a:pPr>
              <a:r>
                <a:rPr lang="ru-RU" sz="1000" dirty="0" smtClean="0">
                  <a:solidFill>
                    <a:srgbClr val="000000"/>
                  </a:solidFill>
                  <a:latin typeface="Arial"/>
                </a:rPr>
                <a:t>ИСТОЧНИК: источник</a:t>
              </a:r>
              <a:endParaRPr lang="ru-RU" sz="10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1430234"/>
            <a:ext cx="4350892" cy="238102"/>
            <a:chOff x="915" y="883"/>
            <a:chExt cx="2686" cy="147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883"/>
              <a:ext cx="2686" cy="1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700" dirty="0" smtClean="0">
                  <a:solidFill>
                    <a:srgbClr val="FFAE18"/>
                  </a:solidFill>
                  <a:latin typeface="Arial"/>
                </a:rPr>
                <a:t>© Oliver Wyman 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700" dirty="0" smtClean="0">
                  <a:solidFill>
                    <a:srgbClr val="FFAE18"/>
                  </a:solidFill>
                  <a:latin typeface="Arial"/>
                </a:rPr>
                <a:t>© Oliver Wyman </a:t>
              </a:r>
              <a:endParaRPr lang="en-GB" sz="1600" dirty="0">
                <a:solidFill>
                  <a:srgbClr val="808080"/>
                </a:solidFill>
                <a:latin typeface="Arial"/>
              </a:endParaRP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241056" y="6567250"/>
            <a:ext cx="1261488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2056"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 err="1" smtClean="0">
                <a:solidFill>
                  <a:srgbClr val="FFFFFF"/>
                </a:solidFill>
                <a:latin typeface="Arial"/>
              </a:rPr>
              <a:t>McKinsey</a:t>
            </a:r>
            <a:r>
              <a:rPr lang="ru-RU" sz="1000" dirty="0" smtClean="0">
                <a:solidFill>
                  <a:srgbClr val="FFFFFF"/>
                </a:solidFill>
                <a:latin typeface="Arial"/>
              </a:rPr>
              <a:t> &amp; </a:t>
            </a:r>
            <a:r>
              <a:rPr lang="ru-RU" sz="1000" dirty="0" err="1" smtClean="0">
                <a:solidFill>
                  <a:srgbClr val="FFFFFF"/>
                </a:solidFill>
                <a:latin typeface="Arial"/>
              </a:rPr>
              <a:t>Company</a:t>
            </a:r>
            <a:endParaRPr lang="ru-RU" sz="10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590627" y="6534208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2056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rgbClr val="FFFFFF"/>
                </a:solidFill>
                <a:latin typeface="Arial"/>
              </a:rPr>
              <a:t>|</a:t>
            </a:r>
            <a:endParaRPr lang="ru-RU" sz="12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" name="Slide Number"/>
          <p:cNvSpPr txBox="1">
            <a:spLocks/>
          </p:cNvSpPr>
          <p:nvPr/>
        </p:nvSpPr>
        <p:spPr>
          <a:xfrm>
            <a:off x="8777924" y="6547009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ru-RU" smtClean="0">
                <a:solidFill>
                  <a:srgbClr val="000000"/>
                </a:solidFill>
                <a:latin typeface="Arial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24" name="Picture 48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41" y="6676589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48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41" y="656820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" name="Picture 53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979939" y="93945"/>
            <a:ext cx="2070156" cy="513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83" name="Picture 911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" y="0"/>
            <a:ext cx="157212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08021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5" r:id="rId1"/>
    <p:sldLayoutId id="2147484026" r:id="rId2"/>
    <p:sldLayoutId id="2147484027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056" rtl="0" eaLnBrk="1" fontAlgn="base" hangingPunct="1">
        <a:spcBef>
          <a:spcPct val="0"/>
        </a:spcBef>
        <a:spcAft>
          <a:spcPct val="0"/>
        </a:spcAft>
        <a:tabLst>
          <a:tab pos="363852" algn="l"/>
        </a:tabLst>
        <a:defRPr sz="19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91205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205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205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205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5730" algn="l" defTabSz="91205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1459" algn="l" defTabSz="91205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7189" algn="l" defTabSz="91205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2919" algn="l" defTabSz="91205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205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286" indent="-195671" algn="l" defTabSz="912056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5730" indent="-266826" algn="l" defTabSz="91205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5828" indent="-158479" algn="l" defTabSz="912056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3795" indent="-132603" algn="l" defTabSz="912056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3795" indent="-132603" algn="l" defTabSz="9120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3795" indent="-132603" algn="l" defTabSz="9120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3795" indent="-132603" algn="l" defTabSz="9120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3795" indent="-132603" algn="l" defTabSz="9120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14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5730" algn="l" defTabSz="9314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1459" algn="l" defTabSz="9314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7189" algn="l" defTabSz="9314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2919" algn="l" defTabSz="9314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8648" algn="l" defTabSz="9314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4378" algn="l" defTabSz="9314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0106" algn="l" defTabSz="9314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5836" algn="l" defTabSz="9314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990998779"/>
              </p:ext>
            </p:extLst>
          </p:nvPr>
        </p:nvGraphicFramePr>
        <p:xfrm>
          <a:off x="1639" y="1657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47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639" y="1657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Text Rectangle 286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1482155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121490" y="491202"/>
            <a:ext cx="6916719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  <a:endParaRPr lang="ru-RU" dirty="0" smtClean="0"/>
          </a:p>
        </p:txBody>
      </p:sp>
      <p:sp>
        <p:nvSpPr>
          <p:cNvPr id="10" name="On-page tracker" hidden="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21488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Unit of measure" hidden="1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21490" y="860431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1482156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b="1" dirty="0" smtClean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dirty="0" smtClean="0">
                  <a:solidFill>
                    <a:srgbClr val="808080"/>
                  </a:solidFill>
                  <a:latin typeface="Arial"/>
                </a:rPr>
                <a:t>Unit of measure</a:t>
              </a:r>
              <a:endParaRPr lang="ru-RU" sz="1600" dirty="0">
                <a:solidFill>
                  <a:srgbClr val="808080"/>
                </a:solidFill>
                <a:latin typeface="Arial"/>
              </a:endParaRPr>
            </a:p>
          </p:txBody>
        </p:sp>
      </p:grpSp>
      <p:sp>
        <p:nvSpPr>
          <p:cNvPr id="20" name="Slide Number"/>
          <p:cNvSpPr txBox="1">
            <a:spLocks/>
          </p:cNvSpPr>
          <p:nvPr/>
        </p:nvSpPr>
        <p:spPr>
          <a:xfrm>
            <a:off x="8852888" y="6648462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latin typeface="Arial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27" name="Picture 7" descr="Screen Shot 2013-12-24 at 12.16.45.png"/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4901" y="169393"/>
            <a:ext cx="1985020" cy="637214"/>
          </a:xfrm>
          <a:prstGeom prst="rect">
            <a:avLst/>
          </a:prstGeom>
        </p:spPr>
      </p:pic>
      <p:sp>
        <p:nvSpPr>
          <p:cNvPr id="13" name="Прямоугольник 18"/>
          <p:cNvSpPr/>
          <p:nvPr/>
        </p:nvSpPr>
        <p:spPr>
          <a:xfrm>
            <a:off x="121507" y="835204"/>
            <a:ext cx="8886445" cy="46648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600" dirty="0" err="1" smtClean="0">
              <a:solidFill>
                <a:srgbClr val="FFC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00102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9" r:id="rId1"/>
    <p:sldLayoutId id="2147484030" r:id="rId2"/>
    <p:sldLayoutId id="2147484031" r:id="rId3"/>
    <p:sldLayoutId id="2147484032" r:id="rId4"/>
    <p:sldLayoutId id="2147484033" r:id="rId5"/>
    <p:sldLayoutId id="2147484034" r:id="rId6"/>
    <p:sldLayoutId id="2147484035" r:id="rId7"/>
    <p:sldLayoutId id="2147484036" r:id="rId8"/>
    <p:sldLayoutId id="2147484037" r:id="rId9"/>
    <p:sldLayoutId id="2147484038" r:id="rId10"/>
    <p:sldLayoutId id="2147484039" r:id="rId11"/>
    <p:sldLayoutId id="2147484040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00" b="1">
          <a:solidFill>
            <a:srgbClr val="049536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/>
          <p:nvPr/>
        </p:nvSpPr>
        <p:spPr>
          <a:xfrm flipV="1">
            <a:off x="285750" y="698352"/>
            <a:ext cx="8572500" cy="185"/>
          </a:xfrm>
          <a:prstGeom prst="line">
            <a:avLst/>
          </a:prstGeom>
          <a:ln w="25400">
            <a:solidFill>
              <a:srgbClr val="A6AAA9"/>
            </a:solidFill>
            <a:miter lim="400000"/>
          </a:ln>
        </p:spPr>
        <p:txBody>
          <a:bodyPr lIns="35717" tIns="35717" rIns="35717" bIns="35717" anchor="ctr"/>
          <a:lstStyle/>
          <a:p>
            <a:pPr defTabSz="321457" hangingPunct="0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 kern="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sp>
        <p:nvSpPr>
          <p:cNvPr id="3" name="Shape 3"/>
          <p:cNvSpPr>
            <a:spLocks noGrp="1"/>
          </p:cNvSpPr>
          <p:nvPr>
            <p:ph type="title"/>
          </p:nvPr>
        </p:nvSpPr>
        <p:spPr>
          <a:xfrm>
            <a:off x="285750" y="1080492"/>
            <a:ext cx="8572500" cy="50899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5717" tIns="35717" rIns="35717" bIns="35717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4" name="Shape 4"/>
          <p:cNvSpPr>
            <a:spLocks noGrp="1"/>
          </p:cNvSpPr>
          <p:nvPr>
            <p:ph type="body" idx="1"/>
          </p:nvPr>
        </p:nvSpPr>
        <p:spPr>
          <a:xfrm>
            <a:off x="285750" y="1928812"/>
            <a:ext cx="8572500" cy="429518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5717" tIns="35717" rIns="35717" bIns="35717"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" name="Shape 5"/>
          <p:cNvSpPr>
            <a:spLocks noGrp="1"/>
          </p:cNvSpPr>
          <p:nvPr>
            <p:ph type="sldNum" sz="quarter" idx="2"/>
          </p:nvPr>
        </p:nvSpPr>
        <p:spPr>
          <a:xfrm>
            <a:off x="8549030" y="303609"/>
            <a:ext cx="305788" cy="290140"/>
          </a:xfrm>
          <a:prstGeom prst="rect">
            <a:avLst/>
          </a:prstGeom>
          <a:ln w="12700">
            <a:miter lim="400000"/>
          </a:ln>
        </p:spPr>
        <p:txBody>
          <a:bodyPr wrap="none" lIns="35717" tIns="35717" rIns="35717" bIns="35717">
            <a:spAutoFit/>
          </a:bodyPr>
          <a:lstStyle>
            <a:lvl1pPr algn="r">
              <a:lnSpc>
                <a:spcPct val="80000"/>
              </a:lnSpc>
              <a:spcBef>
                <a:spcPts val="0"/>
              </a:spcBef>
              <a:defRPr sz="1700">
                <a:latin typeface="+mn-lt"/>
                <a:ea typeface="+mn-ea"/>
                <a:cs typeface="+mn-cs"/>
                <a:sym typeface="DIN Alternate"/>
              </a:defRPr>
            </a:lvl1pPr>
          </a:lstStyle>
          <a:p>
            <a:pPr defTabSz="410751" hangingPunct="0"/>
            <a:fld id="{86CB4B4D-7CA3-9044-876B-883B54F8677D}" type="slidenum">
              <a:rPr kern="0">
                <a:solidFill>
                  <a:srgbClr val="838787"/>
                </a:solidFill>
                <a:latin typeface="DIN Alternate"/>
                <a:ea typeface="DIN Alternate"/>
                <a:cs typeface="DIN Alternate"/>
              </a:rPr>
              <a:pPr defTabSz="410751" hangingPunct="0"/>
              <a:t>‹#›</a:t>
            </a:fld>
            <a:endParaRPr kern="0">
              <a:solidFill>
                <a:srgbClr val="838787"/>
              </a:solidFill>
              <a:latin typeface="DIN Alternate"/>
              <a:ea typeface="DIN Alternate"/>
              <a:cs typeface="DIN Alternate"/>
            </a:endParaRPr>
          </a:p>
        </p:txBody>
      </p:sp>
    </p:spTree>
    <p:extLst>
      <p:ext uri="{BB962C8B-B14F-4D97-AF65-F5344CB8AC3E}">
        <p14:creationId xmlns:p14="http://schemas.microsoft.com/office/powerpoint/2010/main" val="143434526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42" r:id="rId1"/>
    <p:sldLayoutId id="2147484043" r:id="rId2"/>
    <p:sldLayoutId id="2147484044" r:id="rId3"/>
    <p:sldLayoutId id="2147484045" r:id="rId4"/>
    <p:sldLayoutId id="2147484046" r:id="rId5"/>
    <p:sldLayoutId id="2147484047" r:id="rId6"/>
    <p:sldLayoutId id="2147484048" r:id="rId7"/>
    <p:sldLayoutId id="2147484049" r:id="rId8"/>
    <p:sldLayoutId id="2147484050" r:id="rId9"/>
    <p:sldLayoutId id="2147484051" r:id="rId10"/>
    <p:sldLayoutId id="2147484052" r:id="rId11"/>
    <p:sldLayoutId id="2147484053" r:id="rId12"/>
    <p:sldLayoutId id="2147484054" r:id="rId13"/>
    <p:sldLayoutId id="2147484055" r:id="rId14"/>
    <p:sldLayoutId id="2147484056" r:id="rId15"/>
  </p:sldLayoutIdLst>
  <p:transition spd="med"/>
  <p:txStyles>
    <p:titleStyle>
      <a:lvl1pPr marL="0" marR="0" indent="0" algn="l" defTabSz="410751" rtl="0" latinLnBrk="0">
        <a:lnSpc>
          <a:spcPct val="80000"/>
        </a:lnSpc>
        <a:spcBef>
          <a:spcPts val="1969"/>
        </a:spcBef>
        <a:spcAft>
          <a:spcPts val="0"/>
        </a:spcAft>
        <a:buClrTx/>
        <a:buSzTx/>
        <a:buFontTx/>
        <a:buNone/>
        <a:tabLst/>
        <a:defRPr sz="4200" b="0" i="0" u="none" strike="noStrike" cap="all" spc="0" baseline="0">
          <a:ln>
            <a:noFill/>
          </a:ln>
          <a:solidFill>
            <a:schemeClr val="accent1"/>
          </a:solidFill>
          <a:uFillTx/>
          <a:latin typeface="+mn-lt"/>
          <a:ea typeface="+mn-ea"/>
          <a:cs typeface="+mn-cs"/>
          <a:sym typeface="DIN Alternate"/>
        </a:defRPr>
      </a:lvl1pPr>
      <a:lvl2pPr marL="0" marR="0" indent="160729" algn="l" defTabSz="410751" rtl="0" latinLnBrk="0">
        <a:lnSpc>
          <a:spcPct val="80000"/>
        </a:lnSpc>
        <a:spcBef>
          <a:spcPts val="1969"/>
        </a:spcBef>
        <a:spcAft>
          <a:spcPts val="0"/>
        </a:spcAft>
        <a:buClrTx/>
        <a:buSzTx/>
        <a:buFontTx/>
        <a:buNone/>
        <a:tabLst/>
        <a:defRPr sz="4200" b="0" i="0" u="none" strike="noStrike" cap="all" spc="0" baseline="0">
          <a:ln>
            <a:noFill/>
          </a:ln>
          <a:solidFill>
            <a:schemeClr val="accent1"/>
          </a:solidFill>
          <a:uFillTx/>
          <a:latin typeface="+mn-lt"/>
          <a:ea typeface="+mn-ea"/>
          <a:cs typeface="+mn-cs"/>
          <a:sym typeface="DIN Alternate"/>
        </a:defRPr>
      </a:lvl2pPr>
      <a:lvl3pPr marL="0" marR="0" indent="321457" algn="l" defTabSz="410751" rtl="0" latinLnBrk="0">
        <a:lnSpc>
          <a:spcPct val="80000"/>
        </a:lnSpc>
        <a:spcBef>
          <a:spcPts val="1969"/>
        </a:spcBef>
        <a:spcAft>
          <a:spcPts val="0"/>
        </a:spcAft>
        <a:buClrTx/>
        <a:buSzTx/>
        <a:buFontTx/>
        <a:buNone/>
        <a:tabLst/>
        <a:defRPr sz="4200" b="0" i="0" u="none" strike="noStrike" cap="all" spc="0" baseline="0">
          <a:ln>
            <a:noFill/>
          </a:ln>
          <a:solidFill>
            <a:schemeClr val="accent1"/>
          </a:solidFill>
          <a:uFillTx/>
          <a:latin typeface="+mn-lt"/>
          <a:ea typeface="+mn-ea"/>
          <a:cs typeface="+mn-cs"/>
          <a:sym typeface="DIN Alternate"/>
        </a:defRPr>
      </a:lvl3pPr>
      <a:lvl4pPr marL="0" marR="0" indent="482186" algn="l" defTabSz="410751" rtl="0" latinLnBrk="0">
        <a:lnSpc>
          <a:spcPct val="80000"/>
        </a:lnSpc>
        <a:spcBef>
          <a:spcPts val="1969"/>
        </a:spcBef>
        <a:spcAft>
          <a:spcPts val="0"/>
        </a:spcAft>
        <a:buClrTx/>
        <a:buSzTx/>
        <a:buFontTx/>
        <a:buNone/>
        <a:tabLst/>
        <a:defRPr sz="4200" b="0" i="0" u="none" strike="noStrike" cap="all" spc="0" baseline="0">
          <a:ln>
            <a:noFill/>
          </a:ln>
          <a:solidFill>
            <a:schemeClr val="accent1"/>
          </a:solidFill>
          <a:uFillTx/>
          <a:latin typeface="+mn-lt"/>
          <a:ea typeface="+mn-ea"/>
          <a:cs typeface="+mn-cs"/>
          <a:sym typeface="DIN Alternate"/>
        </a:defRPr>
      </a:lvl4pPr>
      <a:lvl5pPr marL="0" marR="0" indent="642915" algn="l" defTabSz="410751" rtl="0" latinLnBrk="0">
        <a:lnSpc>
          <a:spcPct val="80000"/>
        </a:lnSpc>
        <a:spcBef>
          <a:spcPts val="1969"/>
        </a:spcBef>
        <a:spcAft>
          <a:spcPts val="0"/>
        </a:spcAft>
        <a:buClrTx/>
        <a:buSzTx/>
        <a:buFontTx/>
        <a:buNone/>
        <a:tabLst/>
        <a:defRPr sz="4200" b="0" i="0" u="none" strike="noStrike" cap="all" spc="0" baseline="0">
          <a:ln>
            <a:noFill/>
          </a:ln>
          <a:solidFill>
            <a:schemeClr val="accent1"/>
          </a:solidFill>
          <a:uFillTx/>
          <a:latin typeface="+mn-lt"/>
          <a:ea typeface="+mn-ea"/>
          <a:cs typeface="+mn-cs"/>
          <a:sym typeface="DIN Alternate"/>
        </a:defRPr>
      </a:lvl5pPr>
      <a:lvl6pPr marL="0" marR="0" indent="803643" algn="l" defTabSz="410751" rtl="0" latinLnBrk="0">
        <a:lnSpc>
          <a:spcPct val="80000"/>
        </a:lnSpc>
        <a:spcBef>
          <a:spcPts val="1969"/>
        </a:spcBef>
        <a:spcAft>
          <a:spcPts val="0"/>
        </a:spcAft>
        <a:buClrTx/>
        <a:buSzTx/>
        <a:buFontTx/>
        <a:buNone/>
        <a:tabLst/>
        <a:defRPr sz="4200" b="0" i="0" u="none" strike="noStrike" cap="all" spc="0" baseline="0">
          <a:ln>
            <a:noFill/>
          </a:ln>
          <a:solidFill>
            <a:schemeClr val="accent1"/>
          </a:solidFill>
          <a:uFillTx/>
          <a:latin typeface="+mn-lt"/>
          <a:ea typeface="+mn-ea"/>
          <a:cs typeface="+mn-cs"/>
          <a:sym typeface="DIN Alternate"/>
        </a:defRPr>
      </a:lvl6pPr>
      <a:lvl7pPr marL="0" marR="0" indent="964372" algn="l" defTabSz="410751" rtl="0" latinLnBrk="0">
        <a:lnSpc>
          <a:spcPct val="80000"/>
        </a:lnSpc>
        <a:spcBef>
          <a:spcPts val="1969"/>
        </a:spcBef>
        <a:spcAft>
          <a:spcPts val="0"/>
        </a:spcAft>
        <a:buClrTx/>
        <a:buSzTx/>
        <a:buFontTx/>
        <a:buNone/>
        <a:tabLst/>
        <a:defRPr sz="4200" b="0" i="0" u="none" strike="noStrike" cap="all" spc="0" baseline="0">
          <a:ln>
            <a:noFill/>
          </a:ln>
          <a:solidFill>
            <a:schemeClr val="accent1"/>
          </a:solidFill>
          <a:uFillTx/>
          <a:latin typeface="+mn-lt"/>
          <a:ea typeface="+mn-ea"/>
          <a:cs typeface="+mn-cs"/>
          <a:sym typeface="DIN Alternate"/>
        </a:defRPr>
      </a:lvl7pPr>
      <a:lvl8pPr marL="0" marR="0" indent="1125101" algn="l" defTabSz="410751" rtl="0" latinLnBrk="0">
        <a:lnSpc>
          <a:spcPct val="80000"/>
        </a:lnSpc>
        <a:spcBef>
          <a:spcPts val="1969"/>
        </a:spcBef>
        <a:spcAft>
          <a:spcPts val="0"/>
        </a:spcAft>
        <a:buClrTx/>
        <a:buSzTx/>
        <a:buFontTx/>
        <a:buNone/>
        <a:tabLst/>
        <a:defRPr sz="4200" b="0" i="0" u="none" strike="noStrike" cap="all" spc="0" baseline="0">
          <a:ln>
            <a:noFill/>
          </a:ln>
          <a:solidFill>
            <a:schemeClr val="accent1"/>
          </a:solidFill>
          <a:uFillTx/>
          <a:latin typeface="+mn-lt"/>
          <a:ea typeface="+mn-ea"/>
          <a:cs typeface="+mn-cs"/>
          <a:sym typeface="DIN Alternate"/>
        </a:defRPr>
      </a:lvl8pPr>
      <a:lvl9pPr marL="0" marR="0" indent="1285829" algn="l" defTabSz="410751" rtl="0" latinLnBrk="0">
        <a:lnSpc>
          <a:spcPct val="80000"/>
        </a:lnSpc>
        <a:spcBef>
          <a:spcPts val="1969"/>
        </a:spcBef>
        <a:spcAft>
          <a:spcPts val="0"/>
        </a:spcAft>
        <a:buClrTx/>
        <a:buSzTx/>
        <a:buFontTx/>
        <a:buNone/>
        <a:tabLst/>
        <a:defRPr sz="4200" b="0" i="0" u="none" strike="noStrike" cap="all" spc="0" baseline="0">
          <a:ln>
            <a:noFill/>
          </a:ln>
          <a:solidFill>
            <a:schemeClr val="accent1"/>
          </a:solidFill>
          <a:uFillTx/>
          <a:latin typeface="+mn-lt"/>
          <a:ea typeface="+mn-ea"/>
          <a:cs typeface="+mn-cs"/>
          <a:sym typeface="DIN Alternate"/>
        </a:defRPr>
      </a:lvl9pPr>
    </p:titleStyle>
    <p:bodyStyle>
      <a:lvl1pPr marL="312528" marR="0" indent="-312528" algn="l" defTabSz="410751" latinLnBrk="0">
        <a:lnSpc>
          <a:spcPct val="100000"/>
        </a:lnSpc>
        <a:spcBef>
          <a:spcPts val="1969"/>
        </a:spcBef>
        <a:spcAft>
          <a:spcPts val="0"/>
        </a:spcAft>
        <a:buClr>
          <a:schemeClr val="accent1">
            <a:satOff val="-4060"/>
          </a:schemeClr>
        </a:buClr>
        <a:buSzPct val="104999"/>
        <a:buFont typeface="Avenir Next"/>
        <a:buChar char="‣"/>
        <a:tabLst/>
        <a:defRPr sz="2400" b="0" i="0" u="none" strike="noStrike" cap="none" spc="0" baseline="0">
          <a:ln>
            <a:noFill/>
          </a:ln>
          <a:solidFill>
            <a:srgbClr val="838787"/>
          </a:solidFill>
          <a:uFillTx/>
          <a:latin typeface="Avenir Next Medium"/>
          <a:ea typeface="Avenir Next Medium"/>
          <a:cs typeface="Avenir Next Medium"/>
          <a:sym typeface="Avenir Next Medium"/>
        </a:defRPr>
      </a:lvl1pPr>
      <a:lvl2pPr marL="625056" marR="0" indent="-312528" algn="l" defTabSz="410751" latinLnBrk="0">
        <a:lnSpc>
          <a:spcPct val="100000"/>
        </a:lnSpc>
        <a:spcBef>
          <a:spcPts val="1969"/>
        </a:spcBef>
        <a:spcAft>
          <a:spcPts val="0"/>
        </a:spcAft>
        <a:buClr>
          <a:schemeClr val="accent1">
            <a:satOff val="-4060"/>
          </a:schemeClr>
        </a:buClr>
        <a:buSzPct val="104999"/>
        <a:buFont typeface="Avenir Next"/>
        <a:buChar char="‣"/>
        <a:tabLst/>
        <a:defRPr sz="2400" b="0" i="0" u="none" strike="noStrike" cap="none" spc="0" baseline="0">
          <a:ln>
            <a:noFill/>
          </a:ln>
          <a:solidFill>
            <a:srgbClr val="838787"/>
          </a:solidFill>
          <a:uFillTx/>
          <a:latin typeface="Avenir Next Medium"/>
          <a:ea typeface="Avenir Next Medium"/>
          <a:cs typeface="Avenir Next Medium"/>
          <a:sym typeface="Avenir Next Medium"/>
        </a:defRPr>
      </a:lvl2pPr>
      <a:lvl3pPr marL="937584" marR="0" indent="-312528" algn="l" defTabSz="410751" latinLnBrk="0">
        <a:lnSpc>
          <a:spcPct val="100000"/>
        </a:lnSpc>
        <a:spcBef>
          <a:spcPts val="1969"/>
        </a:spcBef>
        <a:spcAft>
          <a:spcPts val="0"/>
        </a:spcAft>
        <a:buClr>
          <a:schemeClr val="accent1">
            <a:satOff val="-4060"/>
          </a:schemeClr>
        </a:buClr>
        <a:buSzPct val="104999"/>
        <a:buFont typeface="Avenir Next"/>
        <a:buChar char="‣"/>
        <a:tabLst/>
        <a:defRPr sz="2400" b="0" i="0" u="none" strike="noStrike" cap="none" spc="0" baseline="0">
          <a:ln>
            <a:noFill/>
          </a:ln>
          <a:solidFill>
            <a:srgbClr val="838787"/>
          </a:solidFill>
          <a:uFillTx/>
          <a:latin typeface="Avenir Next Medium"/>
          <a:ea typeface="Avenir Next Medium"/>
          <a:cs typeface="Avenir Next Medium"/>
          <a:sym typeface="Avenir Next Medium"/>
        </a:defRPr>
      </a:lvl3pPr>
      <a:lvl4pPr marL="1250112" marR="0" indent="-312528" algn="l" defTabSz="410751" latinLnBrk="0">
        <a:lnSpc>
          <a:spcPct val="100000"/>
        </a:lnSpc>
        <a:spcBef>
          <a:spcPts val="1969"/>
        </a:spcBef>
        <a:spcAft>
          <a:spcPts val="0"/>
        </a:spcAft>
        <a:buClr>
          <a:schemeClr val="accent1">
            <a:satOff val="-4060"/>
          </a:schemeClr>
        </a:buClr>
        <a:buSzPct val="104999"/>
        <a:buFont typeface="Avenir Next"/>
        <a:buChar char="‣"/>
        <a:tabLst/>
        <a:defRPr sz="2400" b="0" i="0" u="none" strike="noStrike" cap="none" spc="0" baseline="0">
          <a:ln>
            <a:noFill/>
          </a:ln>
          <a:solidFill>
            <a:srgbClr val="838787"/>
          </a:solidFill>
          <a:uFillTx/>
          <a:latin typeface="Avenir Next Medium"/>
          <a:ea typeface="Avenir Next Medium"/>
          <a:cs typeface="Avenir Next Medium"/>
          <a:sym typeface="Avenir Next Medium"/>
        </a:defRPr>
      </a:lvl4pPr>
      <a:lvl5pPr marL="1562640" marR="0" indent="-312528" algn="l" defTabSz="410751" latinLnBrk="0">
        <a:lnSpc>
          <a:spcPct val="100000"/>
        </a:lnSpc>
        <a:spcBef>
          <a:spcPts val="1969"/>
        </a:spcBef>
        <a:spcAft>
          <a:spcPts val="0"/>
        </a:spcAft>
        <a:buClr>
          <a:schemeClr val="accent1">
            <a:satOff val="-4060"/>
          </a:schemeClr>
        </a:buClr>
        <a:buSzPct val="104999"/>
        <a:buFont typeface="Avenir Next"/>
        <a:buChar char="‣"/>
        <a:tabLst/>
        <a:defRPr sz="2400" b="0" i="0" u="none" strike="noStrike" cap="none" spc="0" baseline="0">
          <a:ln>
            <a:noFill/>
          </a:ln>
          <a:solidFill>
            <a:srgbClr val="838787"/>
          </a:solidFill>
          <a:uFillTx/>
          <a:latin typeface="Avenir Next Medium"/>
          <a:ea typeface="Avenir Next Medium"/>
          <a:cs typeface="Avenir Next Medium"/>
          <a:sym typeface="Avenir Next Medium"/>
        </a:defRPr>
      </a:lvl5pPr>
      <a:lvl6pPr marL="1875168" marR="0" indent="-312528" algn="l" defTabSz="410751" latinLnBrk="0">
        <a:lnSpc>
          <a:spcPct val="100000"/>
        </a:lnSpc>
        <a:spcBef>
          <a:spcPts val="1969"/>
        </a:spcBef>
        <a:spcAft>
          <a:spcPts val="0"/>
        </a:spcAft>
        <a:buClr>
          <a:schemeClr val="accent1">
            <a:satOff val="-4060"/>
          </a:schemeClr>
        </a:buClr>
        <a:buSzPct val="104999"/>
        <a:buFont typeface="Avenir Next"/>
        <a:buChar char="‣"/>
        <a:tabLst/>
        <a:defRPr sz="2400" b="0" i="0" u="none" strike="noStrike" cap="none" spc="0" baseline="0">
          <a:ln>
            <a:noFill/>
          </a:ln>
          <a:solidFill>
            <a:srgbClr val="838787"/>
          </a:solidFill>
          <a:uFillTx/>
          <a:latin typeface="Avenir Next Medium"/>
          <a:ea typeface="Avenir Next Medium"/>
          <a:cs typeface="Avenir Next Medium"/>
          <a:sym typeface="Avenir Next Medium"/>
        </a:defRPr>
      </a:lvl6pPr>
      <a:lvl7pPr marL="2187696" marR="0" indent="-312528" algn="l" defTabSz="410751" latinLnBrk="0">
        <a:lnSpc>
          <a:spcPct val="100000"/>
        </a:lnSpc>
        <a:spcBef>
          <a:spcPts val="1969"/>
        </a:spcBef>
        <a:spcAft>
          <a:spcPts val="0"/>
        </a:spcAft>
        <a:buClr>
          <a:schemeClr val="accent1">
            <a:satOff val="-4060"/>
          </a:schemeClr>
        </a:buClr>
        <a:buSzPct val="104999"/>
        <a:buFont typeface="Avenir Next"/>
        <a:buChar char="‣"/>
        <a:tabLst/>
        <a:defRPr sz="2400" b="0" i="0" u="none" strike="noStrike" cap="none" spc="0" baseline="0">
          <a:ln>
            <a:noFill/>
          </a:ln>
          <a:solidFill>
            <a:srgbClr val="838787"/>
          </a:solidFill>
          <a:uFillTx/>
          <a:latin typeface="Avenir Next Medium"/>
          <a:ea typeface="Avenir Next Medium"/>
          <a:cs typeface="Avenir Next Medium"/>
          <a:sym typeface="Avenir Next Medium"/>
        </a:defRPr>
      </a:lvl7pPr>
      <a:lvl8pPr marL="2500224" marR="0" indent="-312528" algn="l" defTabSz="410751" latinLnBrk="0">
        <a:lnSpc>
          <a:spcPct val="100000"/>
        </a:lnSpc>
        <a:spcBef>
          <a:spcPts val="1969"/>
        </a:spcBef>
        <a:spcAft>
          <a:spcPts val="0"/>
        </a:spcAft>
        <a:buClr>
          <a:schemeClr val="accent1">
            <a:satOff val="-4060"/>
          </a:schemeClr>
        </a:buClr>
        <a:buSzPct val="104999"/>
        <a:buFont typeface="Avenir Next"/>
        <a:buChar char="‣"/>
        <a:tabLst/>
        <a:defRPr sz="2400" b="0" i="0" u="none" strike="noStrike" cap="none" spc="0" baseline="0">
          <a:ln>
            <a:noFill/>
          </a:ln>
          <a:solidFill>
            <a:srgbClr val="838787"/>
          </a:solidFill>
          <a:uFillTx/>
          <a:latin typeface="Avenir Next Medium"/>
          <a:ea typeface="Avenir Next Medium"/>
          <a:cs typeface="Avenir Next Medium"/>
          <a:sym typeface="Avenir Next Medium"/>
        </a:defRPr>
      </a:lvl8pPr>
      <a:lvl9pPr marL="2812752" marR="0" indent="-312528" algn="l" defTabSz="410751" latinLnBrk="0">
        <a:lnSpc>
          <a:spcPct val="100000"/>
        </a:lnSpc>
        <a:spcBef>
          <a:spcPts val="1969"/>
        </a:spcBef>
        <a:spcAft>
          <a:spcPts val="0"/>
        </a:spcAft>
        <a:buClr>
          <a:schemeClr val="accent1">
            <a:satOff val="-4060"/>
          </a:schemeClr>
        </a:buClr>
        <a:buSzPct val="104999"/>
        <a:buFont typeface="Avenir Next"/>
        <a:buChar char="‣"/>
        <a:tabLst/>
        <a:defRPr sz="2400" b="0" i="0" u="none" strike="noStrike" cap="none" spc="0" baseline="0">
          <a:ln>
            <a:noFill/>
          </a:ln>
          <a:solidFill>
            <a:srgbClr val="838787"/>
          </a:solidFill>
          <a:uFillTx/>
          <a:latin typeface="Avenir Next Medium"/>
          <a:ea typeface="Avenir Next Medium"/>
          <a:cs typeface="Avenir Next Medium"/>
          <a:sym typeface="Avenir Next Medium"/>
        </a:defRPr>
      </a:lvl9pPr>
    </p:bodyStyle>
    <p:otherStyle>
      <a:lvl1pPr marL="0" marR="0" indent="0" algn="r" defTabSz="410751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DIN Alternate"/>
        </a:defRPr>
      </a:lvl1pPr>
      <a:lvl2pPr marL="0" marR="0" indent="160729" algn="r" defTabSz="410751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DIN Alternate"/>
        </a:defRPr>
      </a:lvl2pPr>
      <a:lvl3pPr marL="0" marR="0" indent="321457" algn="r" defTabSz="410751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DIN Alternate"/>
        </a:defRPr>
      </a:lvl3pPr>
      <a:lvl4pPr marL="0" marR="0" indent="482186" algn="r" defTabSz="410751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DIN Alternate"/>
        </a:defRPr>
      </a:lvl4pPr>
      <a:lvl5pPr marL="0" marR="0" indent="642915" algn="r" defTabSz="410751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DIN Alternate"/>
        </a:defRPr>
      </a:lvl5pPr>
      <a:lvl6pPr marL="0" marR="0" indent="803643" algn="r" defTabSz="410751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DIN Alternate"/>
        </a:defRPr>
      </a:lvl6pPr>
      <a:lvl7pPr marL="0" marR="0" indent="964372" algn="r" defTabSz="410751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DIN Alternate"/>
        </a:defRPr>
      </a:lvl7pPr>
      <a:lvl8pPr marL="0" marR="0" indent="1125101" algn="r" defTabSz="410751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DIN Alternate"/>
        </a:defRPr>
      </a:lvl8pPr>
      <a:lvl9pPr marL="0" marR="0" indent="1285829" algn="r" defTabSz="410751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DIN Alternate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3.03.2017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99434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9" r:id="rId1"/>
    <p:sldLayoutId id="2147484060" r:id="rId2"/>
    <p:sldLayoutId id="2147484061" r:id="rId3"/>
    <p:sldLayoutId id="2147484062" r:id="rId4"/>
    <p:sldLayoutId id="2147484063" r:id="rId5"/>
    <p:sldLayoutId id="2147484064" r:id="rId6"/>
    <p:sldLayoutId id="2147484065" r:id="rId7"/>
    <p:sldLayoutId id="2147484066" r:id="rId8"/>
    <p:sldLayoutId id="2147484067" r:id="rId9"/>
    <p:sldLayoutId id="2147484068" r:id="rId10"/>
    <p:sldLayoutId id="2147484069" r:id="rId11"/>
  </p:sldLayoutIdLst>
  <p:transition spd="slow">
    <p:split dir="in"/>
  </p:transition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олилиния 11"/>
          <p:cNvSpPr>
            <a:spLocks/>
          </p:cNvSpPr>
          <p:nvPr/>
        </p:nvSpPr>
        <p:spPr bwMode="auto">
          <a:xfrm>
            <a:off x="0" y="4752126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 vert="horz" wrap="square" lIns="91440" tIns="45720" rIns="91440" bIns="45720" anchor="t" compatLnSpc="1"/>
          <a:lstStyle/>
          <a:p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16" name="Полилиния 15"/>
          <p:cNvSpPr>
            <a:spLocks/>
          </p:cNvSpPr>
          <p:nvPr/>
        </p:nvSpPr>
        <p:spPr bwMode="auto">
          <a:xfrm>
            <a:off x="7315200" y="0"/>
            <a:ext cx="1828800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2082" y="1734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 vert="horz" wrap="square" lIns="91440" tIns="45720" rIns="91440" bIns="45720" anchor="t" compatLnSpc="1"/>
          <a:lstStyle/>
          <a:p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57200" y="274638"/>
            <a:ext cx="7467600" cy="1143000"/>
          </a:xfrm>
          <a:prstGeom prst="rect">
            <a:avLst/>
          </a:prstGeom>
        </p:spPr>
        <p:txBody>
          <a:bodyPr vert="horz" lIns="45720" rIns="45720" anchor="ctr">
            <a:normAutofit/>
          </a:bodyPr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0" name="Текст 29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7467600" cy="4525963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10" name="Дата 9"/>
          <p:cNvSpPr>
            <a:spLocks noGrp="1"/>
          </p:cNvSpPr>
          <p:nvPr>
            <p:ph type="dt" sz="half" idx="2"/>
          </p:nvPr>
        </p:nvSpPr>
        <p:spPr>
          <a:xfrm>
            <a:off x="457200" y="6422102"/>
            <a:ext cx="2133600" cy="365125"/>
          </a:xfrm>
          <a:prstGeom prst="rect">
            <a:avLst/>
          </a:prstGeom>
        </p:spPr>
        <p:txBody>
          <a:bodyPr vert="horz" bIns="0" anchor="b"/>
          <a:lstStyle>
            <a:lvl1pPr algn="l" eaLnBrk="1" latinLnBrk="0" hangingPunct="1">
              <a:defRPr kumimoji="0" sz="1000">
                <a:solidFill>
                  <a:schemeClr val="tx2">
                    <a:shade val="50000"/>
                  </a:schemeClr>
                </a:solidFill>
              </a:defRPr>
            </a:lvl1pPr>
          </a:lstStyle>
          <a:p>
            <a:fld id="{FA404D21-7FDD-4708-8D30-82C7EE3AC17D}" type="datetimeFigureOut">
              <a:rPr lang="ru-RU" smtClean="0">
                <a:solidFill>
                  <a:srgbClr val="C5D1D7">
                    <a:shade val="50000"/>
                  </a:srgbClr>
                </a:solidFill>
                <a:latin typeface="Arial"/>
              </a:rPr>
              <a:pPr/>
              <a:t>23.03.2017</a:t>
            </a:fld>
            <a:endParaRPr lang="ru-RU">
              <a:solidFill>
                <a:srgbClr val="C5D1D7">
                  <a:shade val="50000"/>
                </a:srgbClr>
              </a:solidFill>
              <a:latin typeface="Arial"/>
            </a:endParaRPr>
          </a:p>
        </p:txBody>
      </p:sp>
      <p:sp>
        <p:nvSpPr>
          <p:cNvPr id="22" name="Нижний колонтитул 21"/>
          <p:cNvSpPr>
            <a:spLocks noGrp="1"/>
          </p:cNvSpPr>
          <p:nvPr>
            <p:ph type="ftr" sz="quarter" idx="3"/>
          </p:nvPr>
        </p:nvSpPr>
        <p:spPr>
          <a:xfrm>
            <a:off x="3124200" y="6422102"/>
            <a:ext cx="2895600" cy="365125"/>
          </a:xfrm>
          <a:prstGeom prst="rect">
            <a:avLst/>
          </a:prstGeom>
        </p:spPr>
        <p:txBody>
          <a:bodyPr vert="horz" lIns="0" rIns="0" bIns="0" anchor="b"/>
          <a:lstStyle>
            <a:lvl1pPr algn="ctr" eaLnBrk="1" latinLnBrk="0" hangingPunct="1">
              <a:defRPr kumimoji="0" sz="1000">
                <a:solidFill>
                  <a:schemeClr val="tx2">
                    <a:shade val="50000"/>
                  </a:schemeClr>
                </a:solidFill>
              </a:defRPr>
            </a:lvl1pPr>
          </a:lstStyle>
          <a:p>
            <a:endParaRPr lang="ru-RU">
              <a:solidFill>
                <a:srgbClr val="C5D1D7">
                  <a:shade val="50000"/>
                </a:srgbClr>
              </a:solidFill>
              <a:latin typeface="Arial"/>
            </a:endParaRPr>
          </a:p>
        </p:txBody>
      </p:sp>
      <p:sp>
        <p:nvSpPr>
          <p:cNvPr id="18" name="Номер слайда 17"/>
          <p:cNvSpPr>
            <a:spLocks noGrp="1"/>
          </p:cNvSpPr>
          <p:nvPr>
            <p:ph type="sldNum" sz="quarter" idx="4"/>
          </p:nvPr>
        </p:nvSpPr>
        <p:spPr>
          <a:xfrm>
            <a:off x="8153400" y="6422102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000">
                <a:solidFill>
                  <a:schemeClr val="tx2">
                    <a:shade val="50000"/>
                  </a:schemeClr>
                </a:solidFill>
              </a:defRPr>
            </a:lvl1pPr>
          </a:lstStyle>
          <a:p>
            <a:fld id="{ED245B36-406B-424E-8B9C-65ACEF4557A4}" type="slidenum">
              <a:rPr lang="ru-RU" smtClean="0">
                <a:solidFill>
                  <a:srgbClr val="C5D1D7">
                    <a:shade val="50000"/>
                  </a:srgbClr>
                </a:solidFill>
                <a:latin typeface="Arial"/>
              </a:rPr>
              <a:pPr/>
              <a:t>‹#›</a:t>
            </a:fld>
            <a:endParaRPr lang="ru-RU">
              <a:solidFill>
                <a:srgbClr val="C5D1D7">
                  <a:shade val="5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1343663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917" r:id="rId3"/>
    <p:sldLayoutId id="2147483918" r:id="rId4"/>
    <p:sldLayoutId id="2147483919" r:id="rId5"/>
    <p:sldLayoutId id="2147483920" r:id="rId6"/>
    <p:sldLayoutId id="2147483921" r:id="rId7"/>
    <p:sldLayoutId id="2147483922" r:id="rId8"/>
    <p:sldLayoutId id="2147483923" r:id="rId9"/>
    <p:sldLayoutId id="2147483924" r:id="rId10"/>
    <p:sldLayoutId id="2147483925" r:id="rId11"/>
  </p:sldLayoutIdLst>
  <p:transition/>
  <p:txStyles>
    <p:titleStyle>
      <a:lvl1pPr algn="l" rtl="0" eaLnBrk="1" latinLnBrk="0" hangingPunct="1">
        <a:spcBef>
          <a:spcPct val="0"/>
        </a:spcBef>
        <a:buNone/>
        <a:defRPr kumimoji="0" sz="4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20624" indent="-384048" algn="l" rtl="0" eaLnBrk="1" latinLnBrk="0" hangingPunct="1">
        <a:spcBef>
          <a:spcPct val="20000"/>
        </a:spcBef>
        <a:buClr>
          <a:schemeClr val="accent1"/>
        </a:buClr>
        <a:buSzPct val="80000"/>
        <a:buFont typeface="Wingdings 2"/>
        <a:buChar char=""/>
        <a:defRPr kumimoji="0"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722376" indent="-274320" algn="l" rtl="0" eaLnBrk="1" latinLnBrk="0" hangingPunct="1">
        <a:spcBef>
          <a:spcPct val="20000"/>
        </a:spcBef>
        <a:buClr>
          <a:schemeClr val="accent1"/>
        </a:buClr>
        <a:buSzPct val="90000"/>
        <a:buFont typeface="Wingdings 2"/>
        <a:buChar char="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05840" indent="-256032" algn="l" rtl="0" eaLnBrk="1" latinLnBrk="0" hangingPunct="1">
        <a:spcBef>
          <a:spcPct val="20000"/>
        </a:spcBef>
        <a:buClr>
          <a:schemeClr val="accent2"/>
        </a:buClr>
        <a:buSzPct val="85000"/>
        <a:buFont typeface="Arial"/>
        <a:buChar char="○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280160" indent="-237744" algn="l" rtl="0" eaLnBrk="1" latinLnBrk="0" hangingPunct="1">
        <a:spcBef>
          <a:spcPct val="20000"/>
        </a:spcBef>
        <a:buClr>
          <a:schemeClr val="accent3"/>
        </a:buClr>
        <a:buSzPct val="90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90472" indent="-182880" algn="l" rtl="0" eaLnBrk="1" latinLnBrk="0" hangingPunct="1">
        <a:spcBef>
          <a:spcPct val="20000"/>
        </a:spcBef>
        <a:buClr>
          <a:schemeClr val="accent4"/>
        </a:buClr>
        <a:buSzPct val="100000"/>
        <a:buFont typeface="Arial"/>
        <a:buChar char="-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00784" indent="-182880" algn="l" rtl="0" eaLnBrk="1" latinLnBrk="0" hangingPunct="1">
        <a:spcBef>
          <a:spcPct val="20000"/>
        </a:spcBef>
        <a:buClr>
          <a:schemeClr val="accent5"/>
        </a:buClr>
        <a:buFont typeface="Arial"/>
        <a:buChar char="-"/>
        <a:defRPr kumimoji="0" sz="20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39696" indent="-182880" algn="l" rtl="0" eaLnBrk="1" latinLnBrk="0" hangingPunct="1">
        <a:spcBef>
          <a:spcPct val="20000"/>
        </a:spcBef>
        <a:buClr>
          <a:schemeClr val="accent6"/>
        </a:buClr>
        <a:buFont typeface="Arial"/>
        <a:buChar char="▪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1720" indent="-182880" algn="l" rtl="0" eaLnBrk="1" latinLnBrk="0" hangingPunct="1">
        <a:spcBef>
          <a:spcPct val="20000"/>
        </a:spcBef>
        <a:buClr>
          <a:schemeClr val="accent6"/>
        </a:buClr>
        <a:buFont typeface="Arial"/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1.png" descr="Screen Shot 2013-12-24 at 12.16.45.png"/>
          <p:cNvPicPr>
            <a:picLocks noChangeAspect="1"/>
          </p:cNvPicPr>
          <p:nvPr/>
        </p:nvPicPr>
        <p:blipFill>
          <a:blip r:embed="rId15">
            <a:extLst/>
          </a:blip>
          <a:stretch>
            <a:fillRect/>
          </a:stretch>
        </p:blipFill>
        <p:spPr>
          <a:xfrm>
            <a:off x="7094901" y="169396"/>
            <a:ext cx="1985020" cy="637215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3"/>
          <p:cNvSpPr/>
          <p:nvPr/>
        </p:nvSpPr>
        <p:spPr>
          <a:xfrm>
            <a:off x="121486" y="835204"/>
            <a:ext cx="8886450" cy="466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1600" y="0"/>
                </a:lnTo>
                <a:lnTo>
                  <a:pt x="21600" y="617"/>
                </a:lnTo>
                <a:lnTo>
                  <a:pt x="21436" y="21600"/>
                </a:lnTo>
                <a:lnTo>
                  <a:pt x="0" y="2160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47000">
                <a:srgbClr val="BEDF92"/>
              </a:gs>
              <a:gs pos="100000">
                <a:srgbClr val="F6FFD9"/>
              </a:gs>
            </a:gsLst>
          </a:gra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hangingPunct="0">
              <a:defRPr sz="1600">
                <a:solidFill>
                  <a:srgbClr val="FFC000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kern="0">
              <a:solidFill>
                <a:srgbClr val="FFC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" name="Shape 4"/>
          <p:cNvSpPr>
            <a:spLocks noGrp="1"/>
          </p:cNvSpPr>
          <p:nvPr>
            <p:ph type="title"/>
          </p:nvPr>
        </p:nvSpPr>
        <p:spPr>
          <a:xfrm>
            <a:off x="121488" y="491164"/>
            <a:ext cx="6916720" cy="2983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b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5" name="Shape 5"/>
          <p:cNvSpPr>
            <a:spLocks noGrp="1"/>
          </p:cNvSpPr>
          <p:nvPr>
            <p:ph type="body" idx="1"/>
          </p:nvPr>
        </p:nvSpPr>
        <p:spPr>
          <a:xfrm>
            <a:off x="5103831" y="2438400"/>
            <a:ext cx="3581401" cy="44196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6" name="Shape 6"/>
          <p:cNvSpPr>
            <a:spLocks noGrp="1"/>
          </p:cNvSpPr>
          <p:nvPr>
            <p:ph type="sldNum" sz="quarter" idx="2"/>
          </p:nvPr>
        </p:nvSpPr>
        <p:spPr>
          <a:xfrm>
            <a:off x="8881053" y="6649266"/>
            <a:ext cx="156731" cy="153888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ctr">
              <a:defRPr sz="1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hangingPunct="0"/>
            <a:fld id="{86CB4B4D-7CA3-9044-876B-883B54F8677D}" type="slidenum">
              <a:rPr kern="0">
                <a:solidFill>
                  <a:srgbClr val="000000"/>
                </a:solidFill>
              </a:rPr>
              <a:pPr hangingPunct="0"/>
              <a:t>‹#›</a:t>
            </a:fld>
            <a:endParaRPr ker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0788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29" r:id="rId2"/>
    <p:sldLayoutId id="2147483930" r:id="rId3"/>
    <p:sldLayoutId id="2147483931" r:id="rId4"/>
    <p:sldLayoutId id="2147483932" r:id="rId5"/>
    <p:sldLayoutId id="2147483933" r:id="rId6"/>
    <p:sldLayoutId id="2147483934" r:id="rId7"/>
    <p:sldLayoutId id="2147483935" r:id="rId8"/>
    <p:sldLayoutId id="2147483936" r:id="rId9"/>
    <p:sldLayoutId id="2147483937" r:id="rId10"/>
    <p:sldLayoutId id="2147483938" r:id="rId11"/>
    <p:sldLayoutId id="2147483939" r:id="rId12"/>
    <p:sldLayoutId id="2147483940" r:id="rId13"/>
  </p:sldLayoutIdLst>
  <p:transition spd="med"/>
  <p:txStyles>
    <p:titleStyle>
      <a:lvl1pPr marL="0" marR="0" indent="0" algn="l" defTabSz="91352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>
          <a:tab pos="355600" algn="l"/>
        </a:tabLst>
        <a:defRPr sz="1900" b="1" i="0" u="none" strike="noStrike" cap="none" spc="0" baseline="0">
          <a:ln>
            <a:noFill/>
          </a:ln>
          <a:solidFill>
            <a:srgbClr val="049536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l" defTabSz="91352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>
          <a:tab pos="355600" algn="l"/>
        </a:tabLst>
        <a:defRPr sz="1900" b="1" i="0" u="none" strike="noStrike" cap="none" spc="0" baseline="0">
          <a:ln>
            <a:noFill/>
          </a:ln>
          <a:solidFill>
            <a:srgbClr val="049536"/>
          </a:solidFill>
          <a:uFillTx/>
          <a:latin typeface="Arial"/>
          <a:ea typeface="Arial"/>
          <a:cs typeface="Arial"/>
          <a:sym typeface="Arial"/>
        </a:defRPr>
      </a:lvl2pPr>
      <a:lvl3pPr marL="0" marR="0" indent="0" algn="l" defTabSz="91352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>
          <a:tab pos="355600" algn="l"/>
        </a:tabLst>
        <a:defRPr sz="1900" b="1" i="0" u="none" strike="noStrike" cap="none" spc="0" baseline="0">
          <a:ln>
            <a:noFill/>
          </a:ln>
          <a:solidFill>
            <a:srgbClr val="049536"/>
          </a:solidFill>
          <a:uFillTx/>
          <a:latin typeface="Arial"/>
          <a:ea typeface="Arial"/>
          <a:cs typeface="Arial"/>
          <a:sym typeface="Arial"/>
        </a:defRPr>
      </a:lvl3pPr>
      <a:lvl4pPr marL="0" marR="0" indent="0" algn="l" defTabSz="91352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>
          <a:tab pos="355600" algn="l"/>
        </a:tabLst>
        <a:defRPr sz="1900" b="1" i="0" u="none" strike="noStrike" cap="none" spc="0" baseline="0">
          <a:ln>
            <a:noFill/>
          </a:ln>
          <a:solidFill>
            <a:srgbClr val="049536"/>
          </a:solidFill>
          <a:uFillTx/>
          <a:latin typeface="Arial"/>
          <a:ea typeface="Arial"/>
          <a:cs typeface="Arial"/>
          <a:sym typeface="Arial"/>
        </a:defRPr>
      </a:lvl4pPr>
      <a:lvl5pPr marL="0" marR="0" indent="0" algn="l" defTabSz="91352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>
          <a:tab pos="355600" algn="l"/>
        </a:tabLst>
        <a:defRPr sz="1900" b="1" i="0" u="none" strike="noStrike" cap="none" spc="0" baseline="0">
          <a:ln>
            <a:noFill/>
          </a:ln>
          <a:solidFill>
            <a:srgbClr val="049536"/>
          </a:solidFill>
          <a:uFillTx/>
          <a:latin typeface="Arial"/>
          <a:ea typeface="Arial"/>
          <a:cs typeface="Arial"/>
          <a:sym typeface="Arial"/>
        </a:defRPr>
      </a:lvl5pPr>
      <a:lvl6pPr marL="0" marR="0" indent="0" algn="l" defTabSz="91352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>
          <a:tab pos="355600" algn="l"/>
        </a:tabLst>
        <a:defRPr sz="1900" b="1" i="0" u="none" strike="noStrike" cap="none" spc="0" baseline="0">
          <a:ln>
            <a:noFill/>
          </a:ln>
          <a:solidFill>
            <a:srgbClr val="049536"/>
          </a:solidFill>
          <a:uFillTx/>
          <a:latin typeface="Arial"/>
          <a:ea typeface="Arial"/>
          <a:cs typeface="Arial"/>
          <a:sym typeface="Arial"/>
        </a:defRPr>
      </a:lvl6pPr>
      <a:lvl7pPr marL="0" marR="0" indent="0" algn="l" defTabSz="91352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>
          <a:tab pos="355600" algn="l"/>
        </a:tabLst>
        <a:defRPr sz="1900" b="1" i="0" u="none" strike="noStrike" cap="none" spc="0" baseline="0">
          <a:ln>
            <a:noFill/>
          </a:ln>
          <a:solidFill>
            <a:srgbClr val="049536"/>
          </a:solidFill>
          <a:uFillTx/>
          <a:latin typeface="Arial"/>
          <a:ea typeface="Arial"/>
          <a:cs typeface="Arial"/>
          <a:sym typeface="Arial"/>
        </a:defRPr>
      </a:lvl7pPr>
      <a:lvl8pPr marL="0" marR="0" indent="0" algn="l" defTabSz="91352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>
          <a:tab pos="355600" algn="l"/>
        </a:tabLst>
        <a:defRPr sz="1900" b="1" i="0" u="none" strike="noStrike" cap="none" spc="0" baseline="0">
          <a:ln>
            <a:noFill/>
          </a:ln>
          <a:solidFill>
            <a:srgbClr val="049536"/>
          </a:solidFill>
          <a:uFillTx/>
          <a:latin typeface="Arial"/>
          <a:ea typeface="Arial"/>
          <a:cs typeface="Arial"/>
          <a:sym typeface="Arial"/>
        </a:defRPr>
      </a:lvl8pPr>
      <a:lvl9pPr marL="0" marR="0" indent="0" algn="l" defTabSz="91352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>
          <a:tab pos="355600" algn="l"/>
        </a:tabLst>
        <a:defRPr sz="1900" b="1" i="0" u="none" strike="noStrike" cap="none" spc="0" baseline="0">
          <a:ln>
            <a:noFill/>
          </a:ln>
          <a:solidFill>
            <a:srgbClr val="049536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0" marR="0" indent="0" algn="l" defTabSz="91352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197607" marR="0" indent="-195986" algn="l" defTabSz="913526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125000"/>
        <a:buFontTx/>
        <a:buChar char="▪"/>
        <a:tabLst/>
        <a:defRPr sz="16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466481" marR="0" indent="-267255" algn="l" defTabSz="913526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120000"/>
        <a:buFontTx/>
        <a:buChar char="–"/>
        <a:tabLst/>
        <a:defRPr sz="16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626833" marR="0" indent="-158732" algn="l" defTabSz="913526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120000"/>
        <a:buFontTx/>
        <a:buChar char="▫"/>
        <a:tabLst/>
        <a:defRPr sz="16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765028" marR="0" indent="-132818" algn="l" defTabSz="913526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89000"/>
        <a:buFontTx/>
        <a:buChar char="-"/>
        <a:tabLst/>
        <a:defRPr sz="16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765028" marR="0" indent="-132818" algn="l" defTabSz="913526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89000"/>
        <a:buFontTx/>
        <a:buChar char="-"/>
        <a:tabLst/>
        <a:defRPr sz="16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765028" marR="0" indent="-132818" algn="l" defTabSz="913526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89000"/>
        <a:buFontTx/>
        <a:buChar char="-"/>
        <a:tabLst/>
        <a:defRPr sz="16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765028" marR="0" indent="-132818" algn="l" defTabSz="913526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89000"/>
        <a:buFontTx/>
        <a:buChar char="-"/>
        <a:tabLst/>
        <a:defRPr sz="16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765028" marR="0" indent="-132818" algn="l" defTabSz="913526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89000"/>
        <a:buFontTx/>
        <a:buChar char="-"/>
        <a:tabLst/>
        <a:defRPr sz="16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9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D68BA2-E02C-4ACD-8B3D-D77A5A80DB29}" type="datetime1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3.03.2017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9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9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34343D-424D-479E-A25B-CEA996702F2B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78425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2" r:id="rId1"/>
    <p:sldLayoutId id="2147483943" r:id="rId2"/>
    <p:sldLayoutId id="2147483944" r:id="rId3"/>
    <p:sldLayoutId id="2147483945" r:id="rId4"/>
    <p:sldLayoutId id="2147483946" r:id="rId5"/>
    <p:sldLayoutId id="2147483947" r:id="rId6"/>
    <p:sldLayoutId id="2147483948" r:id="rId7"/>
    <p:sldLayoutId id="2147483949" r:id="rId8"/>
    <p:sldLayoutId id="2147483950" r:id="rId9"/>
    <p:sldLayoutId id="2147483951" r:id="rId10"/>
    <p:sldLayoutId id="2147483952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2858" y="1752601"/>
            <a:ext cx="8154247" cy="44204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ru-RU" noProof="0" dirty="0" smtClean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4787" y="685800"/>
            <a:ext cx="8142302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ru-RU" noProof="0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20040" y="6477001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287"/>
            <a:fld id="{9EBD5762-3BDC-484D-9503-7EA6D5A9A8CE}" type="slidenum">
              <a:rPr lang="ru-RU" smtClean="0">
                <a:solidFill>
                  <a:srgbClr val="000000"/>
                </a:solidFill>
              </a:rPr>
              <a:pPr defTabSz="914287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7123088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287"/>
            <a:r>
              <a:rPr lang="en-US" smtClean="0">
                <a:solidFill>
                  <a:srgbClr val="000000"/>
                </a:solidFill>
              </a:rPr>
              <a:t>Май 2015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4785" y="6324600"/>
            <a:ext cx="5260848" cy="150876"/>
          </a:xfrm>
          <a:prstGeom prst="rect">
            <a:avLst/>
          </a:prstGeom>
        </p:spPr>
        <p:txBody>
          <a:bodyPr vert="horz" lIns="0" tIns="0" rIns="0" bIns="0" anchor="t" anchorCtr="0">
            <a:noAutofit/>
          </a:bodyPr>
          <a:lstStyle>
            <a:lvl1pPr algn="l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287"/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06354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4" r:id="rId1"/>
    <p:sldLayoutId id="2147483955" r:id="rId2"/>
    <p:sldLayoutId id="2147483956" r:id="rId3"/>
    <p:sldLayoutId id="2147483957" r:id="rId4"/>
    <p:sldLayoutId id="2147483958" r:id="rId5"/>
    <p:sldLayoutId id="2147483959" r:id="rId6"/>
    <p:sldLayoutId id="2147483960" r:id="rId7"/>
    <p:sldLayoutId id="2147483961" r:id="rId8"/>
    <p:sldLayoutId id="2147483962" r:id="rId9"/>
    <p:sldLayoutId id="2147483963" r:id="rId10"/>
    <p:sldLayoutId id="2147483964" r:id="rId11"/>
    <p:sldLayoutId id="2147483965" r:id="rId12"/>
    <p:sldLayoutId id="2147483966" r:id="rId13"/>
    <p:sldLayoutId id="2147483967" r:id="rId14"/>
    <p:sldLayoutId id="2147483968" r:id="rId15"/>
    <p:sldLayoutId id="2147483969" r:id="rId16"/>
    <p:sldLayoutId id="2147483970" r:id="rId17"/>
    <p:sldLayoutId id="2147483971" r:id="rId18"/>
    <p:sldLayoutId id="2147483972" r:id="rId19"/>
    <p:sldLayoutId id="2147483973" r:id="rId20"/>
    <p:sldLayoutId id="2147483974" r:id="rId2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3664" rtl="0" eaLnBrk="1" latinLnBrk="0" hangingPunct="1">
        <a:lnSpc>
          <a:spcPct val="100000"/>
        </a:lnSpc>
        <a:spcBef>
          <a:spcPct val="0"/>
        </a:spcBef>
        <a:buNone/>
        <a:defRPr sz="21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-265099" algn="l" defTabSz="883664" rtl="0" eaLnBrk="1" fontAlgn="auto" latinLnBrk="0" hangingPunct="1">
        <a:lnSpc>
          <a:spcPct val="100000"/>
        </a:lnSpc>
        <a:spcBef>
          <a:spcPts val="0"/>
        </a:spcBef>
        <a:spcAft>
          <a:spcPts val="870"/>
        </a:spcAft>
        <a:buClr>
          <a:schemeClr val="tx1"/>
        </a:buClr>
        <a:buSzTx/>
        <a:buFontTx/>
        <a:buNone/>
        <a:tabLst/>
        <a:defRPr sz="18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65099" indent="-265099" algn="l" defTabSz="883664" rtl="0" eaLnBrk="1" latinLnBrk="0" hangingPunct="1">
        <a:lnSpc>
          <a:spcPct val="100000"/>
        </a:lnSpc>
        <a:spcBef>
          <a:spcPts val="0"/>
        </a:spcBef>
        <a:spcAft>
          <a:spcPts val="870"/>
        </a:spcAft>
        <a:buClr>
          <a:schemeClr val="tx1"/>
        </a:buClr>
        <a:buFont typeface="Georgia" pitchFamily="18" charset="0"/>
        <a:buChar char="•"/>
        <a:defRPr sz="18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530198" indent="-265099" algn="l" defTabSz="883664" rtl="0" eaLnBrk="1" latinLnBrk="0" hangingPunct="1">
        <a:lnSpc>
          <a:spcPct val="100000"/>
        </a:lnSpc>
        <a:spcBef>
          <a:spcPts val="0"/>
        </a:spcBef>
        <a:spcAft>
          <a:spcPts val="870"/>
        </a:spcAft>
        <a:buClr>
          <a:schemeClr val="tx1"/>
        </a:buClr>
        <a:buFont typeface="Georgia" pitchFamily="18" charset="0"/>
        <a:buChar char="-"/>
        <a:defRPr sz="18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795298" indent="-265099" algn="l" defTabSz="883664" rtl="0" eaLnBrk="1" latinLnBrk="0" hangingPunct="1">
        <a:lnSpc>
          <a:spcPct val="100000"/>
        </a:lnSpc>
        <a:spcBef>
          <a:spcPts val="0"/>
        </a:spcBef>
        <a:spcAft>
          <a:spcPts val="870"/>
        </a:spcAft>
        <a:buClr>
          <a:schemeClr val="tx1"/>
        </a:buClr>
        <a:buFont typeface="Georgia" pitchFamily="18" charset="0"/>
        <a:buChar char="◦"/>
        <a:defRPr sz="18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1060397" indent="-265099" algn="l" defTabSz="883664" rtl="0" eaLnBrk="1" latinLnBrk="0" hangingPunct="1">
        <a:lnSpc>
          <a:spcPct val="100000"/>
        </a:lnSpc>
        <a:spcBef>
          <a:spcPts val="0"/>
        </a:spcBef>
        <a:spcAft>
          <a:spcPts val="870"/>
        </a:spcAft>
        <a:buClr>
          <a:schemeClr val="tx1"/>
        </a:buClr>
        <a:buFont typeface="Georgia" pitchFamily="18" charset="0"/>
        <a:buChar char="›"/>
        <a:defRPr sz="18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65099" marR="0" indent="-265099" algn="l" defTabSz="883664" rtl="0" eaLnBrk="1" fontAlgn="auto" latinLnBrk="0" hangingPunct="1">
        <a:lnSpc>
          <a:spcPct val="100000"/>
        </a:lnSpc>
        <a:spcBef>
          <a:spcPts val="0"/>
        </a:spcBef>
        <a:spcAft>
          <a:spcPts val="870"/>
        </a:spcAft>
        <a:buClr>
          <a:schemeClr val="tx1"/>
        </a:buClr>
        <a:buSzPct val="100000"/>
        <a:buFont typeface="+mj-lt"/>
        <a:buAutoNum type="arabicPeriod"/>
        <a:tabLst/>
        <a:defRPr sz="19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530198" indent="-265099" algn="l" defTabSz="883664" rtl="0" eaLnBrk="1" latinLnBrk="0" hangingPunct="1">
        <a:lnSpc>
          <a:spcPct val="100000"/>
        </a:lnSpc>
        <a:spcBef>
          <a:spcPts val="0"/>
        </a:spcBef>
        <a:spcAft>
          <a:spcPts val="870"/>
        </a:spcAft>
        <a:buSzPct val="100000"/>
        <a:buFont typeface="+mj-lt"/>
        <a:buAutoNum type="alphaLcPeriod"/>
        <a:defRPr sz="19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795298" indent="-265099" algn="l" defTabSz="883664" rtl="0" eaLnBrk="1" latinLnBrk="0" hangingPunct="1">
        <a:lnSpc>
          <a:spcPct val="100000"/>
        </a:lnSpc>
        <a:spcBef>
          <a:spcPts val="0"/>
        </a:spcBef>
        <a:spcAft>
          <a:spcPts val="870"/>
        </a:spcAft>
        <a:buSzPct val="100000"/>
        <a:buFont typeface="+mj-lt"/>
        <a:buAutoNum type="romanLcPeriod"/>
        <a:defRPr sz="19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265099" algn="l" defTabSz="883664" rtl="0" eaLnBrk="1" latinLnBrk="0" hangingPunct="1">
        <a:lnSpc>
          <a:spcPct val="100000"/>
        </a:lnSpc>
        <a:spcBef>
          <a:spcPts val="0"/>
        </a:spcBef>
        <a:spcAft>
          <a:spcPts val="870"/>
        </a:spcAft>
        <a:buFont typeface="Arial" pitchFamily="34" charset="0"/>
        <a:buNone/>
        <a:defRPr sz="1900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88366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41832" algn="l" defTabSz="88366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83664" algn="l" defTabSz="88366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25496" algn="l" defTabSz="88366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67327" algn="l" defTabSz="88366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09160" algn="l" defTabSz="88366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650991" algn="l" defTabSz="88366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92823" algn="l" defTabSz="88366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534655" algn="l" defTabSz="88366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116" userDrawn="1">
          <p15:clr>
            <a:srgbClr val="F26B43"/>
          </p15:clr>
        </p15:guide>
        <p15:guide id="3" pos="1383" userDrawn="1">
          <p15:clr>
            <a:srgbClr val="F26B43"/>
          </p15:clr>
        </p15:guide>
        <p15:guide id="4" pos="6369" userDrawn="1">
          <p15:clr>
            <a:srgbClr val="F26B43"/>
          </p15:clr>
        </p15:guide>
        <p15:guide id="5" pos="363" userDrawn="1">
          <p15:clr>
            <a:srgbClr val="F26B43"/>
          </p15:clr>
        </p15:guide>
        <p15:guide id="6" orient="horz" pos="4289" userDrawn="1">
          <p15:clr>
            <a:srgbClr val="F26B43"/>
          </p15:clr>
        </p15:guide>
        <p15:guide id="7" pos="1290" userDrawn="1">
          <p15:clr>
            <a:srgbClr val="F26B43"/>
          </p15:clr>
        </p15:guide>
        <p15:guide id="8" pos="2306" userDrawn="1">
          <p15:clr>
            <a:srgbClr val="F26B43"/>
          </p15:clr>
        </p15:guide>
        <p15:guide id="9" pos="2398" userDrawn="1">
          <p15:clr>
            <a:srgbClr val="F26B43"/>
          </p15:clr>
        </p15:guide>
        <p15:guide id="10" pos="3324" userDrawn="1">
          <p15:clr>
            <a:srgbClr val="F26B43"/>
          </p15:clr>
        </p15:guide>
        <p15:guide id="11" pos="3412" userDrawn="1">
          <p15:clr>
            <a:srgbClr val="F26B43"/>
          </p15:clr>
        </p15:guide>
        <p15:guide id="12" pos="4340" userDrawn="1">
          <p15:clr>
            <a:srgbClr val="F26B43"/>
          </p15:clr>
        </p15:guide>
        <p15:guide id="13" pos="4428" userDrawn="1">
          <p15:clr>
            <a:srgbClr val="F26B43"/>
          </p15:clr>
        </p15:guide>
        <p15:guide id="14" pos="5352" userDrawn="1">
          <p15:clr>
            <a:srgbClr val="F26B43"/>
          </p15:clr>
        </p15:guide>
        <p15:guide id="15" pos="5444" userDrawn="1">
          <p15:clr>
            <a:srgbClr val="F26B43"/>
          </p15:clr>
        </p15:guide>
        <p15:guide id="16" orient="horz" pos="1214" userDrawn="1">
          <p15:clr>
            <a:srgbClr val="F26B43"/>
          </p15:clr>
        </p15:guide>
        <p15:guide id="17" orient="horz" pos="1648" userDrawn="1">
          <p15:clr>
            <a:srgbClr val="F26B43"/>
          </p15:clr>
        </p15:guide>
        <p15:guide id="18" orient="horz" pos="1743" userDrawn="1">
          <p15:clr>
            <a:srgbClr val="F26B43"/>
          </p15:clr>
        </p15:guide>
        <p15:guide id="19" orient="horz" pos="2178" userDrawn="1">
          <p15:clr>
            <a:srgbClr val="F26B43"/>
          </p15:clr>
        </p15:guide>
        <p15:guide id="20" orient="horz" pos="2274" userDrawn="1">
          <p15:clr>
            <a:srgbClr val="F26B43"/>
          </p15:clr>
        </p15:guide>
        <p15:guide id="21" orient="horz" pos="2706" userDrawn="1">
          <p15:clr>
            <a:srgbClr val="F26B43"/>
          </p15:clr>
        </p15:guide>
        <p15:guide id="22" orient="horz" pos="2799" userDrawn="1">
          <p15:clr>
            <a:srgbClr val="F26B43"/>
          </p15:clr>
        </p15:guide>
        <p15:guide id="23" orient="horz" pos="3234" userDrawn="1">
          <p15:clr>
            <a:srgbClr val="F26B43"/>
          </p15:clr>
        </p15:guide>
        <p15:guide id="24" orient="horz" pos="3327" userDrawn="1">
          <p15:clr>
            <a:srgbClr val="F26B43"/>
          </p15:clr>
        </p15:guide>
        <p15:guide id="25" orient="horz" pos="3759" userDrawn="1">
          <p15:clr>
            <a:srgbClr val="F26B43"/>
          </p15:clr>
        </p15:guide>
        <p15:guide id="26" orient="horz" pos="3855" userDrawn="1">
          <p15:clr>
            <a:srgbClr val="F26B43"/>
          </p15:clr>
        </p15:guide>
        <p15:guide id="27" orient="horz" pos="476" userDrawn="1">
          <p15:clr>
            <a:srgbClr val="F26B43"/>
          </p15:clr>
        </p15:guide>
        <p15:guide id="28" orient="horz" pos="371" userDrawn="1">
          <p15:clr>
            <a:srgbClr val="F26B43"/>
          </p15:clr>
        </p15:guide>
        <p15:guide id="29" orient="horz" pos="158" userDrawn="1">
          <p15:clr>
            <a:srgbClr val="F26B43"/>
          </p15:clr>
        </p15:guide>
        <p15:guide id="30" orient="horz" pos="4391" userDrawn="1">
          <p15:clr>
            <a:srgbClr val="F26B43"/>
          </p15:clr>
        </p15:guide>
        <p15:guide id="31" orient="horz" pos="4605" userDrawn="1">
          <p15:clr>
            <a:srgbClr val="F26B43"/>
          </p15:clr>
        </p15:guide>
        <p15:guide id="32" pos="270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8677" y="697850"/>
            <a:ext cx="6281738" cy="39498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1519" y="2055704"/>
            <a:ext cx="7998619" cy="4110147"/>
          </a:xfrm>
          <a:prstGeom prst="rect">
            <a:avLst/>
          </a:prstGeom>
        </p:spPr>
        <p:txBody>
          <a:bodyPr vert="horz" wrap="square" lIns="0" tIns="0" rIns="13500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9158" y="6264005"/>
            <a:ext cx="1132960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defTabSz="685800"/>
            <a:fld id="{47AA8B06-D452-4901-AB2E-6224E48DA3E9}" type="datetime1">
              <a:rPr lang="en-GB" smtClean="0">
                <a:solidFill>
                  <a:srgbClr val="C6C6C6">
                    <a:lumMod val="75000"/>
                  </a:srgbClr>
                </a:solidFill>
                <a:latin typeface="Arial"/>
              </a:rPr>
              <a:pPr defTabSz="685800"/>
              <a:t>23/03/2017</a:t>
            </a:fld>
            <a:endParaRPr lang="en-GB" dirty="0">
              <a:solidFill>
                <a:srgbClr val="C6C6C6">
                  <a:lumMod val="75000"/>
                </a:srgbClr>
              </a:solidFill>
              <a:latin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712138" y="6264005"/>
            <a:ext cx="62864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defTabSz="685800"/>
            <a:endParaRPr lang="en-GB" dirty="0">
              <a:solidFill>
                <a:srgbClr val="C6C6C6">
                  <a:lumMod val="75000"/>
                </a:srgbClr>
              </a:solidFill>
              <a:latin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8424" y="6597352"/>
            <a:ext cx="571500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8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defTabSz="685800"/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  <a:latin typeface="Arial"/>
              </a:rPr>
              <a:pPr defTabSz="685800"/>
              <a:t>‹#›</a:t>
            </a:fld>
            <a:endParaRPr lang="en-GB" dirty="0">
              <a:solidFill>
                <a:srgbClr val="C6C6C6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02419" y="688979"/>
            <a:ext cx="147638" cy="6826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80" tIns="34290" rIns="68580" bIns="34290" rtlCol="0" anchor="ctr"/>
          <a:lstStyle/>
          <a:p>
            <a:pPr algn="ctr" defTabSz="685800"/>
            <a:endParaRPr lang="en-GB" sz="1400" dirty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9" name="Immagine 8" descr="logo ENEL openpower x W.png"/>
          <p:cNvPicPr>
            <a:picLocks noChangeAspect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3237" y="516169"/>
            <a:ext cx="1715312" cy="85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4910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  <p:sldLayoutId id="2147483982" r:id="rId7"/>
    <p:sldLayoutId id="2147483983" r:id="rId8"/>
    <p:sldLayoutId id="2147483984" r:id="rId9"/>
    <p:sldLayoutId id="2147483985" r:id="rId10"/>
    <p:sldLayoutId id="2147483986" r:id="rId11"/>
    <p:sldLayoutId id="2147483987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450"/>
        </a:spcBef>
        <a:spcAft>
          <a:spcPts val="450"/>
        </a:spcAft>
        <a:buFont typeface="Arial"/>
        <a:buNone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214313" indent="-214313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404813" indent="-202406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406004" indent="-203597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>
          <a:tab pos="792956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406004" indent="-203597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Lucida Grande"/>
        <a:buChar char="-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480">
          <p15:clr>
            <a:srgbClr val="F26B43"/>
          </p15:clr>
        </p15:guide>
        <p15:guide id="4" pos="1920">
          <p15:clr>
            <a:srgbClr val="F26B43"/>
          </p15:clr>
        </p15:guide>
        <p15:guide id="5" pos="960">
          <p15:clr>
            <a:srgbClr val="F26B43"/>
          </p15:clr>
        </p15:guide>
        <p15:guide id="6" pos="1438">
          <p15:clr>
            <a:srgbClr val="F26B43"/>
          </p15:clr>
        </p15:guide>
        <p15:guide id="7" pos="2398">
          <p15:clr>
            <a:srgbClr val="F26B43"/>
          </p15:clr>
        </p15:guide>
        <p15:guide id="8" pos="2880">
          <p15:clr>
            <a:srgbClr val="F26B43"/>
          </p15:clr>
        </p15:guide>
        <p15:guide id="9" pos="3360">
          <p15:clr>
            <a:srgbClr val="F26B43"/>
          </p15:clr>
        </p15:guide>
        <p15:guide id="10" pos="4320">
          <p15:clr>
            <a:srgbClr val="F26B43"/>
          </p15:clr>
        </p15:guide>
        <p15:guide id="11" pos="4798">
          <p15:clr>
            <a:srgbClr val="F26B43"/>
          </p15:clr>
        </p15:guide>
        <p15:guide id="12" pos="5278">
          <p15:clr>
            <a:srgbClr val="F26B43"/>
          </p15:clr>
        </p15:guide>
        <p15:guide id="13" pos="5756">
          <p15:clr>
            <a:srgbClr val="F26B43"/>
          </p15:clr>
        </p15:guide>
        <p15:guide id="14" pos="6236">
          <p15:clr>
            <a:srgbClr val="F26B43"/>
          </p15:clr>
        </p15:guide>
        <p15:guide id="15" pos="6718">
          <p15:clr>
            <a:srgbClr val="F26B43"/>
          </p15:clr>
        </p15:guide>
        <p15:guide id="16" pos="7197">
          <p15:clr>
            <a:srgbClr val="F26B43"/>
          </p15:clr>
        </p15:guide>
        <p15:guide id="17" orient="horz" pos="1728">
          <p15:clr>
            <a:srgbClr val="F26B43"/>
          </p15:clr>
        </p15:guide>
        <p15:guide id="18" orient="horz" pos="1296">
          <p15:clr>
            <a:srgbClr val="F26B43"/>
          </p15:clr>
        </p15:guide>
        <p15:guide id="19" orient="horz" pos="864">
          <p15:clr>
            <a:srgbClr val="F26B43"/>
          </p15:clr>
        </p15:guide>
        <p15:guide id="20" orient="horz" pos="434">
          <p15:clr>
            <a:srgbClr val="F26B43"/>
          </p15:clr>
        </p15:guide>
        <p15:guide id="21" orient="horz" pos="2590">
          <p15:clr>
            <a:srgbClr val="F26B43"/>
          </p15:clr>
        </p15:guide>
        <p15:guide id="22" orient="horz" pos="3022">
          <p15:clr>
            <a:srgbClr val="F26B43"/>
          </p15:clr>
        </p15:guide>
        <p15:guide id="23" orient="horz" pos="3454">
          <p15:clr>
            <a:srgbClr val="F26B43"/>
          </p15:clr>
        </p15:guide>
        <p15:guide id="24" orient="horz" pos="3884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2000" y="4572000"/>
            <a:ext cx="6781800" cy="16002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2000" y="685800"/>
            <a:ext cx="7543800" cy="3886200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48400" y="620881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</a:defRPr>
            </a:lvl1pPr>
          </a:lstStyle>
          <a:p>
            <a:fld id="{B9E52F6D-5044-42FC-B07A-1AE3BE4E6D03}" type="datetimeFigureOut">
              <a:rPr lang="ru-RU" smtClean="0">
                <a:solidFill>
                  <a:srgbClr val="303030">
                    <a:lumMod val="90000"/>
                    <a:lumOff val="10000"/>
                  </a:srgbClr>
                </a:solidFill>
                <a:latin typeface="Times New Roman"/>
              </a:rPr>
              <a:pPr/>
              <a:t>23.03.2017</a:t>
            </a:fld>
            <a:endParaRPr lang="ru-RU">
              <a:solidFill>
                <a:srgbClr val="303030">
                  <a:lumMod val="90000"/>
                  <a:lumOff val="10000"/>
                </a:srgbClr>
              </a:solidFill>
              <a:latin typeface="Times New Roman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61999" y="6208812"/>
            <a:ext cx="48738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2">
                    <a:lumMod val="90000"/>
                    <a:lumOff val="10000"/>
                  </a:schemeClr>
                </a:solidFill>
              </a:defRPr>
            </a:lvl1pPr>
          </a:lstStyle>
          <a:p>
            <a:endParaRPr lang="ru-RU">
              <a:solidFill>
                <a:srgbClr val="303030">
                  <a:lumMod val="90000"/>
                  <a:lumOff val="10000"/>
                </a:srgbClr>
              </a:solidFill>
              <a:latin typeface="Times New Roman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20000" y="5687604"/>
            <a:ext cx="762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</a:lstStyle>
          <a:p>
            <a:fld id="{A7BABB63-2853-4609-A441-35B79B6478E9}" type="slidenum">
              <a:rPr lang="ru-RU" smtClean="0">
                <a:solidFill>
                  <a:prstClr val="black">
                    <a:lumMod val="85000"/>
                    <a:lumOff val="15000"/>
                  </a:prstClr>
                </a:solidFill>
                <a:latin typeface="Impact"/>
              </a:rPr>
              <a:pPr/>
              <a:t>‹#›</a:t>
            </a:fld>
            <a:endParaRPr lang="ru-RU">
              <a:solidFill>
                <a:prstClr val="black">
                  <a:lumMod val="85000"/>
                  <a:lumOff val="15000"/>
                </a:prstClr>
              </a:solidFill>
              <a:latin typeface="Impac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777240" y="0"/>
            <a:ext cx="7543800" cy="381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Times New Roman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77240" y="6172200"/>
            <a:ext cx="7543800" cy="2743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9339901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9" r:id="rId1"/>
    <p:sldLayoutId id="2147483990" r:id="rId2"/>
    <p:sldLayoutId id="2147483991" r:id="rId3"/>
    <p:sldLayoutId id="2147483992" r:id="rId4"/>
    <p:sldLayoutId id="2147483993" r:id="rId5"/>
    <p:sldLayoutId id="2147483994" r:id="rId6"/>
    <p:sldLayoutId id="2147483995" r:id="rId7"/>
    <p:sldLayoutId id="2147483996" r:id="rId8"/>
    <p:sldLayoutId id="2147483997" r:id="rId9"/>
    <p:sldLayoutId id="2147483998" r:id="rId10"/>
    <p:sldLayoutId id="2147483999" r:id="rId11"/>
  </p:sldLayoutIdLst>
  <p:txStyles>
    <p:titleStyle>
      <a:lvl1pPr algn="l" defTabSz="914400" rtl="0" eaLnBrk="1" latinLnBrk="0" hangingPunct="1">
        <a:spcBef>
          <a:spcPct val="0"/>
        </a:spcBef>
        <a:buNone/>
        <a:defRPr sz="54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74320" indent="-27432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594360" indent="-27432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2200" kern="1200">
          <a:solidFill>
            <a:schemeClr val="tx2"/>
          </a:solidFill>
          <a:latin typeface="+mn-lt"/>
          <a:ea typeface="+mn-ea"/>
          <a:cs typeface="+mn-cs"/>
        </a:defRPr>
      </a:lvl2pPr>
      <a:lvl3pPr marL="86868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114300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37160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8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64592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6pPr>
      <a:lvl7pPr marL="1901952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7pPr>
      <a:lvl8pPr marL="219456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8pPr>
      <a:lvl9pPr marL="246888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6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8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altLang="ru-RU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8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altLang="ru-RU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86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8358ACC-3DB0-4542-B492-11545E19EF86}" type="slidenum">
              <a:rPr lang="ru-RU" smtClean="0">
                <a:latin typeface="Arial" charset="0"/>
                <a:ea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mtClean="0">
              <a:latin typeface="Arial" charset="0"/>
              <a:ea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9952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1" r:id="rId1"/>
    <p:sldLayoutId id="2147484002" r:id="rId2"/>
    <p:sldLayoutId id="2147484003" r:id="rId3"/>
    <p:sldLayoutId id="2147484004" r:id="rId4"/>
    <p:sldLayoutId id="2147484005" r:id="rId5"/>
    <p:sldLayoutId id="2147484006" r:id="rId6"/>
    <p:sldLayoutId id="2147484007" r:id="rId7"/>
    <p:sldLayoutId id="2147484008" r:id="rId8"/>
    <p:sldLayoutId id="2147484009" r:id="rId9"/>
    <p:sldLayoutId id="2147484010" r:id="rId10"/>
    <p:sldLayoutId id="2147484011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Arial" charset="0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Arial" charset="0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Arial" charset="0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Arial" charset="0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Arial" charset="0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Arial" charset="0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8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5D0B6A2-87B7-4169-9AD0-6F5D6795539F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3/23/20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8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8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9911FE-9CEC-47A9-BD87-00D41E7EAD33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75" r="50909" b="81991"/>
          <a:stretch/>
        </p:blipFill>
        <p:spPr>
          <a:xfrm>
            <a:off x="0" y="0"/>
            <a:ext cx="4572000" cy="12192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778" r="50909" b="41111"/>
          <a:stretch/>
        </p:blipFill>
        <p:spPr>
          <a:xfrm>
            <a:off x="0" y="1219200"/>
            <a:ext cx="4572000" cy="434340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003" r="50909" b="21559"/>
          <a:stretch/>
        </p:blipFill>
        <p:spPr>
          <a:xfrm>
            <a:off x="-1" y="5562601"/>
            <a:ext cx="4572001" cy="1295400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003" r="50909" b="21559"/>
          <a:stretch/>
        </p:blipFill>
        <p:spPr>
          <a:xfrm flipH="1">
            <a:off x="4572000" y="5562600"/>
            <a:ext cx="4572000" cy="129540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75" r="50909" b="81991"/>
          <a:stretch/>
        </p:blipFill>
        <p:spPr>
          <a:xfrm flipH="1">
            <a:off x="4572000" y="1"/>
            <a:ext cx="4572000" cy="1219200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 rotWithShape="1"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778" r="50909" b="41111"/>
          <a:stretch/>
        </p:blipFill>
        <p:spPr>
          <a:xfrm flipH="1">
            <a:off x="4572000" y="1219201"/>
            <a:ext cx="4572000" cy="434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3914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3" r:id="rId1"/>
    <p:sldLayoutId id="2147484014" r:id="rId2"/>
    <p:sldLayoutId id="2147484015" r:id="rId3"/>
    <p:sldLayoutId id="2147484016" r:id="rId4"/>
    <p:sldLayoutId id="2147484017" r:id="rId5"/>
    <p:sldLayoutId id="2147484018" r:id="rId6"/>
    <p:sldLayoutId id="2147484019" r:id="rId7"/>
    <p:sldLayoutId id="2147484020" r:id="rId8"/>
    <p:sldLayoutId id="2147484021" r:id="rId9"/>
    <p:sldLayoutId id="2147484022" r:id="rId10"/>
    <p:sldLayoutId id="2147484023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.xml"/></Relationships>
</file>

<file path=ppt/slides/_rels/slide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7.png"/><Relationship Id="rId1" Type="http://schemas.openxmlformats.org/officeDocument/2006/relationships/slideLayout" Target="../slideLayouts/slideLayout136.xml"/></Relationships>
</file>

<file path=ppt/slides/_rels/slide1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8.xml"/></Relationships>
</file>

<file path=ppt/slides/_rels/slide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8.png"/><Relationship Id="rId1" Type="http://schemas.openxmlformats.org/officeDocument/2006/relationships/slideLayout" Target="../slideLayouts/slideLayout135.xml"/></Relationships>
</file>

<file path=ppt/slides/_rels/slide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9.png"/><Relationship Id="rId1" Type="http://schemas.openxmlformats.org/officeDocument/2006/relationships/slideLayout" Target="../slideLayouts/slideLayout146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jpeg"/><Relationship Id="rId1" Type="http://schemas.openxmlformats.org/officeDocument/2006/relationships/slideLayout" Target="../slideLayouts/slideLayout2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2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3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3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36.xml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2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3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5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2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eg"/><Relationship Id="rId2" Type="http://schemas.openxmlformats.org/officeDocument/2006/relationships/image" Target="../media/image79.jpeg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81.jpe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e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40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41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jpeg"/><Relationship Id="rId3" Type="http://schemas.openxmlformats.org/officeDocument/2006/relationships/diagramLayout" Target="../diagrams/layout3.xml"/><Relationship Id="rId7" Type="http://schemas.openxmlformats.org/officeDocument/2006/relationships/image" Target="../media/image85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41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4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4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7" Type="http://schemas.openxmlformats.org/officeDocument/2006/relationships/image" Target="../media/image101.png"/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100.png"/><Relationship Id="rId5" Type="http://schemas.openxmlformats.org/officeDocument/2006/relationships/image" Target="../media/image99.png"/><Relationship Id="rId4" Type="http://schemas.openxmlformats.org/officeDocument/2006/relationships/image" Target="../media/image98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image" Target="../media/image102.jpeg"/><Relationship Id="rId1" Type="http://schemas.openxmlformats.org/officeDocument/2006/relationships/slideLayout" Target="../slideLayouts/slideLayout41.xml"/><Relationship Id="rId5" Type="http://schemas.openxmlformats.org/officeDocument/2006/relationships/image" Target="../media/image105.png"/><Relationship Id="rId4" Type="http://schemas.openxmlformats.org/officeDocument/2006/relationships/image" Target="../media/image104.png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40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jpeg"/><Relationship Id="rId1" Type="http://schemas.openxmlformats.org/officeDocument/2006/relationships/slideLayout" Target="../slideLayouts/slideLayout14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jpeg"/><Relationship Id="rId2" Type="http://schemas.openxmlformats.org/officeDocument/2006/relationships/image" Target="../media/image108.jpeg"/><Relationship Id="rId1" Type="http://schemas.openxmlformats.org/officeDocument/2006/relationships/slideLayout" Target="../slideLayouts/slideLayout148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148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15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2.jpeg"/><Relationship Id="rId1" Type="http://schemas.openxmlformats.org/officeDocument/2006/relationships/slideLayout" Target="../slideLayouts/slideLayout15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3.jpeg"/><Relationship Id="rId1" Type="http://schemas.openxmlformats.org/officeDocument/2006/relationships/slideLayout" Target="../slideLayouts/slideLayout15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image" Target="../media/image114.jpeg"/><Relationship Id="rId1" Type="http://schemas.openxmlformats.org/officeDocument/2006/relationships/slideLayout" Target="../slideLayouts/slideLayout15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3.xml"/><Relationship Id="rId4" Type="http://schemas.openxmlformats.org/officeDocument/2006/relationships/image" Target="../media/image19.jpeg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81.xml"/></Relationships>
</file>

<file path=ppt/slides/_rels/slide5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9.jpeg"/><Relationship Id="rId1" Type="http://schemas.openxmlformats.org/officeDocument/2006/relationships/slideLayout" Target="../slideLayouts/slideLayout8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0.jpeg"/><Relationship Id="rId1" Type="http://schemas.openxmlformats.org/officeDocument/2006/relationships/slideLayout" Target="../slideLayouts/slideLayout84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1.jpeg"/><Relationship Id="rId1" Type="http://schemas.openxmlformats.org/officeDocument/2006/relationships/slideLayout" Target="../slideLayouts/slideLayout8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5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5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5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5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2.jpeg"/><Relationship Id="rId1" Type="http://schemas.openxmlformats.org/officeDocument/2006/relationships/slideLayout" Target="../slideLayouts/slideLayout85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3.jpeg"/><Relationship Id="rId1" Type="http://schemas.openxmlformats.org/officeDocument/2006/relationships/slideLayout" Target="../slideLayouts/slideLayout85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4.jpg"/><Relationship Id="rId1" Type="http://schemas.openxmlformats.org/officeDocument/2006/relationships/slideLayout" Target="../slideLayouts/slideLayout85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5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5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5.jpg"/><Relationship Id="rId1" Type="http://schemas.openxmlformats.org/officeDocument/2006/relationships/slideLayout" Target="../slideLayouts/slideLayout85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png"/><Relationship Id="rId2" Type="http://schemas.openxmlformats.org/officeDocument/2006/relationships/image" Target="../media/image126.jpeg"/><Relationship Id="rId1" Type="http://schemas.openxmlformats.org/officeDocument/2006/relationships/slideLayout" Target="../slideLayouts/slideLayout95.xml"/><Relationship Id="rId4" Type="http://schemas.openxmlformats.org/officeDocument/2006/relationships/image" Target="../media/image128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png"/><Relationship Id="rId2" Type="http://schemas.openxmlformats.org/officeDocument/2006/relationships/image" Target="../media/image126.jpeg"/><Relationship Id="rId1" Type="http://schemas.openxmlformats.org/officeDocument/2006/relationships/slideLayout" Target="../slideLayouts/slideLayout95.xml"/><Relationship Id="rId6" Type="http://schemas.openxmlformats.org/officeDocument/2006/relationships/image" Target="../media/image131.png"/><Relationship Id="rId5" Type="http://schemas.openxmlformats.org/officeDocument/2006/relationships/image" Target="../media/image130.png"/><Relationship Id="rId4" Type="http://schemas.openxmlformats.org/officeDocument/2006/relationships/image" Target="../media/image129.pn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png"/><Relationship Id="rId2" Type="http://schemas.openxmlformats.org/officeDocument/2006/relationships/image" Target="../media/image126.jpeg"/><Relationship Id="rId1" Type="http://schemas.openxmlformats.org/officeDocument/2006/relationships/slideLayout" Target="../slideLayouts/slideLayout95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png"/><Relationship Id="rId2" Type="http://schemas.openxmlformats.org/officeDocument/2006/relationships/image" Target="../media/image126.jpeg"/><Relationship Id="rId1" Type="http://schemas.openxmlformats.org/officeDocument/2006/relationships/slideLayout" Target="../slideLayouts/slideLayout95.xml"/><Relationship Id="rId4" Type="http://schemas.openxmlformats.org/officeDocument/2006/relationships/image" Target="../media/image133.png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png"/><Relationship Id="rId2" Type="http://schemas.openxmlformats.org/officeDocument/2006/relationships/image" Target="../media/image126.jpeg"/><Relationship Id="rId1" Type="http://schemas.openxmlformats.org/officeDocument/2006/relationships/slideLayout" Target="../slideLayouts/slideLayout95.xml"/><Relationship Id="rId4" Type="http://schemas.openxmlformats.org/officeDocument/2006/relationships/image" Target="../media/image134.pn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png"/><Relationship Id="rId2" Type="http://schemas.openxmlformats.org/officeDocument/2006/relationships/image" Target="../media/image126.jpeg"/><Relationship Id="rId1" Type="http://schemas.openxmlformats.org/officeDocument/2006/relationships/slideLayout" Target="../slideLayouts/slideLayout95.xml"/><Relationship Id="rId6" Type="http://schemas.openxmlformats.org/officeDocument/2006/relationships/image" Target="../media/image137.png"/><Relationship Id="rId5" Type="http://schemas.openxmlformats.org/officeDocument/2006/relationships/image" Target="../media/image136.png"/><Relationship Id="rId4" Type="http://schemas.openxmlformats.org/officeDocument/2006/relationships/image" Target="../media/image135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png"/><Relationship Id="rId2" Type="http://schemas.openxmlformats.org/officeDocument/2006/relationships/image" Target="../media/image126.jpeg"/><Relationship Id="rId1" Type="http://schemas.openxmlformats.org/officeDocument/2006/relationships/slideLayout" Target="../slideLayouts/slideLayout95.xml"/><Relationship Id="rId4" Type="http://schemas.openxmlformats.org/officeDocument/2006/relationships/image" Target="../media/image138.png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jpeg"/><Relationship Id="rId2" Type="http://schemas.openxmlformats.org/officeDocument/2006/relationships/image" Target="../media/image139.jpeg"/><Relationship Id="rId1" Type="http://schemas.openxmlformats.org/officeDocument/2006/relationships/slideLayout" Target="../slideLayouts/slideLayout106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2.jpeg"/><Relationship Id="rId2" Type="http://schemas.openxmlformats.org/officeDocument/2006/relationships/image" Target="../media/image141.png"/><Relationship Id="rId1" Type="http://schemas.openxmlformats.org/officeDocument/2006/relationships/slideLayout" Target="../slideLayouts/slideLayout107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3.png"/><Relationship Id="rId1" Type="http://schemas.openxmlformats.org/officeDocument/2006/relationships/slideLayout" Target="../slideLayouts/slideLayout107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5.jpeg"/><Relationship Id="rId2" Type="http://schemas.openxmlformats.org/officeDocument/2006/relationships/image" Target="../media/image144.png"/><Relationship Id="rId1" Type="http://schemas.openxmlformats.org/officeDocument/2006/relationships/slideLayout" Target="../slideLayouts/slideLayout10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2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6.jpeg"/><Relationship Id="rId1" Type="http://schemas.openxmlformats.org/officeDocument/2006/relationships/slideLayout" Target="../slideLayouts/slideLayout107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07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8.jpeg"/><Relationship Id="rId2" Type="http://schemas.openxmlformats.org/officeDocument/2006/relationships/image" Target="../media/image147.jpeg"/><Relationship Id="rId1" Type="http://schemas.openxmlformats.org/officeDocument/2006/relationships/slideLayout" Target="../slideLayouts/slideLayout107.xml"/><Relationship Id="rId6" Type="http://schemas.openxmlformats.org/officeDocument/2006/relationships/image" Target="../media/image151.jpeg"/><Relationship Id="rId5" Type="http://schemas.openxmlformats.org/officeDocument/2006/relationships/image" Target="../media/image150.jpeg"/><Relationship Id="rId4" Type="http://schemas.openxmlformats.org/officeDocument/2006/relationships/image" Target="../media/image149.jpeg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2.png"/><Relationship Id="rId1" Type="http://schemas.openxmlformats.org/officeDocument/2006/relationships/slideLayout" Target="../slideLayouts/slideLayout107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3.jpeg"/><Relationship Id="rId1" Type="http://schemas.openxmlformats.org/officeDocument/2006/relationships/slideLayout" Target="../slideLayouts/slideLayout107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4.jpeg"/><Relationship Id="rId1" Type="http://schemas.openxmlformats.org/officeDocument/2006/relationships/slideLayout" Target="../slideLayouts/slideLayout107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5.jpeg"/><Relationship Id="rId1" Type="http://schemas.openxmlformats.org/officeDocument/2006/relationships/slideLayout" Target="../slideLayouts/slideLayout107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7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6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7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jpeg"/><Relationship Id="rId2" Type="http://schemas.openxmlformats.org/officeDocument/2006/relationships/image" Target="../media/image157.jpg"/><Relationship Id="rId1" Type="http://schemas.openxmlformats.org/officeDocument/2006/relationships/slideLayout" Target="../slideLayouts/slideLayout128.xml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4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5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1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9.png"/><Relationship Id="rId1" Type="http://schemas.openxmlformats.org/officeDocument/2006/relationships/slideLayout" Target="../slideLayouts/slideLayout123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0.emf"/><Relationship Id="rId1" Type="http://schemas.openxmlformats.org/officeDocument/2006/relationships/slideLayout" Target="../slideLayouts/slideLayout126.xml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2.jpeg"/><Relationship Id="rId2" Type="http://schemas.openxmlformats.org/officeDocument/2006/relationships/image" Target="../media/image161.png"/><Relationship Id="rId1" Type="http://schemas.openxmlformats.org/officeDocument/2006/relationships/slideLayout" Target="../slideLayouts/slideLayout126.xml"/><Relationship Id="rId4" Type="http://schemas.openxmlformats.org/officeDocument/2006/relationships/image" Target="../media/image163.png"/></Relationships>
</file>

<file path=ppt/slides/_rels/slide9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0.xml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4.jpeg"/><Relationship Id="rId1" Type="http://schemas.openxmlformats.org/officeDocument/2006/relationships/slideLayout" Target="../slideLayouts/slideLayout132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8.xml"/></Relationships>
</file>

<file path=ppt/slides/_rels/slide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5.jpeg"/><Relationship Id="rId1" Type="http://schemas.openxmlformats.org/officeDocument/2006/relationships/slideLayout" Target="../slideLayouts/slideLayout136.xml"/></Relationships>
</file>

<file path=ppt/slides/_rels/slide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6.png"/><Relationship Id="rId1" Type="http://schemas.openxmlformats.org/officeDocument/2006/relationships/slideLayout" Target="../slideLayouts/slideLayout1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4700" dirty="0"/>
              <a:t>Как полюбить аудитора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11" t="1747" r="3633" b="1553"/>
          <a:stretch/>
        </p:blipFill>
        <p:spPr>
          <a:xfrm>
            <a:off x="5401559" y="1564979"/>
            <a:ext cx="3221741" cy="5061284"/>
          </a:xfrm>
          <a:prstGeom prst="rect">
            <a:avLst/>
          </a:prstGeom>
        </p:spPr>
      </p:pic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>
          <a:xfrm>
            <a:off x="-325723" y="4682829"/>
            <a:ext cx="5727282" cy="914401"/>
          </a:xfrm>
        </p:spPr>
        <p:txBody>
          <a:bodyPr/>
          <a:lstStyle/>
          <a:p>
            <a:r>
              <a:rPr lang="ru-RU" dirty="0" smtClean="0"/>
              <a:t>		</a:t>
            </a:r>
            <a:r>
              <a:rPr lang="ru-RU" sz="3500" dirty="0"/>
              <a:t>      </a:t>
            </a:r>
            <a:r>
              <a:rPr lang="ru-RU" sz="3600" dirty="0"/>
              <a:t>Алавердян </a:t>
            </a:r>
            <a:r>
              <a:rPr lang="ru-RU" sz="3600" dirty="0" smtClean="0"/>
              <a:t>Ева</a:t>
            </a:r>
          </a:p>
          <a:p>
            <a:pPr algn="r"/>
            <a:r>
              <a:rPr lang="ru-RU" sz="2400" i="1" dirty="0" smtClean="0"/>
              <a:t>4 курс МБ</a:t>
            </a:r>
            <a:endParaRPr lang="ru-RU" sz="2400" i="1" dirty="0"/>
          </a:p>
          <a:p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401257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ctrTitle"/>
          </p:nvPr>
        </p:nvSpPr>
        <p:spPr>
          <a:xfrm>
            <a:off x="121026" y="274028"/>
            <a:ext cx="8661401" cy="856272"/>
          </a:xfrm>
          <a:solidFill>
            <a:srgbClr val="2F7139"/>
          </a:solidFill>
        </p:spPr>
        <p:txBody>
          <a:bodyPr>
            <a:noAutofit/>
          </a:bodyPr>
          <a:lstStyle/>
          <a:p>
            <a:pPr algn="ctr"/>
            <a:r>
              <a:rPr lang="ru-RU" sz="3100" dirty="0" smtClean="0">
                <a:latin typeface="Avenir Next Medium"/>
                <a:cs typeface="Avenir Next Medium"/>
              </a:rPr>
              <a:t>Человеческий фактор в рекрутменте: этические проблемы</a:t>
            </a:r>
            <a:endParaRPr lang="ru-RU" sz="3100" dirty="0">
              <a:latin typeface="Avenir Next Medium"/>
              <a:cs typeface="Avenir Next Medium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914400" y="3034553"/>
            <a:ext cx="8001000" cy="1135592"/>
          </a:xfrm>
        </p:spPr>
        <p:txBody>
          <a:bodyPr>
            <a:normAutofit lnSpcReduction="10000"/>
          </a:bodyPr>
          <a:lstStyle/>
          <a:p>
            <a:pPr algn="r">
              <a:lnSpc>
                <a:spcPct val="50000"/>
              </a:lnSpc>
            </a:pPr>
            <a:endParaRPr lang="ru-RU" sz="2000" dirty="0" smtClean="0">
              <a:latin typeface="Avenir Next Medium"/>
              <a:cs typeface="Avenir Next Medium"/>
            </a:endParaRPr>
          </a:p>
          <a:p>
            <a:pPr algn="r">
              <a:lnSpc>
                <a:spcPct val="50000"/>
              </a:lnSpc>
            </a:pPr>
            <a:r>
              <a:rPr lang="ru-RU" sz="2000" dirty="0" smtClean="0">
                <a:latin typeface="Avenir Next Medium"/>
                <a:cs typeface="Avenir Next Medium"/>
              </a:rPr>
              <a:t>Овсепян Диана</a:t>
            </a:r>
          </a:p>
          <a:p>
            <a:pPr algn="r">
              <a:lnSpc>
                <a:spcPct val="50000"/>
              </a:lnSpc>
            </a:pPr>
            <a:r>
              <a:rPr lang="ru-RU" sz="2000" dirty="0" smtClean="0">
                <a:latin typeface="Avenir Next Medium"/>
                <a:cs typeface="Avenir Next Medium"/>
              </a:rPr>
              <a:t>4 курс ИБДА</a:t>
            </a:r>
            <a:endParaRPr lang="ru-RU" sz="2000" dirty="0">
              <a:latin typeface="Avenir Next Medium"/>
              <a:cs typeface="Avenir Next Medium"/>
            </a:endParaRPr>
          </a:p>
        </p:txBody>
      </p:sp>
      <p:pic>
        <p:nvPicPr>
          <p:cNvPr id="4" name="Изображение 3" descr="kelly-services-logo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4456" y="4770783"/>
            <a:ext cx="3440943" cy="1743994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" y="1197780"/>
            <a:ext cx="3837532" cy="5420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0247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9" name="pasted-image.png"/>
          <p:cNvPicPr>
            <a:picLocks noGrp="1" noChangeAspect="1"/>
          </p:cNvPicPr>
          <p:nvPr>
            <p:ph type="pic" idx="13"/>
          </p:nvPr>
        </p:nvPicPr>
        <p:blipFill>
          <a:blip r:embed="rId2">
            <a:extLst/>
          </a:blip>
          <a:srcRect l="10763" r="10763"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180" name="Shape 180"/>
          <p:cNvSpPr>
            <a:spLocks noGrp="1"/>
          </p:cNvSpPr>
          <p:nvPr>
            <p:ph type="title"/>
          </p:nvPr>
        </p:nvSpPr>
        <p:spPr>
          <a:xfrm>
            <a:off x="3857627" y="5018522"/>
            <a:ext cx="5286373" cy="190202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6800"/>
            </a:lvl1pPr>
          </a:lstStyle>
          <a:p>
            <a:r>
              <a:rPr sz="4800" dirty="0"/>
              <a:t>Нормализация</a:t>
            </a:r>
          </a:p>
        </p:txBody>
      </p:sp>
      <p:sp>
        <p:nvSpPr>
          <p:cNvPr id="181" name="Shape 181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перь хорошо</a:t>
            </a:r>
          </a:p>
        </p:txBody>
      </p:sp>
    </p:spTree>
    <p:extLst>
      <p:ext uri="{BB962C8B-B14F-4D97-AF65-F5344CB8AC3E}">
        <p14:creationId xmlns:p14="http://schemas.microsoft.com/office/powerpoint/2010/main" val="216353690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Shape 183"/>
          <p:cNvSpPr>
            <a:spLocks noGrp="1"/>
          </p:cNvSpPr>
          <p:nvPr>
            <p:ph type="title"/>
          </p:nvPr>
        </p:nvSpPr>
        <p:spPr>
          <a:xfrm>
            <a:off x="285769" y="1080493"/>
            <a:ext cx="8645717" cy="9397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6700"/>
            </a:lvl1pPr>
          </a:lstStyle>
          <a:p>
            <a:r>
              <a:rPr sz="5400" dirty="0"/>
              <a:t>Плюсы своего дела</a:t>
            </a:r>
          </a:p>
        </p:txBody>
      </p:sp>
      <p:sp>
        <p:nvSpPr>
          <p:cNvPr id="184" name="Shape 184"/>
          <p:cNvSpPr>
            <a:spLocks noGrp="1"/>
          </p:cNvSpPr>
          <p:nvPr>
            <p:ph type="body" idx="1"/>
          </p:nvPr>
        </p:nvSpPr>
        <p:spPr>
          <a:xfrm>
            <a:off x="285751" y="2026973"/>
            <a:ext cx="8572500" cy="4295180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9500"/>
            </a:pPr>
            <a:r>
              <a:rPr sz="6000" dirty="0"/>
              <a:t>Учебный характер</a:t>
            </a:r>
          </a:p>
          <a:p>
            <a:pPr>
              <a:defRPr sz="9500"/>
            </a:pPr>
            <a:r>
              <a:rPr sz="6000" dirty="0"/>
              <a:t>Опыт работы</a:t>
            </a:r>
          </a:p>
          <a:p>
            <a:pPr>
              <a:defRPr sz="9500"/>
            </a:pPr>
            <a:r>
              <a:rPr sz="6000" dirty="0"/>
              <a:t>Деньги </a:t>
            </a:r>
          </a:p>
        </p:txBody>
      </p:sp>
    </p:spTree>
    <p:extLst>
      <p:ext uri="{BB962C8B-B14F-4D97-AF65-F5344CB8AC3E}">
        <p14:creationId xmlns:p14="http://schemas.microsoft.com/office/powerpoint/2010/main" val="307205832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Shape 18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defTabSz="566674">
              <a:defRPr sz="16490"/>
            </a:lvl1pPr>
          </a:lstStyle>
          <a:p>
            <a:r>
              <a:rPr sz="10800" dirty="0"/>
              <a:t>Что дальше ?</a:t>
            </a:r>
          </a:p>
        </p:txBody>
      </p:sp>
      <p:pic>
        <p:nvPicPr>
          <p:cNvPr id="187" name="OHM GIRL final + аутлайн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761075" y="-259589"/>
            <a:ext cx="5621854" cy="416329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93232455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9" name="Снимок экрана 2017-03-20 в 20.03.57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396893" y="0"/>
            <a:ext cx="6350251" cy="68580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802975910"/>
      </p:ext>
    </p:extLst>
  </p:cSld>
  <p:clrMapOvr>
    <a:masterClrMapping/>
  </p:clrMapOvr>
  <p:transition spd="med"/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Shape 191"/>
          <p:cNvSpPr>
            <a:spLocks noGrp="1"/>
          </p:cNvSpPr>
          <p:nvPr>
            <p:ph type="title"/>
          </p:nvPr>
        </p:nvSpPr>
        <p:spPr>
          <a:xfrm>
            <a:off x="285750" y="1471179"/>
            <a:ext cx="8572500" cy="3178969"/>
          </a:xfrm>
          <a:prstGeom prst="rect">
            <a:avLst/>
          </a:prstGeom>
        </p:spPr>
        <p:txBody>
          <a:bodyPr>
            <a:noAutofit/>
          </a:bodyPr>
          <a:lstStyle>
            <a:lvl1pPr defTabSz="566674">
              <a:defRPr sz="16490"/>
            </a:lvl1pPr>
          </a:lstStyle>
          <a:p>
            <a:r>
              <a:rPr sz="11500" dirty="0"/>
              <a:t>Спасибо за внимание !</a:t>
            </a:r>
          </a:p>
        </p:txBody>
      </p:sp>
    </p:spTree>
    <p:extLst>
      <p:ext uri="{BB962C8B-B14F-4D97-AF65-F5344CB8AC3E}">
        <p14:creationId xmlns:p14="http://schemas.microsoft.com/office/powerpoint/2010/main" val="111736040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solidFill>
            <a:srgbClr val="2F7139"/>
          </a:solidFill>
        </p:spPr>
        <p:txBody>
          <a:bodyPr/>
          <a:lstStyle/>
          <a:p>
            <a:r>
              <a:rPr lang="ru-RU" dirty="0" smtClean="0">
                <a:latin typeface="Avenir Next Medium"/>
                <a:cs typeface="Avenir Next Medium"/>
              </a:rPr>
              <a:t>План презентации</a:t>
            </a:r>
            <a:endParaRPr lang="ru-RU" dirty="0">
              <a:latin typeface="Avenir Next Medium"/>
              <a:cs typeface="Avenir Next Medium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ru-RU" sz="2200" dirty="0" smtClean="0">
                <a:latin typeface="Avenir Next Medium"/>
                <a:cs typeface="Avenir Next Medium"/>
              </a:rPr>
              <a:t>Основная информация о </a:t>
            </a:r>
            <a:r>
              <a:rPr lang="en-US" sz="2200" dirty="0" smtClean="0">
                <a:latin typeface="Avenir Next Medium"/>
                <a:cs typeface="Avenir Next Medium"/>
              </a:rPr>
              <a:t>Kelly </a:t>
            </a:r>
            <a:endParaRPr lang="ru-RU" sz="2200" dirty="0" smtClean="0">
              <a:latin typeface="Avenir Next Medium"/>
              <a:cs typeface="Avenir Next Medium"/>
            </a:endParaRPr>
          </a:p>
          <a:p>
            <a:pPr marL="457200" indent="-457200">
              <a:buFont typeface="+mj-lt"/>
              <a:buAutoNum type="arabicPeriod"/>
            </a:pPr>
            <a:r>
              <a:rPr lang="ru-RU" sz="2200" dirty="0" smtClean="0">
                <a:latin typeface="Avenir Next Medium"/>
                <a:cs typeface="Avenir Next Medium"/>
              </a:rPr>
              <a:t>Мои обязанности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200" dirty="0" smtClean="0">
                <a:latin typeface="Avenir Next Medium"/>
                <a:cs typeface="Avenir Next Medium"/>
              </a:rPr>
              <a:t>Впечатление о практике</a:t>
            </a:r>
            <a:endParaRPr lang="en-US" sz="2200" dirty="0" smtClean="0">
              <a:latin typeface="Avenir Next Medium"/>
              <a:cs typeface="Avenir Next Medium"/>
            </a:endParaRPr>
          </a:p>
          <a:p>
            <a:pPr marL="457200" indent="-457200">
              <a:buFont typeface="+mj-lt"/>
              <a:buAutoNum type="arabicPeriod"/>
            </a:pPr>
            <a:r>
              <a:rPr lang="ru-RU" sz="2200" dirty="0" smtClean="0">
                <a:latin typeface="Avenir Next Medium"/>
                <a:cs typeface="Avenir Next Medium"/>
              </a:rPr>
              <a:t>Человеческий фактор в рекрутменте</a:t>
            </a:r>
            <a:endParaRPr lang="ru-RU" sz="2200" dirty="0">
              <a:latin typeface="Avenir Next Medium"/>
              <a:cs typeface="Avenir Next Medium"/>
            </a:endParaRPr>
          </a:p>
        </p:txBody>
      </p:sp>
    </p:spTree>
    <p:extLst>
      <p:ext uri="{BB962C8B-B14F-4D97-AF65-F5344CB8AC3E}">
        <p14:creationId xmlns:p14="http://schemas.microsoft.com/office/powerpoint/2010/main" val="209347845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solidFill>
            <a:srgbClr val="2F7139"/>
          </a:solidFill>
        </p:spPr>
        <p:txBody>
          <a:bodyPr/>
          <a:lstStyle/>
          <a:p>
            <a:r>
              <a:rPr lang="ru-RU" dirty="0" smtClean="0">
                <a:latin typeface="Avenir Next Medium"/>
                <a:cs typeface="Avenir Next Medium"/>
              </a:rPr>
              <a:t>О компании</a:t>
            </a:r>
            <a:endParaRPr lang="ru-RU" dirty="0">
              <a:latin typeface="Avenir Next Medium"/>
              <a:cs typeface="Avenir Next Medium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charset="2"/>
              <a:buChar char="Ø"/>
            </a:pPr>
            <a:r>
              <a:rPr lang="ru-RU" dirty="0" smtClean="0">
                <a:latin typeface="Avenir Next Medium"/>
                <a:cs typeface="Avenir Next Medium"/>
              </a:rPr>
              <a:t>Основана в США в 1946 году</a:t>
            </a:r>
          </a:p>
          <a:p>
            <a:pPr>
              <a:buFont typeface="Wingdings" charset="2"/>
              <a:buChar char="Ø"/>
            </a:pPr>
            <a:r>
              <a:rPr lang="ru-RU" dirty="0" smtClean="0">
                <a:latin typeface="Avenir Next Medium"/>
                <a:cs typeface="Avenir Next Medium"/>
              </a:rPr>
              <a:t>Осуществляет деятельность в 41 стран</a:t>
            </a:r>
            <a:r>
              <a:rPr lang="ru-RU" dirty="0">
                <a:latin typeface="Avenir Next Medium"/>
                <a:cs typeface="Avenir Next Medium"/>
              </a:rPr>
              <a:t>е</a:t>
            </a:r>
            <a:endParaRPr lang="ru-RU" dirty="0" smtClean="0">
              <a:latin typeface="Avenir Next Medium"/>
              <a:cs typeface="Avenir Next Medium"/>
            </a:endParaRPr>
          </a:p>
          <a:p>
            <a:pPr>
              <a:buFont typeface="Wingdings" charset="2"/>
              <a:buChar char="Ø"/>
            </a:pPr>
            <a:r>
              <a:rPr lang="ru-RU" dirty="0" smtClean="0">
                <a:latin typeface="Avenir Next Medium"/>
                <a:cs typeface="Avenir Next Medium"/>
              </a:rPr>
              <a:t>Вышла на российский рынок в 1993 году</a:t>
            </a:r>
          </a:p>
          <a:p>
            <a:pPr>
              <a:buFont typeface="Wingdings" charset="2"/>
              <a:buChar char="Ø"/>
            </a:pPr>
            <a:r>
              <a:rPr lang="ru-RU" dirty="0" smtClean="0">
                <a:latin typeface="Avenir Next Medium"/>
                <a:cs typeface="Avenir Next Medium"/>
              </a:rPr>
              <a:t>Входит в список </a:t>
            </a:r>
            <a:r>
              <a:rPr lang="en-US" dirty="0" smtClean="0">
                <a:latin typeface="Avenir Next Medium"/>
                <a:cs typeface="Avenir Next Medium"/>
              </a:rPr>
              <a:t>Fortune Global 500 – </a:t>
            </a:r>
            <a:r>
              <a:rPr lang="ru-RU" dirty="0" smtClean="0">
                <a:latin typeface="Avenir Next Medium"/>
                <a:cs typeface="Avenir Next Medium"/>
              </a:rPr>
              <a:t>рейтинг крупнейших компаний, критерием составления которого служит выручка</a:t>
            </a:r>
            <a:endParaRPr lang="ru-RU" dirty="0">
              <a:latin typeface="Avenir Next Medium"/>
              <a:cs typeface="Avenir Next Medium"/>
            </a:endParaRPr>
          </a:p>
        </p:txBody>
      </p:sp>
    </p:spTree>
    <p:extLst>
      <p:ext uri="{BB962C8B-B14F-4D97-AF65-F5344CB8AC3E}">
        <p14:creationId xmlns:p14="http://schemas.microsoft.com/office/powerpoint/2010/main" val="336073190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solidFill>
            <a:srgbClr val="2F7139"/>
          </a:solidFill>
        </p:spPr>
        <p:txBody>
          <a:bodyPr/>
          <a:lstStyle/>
          <a:p>
            <a:r>
              <a:rPr lang="ru-RU" dirty="0" smtClean="0">
                <a:latin typeface="Avenir Next Medium"/>
                <a:cs typeface="Avenir Next Medium"/>
              </a:rPr>
              <a:t>Деятельность компании</a:t>
            </a:r>
            <a:endParaRPr lang="ru-RU" dirty="0">
              <a:latin typeface="Avenir Next Medium"/>
              <a:cs typeface="Avenir Next Medium"/>
            </a:endParaRPr>
          </a:p>
        </p:txBody>
      </p:sp>
      <p:pic>
        <p:nvPicPr>
          <p:cNvPr id="4" name="Содержимое 3" descr="kelly-services-logo.png"/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558" r="-2558"/>
          <a:stretch>
            <a:fillRect/>
          </a:stretch>
        </p:blipFill>
        <p:spPr>
          <a:xfrm>
            <a:off x="3552827" y="3871951"/>
            <a:ext cx="2047875" cy="987425"/>
          </a:xfrm>
          <a:prstGeom prst="rect">
            <a:avLst/>
          </a:prstGeom>
        </p:spPr>
      </p:pic>
      <p:cxnSp>
        <p:nvCxnSpPr>
          <p:cNvPr id="6" name="Прямая со стрелкой 5"/>
          <p:cNvCxnSpPr/>
          <p:nvPr/>
        </p:nvCxnSpPr>
        <p:spPr>
          <a:xfrm flipH="1" flipV="1">
            <a:off x="4557415" y="3143985"/>
            <a:ext cx="16934" cy="64562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 стрелкой 8"/>
          <p:cNvCxnSpPr/>
          <p:nvPr/>
        </p:nvCxnSpPr>
        <p:spPr>
          <a:xfrm>
            <a:off x="4557414" y="4941646"/>
            <a:ext cx="0" cy="646704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 стрелкой 10"/>
          <p:cNvCxnSpPr/>
          <p:nvPr/>
        </p:nvCxnSpPr>
        <p:spPr>
          <a:xfrm>
            <a:off x="5600700" y="4221213"/>
            <a:ext cx="646738" cy="1175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 стрелкой 12"/>
          <p:cNvCxnSpPr/>
          <p:nvPr/>
        </p:nvCxnSpPr>
        <p:spPr>
          <a:xfrm flipH="1">
            <a:off x="2823793" y="4244730"/>
            <a:ext cx="646739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Овал 14"/>
          <p:cNvSpPr/>
          <p:nvPr/>
        </p:nvSpPr>
        <p:spPr>
          <a:xfrm>
            <a:off x="3626024" y="2151761"/>
            <a:ext cx="1896651" cy="992222"/>
          </a:xfrm>
          <a:prstGeom prst="ellipse">
            <a:avLst/>
          </a:prstGeom>
          <a:solidFill>
            <a:schemeClr val="accent1">
              <a:shade val="80000"/>
              <a:alpha val="0"/>
            </a:schemeClr>
          </a:solidFill>
          <a:ln>
            <a:solidFill>
              <a:srgbClr val="2F7139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Овал 15"/>
          <p:cNvSpPr/>
          <p:nvPr/>
        </p:nvSpPr>
        <p:spPr>
          <a:xfrm>
            <a:off x="6247439" y="3724464"/>
            <a:ext cx="1896651" cy="993573"/>
          </a:xfrm>
          <a:prstGeom prst="ellipse">
            <a:avLst/>
          </a:prstGeom>
          <a:solidFill>
            <a:schemeClr val="accent1">
              <a:shade val="80000"/>
              <a:alpha val="0"/>
            </a:schemeClr>
          </a:solidFill>
          <a:ln>
            <a:solidFill>
              <a:srgbClr val="2F7139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Овал 16"/>
          <p:cNvSpPr/>
          <p:nvPr/>
        </p:nvSpPr>
        <p:spPr>
          <a:xfrm>
            <a:off x="927125" y="3700949"/>
            <a:ext cx="1896651" cy="993573"/>
          </a:xfrm>
          <a:prstGeom prst="ellipse">
            <a:avLst/>
          </a:prstGeom>
          <a:solidFill>
            <a:schemeClr val="accent1">
              <a:shade val="80000"/>
              <a:alpha val="0"/>
            </a:schemeClr>
          </a:solidFill>
          <a:ln>
            <a:solidFill>
              <a:srgbClr val="2F7139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Овал 17"/>
          <p:cNvSpPr/>
          <p:nvPr/>
        </p:nvSpPr>
        <p:spPr>
          <a:xfrm>
            <a:off x="3626024" y="5588388"/>
            <a:ext cx="1896651" cy="993573"/>
          </a:xfrm>
          <a:prstGeom prst="ellipse">
            <a:avLst/>
          </a:prstGeom>
          <a:solidFill>
            <a:schemeClr val="accent1">
              <a:shade val="80000"/>
              <a:alpha val="0"/>
            </a:schemeClr>
          </a:solidFill>
          <a:ln>
            <a:solidFill>
              <a:srgbClr val="2F7139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TextBox 19"/>
          <p:cNvSpPr txBox="1"/>
          <p:nvPr/>
        </p:nvSpPr>
        <p:spPr>
          <a:xfrm>
            <a:off x="6336695" y="3990418"/>
            <a:ext cx="18073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latin typeface="Avenir Next Medium"/>
                <a:cs typeface="Avenir Next Medium"/>
              </a:rPr>
              <a:t>Администрирование персонала</a:t>
            </a:r>
            <a:endParaRPr lang="ru-RU" sz="1200" dirty="0">
              <a:latin typeface="Avenir Next Medium"/>
              <a:cs typeface="Avenir Next Medium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3715807" y="2422238"/>
            <a:ext cx="16815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latin typeface="Avenir Next Medium"/>
                <a:cs typeface="Avenir Next Medium"/>
              </a:rPr>
              <a:t>Поиск и подбор персонала</a:t>
            </a:r>
            <a:endParaRPr lang="ru-RU" sz="1200" dirty="0">
              <a:latin typeface="Avenir Next Medium"/>
              <a:cs typeface="Avenir Next Medium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140611" y="3898079"/>
            <a:ext cx="14581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latin typeface="Avenir Next Medium"/>
                <a:cs typeface="Avenir Next Medium"/>
              </a:rPr>
              <a:t>Обзор зарплат и исследования рынка</a:t>
            </a:r>
            <a:endParaRPr lang="ru-RU" sz="1200" dirty="0">
              <a:latin typeface="Avenir Next Medium"/>
              <a:cs typeface="Avenir Next Medium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798119" y="5867405"/>
            <a:ext cx="15992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latin typeface="Avenir Next Medium"/>
                <a:cs typeface="Avenir Next Medium"/>
              </a:rPr>
              <a:t>Аутплейсмент персонала</a:t>
            </a:r>
            <a:endParaRPr lang="ru-RU" sz="1200" dirty="0">
              <a:latin typeface="Avenir Next Medium"/>
              <a:cs typeface="Avenir Next Medium"/>
            </a:endParaRPr>
          </a:p>
        </p:txBody>
      </p:sp>
    </p:spTree>
    <p:extLst>
      <p:ext uri="{BB962C8B-B14F-4D97-AF65-F5344CB8AC3E}">
        <p14:creationId xmlns:p14="http://schemas.microsoft.com/office/powerpoint/2010/main" val="393962178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solidFill>
            <a:srgbClr val="2F7139"/>
          </a:solidFill>
        </p:spPr>
        <p:txBody>
          <a:bodyPr/>
          <a:lstStyle/>
          <a:p>
            <a:r>
              <a:rPr lang="ru-RU" dirty="0" smtClean="0">
                <a:latin typeface="Avenir Next Medium"/>
                <a:cs typeface="Avenir Next Medium"/>
              </a:rPr>
              <a:t>Процесс подбора персонала</a:t>
            </a:r>
            <a:endParaRPr lang="ru-RU" dirty="0">
              <a:latin typeface="Avenir Next Medium"/>
              <a:cs typeface="Avenir Next Medium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459398" y="3282302"/>
            <a:ext cx="1392687" cy="1080798"/>
          </a:xfrm>
          <a:prstGeom prst="roundRect">
            <a:avLst/>
          </a:prstGeom>
          <a:solidFill>
            <a:schemeClr val="accent1">
              <a:shade val="80000"/>
              <a:alpha val="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2141662" y="3282302"/>
            <a:ext cx="1372946" cy="1064328"/>
          </a:xfrm>
          <a:prstGeom prst="roundRect">
            <a:avLst/>
          </a:prstGeom>
          <a:solidFill>
            <a:schemeClr val="accent1">
              <a:shade val="80000"/>
              <a:alpha val="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3910354" y="3305162"/>
            <a:ext cx="1393380" cy="1080798"/>
          </a:xfrm>
          <a:prstGeom prst="roundRect">
            <a:avLst/>
          </a:prstGeom>
          <a:solidFill>
            <a:schemeClr val="accent1">
              <a:shade val="80000"/>
              <a:alpha val="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5683527" y="3282302"/>
            <a:ext cx="1383858" cy="1080798"/>
          </a:xfrm>
          <a:prstGeom prst="roundRect">
            <a:avLst/>
          </a:prstGeom>
          <a:solidFill>
            <a:schemeClr val="accent1">
              <a:shade val="80000"/>
              <a:alpha val="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7471938" y="3310555"/>
            <a:ext cx="1441876" cy="1080798"/>
          </a:xfrm>
          <a:prstGeom prst="roundRect">
            <a:avLst/>
          </a:prstGeom>
          <a:solidFill>
            <a:schemeClr val="accent1">
              <a:shade val="80000"/>
              <a:alpha val="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TextBox 2"/>
          <p:cNvSpPr txBox="1"/>
          <p:nvPr/>
        </p:nvSpPr>
        <p:spPr>
          <a:xfrm>
            <a:off x="321813" y="3474157"/>
            <a:ext cx="1621396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00" dirty="0" smtClean="0">
                <a:latin typeface="Avenir Next Medium"/>
                <a:cs typeface="Avenir Next Medium"/>
              </a:rPr>
              <a:t>Запрос от компании-клиента</a:t>
            </a:r>
            <a:endParaRPr lang="ru-RU" sz="1300" dirty="0">
              <a:latin typeface="Avenir Next Medium"/>
              <a:cs typeface="Avenir Next Medium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943210" y="3474148"/>
            <a:ext cx="1765431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00" dirty="0" smtClean="0">
                <a:latin typeface="Avenir Next Medium"/>
                <a:cs typeface="Avenir Next Medium"/>
              </a:rPr>
              <a:t>Назначение ответственного консультанта</a:t>
            </a:r>
            <a:endParaRPr lang="ru-RU" sz="1300" dirty="0">
              <a:latin typeface="Avenir Next Medium"/>
              <a:cs typeface="Avenir Next Medium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810281" y="3474157"/>
            <a:ext cx="1567350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00" dirty="0" smtClean="0">
                <a:latin typeface="Avenir Next Medium"/>
                <a:cs typeface="Avenir Next Medium"/>
              </a:rPr>
              <a:t>Поиск релевантных резюме</a:t>
            </a:r>
            <a:endParaRPr lang="ru-RU" sz="1300" dirty="0">
              <a:latin typeface="Avenir Next Medium"/>
              <a:cs typeface="Avenir Next Medium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664795" y="3574175"/>
            <a:ext cx="147470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00" dirty="0" smtClean="0">
                <a:latin typeface="Avenir Next Medium"/>
                <a:cs typeface="Avenir Next Medium"/>
              </a:rPr>
              <a:t>Проведение собеседования</a:t>
            </a:r>
            <a:endParaRPr lang="ru-RU" sz="1300" dirty="0">
              <a:latin typeface="Avenir Next Medium"/>
              <a:cs typeface="Avenir Next Medium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397853" y="3567267"/>
            <a:ext cx="162139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00" dirty="0" smtClean="0">
                <a:latin typeface="Avenir Next Medium"/>
                <a:cs typeface="Avenir Next Medium"/>
              </a:rPr>
              <a:t>Отправление резюме клиенту</a:t>
            </a:r>
            <a:endParaRPr lang="ru-RU" sz="1300" dirty="0">
              <a:latin typeface="Avenir Next Medium"/>
              <a:cs typeface="Avenir Next Medium"/>
            </a:endParaRPr>
          </a:p>
        </p:txBody>
      </p:sp>
      <p:sp>
        <p:nvSpPr>
          <p:cNvPr id="14" name="Стрелка вправо 13"/>
          <p:cNvSpPr/>
          <p:nvPr/>
        </p:nvSpPr>
        <p:spPr>
          <a:xfrm>
            <a:off x="1852102" y="3774679"/>
            <a:ext cx="297257" cy="45719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Стрелка вправо 14"/>
          <p:cNvSpPr/>
          <p:nvPr/>
        </p:nvSpPr>
        <p:spPr>
          <a:xfrm>
            <a:off x="3514606" y="3774679"/>
            <a:ext cx="388068" cy="45719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Стрелка вправо 15"/>
          <p:cNvSpPr/>
          <p:nvPr/>
        </p:nvSpPr>
        <p:spPr>
          <a:xfrm>
            <a:off x="5303736" y="3774679"/>
            <a:ext cx="361042" cy="45719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Стрелка вправо 22"/>
          <p:cNvSpPr/>
          <p:nvPr/>
        </p:nvSpPr>
        <p:spPr>
          <a:xfrm>
            <a:off x="7083869" y="3774679"/>
            <a:ext cx="388068" cy="45719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4" name="Изображение 23" descr="Google_icon_2015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3753" y="4762137"/>
            <a:ext cx="1129165" cy="1129165"/>
          </a:xfrm>
          <a:prstGeom prst="rect">
            <a:avLst/>
          </a:prstGeom>
        </p:spPr>
      </p:pic>
      <p:pic>
        <p:nvPicPr>
          <p:cNvPr id="25" name="Изображение 24" descr="Sanofi.svg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9129" y="5428914"/>
            <a:ext cx="1421171" cy="1129165"/>
          </a:xfrm>
          <a:prstGeom prst="rect">
            <a:avLst/>
          </a:prstGeom>
        </p:spPr>
      </p:pic>
      <p:pic>
        <p:nvPicPr>
          <p:cNvPr id="26" name="Изображение 25" descr="GSK-logo-2014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0740" y="4551444"/>
            <a:ext cx="2116892" cy="1587669"/>
          </a:xfrm>
          <a:prstGeom prst="rect">
            <a:avLst/>
          </a:prstGeom>
        </p:spPr>
      </p:pic>
      <p:pic>
        <p:nvPicPr>
          <p:cNvPr id="27" name="Изображение 26" descr="amgen_logo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5887" y="5657571"/>
            <a:ext cx="2250862" cy="1266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82837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solidFill>
            <a:srgbClr val="2F7139"/>
          </a:solidFill>
        </p:spPr>
        <p:txBody>
          <a:bodyPr/>
          <a:lstStyle/>
          <a:p>
            <a:r>
              <a:rPr lang="ru-RU" dirty="0" smtClean="0">
                <a:latin typeface="Avenir Next Medium"/>
                <a:cs typeface="Avenir Next Medium"/>
              </a:rPr>
              <a:t>Мои обязанности</a:t>
            </a:r>
            <a:endParaRPr lang="ru-RU" dirty="0">
              <a:latin typeface="Avenir Next Medium"/>
              <a:cs typeface="Avenir Next Medium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charset="2"/>
              <a:buChar char="Ø"/>
            </a:pPr>
            <a:r>
              <a:rPr lang="ru-RU" dirty="0" smtClean="0">
                <a:latin typeface="Avenir Next Medium"/>
                <a:cs typeface="Avenir Next Medium"/>
              </a:rPr>
              <a:t>Поиск релевантных резюме</a:t>
            </a:r>
          </a:p>
          <a:p>
            <a:pPr>
              <a:buFont typeface="Wingdings" charset="2"/>
              <a:buChar char="Ø"/>
            </a:pPr>
            <a:r>
              <a:rPr lang="ru-RU" dirty="0" smtClean="0">
                <a:latin typeface="Avenir Next Medium"/>
                <a:cs typeface="Avenir Next Medium"/>
              </a:rPr>
              <a:t>Проведение телефонного интервью</a:t>
            </a:r>
          </a:p>
          <a:p>
            <a:pPr>
              <a:buFont typeface="Wingdings" charset="2"/>
              <a:buChar char="Ø"/>
            </a:pPr>
            <a:r>
              <a:rPr lang="ru-RU" dirty="0" smtClean="0">
                <a:latin typeface="Avenir Next Medium"/>
                <a:cs typeface="Avenir Next Medium"/>
              </a:rPr>
              <a:t>Составление резюме в соответствии со стандартом</a:t>
            </a:r>
          </a:p>
          <a:p>
            <a:pPr>
              <a:buFont typeface="Wingdings" charset="2"/>
              <a:buChar char="Ø"/>
            </a:pPr>
            <a:r>
              <a:rPr lang="ru-RU" dirty="0" smtClean="0">
                <a:latin typeface="Avenir Next Medium"/>
                <a:cs typeface="Avenir Next Medium"/>
              </a:rPr>
              <a:t>Работа с базой данных</a:t>
            </a:r>
          </a:p>
          <a:p>
            <a:pPr>
              <a:buFont typeface="Wingdings" charset="2"/>
              <a:buChar char="Ø"/>
            </a:pPr>
            <a:r>
              <a:rPr lang="ru-RU" dirty="0" smtClean="0">
                <a:latin typeface="Avenir Next Medium"/>
                <a:cs typeface="Avenir Next Medium"/>
              </a:rPr>
              <a:t>Проверка уровня владения английским</a:t>
            </a:r>
            <a:endParaRPr lang="ru-RU" dirty="0">
              <a:latin typeface="Avenir Next Medium"/>
              <a:cs typeface="Avenir Next Medium"/>
            </a:endParaRPr>
          </a:p>
        </p:txBody>
      </p:sp>
      <p:pic>
        <p:nvPicPr>
          <p:cNvPr id="4" name="Изображение 3" descr="Consultation-Icon.png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47"/>
          <a:stretch/>
        </p:blipFill>
        <p:spPr>
          <a:xfrm>
            <a:off x="7415274" y="5232105"/>
            <a:ext cx="1309645" cy="1448496"/>
          </a:xfrm>
          <a:prstGeom prst="rect">
            <a:avLst/>
          </a:prstGeom>
        </p:spPr>
      </p:pic>
      <p:pic>
        <p:nvPicPr>
          <p:cNvPr id="5" name="Изображение 4" descr="receptionist.jpg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959"/>
          <a:stretch/>
        </p:blipFill>
        <p:spPr>
          <a:xfrm>
            <a:off x="5692662" y="5375926"/>
            <a:ext cx="1465303" cy="1304713"/>
          </a:xfrm>
          <a:prstGeom prst="rect">
            <a:avLst/>
          </a:prstGeom>
        </p:spPr>
      </p:pic>
      <p:pic>
        <p:nvPicPr>
          <p:cNvPr id="6" name="Изображение 5" descr="49707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5349" y="5483578"/>
            <a:ext cx="1197061" cy="1197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62948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solidFill>
            <a:srgbClr val="2F7139"/>
          </a:solidFill>
        </p:spPr>
        <p:txBody>
          <a:bodyPr/>
          <a:lstStyle/>
          <a:p>
            <a:r>
              <a:rPr lang="ru-RU" dirty="0" smtClean="0">
                <a:latin typeface="Avenir Next Medium"/>
                <a:cs typeface="Avenir Next Medium"/>
              </a:rPr>
              <a:t>Мои впечатлени</a:t>
            </a:r>
            <a:r>
              <a:rPr lang="ru-RU" dirty="0">
                <a:latin typeface="Avenir Next Medium"/>
                <a:cs typeface="Avenir Next Medium"/>
              </a:rPr>
              <a:t>я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809390" y="4089364"/>
            <a:ext cx="3874371" cy="2536565"/>
          </a:xfrm>
        </p:spPr>
        <p:txBody>
          <a:bodyPr>
            <a:normAutofit/>
          </a:bodyPr>
          <a:lstStyle/>
          <a:p>
            <a:pPr>
              <a:buFont typeface="Wingdings" charset="2"/>
              <a:buChar char="Ø"/>
            </a:pPr>
            <a:r>
              <a:rPr lang="ru-RU" sz="2100" dirty="0" smtClean="0">
                <a:latin typeface="Avenir Next Medium"/>
                <a:cs typeface="Avenir Next Medium"/>
              </a:rPr>
              <a:t>Адаптация</a:t>
            </a:r>
          </a:p>
          <a:p>
            <a:pPr>
              <a:buFont typeface="Wingdings" charset="2"/>
              <a:buChar char="Ø"/>
            </a:pPr>
            <a:r>
              <a:rPr lang="ru-RU" sz="2100" dirty="0" smtClean="0">
                <a:latin typeface="Avenir Next Medium"/>
                <a:cs typeface="Avenir Next Medium"/>
              </a:rPr>
              <a:t>Социально-психологический климат</a:t>
            </a:r>
            <a:endParaRPr lang="ru-RU" sz="2100" dirty="0">
              <a:latin typeface="Avenir Next Medium"/>
              <a:cs typeface="Avenir Next Medium"/>
            </a:endParaRPr>
          </a:p>
        </p:txBody>
      </p:sp>
      <p:sp>
        <p:nvSpPr>
          <p:cNvPr id="8" name="Содержимое 7"/>
          <p:cNvSpPr>
            <a:spLocks noGrp="1"/>
          </p:cNvSpPr>
          <p:nvPr>
            <p:ph sz="half" idx="2"/>
          </p:nvPr>
        </p:nvSpPr>
        <p:spPr>
          <a:xfrm>
            <a:off x="5147534" y="4089364"/>
            <a:ext cx="3566160" cy="2536565"/>
          </a:xfrm>
        </p:spPr>
        <p:txBody>
          <a:bodyPr>
            <a:normAutofit/>
          </a:bodyPr>
          <a:lstStyle/>
          <a:p>
            <a:pPr>
              <a:buFont typeface="Wingdings" charset="2"/>
              <a:buChar char="Ø"/>
            </a:pPr>
            <a:r>
              <a:rPr lang="ru-RU" sz="2100" dirty="0">
                <a:latin typeface="Avenir Next Medium"/>
                <a:cs typeface="Avenir Next Medium"/>
              </a:rPr>
              <a:t>Переработки</a:t>
            </a:r>
          </a:p>
          <a:p>
            <a:pPr>
              <a:buFont typeface="Wingdings" charset="2"/>
              <a:buChar char="Ø"/>
            </a:pPr>
            <a:r>
              <a:rPr lang="ru-RU" sz="2100" dirty="0">
                <a:latin typeface="Avenir Next Medium"/>
                <a:cs typeface="Avenir Next Medium"/>
              </a:rPr>
              <a:t>Однообразная работа</a:t>
            </a:r>
          </a:p>
          <a:p>
            <a:endParaRPr lang="ru-RU" dirty="0"/>
          </a:p>
        </p:txBody>
      </p:sp>
      <p:pic>
        <p:nvPicPr>
          <p:cNvPr id="4" name="Изображение 3" descr="0502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8571" y="2317390"/>
            <a:ext cx="1542391" cy="1515426"/>
          </a:xfrm>
          <a:prstGeom prst="rect">
            <a:avLst/>
          </a:prstGeom>
        </p:spPr>
      </p:pic>
      <p:pic>
        <p:nvPicPr>
          <p:cNvPr id="9" name="Изображение 8" descr="0502 (1)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6505" y="2317428"/>
            <a:ext cx="1635473" cy="1419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454624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solidFill>
            <a:srgbClr val="2F7139"/>
          </a:solidFill>
        </p:spPr>
        <p:txBody>
          <a:bodyPr>
            <a:normAutofit fontScale="90000"/>
          </a:bodyPr>
          <a:lstStyle/>
          <a:p>
            <a:r>
              <a:rPr lang="ru-RU" dirty="0" smtClean="0">
                <a:latin typeface="Avenir Next Medium"/>
                <a:cs typeface="Avenir Next Medium"/>
              </a:rPr>
              <a:t>Человеческий фактор в рекрутменте</a:t>
            </a:r>
            <a:endParaRPr lang="ru-RU" dirty="0">
              <a:latin typeface="Avenir Next Medium"/>
              <a:cs typeface="Avenir Next Medium"/>
            </a:endParaRPr>
          </a:p>
        </p:txBody>
      </p:sp>
      <p:pic>
        <p:nvPicPr>
          <p:cNvPr id="12" name="Изображение 11" descr="035896e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8627" y="4717383"/>
            <a:ext cx="3735375" cy="2140616"/>
          </a:xfrm>
          <a:prstGeom prst="rect">
            <a:avLst/>
          </a:prstGeom>
        </p:spPr>
      </p:pic>
      <p:pic>
        <p:nvPicPr>
          <p:cNvPr id="13" name="Изображение 12" descr="28091-200.png"/>
          <p:cNvPicPr>
            <a:picLocks noChangeAspect="1"/>
          </p:cNvPicPr>
          <p:nvPr/>
        </p:nvPicPr>
        <p:blipFill>
          <a:blip r:embed="rId3" cstate="email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4334" y="5456624"/>
            <a:ext cx="412636" cy="465940"/>
          </a:xfrm>
          <a:prstGeom prst="rect">
            <a:avLst/>
          </a:prstGeom>
        </p:spPr>
      </p:pic>
      <p:sp>
        <p:nvSpPr>
          <p:cNvPr id="15" name="Содержимое 2"/>
          <p:cNvSpPr>
            <a:spLocks noGrp="1"/>
          </p:cNvSpPr>
          <p:nvPr>
            <p:ph idx="1"/>
          </p:nvPr>
        </p:nvSpPr>
        <p:spPr>
          <a:xfrm>
            <a:off x="1114424" y="2595600"/>
            <a:ext cx="7610476" cy="3670767"/>
          </a:xfrm>
        </p:spPr>
        <p:txBody>
          <a:bodyPr/>
          <a:lstStyle/>
          <a:p>
            <a:pPr>
              <a:buFont typeface="Wingdings" charset="2"/>
              <a:buChar char="Ø"/>
            </a:pPr>
            <a:r>
              <a:rPr lang="ru-RU" dirty="0" smtClean="0">
                <a:latin typeface="Avenir Next Medium"/>
                <a:cs typeface="Avenir Next Medium"/>
              </a:rPr>
              <a:t>Предрассудки и стереотипы </a:t>
            </a:r>
          </a:p>
          <a:p>
            <a:pPr>
              <a:buFont typeface="Wingdings" charset="2"/>
              <a:buChar char="Ø"/>
            </a:pPr>
            <a:r>
              <a:rPr lang="ru-RU" dirty="0" smtClean="0">
                <a:latin typeface="Avenir Next Medium"/>
                <a:cs typeface="Avenir Next Medium"/>
              </a:rPr>
              <a:t>«Мираж </a:t>
            </a:r>
            <a:r>
              <a:rPr lang="ru-RU" dirty="0" err="1" smtClean="0">
                <a:latin typeface="Avenir Next Medium"/>
                <a:cs typeface="Avenir Next Medium"/>
              </a:rPr>
              <a:t>самоотражения</a:t>
            </a:r>
            <a:r>
              <a:rPr lang="ru-RU" dirty="0" smtClean="0">
                <a:latin typeface="Avenir Next Medium"/>
                <a:cs typeface="Avenir Next Medium"/>
              </a:rPr>
              <a:t>»</a:t>
            </a:r>
          </a:p>
          <a:p>
            <a:pPr>
              <a:buFont typeface="Wingdings" charset="2"/>
              <a:buChar char="Ø"/>
            </a:pPr>
            <a:r>
              <a:rPr lang="ru-RU" dirty="0" smtClean="0">
                <a:latin typeface="Avenir Next Medium"/>
                <a:cs typeface="Avenir Next Medium"/>
              </a:rPr>
              <a:t>Умение кандидата «продать себя»</a:t>
            </a:r>
          </a:p>
          <a:p>
            <a:pPr>
              <a:buFont typeface="Wingdings" charset="2"/>
              <a:buChar char="Ø"/>
            </a:pPr>
            <a:r>
              <a:rPr lang="ru-RU" dirty="0" smtClean="0">
                <a:latin typeface="Avenir Next Medium"/>
                <a:cs typeface="Avenir Next Medium"/>
              </a:rPr>
              <a:t>Настроение рекрутера</a:t>
            </a:r>
          </a:p>
          <a:p>
            <a:pPr>
              <a:buFont typeface="Wingdings" charset="2"/>
              <a:buChar char="Ø"/>
            </a:pPr>
            <a:endParaRPr lang="ru-RU" dirty="0" smtClean="0">
              <a:latin typeface="Avenir Next Medium"/>
              <a:cs typeface="Avenir Next Medium"/>
            </a:endParaRPr>
          </a:p>
        </p:txBody>
      </p:sp>
    </p:spTree>
    <p:extLst>
      <p:ext uri="{BB962C8B-B14F-4D97-AF65-F5344CB8AC3E}">
        <p14:creationId xmlns:p14="http://schemas.microsoft.com/office/powerpoint/2010/main" val="407097577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ctrTitle"/>
          </p:nvPr>
        </p:nvSpPr>
        <p:spPr>
          <a:solidFill>
            <a:srgbClr val="2F7139"/>
          </a:solidFill>
        </p:spPr>
        <p:txBody>
          <a:bodyPr>
            <a:normAutofit/>
          </a:bodyPr>
          <a:lstStyle/>
          <a:p>
            <a:pPr algn="ctr"/>
            <a:r>
              <a:rPr lang="ru-RU" sz="3800" dirty="0" smtClean="0">
                <a:latin typeface="Avenir Next Medium"/>
                <a:cs typeface="Avenir Next Medium"/>
              </a:rPr>
              <a:t>Спасибо за внимание!</a:t>
            </a:r>
            <a:endParaRPr lang="ru-RU" sz="3800" dirty="0">
              <a:latin typeface="Avenir Next Medium"/>
              <a:cs typeface="Avenir Next Medium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914400" y="3034553"/>
            <a:ext cx="8001000" cy="1135592"/>
          </a:xfrm>
        </p:spPr>
        <p:txBody>
          <a:bodyPr>
            <a:normAutofit lnSpcReduction="10000"/>
          </a:bodyPr>
          <a:lstStyle/>
          <a:p>
            <a:pPr algn="r">
              <a:lnSpc>
                <a:spcPct val="50000"/>
              </a:lnSpc>
            </a:pPr>
            <a:endParaRPr lang="ru-RU" sz="2000" dirty="0" smtClean="0">
              <a:latin typeface="Avenir Next Medium"/>
              <a:cs typeface="Avenir Next Medium"/>
            </a:endParaRPr>
          </a:p>
          <a:p>
            <a:pPr algn="r">
              <a:lnSpc>
                <a:spcPct val="50000"/>
              </a:lnSpc>
            </a:pPr>
            <a:r>
              <a:rPr lang="ru-RU" sz="2000" dirty="0" smtClean="0">
                <a:latin typeface="Avenir Next Medium"/>
                <a:cs typeface="Avenir Next Medium"/>
              </a:rPr>
              <a:t>Овсепян Диана</a:t>
            </a:r>
          </a:p>
          <a:p>
            <a:pPr algn="r">
              <a:lnSpc>
                <a:spcPct val="50000"/>
              </a:lnSpc>
            </a:pPr>
            <a:r>
              <a:rPr lang="ru-RU" sz="2000" dirty="0" smtClean="0">
                <a:latin typeface="Avenir Next Medium"/>
                <a:cs typeface="Avenir Next Medium"/>
              </a:rPr>
              <a:t>4 курс ИБДА</a:t>
            </a:r>
            <a:endParaRPr lang="ru-RU" sz="2000" dirty="0">
              <a:latin typeface="Avenir Next Medium"/>
              <a:cs typeface="Avenir Next Medium"/>
            </a:endParaRPr>
          </a:p>
        </p:txBody>
      </p:sp>
      <p:pic>
        <p:nvPicPr>
          <p:cNvPr id="4" name="Изображение 3" descr="kelly-services-logo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4456" y="4770783"/>
            <a:ext cx="3440943" cy="1743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569659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39700" y="1972"/>
            <a:ext cx="8636000" cy="1443856"/>
          </a:xfrm>
        </p:spPr>
        <p:txBody>
          <a:bodyPr>
            <a:noAutofit/>
          </a:bodyPr>
          <a:lstStyle/>
          <a:p>
            <a:pPr algn="ctr"/>
            <a:r>
              <a:rPr lang="ru-RU" sz="3600" dirty="0" smtClean="0"/>
              <a:t>«Всегда </a:t>
            </a:r>
            <a:r>
              <a:rPr lang="ru-RU" sz="3600" dirty="0" smtClean="0"/>
              <a:t>ли </a:t>
            </a:r>
            <a:r>
              <a:rPr lang="ru-RU" sz="3600" dirty="0" smtClean="0"/>
              <a:t>«новое» </a:t>
            </a:r>
            <a:r>
              <a:rPr lang="ru-RU" sz="3600" dirty="0" smtClean="0"/>
              <a:t>является </a:t>
            </a:r>
            <a:r>
              <a:rPr lang="ru-RU" sz="3600" dirty="0" smtClean="0"/>
              <a:t>новым?</a:t>
            </a:r>
            <a:br>
              <a:rPr lang="ru-RU" sz="3600" dirty="0" smtClean="0"/>
            </a:br>
            <a:r>
              <a:rPr lang="ru-RU" sz="2000" b="0" i="1" dirty="0" smtClean="0">
                <a:effectLst/>
              </a:rPr>
              <a:t>К вопросу об адаптации в некоммерческих организациях» </a:t>
            </a:r>
            <a:endParaRPr lang="ru-RU" sz="2000" b="0" i="1" dirty="0">
              <a:effectLst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-1385664" y="3703220"/>
            <a:ext cx="5499100" cy="1231640"/>
          </a:xfrm>
        </p:spPr>
        <p:txBody>
          <a:bodyPr>
            <a:normAutofit/>
          </a:bodyPr>
          <a:lstStyle/>
          <a:p>
            <a:r>
              <a:rPr lang="ru-RU" sz="3200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Яковлева </a:t>
            </a:r>
            <a:r>
              <a:rPr lang="ru-RU" sz="3200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олина</a:t>
            </a:r>
          </a:p>
          <a:p>
            <a:r>
              <a:rPr lang="ru-RU" sz="3200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 курс МБ</a:t>
            </a:r>
            <a:endParaRPr lang="ru-RU" sz="3200" i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3560" y="1282700"/>
            <a:ext cx="4307840" cy="538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469715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88659" y="1592711"/>
            <a:ext cx="3898592" cy="4419600"/>
          </a:xfrm>
        </p:spPr>
        <p:txBody>
          <a:bodyPr/>
          <a:lstStyle/>
          <a:p>
            <a:pPr marL="35517" indent="-300583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2100" dirty="0"/>
              <a:t>Одна из компаний «большой четверки»</a:t>
            </a:r>
          </a:p>
          <a:p>
            <a:pPr marL="35517" indent="-300583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2100" dirty="0"/>
              <a:t>Направление деятельности – аудит и консалтинг</a:t>
            </a:r>
          </a:p>
          <a:p>
            <a:pPr marL="35517" indent="-300583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2100" dirty="0"/>
              <a:t>Клиенты – более 2000 российских компаний</a:t>
            </a:r>
          </a:p>
          <a:p>
            <a:pPr marL="35517" indent="-300583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2100" dirty="0"/>
              <a:t>Средний возраст сотрудников – 27 лет</a:t>
            </a:r>
          </a:p>
          <a:p>
            <a:pPr indent="0">
              <a:lnSpc>
                <a:spcPct val="150000"/>
              </a:lnSpc>
            </a:pPr>
            <a:endParaRPr lang="ru-RU" sz="2100" dirty="0"/>
          </a:p>
          <a:p>
            <a:pPr marL="35517" indent="-300583">
              <a:buFont typeface="Wingdings" panose="05000000000000000000" pitchFamily="2" charset="2"/>
              <a:buChar char="ü"/>
            </a:pPr>
            <a:endParaRPr lang="ru-RU" sz="210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BD5762-3BDC-484D-9503-7EA6D5A9A8CE}" type="slidenum">
              <a:rPr lang="ru-RU" smtClean="0">
                <a:solidFill>
                  <a:srgbClr val="000000"/>
                </a:solidFill>
              </a:rPr>
              <a:pPr/>
              <a:t>2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icewaterhouseCoopers</a:t>
            </a:r>
            <a:r>
              <a:rPr lang="ru-RU" dirty="0" smtClean="0"/>
              <a:t> – Цена, вода, дом и еще </a:t>
            </a:r>
            <a:br>
              <a:rPr lang="ru-RU" dirty="0" smtClean="0"/>
            </a:br>
            <a:r>
              <a:rPr lang="ru-RU" dirty="0" smtClean="0"/>
              <a:t>какой-то </a:t>
            </a:r>
            <a:r>
              <a:rPr lang="ru-RU" dirty="0" err="1"/>
              <a:t>К</a:t>
            </a:r>
            <a:r>
              <a:rPr lang="ru-RU" dirty="0" err="1" smtClean="0"/>
              <a:t>уперс</a:t>
            </a:r>
            <a:r>
              <a:rPr lang="ru-RU" dirty="0" smtClean="0"/>
              <a:t>?</a:t>
            </a:r>
            <a:endParaRPr lang="ru-RU" b="0" i="0" dirty="0"/>
          </a:p>
        </p:txBody>
      </p:sp>
      <p:pic>
        <p:nvPicPr>
          <p:cNvPr id="1030" name="Picture 6" descr="Картинки по запросу pwc офис москва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8000" y="1730566"/>
            <a:ext cx="4187690" cy="3331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187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ru-RU" sz="5400" b="1" dirty="0" smtClean="0">
                <a:solidFill>
                  <a:schemeClr val="accent3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Моя практика</a:t>
            </a:r>
            <a:endParaRPr lang="ru-RU" sz="5400" b="1" dirty="0">
              <a:solidFill>
                <a:schemeClr val="accent3">
                  <a:lumMod val="60000"/>
                  <a:lumOff val="4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" name="Содержимое 3" descr="minekonom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5220072" y="1700808"/>
            <a:ext cx="3333750" cy="3086100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5" name="Рисунок 4" descr="pic_59e91b89f149203d73694823d594f817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95536" y="1772816"/>
            <a:ext cx="3988452" cy="2658968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6" name="TextBox 5"/>
          <p:cNvSpPr txBox="1"/>
          <p:nvPr/>
        </p:nvSpPr>
        <p:spPr>
          <a:xfrm>
            <a:off x="-468560" y="4869160"/>
            <a:ext cx="64087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solidFill>
                  <a:srgbClr val="8C7B70">
                    <a:lumMod val="40000"/>
                    <a:lumOff val="60000"/>
                  </a:srgbClr>
                </a:solidFill>
                <a:latin typeface="Arial"/>
              </a:rPr>
              <a:t>Минэкономразвития РФ, Сводный департамент прогнозирования макроэкономических процессов;</a:t>
            </a:r>
          </a:p>
          <a:p>
            <a:endParaRPr lang="ru-RU" sz="2400" dirty="0">
              <a:solidFill>
                <a:srgbClr val="8C7B70">
                  <a:lumMod val="40000"/>
                  <a:lumOff val="6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05051684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827584" y="692696"/>
            <a:ext cx="8028384" cy="864096"/>
          </a:xfrm>
        </p:spPr>
        <p:txBody>
          <a:bodyPr>
            <a:noAutofit/>
          </a:bodyPr>
          <a:lstStyle/>
          <a:p>
            <a:pPr algn="ctr"/>
            <a:r>
              <a:rPr lang="ru-RU" sz="4800" dirty="0" smtClean="0">
                <a:solidFill>
                  <a:schemeClr val="accent2">
                    <a:lumMod val="40000"/>
                    <a:lumOff val="6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инципиальные различия</a:t>
            </a:r>
            <a:endParaRPr lang="ru-RU" sz="4800" dirty="0">
              <a:solidFill>
                <a:schemeClr val="accent2">
                  <a:lumMod val="40000"/>
                  <a:lumOff val="6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7" name="Рисунок 6" descr="42-15255618.jpg"/>
          <p:cNvPicPr>
            <a:picLocks noGrp="1" noChangeAspect="1"/>
          </p:cNvPicPr>
          <p:nvPr>
            <p:ph type="pic" idx="1"/>
          </p:nvPr>
        </p:nvPicPr>
        <p:blipFill>
          <a:blip r:embed="rId2" cstate="print"/>
          <a:srcRect l="156" r="156"/>
          <a:stretch>
            <a:fillRect/>
          </a:stretch>
        </p:blipFill>
        <p:spPr>
          <a:xfrm>
            <a:off x="179512" y="1484784"/>
            <a:ext cx="4114800" cy="4114800"/>
          </a:xfrm>
        </p:spPr>
      </p:pic>
      <p:sp>
        <p:nvSpPr>
          <p:cNvPr id="6" name="Текст 5"/>
          <p:cNvSpPr>
            <a:spLocks noGrp="1"/>
          </p:cNvSpPr>
          <p:nvPr>
            <p:ph type="body" sz="half" idx="2"/>
          </p:nvPr>
        </p:nvSpPr>
        <p:spPr>
          <a:xfrm>
            <a:off x="4572000" y="2132861"/>
            <a:ext cx="4572000" cy="3529391"/>
          </a:xfrm>
        </p:spPr>
        <p:txBody>
          <a:bodyPr>
            <a:normAutofit lnSpcReduction="10000"/>
          </a:bodyPr>
          <a:lstStyle/>
          <a:p>
            <a:pPr>
              <a:buFont typeface="Wingdings" pitchFamily="2" charset="2"/>
              <a:buChar char="v"/>
            </a:pPr>
            <a:r>
              <a:rPr lang="ru-RU" sz="2000" dirty="0" smtClean="0"/>
              <a:t> </a:t>
            </a:r>
            <a:r>
              <a:rPr lang="ru-RU" sz="2800" dirty="0" smtClean="0"/>
              <a:t>Шаблоны в коммерческих организациях;</a:t>
            </a:r>
          </a:p>
          <a:p>
            <a:pPr>
              <a:buFont typeface="Wingdings" pitchFamily="2" charset="2"/>
              <a:buChar char="v"/>
            </a:pPr>
            <a:r>
              <a:rPr lang="ru-RU" sz="2800" dirty="0" smtClean="0"/>
              <a:t> Советское наследие;</a:t>
            </a:r>
          </a:p>
          <a:p>
            <a:pPr>
              <a:buFont typeface="Wingdings" pitchFamily="2" charset="2"/>
              <a:buChar char="v"/>
            </a:pPr>
            <a:r>
              <a:rPr lang="ru-RU" sz="2800" dirty="0" smtClean="0"/>
              <a:t> Стабильность;</a:t>
            </a:r>
          </a:p>
          <a:p>
            <a:pPr>
              <a:buFont typeface="Wingdings" pitchFamily="2" charset="2"/>
              <a:buChar char="v"/>
            </a:pPr>
            <a:r>
              <a:rPr lang="ru-RU" sz="2800" dirty="0" smtClean="0"/>
              <a:t> Отсутствует </a:t>
            </a:r>
            <a:r>
              <a:rPr lang="en-US" sz="2800" dirty="0" smtClean="0"/>
              <a:t>teambuilding</a:t>
            </a:r>
            <a:r>
              <a:rPr lang="ru-RU" sz="2800" dirty="0" smtClean="0"/>
              <a:t>;</a:t>
            </a:r>
          </a:p>
          <a:p>
            <a:pPr>
              <a:buFont typeface="Wingdings" pitchFamily="2" charset="2"/>
              <a:buChar char="v"/>
            </a:pPr>
            <a:r>
              <a:rPr lang="ru-RU" sz="2800" dirty="0" smtClean="0"/>
              <a:t> Различные цели.</a:t>
            </a:r>
          </a:p>
          <a:p>
            <a:pPr>
              <a:buFont typeface="Wingdings" pitchFamily="2" charset="2"/>
              <a:buChar char="v"/>
            </a:pP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34621238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ru-RU" sz="54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имеры</a:t>
            </a:r>
            <a:endParaRPr lang="ru-RU" sz="5400" b="1" dirty="0">
              <a:solidFill>
                <a:schemeClr val="accent6">
                  <a:lumMod val="60000"/>
                  <a:lumOff val="4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Содержимое 5"/>
          <p:cNvSpPr>
            <a:spLocks noGrp="1"/>
          </p:cNvSpPr>
          <p:nvPr>
            <p:ph sz="half" idx="1"/>
          </p:nvPr>
        </p:nvSpPr>
        <p:spPr>
          <a:xfrm>
            <a:off x="467544" y="1412776"/>
            <a:ext cx="4330824" cy="4968552"/>
          </a:xfrm>
        </p:spPr>
        <p:txBody>
          <a:bodyPr>
            <a:normAutofit fontScale="85000" lnSpcReduction="10000"/>
          </a:bodyPr>
          <a:lstStyle/>
          <a:p>
            <a:r>
              <a:rPr lang="ru-RU" sz="3000" dirty="0" smtClean="0"/>
              <a:t>Никакой «раскачки» - отлаженная модель поведения сотрудника;</a:t>
            </a:r>
          </a:p>
          <a:p>
            <a:endParaRPr lang="ru-RU" sz="3000" dirty="0" smtClean="0"/>
          </a:p>
          <a:p>
            <a:r>
              <a:rPr lang="ru-RU" sz="3000" dirty="0" smtClean="0"/>
              <a:t>Вопросы решаются индивидуально,  нет нужды в </a:t>
            </a:r>
            <a:r>
              <a:rPr lang="en-US" sz="3000" dirty="0" smtClean="0"/>
              <a:t>brainstorming;</a:t>
            </a:r>
          </a:p>
          <a:p>
            <a:endParaRPr lang="ru-RU" sz="3000" dirty="0" smtClean="0"/>
          </a:p>
          <a:p>
            <a:r>
              <a:rPr lang="ru-RU" sz="3000" dirty="0" smtClean="0"/>
              <a:t>Слабое неформальное общение, отсутствие свободного для этого времени.</a:t>
            </a:r>
          </a:p>
          <a:p>
            <a:endParaRPr lang="ru-RU" dirty="0"/>
          </a:p>
        </p:txBody>
      </p:sp>
      <p:pic>
        <p:nvPicPr>
          <p:cNvPr id="8" name="Содержимое 7" descr="economic-razvitie-1.jpg"/>
          <p:cNvPicPr>
            <a:picLocks noGrp="1" noChangeAspect="1"/>
          </p:cNvPicPr>
          <p:nvPr>
            <p:ph sz="half" idx="2"/>
          </p:nvPr>
        </p:nvPicPr>
        <p:blipFill>
          <a:blip r:embed="rId2" cstate="print"/>
          <a:stretch>
            <a:fillRect/>
          </a:stretch>
        </p:blipFill>
        <p:spPr>
          <a:xfrm>
            <a:off x="5004049" y="1700808"/>
            <a:ext cx="3769940" cy="375647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940480700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043608" y="0"/>
            <a:ext cx="7632848" cy="1253808"/>
          </a:xfrm>
        </p:spPr>
        <p:txBody>
          <a:bodyPr>
            <a:normAutofit/>
          </a:bodyPr>
          <a:lstStyle/>
          <a:p>
            <a:pPr algn="ctr"/>
            <a:r>
              <a:rPr lang="ru-RU" sz="4800" dirty="0" smtClean="0">
                <a:solidFill>
                  <a:schemeClr val="tx1">
                    <a:lumMod val="8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оветы по адаптации</a:t>
            </a:r>
            <a:endParaRPr lang="ru-RU" sz="4800" dirty="0">
              <a:solidFill>
                <a:schemeClr val="tx1">
                  <a:lumMod val="8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half" idx="2"/>
          </p:nvPr>
        </p:nvSpPr>
        <p:spPr>
          <a:xfrm>
            <a:off x="4427985" y="1340768"/>
            <a:ext cx="4464496" cy="5256584"/>
          </a:xfrm>
        </p:spPr>
        <p:txBody>
          <a:bodyPr>
            <a:noAutofit/>
          </a:bodyPr>
          <a:lstStyle/>
          <a:p>
            <a:pPr>
              <a:buFont typeface="Wingdings" pitchFamily="2" charset="2"/>
              <a:buChar char="Ø"/>
            </a:pPr>
            <a:r>
              <a:rPr lang="ru-RU" sz="2400" dirty="0" smtClean="0"/>
              <a:t>Знакомство сотрудника с коллективом;</a:t>
            </a:r>
          </a:p>
          <a:p>
            <a:pPr>
              <a:buFont typeface="Wingdings" pitchFamily="2" charset="2"/>
              <a:buChar char="Ø"/>
            </a:pPr>
            <a:r>
              <a:rPr lang="ru-RU" sz="2400" dirty="0" smtClean="0"/>
              <a:t>Информирование новичка об устоях и принятых нормах;</a:t>
            </a:r>
          </a:p>
          <a:p>
            <a:pPr>
              <a:buFont typeface="Wingdings" pitchFamily="2" charset="2"/>
              <a:buChar char="Ø"/>
            </a:pPr>
            <a:r>
              <a:rPr lang="ru-RU" sz="2400" dirty="0" smtClean="0"/>
              <a:t>Знакомство с рабочим местом;</a:t>
            </a:r>
          </a:p>
          <a:p>
            <a:pPr>
              <a:buFont typeface="Wingdings" pitchFamily="2" charset="2"/>
              <a:buChar char="Ø"/>
            </a:pPr>
            <a:r>
              <a:rPr lang="ru-RU" sz="2400" dirty="0" smtClean="0"/>
              <a:t>Взаимодействие с коллегами;</a:t>
            </a:r>
          </a:p>
          <a:p>
            <a:pPr>
              <a:buFont typeface="Wingdings" pitchFamily="2" charset="2"/>
              <a:buChar char="Ø"/>
            </a:pPr>
            <a:r>
              <a:rPr lang="ru-RU" sz="2400" dirty="0" smtClean="0"/>
              <a:t>Наставничество;</a:t>
            </a:r>
          </a:p>
          <a:p>
            <a:pPr>
              <a:buFont typeface="Wingdings" pitchFamily="2" charset="2"/>
              <a:buChar char="Ø"/>
            </a:pPr>
            <a:r>
              <a:rPr lang="ru-RU" sz="2400" dirty="0" smtClean="0"/>
              <a:t>Небольшое дело мотивации ради.</a:t>
            </a:r>
            <a:endParaRPr lang="ru-RU" sz="2400" dirty="0"/>
          </a:p>
        </p:txBody>
      </p:sp>
      <p:pic>
        <p:nvPicPr>
          <p:cNvPr id="11" name="Содержимое 7" descr="9ec55d41e1255f446aca93b31ef736b72c0432af.jpg"/>
          <p:cNvPicPr>
            <a:picLocks noGrp="1" noChangeAspect="1"/>
          </p:cNvPicPr>
          <p:nvPr>
            <p:ph type="pic" idx="1"/>
          </p:nvPr>
        </p:nvPicPr>
        <p:blipFill>
          <a:blip r:embed="rId2" cstate="print"/>
          <a:srcRect l="16231" r="16231"/>
          <a:stretch>
            <a:fillRect/>
          </a:stretch>
        </p:blipFill>
        <p:spPr>
          <a:xfrm>
            <a:off x="179512" y="1556792"/>
            <a:ext cx="4114800" cy="41148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463245909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755577" y="2276872"/>
            <a:ext cx="7054552" cy="2413248"/>
          </a:xfrm>
        </p:spPr>
        <p:txBody>
          <a:bodyPr>
            <a:normAutofit/>
          </a:bodyPr>
          <a:lstStyle/>
          <a:p>
            <a:pPr algn="ctr"/>
            <a:r>
              <a:rPr lang="ru-RU" sz="6600" dirty="0" smtClean="0"/>
              <a:t>Благодарю за внимание!</a:t>
            </a:r>
            <a:endParaRPr lang="ru-RU" sz="6600" dirty="0"/>
          </a:p>
        </p:txBody>
      </p:sp>
    </p:spTree>
    <p:extLst>
      <p:ext uri="{BB962C8B-B14F-4D97-AF65-F5344CB8AC3E}">
        <p14:creationId xmlns:p14="http://schemas.microsoft.com/office/powerpoint/2010/main" val="35179775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Shape 184"/>
          <p:cNvSpPr>
            <a:spLocks noGrp="1"/>
          </p:cNvSpPr>
          <p:nvPr>
            <p:ph type="body" sz="quarter" idx="1"/>
          </p:nvPr>
        </p:nvSpPr>
        <p:spPr>
          <a:xfrm>
            <a:off x="433511" y="4130477"/>
            <a:ext cx="3084546" cy="738667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algn="r">
              <a:defRPr sz="1600" b="0" i="1"/>
            </a:pPr>
            <a:r>
              <a:rPr sz="2000" dirty="0" err="1"/>
              <a:t>Ухин</a:t>
            </a:r>
            <a:r>
              <a:rPr sz="2000" dirty="0"/>
              <a:t> </a:t>
            </a:r>
            <a:r>
              <a:rPr sz="2000" dirty="0" err="1"/>
              <a:t>Валентин</a:t>
            </a:r>
            <a:endParaRPr sz="2000" dirty="0"/>
          </a:p>
          <a:p>
            <a:pPr algn="r">
              <a:defRPr sz="1600" b="0" i="1"/>
            </a:pPr>
            <a:r>
              <a:rPr dirty="0" err="1"/>
              <a:t>Студент</a:t>
            </a:r>
            <a:r>
              <a:rPr dirty="0"/>
              <a:t> 4 </a:t>
            </a:r>
            <a:r>
              <a:rPr dirty="0" err="1"/>
              <a:t>курса</a:t>
            </a:r>
            <a:endParaRPr dirty="0"/>
          </a:p>
          <a:p>
            <a:pPr algn="r">
              <a:defRPr sz="1600" b="0" i="1"/>
            </a:pPr>
            <a:r>
              <a:rPr dirty="0"/>
              <a:t>ФМБДА ИБДА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368321" y="174536"/>
            <a:ext cx="5661379" cy="175432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lvl="0" algn="r" defTabSz="913102">
              <a:tabLst>
                <a:tab pos="355600" algn="l"/>
              </a:tabLst>
              <a:defRPr sz="2800" b="0"/>
            </a:pPr>
            <a:r>
              <a:rPr lang="ru-RU" sz="3600" b="1" kern="0" dirty="0" smtClean="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Курсы </a:t>
            </a:r>
            <a:r>
              <a:rPr lang="ru-RU" sz="3600" b="1" kern="0" dirty="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повышения квалификации: а судьи кто?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97" t="11950" r="10518"/>
          <a:stretch/>
        </p:blipFill>
        <p:spPr>
          <a:xfrm rot="5400000">
            <a:off x="3034636" y="1915437"/>
            <a:ext cx="5475183" cy="4305143"/>
          </a:xfrm>
          <a:prstGeom prst="rect">
            <a:avLst/>
          </a:prstGeom>
        </p:spPr>
      </p:pic>
      <p:sp>
        <p:nvSpPr>
          <p:cNvPr id="183" name="Shape 183"/>
          <p:cNvSpPr>
            <a:spLocks noGrp="1"/>
          </p:cNvSpPr>
          <p:nvPr>
            <p:ph type="title"/>
          </p:nvPr>
        </p:nvSpPr>
        <p:spPr>
          <a:xfrm>
            <a:off x="101600" y="5565335"/>
            <a:ext cx="6097410" cy="1292665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2800" b="0"/>
            </a:pPr>
            <a:r>
              <a:rPr sz="2000" dirty="0"/>
              <a:t>Производственная практика в </a:t>
            </a:r>
          </a:p>
          <a:p>
            <a:pPr>
              <a:defRPr sz="2800" b="0"/>
            </a:pPr>
            <a:r>
              <a:rPr sz="2000" dirty="0"/>
              <a:t>АНО ДПО </a:t>
            </a:r>
          </a:p>
          <a:p>
            <a:pPr>
              <a:defRPr sz="2800" b="0"/>
            </a:pPr>
            <a:r>
              <a:rPr sz="2000" dirty="0"/>
              <a:t>«Корпоративный университет Сбербанка»</a:t>
            </a:r>
          </a:p>
        </p:txBody>
      </p:sp>
    </p:spTree>
    <p:extLst>
      <p:ext uri="{BB962C8B-B14F-4D97-AF65-F5344CB8AC3E}">
        <p14:creationId xmlns:p14="http://schemas.microsoft.com/office/powerpoint/2010/main" val="369941784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Shape 186"/>
          <p:cNvSpPr>
            <a:spLocks noGrp="1"/>
          </p:cNvSpPr>
          <p:nvPr>
            <p:ph type="title"/>
          </p:nvPr>
        </p:nvSpPr>
        <p:spPr>
          <a:xfrm>
            <a:off x="121490" y="491164"/>
            <a:ext cx="6916719" cy="29833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pic>
        <p:nvPicPr>
          <p:cNvPr id="187" name="image17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17630" y="1929641"/>
            <a:ext cx="8908740" cy="3115382"/>
          </a:xfrm>
          <a:prstGeom prst="rect">
            <a:avLst/>
          </a:prstGeom>
          <a:ln w="12700">
            <a:miter lim="400000"/>
          </a:ln>
        </p:spPr>
      </p:pic>
      <p:pic>
        <p:nvPicPr>
          <p:cNvPr id="188" name="image18.pn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2312417" y="910447"/>
            <a:ext cx="4013203" cy="990602"/>
          </a:xfrm>
          <a:prstGeom prst="rect">
            <a:avLst/>
          </a:prstGeom>
          <a:ln w="12700">
            <a:miter lim="400000"/>
          </a:ln>
        </p:spPr>
      </p:pic>
      <p:sp>
        <p:nvSpPr>
          <p:cNvPr id="189" name="Shape 189"/>
          <p:cNvSpPr/>
          <p:nvPr/>
        </p:nvSpPr>
        <p:spPr>
          <a:xfrm>
            <a:off x="107238" y="5223671"/>
            <a:ext cx="3442710" cy="923326"/>
          </a:xfrm>
          <a:prstGeom prst="rect">
            <a:avLst/>
          </a:prstGeom>
          <a:solidFill>
            <a:srgbClr val="FFFFFF"/>
          </a:solidFill>
          <a:ln w="25400">
            <a:solidFill>
              <a:schemeClr val="accent1"/>
            </a:solidFill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>
            <a:lvl1pPr marL="285750" indent="-285750">
              <a:buSzPct val="100000"/>
              <a:buFont typeface="Wingdings"/>
              <a:buChar char="❖"/>
              <a:defRPr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hangingPunct="0"/>
            <a:r>
              <a:rPr kern="0">
                <a:solidFill>
                  <a:srgbClr val="000000"/>
                </a:solidFill>
              </a:rPr>
              <a:t>учрежден в 2012 году в статусе 100% дочерней организации ПАО Сбербанк</a:t>
            </a:r>
          </a:p>
        </p:txBody>
      </p:sp>
      <p:sp>
        <p:nvSpPr>
          <p:cNvPr id="190" name="Shape 190"/>
          <p:cNvSpPr/>
          <p:nvPr/>
        </p:nvSpPr>
        <p:spPr>
          <a:xfrm>
            <a:off x="3722502" y="5223671"/>
            <a:ext cx="4542492" cy="923326"/>
          </a:xfrm>
          <a:prstGeom prst="rect">
            <a:avLst/>
          </a:prstGeom>
          <a:solidFill>
            <a:srgbClr val="FFFFFF"/>
          </a:solidFill>
          <a:ln w="25400">
            <a:solidFill>
              <a:schemeClr val="accent1"/>
            </a:solidFill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>
            <a:lvl1pPr marL="285750" indent="-285750">
              <a:buSzPct val="100000"/>
              <a:buFont typeface="Wingdings"/>
              <a:buChar char="❖"/>
              <a:defRPr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hangingPunct="0"/>
            <a:r>
              <a:rPr kern="0">
                <a:solidFill>
                  <a:srgbClr val="000000"/>
                </a:solidFill>
              </a:rPr>
              <a:t>центр управления знаниями, идеологического обновления, хранения ценностей и опыта банка</a:t>
            </a:r>
          </a:p>
        </p:txBody>
      </p:sp>
      <p:sp>
        <p:nvSpPr>
          <p:cNvPr id="191" name="Shape 191"/>
          <p:cNvSpPr/>
          <p:nvPr/>
        </p:nvSpPr>
        <p:spPr>
          <a:xfrm>
            <a:off x="3893570" y="6311742"/>
            <a:ext cx="5234229" cy="3693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>
            <a:lvl1pPr>
              <a:defRPr b="1" i="1">
                <a:solidFill>
                  <a:srgbClr val="44631D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hangingPunct="0"/>
            <a:r>
              <a:rPr kern="0"/>
              <a:t>«Я лидер, Мы – команда, Все - для клиента»</a:t>
            </a:r>
          </a:p>
        </p:txBody>
      </p:sp>
    </p:spTree>
    <p:extLst>
      <p:ext uri="{BB962C8B-B14F-4D97-AF65-F5344CB8AC3E}">
        <p14:creationId xmlns:p14="http://schemas.microsoft.com/office/powerpoint/2010/main" val="49025535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Shape 193"/>
          <p:cNvSpPr>
            <a:spLocks noGrp="1"/>
          </p:cNvSpPr>
          <p:nvPr>
            <p:ph type="title"/>
          </p:nvPr>
        </p:nvSpPr>
        <p:spPr>
          <a:xfrm>
            <a:off x="121490" y="491164"/>
            <a:ext cx="6916719" cy="298330"/>
          </a:xfrm>
          <a:prstGeom prst="rect">
            <a:avLst/>
          </a:prstGeom>
        </p:spPr>
        <p:txBody>
          <a:bodyPr/>
          <a:lstStyle/>
          <a:p>
            <a:r>
              <a:t>Факты и цифры</a:t>
            </a:r>
          </a:p>
        </p:txBody>
      </p:sp>
      <p:pic>
        <p:nvPicPr>
          <p:cNvPr id="194" name="image19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2138972" y="1025210"/>
            <a:ext cx="4685353" cy="5624466"/>
          </a:xfrm>
          <a:prstGeom prst="rect">
            <a:avLst/>
          </a:prstGeom>
          <a:ln w="12700">
            <a:miter lim="400000"/>
          </a:ln>
        </p:spPr>
      </p:pic>
      <p:pic>
        <p:nvPicPr>
          <p:cNvPr id="195" name="image2.jpe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4291462" y="248877"/>
            <a:ext cx="1245079" cy="478253"/>
          </a:xfrm>
          <a:prstGeom prst="rect">
            <a:avLst/>
          </a:prstGeom>
          <a:ln w="12700">
            <a:miter lim="400000"/>
          </a:ln>
        </p:spPr>
      </p:pic>
      <p:pic>
        <p:nvPicPr>
          <p:cNvPr id="196" name="image20.png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5629752" y="248877"/>
            <a:ext cx="1207517" cy="464999"/>
          </a:xfrm>
          <a:prstGeom prst="rect">
            <a:avLst/>
          </a:prstGeom>
          <a:ln w="12700">
            <a:miter lim="400000"/>
          </a:ln>
        </p:spPr>
      </p:pic>
      <p:pic>
        <p:nvPicPr>
          <p:cNvPr id="197" name="image21.png"/>
          <p:cNvPicPr>
            <a:picLocks noChangeAspect="1"/>
          </p:cNvPicPr>
          <p:nvPr/>
        </p:nvPicPr>
        <p:blipFill>
          <a:blip r:embed="rId5">
            <a:extLst/>
          </a:blip>
          <a:stretch>
            <a:fillRect/>
          </a:stretch>
        </p:blipFill>
        <p:spPr>
          <a:xfrm>
            <a:off x="2752381" y="284160"/>
            <a:ext cx="1378279" cy="40768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49166559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Shape 199"/>
          <p:cNvSpPr>
            <a:spLocks noGrp="1"/>
          </p:cNvSpPr>
          <p:nvPr>
            <p:ph type="sldNum" sz="quarter" idx="4294967295"/>
          </p:nvPr>
        </p:nvSpPr>
        <p:spPr>
          <a:xfrm>
            <a:off x="8888071" y="6649267"/>
            <a:ext cx="142642" cy="153888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/>
          <a:lstStyle/>
          <a:p>
            <a:fld id="{86CB4B4D-7CA3-9044-876B-883B54F8677D}" type="slidenum">
              <a:rPr/>
              <a:pPr/>
              <a:t>28</a:t>
            </a:fld>
            <a:endParaRPr/>
          </a:p>
        </p:txBody>
      </p:sp>
      <p:pic>
        <p:nvPicPr>
          <p:cNvPr id="200" name="image3.jpeg" descr="Картинки по запросу белый фон hd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1628799"/>
            <a:ext cx="9144000" cy="5004052"/>
          </a:xfrm>
          <a:prstGeom prst="rect">
            <a:avLst/>
          </a:prstGeom>
          <a:ln w="12700">
            <a:miter lim="400000"/>
          </a:ln>
        </p:spPr>
      </p:pic>
      <p:sp>
        <p:nvSpPr>
          <p:cNvPr id="201" name="Shape 201"/>
          <p:cNvSpPr>
            <a:spLocks noGrp="1"/>
          </p:cNvSpPr>
          <p:nvPr>
            <p:ph type="body" sz="quarter" idx="1"/>
          </p:nvPr>
        </p:nvSpPr>
        <p:spPr>
          <a:xfrm>
            <a:off x="262845" y="260685"/>
            <a:ext cx="7192062" cy="738667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rgbClr val="65942C"/>
                </a:solidFill>
                <a:latin typeface="Arial Unicode MS"/>
                <a:ea typeface="Arial Unicode MS"/>
                <a:cs typeface="Arial Unicode MS"/>
                <a:sym typeface="Arial Unicode MS"/>
              </a:defRPr>
            </a:lvl1pPr>
          </a:lstStyle>
          <a:p>
            <a:r>
              <a:t>Модель корпоративного обучения</a:t>
            </a:r>
          </a:p>
        </p:txBody>
      </p:sp>
      <p:grpSp>
        <p:nvGrpSpPr>
          <p:cNvPr id="204" name="Group 204"/>
          <p:cNvGrpSpPr/>
          <p:nvPr/>
        </p:nvGrpSpPr>
        <p:grpSpPr>
          <a:xfrm>
            <a:off x="1889971" y="1102603"/>
            <a:ext cx="5256593" cy="842742"/>
            <a:chOff x="-2" y="-2"/>
            <a:chExt cx="5256591" cy="842740"/>
          </a:xfrm>
        </p:grpSpPr>
        <p:sp>
          <p:nvSpPr>
            <p:cNvPr id="202" name="Shape 202"/>
            <p:cNvSpPr/>
            <p:nvPr/>
          </p:nvSpPr>
          <p:spPr>
            <a:xfrm>
              <a:off x="-2" y="-2"/>
              <a:ext cx="5256591" cy="842740"/>
            </a:xfrm>
            <a:prstGeom prst="rect">
              <a:avLst/>
            </a:prstGeom>
            <a:gradFill flip="none" rotWithShape="1">
              <a:gsLst>
                <a:gs pos="0">
                  <a:srgbClr val="65A01C"/>
                </a:gs>
                <a:gs pos="80000">
                  <a:srgbClr val="85D325"/>
                </a:gs>
                <a:gs pos="100000">
                  <a:srgbClr val="86D722"/>
                </a:gs>
              </a:gsLst>
              <a:lin ang="16200000" scaled="0"/>
            </a:gradFill>
            <a:ln w="9525" cap="flat">
              <a:solidFill>
                <a:srgbClr val="84C436"/>
              </a:solidFill>
              <a:prstDash val="solid"/>
              <a:round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hangingPunct="0">
                <a:defRPr b="1">
                  <a:latin typeface="Arial"/>
                  <a:ea typeface="Arial"/>
                  <a:cs typeface="Arial"/>
                  <a:sym typeface="Arial"/>
                </a:defRPr>
              </a:pPr>
              <a:endParaRPr b="1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3" name="Shape 203"/>
            <p:cNvSpPr/>
            <p:nvPr/>
          </p:nvSpPr>
          <p:spPr>
            <a:xfrm>
              <a:off x="-2" y="236702"/>
              <a:ext cx="5256591" cy="36932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8" tIns="45718" rIns="45718" bIns="45718" numCol="1" anchor="ctr">
              <a:spAutoFit/>
            </a:bodyPr>
            <a:lstStyle>
              <a:lvl1pPr algn="ctr">
                <a:defRPr b="1"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pPr hangingPunct="0"/>
              <a:r>
                <a:rPr kern="0">
                  <a:solidFill>
                    <a:srgbClr val="000000"/>
                  </a:solidFill>
                </a:rPr>
                <a:t>Форматы реализации программ</a:t>
              </a:r>
            </a:p>
          </p:txBody>
        </p:sp>
      </p:grpSp>
      <p:grpSp>
        <p:nvGrpSpPr>
          <p:cNvPr id="207" name="Group 207"/>
          <p:cNvGrpSpPr/>
          <p:nvPr/>
        </p:nvGrpSpPr>
        <p:grpSpPr>
          <a:xfrm>
            <a:off x="432068" y="2891374"/>
            <a:ext cx="1907664" cy="1075259"/>
            <a:chOff x="-1" y="-2"/>
            <a:chExt cx="1907662" cy="1075258"/>
          </a:xfrm>
        </p:grpSpPr>
        <p:sp>
          <p:nvSpPr>
            <p:cNvPr id="205" name="Shape 205"/>
            <p:cNvSpPr/>
            <p:nvPr/>
          </p:nvSpPr>
          <p:spPr>
            <a:xfrm>
              <a:off x="-1" y="-2"/>
              <a:ext cx="1907662" cy="1075258"/>
            </a:xfrm>
            <a:prstGeom prst="rect">
              <a:avLst/>
            </a:prstGeom>
            <a:gradFill flip="none" rotWithShape="1">
              <a:gsLst>
                <a:gs pos="0">
                  <a:srgbClr val="65A01C"/>
                </a:gs>
                <a:gs pos="80000">
                  <a:srgbClr val="85D325"/>
                </a:gs>
                <a:gs pos="100000">
                  <a:srgbClr val="86D722"/>
                </a:gs>
              </a:gsLst>
              <a:lin ang="16200000" scaled="0"/>
            </a:gradFill>
            <a:ln w="9525" cap="flat">
              <a:solidFill>
                <a:srgbClr val="84C436"/>
              </a:solidFill>
              <a:prstDash val="solid"/>
              <a:round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hangingPunct="0">
                <a:defRPr sz="1600">
                  <a:latin typeface="Arial"/>
                  <a:ea typeface="Arial"/>
                  <a:cs typeface="Arial"/>
                  <a:sym typeface="Arial"/>
                </a:defRPr>
              </a:pPr>
              <a:endParaRPr sz="1600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6" name="Shape 206"/>
            <p:cNvSpPr/>
            <p:nvPr/>
          </p:nvSpPr>
          <p:spPr>
            <a:xfrm>
              <a:off x="-1" y="245240"/>
              <a:ext cx="1907662" cy="58477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8" tIns="45718" rIns="45718" bIns="45718" numCol="1" anchor="ctr">
              <a:spAutoFit/>
            </a:bodyPr>
            <a:lstStyle>
              <a:lvl1pPr algn="ctr">
                <a:defRPr sz="1600"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pPr hangingPunct="0"/>
              <a:r>
                <a:rPr kern="0">
                  <a:solidFill>
                    <a:srgbClr val="000000"/>
                  </a:solidFill>
                </a:rPr>
                <a:t>Смешанные программы</a:t>
              </a:r>
            </a:p>
          </p:txBody>
        </p:sp>
      </p:grpSp>
      <p:grpSp>
        <p:nvGrpSpPr>
          <p:cNvPr id="210" name="Group 210"/>
          <p:cNvGrpSpPr/>
          <p:nvPr/>
        </p:nvGrpSpPr>
        <p:grpSpPr>
          <a:xfrm>
            <a:off x="6282694" y="2847700"/>
            <a:ext cx="2448026" cy="668166"/>
            <a:chOff x="-2" y="0"/>
            <a:chExt cx="2448025" cy="668164"/>
          </a:xfrm>
        </p:grpSpPr>
        <p:sp>
          <p:nvSpPr>
            <p:cNvPr id="208" name="Shape 208"/>
            <p:cNvSpPr/>
            <p:nvPr/>
          </p:nvSpPr>
          <p:spPr>
            <a:xfrm>
              <a:off x="-2" y="0"/>
              <a:ext cx="2448025" cy="668164"/>
            </a:xfrm>
            <a:prstGeom prst="rect">
              <a:avLst/>
            </a:prstGeom>
            <a:gradFill flip="none" rotWithShape="1">
              <a:gsLst>
                <a:gs pos="0">
                  <a:srgbClr val="65A01C"/>
                </a:gs>
                <a:gs pos="80000">
                  <a:srgbClr val="85D325"/>
                </a:gs>
                <a:gs pos="100000">
                  <a:srgbClr val="86D722"/>
                </a:gs>
              </a:gsLst>
              <a:lin ang="16200000" scaled="0"/>
            </a:gradFill>
            <a:ln w="9525" cap="flat">
              <a:solidFill>
                <a:srgbClr val="84C436"/>
              </a:solidFill>
              <a:prstDash val="solid"/>
              <a:round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hangingPunct="0">
                <a:defRPr sz="1600">
                  <a:latin typeface="Arial"/>
                  <a:ea typeface="Arial"/>
                  <a:cs typeface="Arial"/>
                  <a:sym typeface="Arial"/>
                </a:defRPr>
              </a:pPr>
              <a:endParaRPr sz="1600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9" name="Shape 209"/>
            <p:cNvSpPr/>
            <p:nvPr/>
          </p:nvSpPr>
          <p:spPr>
            <a:xfrm>
              <a:off x="-2" y="41693"/>
              <a:ext cx="2448025" cy="58476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8" tIns="45718" rIns="45718" bIns="45718" numCol="1" anchor="ctr">
              <a:spAutoFit/>
            </a:bodyPr>
            <a:lstStyle>
              <a:lvl1pPr algn="ctr">
                <a:defRPr sz="1600"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pPr hangingPunct="0"/>
              <a:r>
                <a:rPr kern="0">
                  <a:solidFill>
                    <a:srgbClr val="000000"/>
                  </a:solidFill>
                </a:rPr>
                <a:t>Электронные программы</a:t>
              </a:r>
            </a:p>
          </p:txBody>
        </p:sp>
      </p:grpSp>
      <p:grpSp>
        <p:nvGrpSpPr>
          <p:cNvPr id="213" name="Group 213"/>
          <p:cNvGrpSpPr/>
          <p:nvPr/>
        </p:nvGrpSpPr>
        <p:grpSpPr>
          <a:xfrm>
            <a:off x="3451990" y="3337207"/>
            <a:ext cx="2132555" cy="666136"/>
            <a:chOff x="-2" y="-2"/>
            <a:chExt cx="2132553" cy="666135"/>
          </a:xfrm>
        </p:grpSpPr>
        <p:sp>
          <p:nvSpPr>
            <p:cNvPr id="211" name="Shape 211"/>
            <p:cNvSpPr/>
            <p:nvPr/>
          </p:nvSpPr>
          <p:spPr>
            <a:xfrm>
              <a:off x="-2" y="-2"/>
              <a:ext cx="2132553" cy="666135"/>
            </a:xfrm>
            <a:prstGeom prst="rect">
              <a:avLst/>
            </a:prstGeom>
            <a:gradFill flip="none" rotWithShape="1">
              <a:gsLst>
                <a:gs pos="0">
                  <a:srgbClr val="65A01C"/>
                </a:gs>
                <a:gs pos="80000">
                  <a:srgbClr val="85D325"/>
                </a:gs>
                <a:gs pos="100000">
                  <a:srgbClr val="86D722"/>
                </a:gs>
              </a:gsLst>
              <a:lin ang="16200000" scaled="0"/>
            </a:gradFill>
            <a:ln w="9525" cap="flat">
              <a:solidFill>
                <a:srgbClr val="84C436"/>
              </a:solidFill>
              <a:prstDash val="solid"/>
              <a:round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 hangingPunct="0">
                <a:defRPr sz="1600">
                  <a:latin typeface="Arial"/>
                  <a:ea typeface="Arial"/>
                  <a:cs typeface="Arial"/>
                  <a:sym typeface="Arial"/>
                </a:defRPr>
              </a:pPr>
              <a:endParaRPr sz="1600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2" name="Shape 212"/>
            <p:cNvSpPr/>
            <p:nvPr/>
          </p:nvSpPr>
          <p:spPr>
            <a:xfrm>
              <a:off x="-2" y="163787"/>
              <a:ext cx="2132553" cy="33854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8" tIns="45718" rIns="45718" bIns="45718" numCol="1" anchor="ctr">
              <a:spAutoFit/>
            </a:bodyPr>
            <a:lstStyle>
              <a:lvl1pPr algn="ctr">
                <a:defRPr sz="1600"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pPr hangingPunct="0"/>
              <a:r>
                <a:rPr kern="0">
                  <a:solidFill>
                    <a:srgbClr val="000000"/>
                  </a:solidFill>
                </a:rPr>
                <a:t>Очные программы</a:t>
              </a:r>
            </a:p>
          </p:txBody>
        </p:sp>
      </p:grpSp>
      <p:grpSp>
        <p:nvGrpSpPr>
          <p:cNvPr id="218" name="Group 218"/>
          <p:cNvGrpSpPr/>
          <p:nvPr/>
        </p:nvGrpSpPr>
        <p:grpSpPr>
          <a:xfrm>
            <a:off x="700853" y="1915426"/>
            <a:ext cx="6659907" cy="4553799"/>
            <a:chOff x="-1" y="-1"/>
            <a:chExt cx="6659905" cy="4553798"/>
          </a:xfrm>
        </p:grpSpPr>
        <p:sp>
          <p:nvSpPr>
            <p:cNvPr id="214" name="Shape 214"/>
            <p:cNvSpPr/>
            <p:nvPr/>
          </p:nvSpPr>
          <p:spPr>
            <a:xfrm flipH="1">
              <a:off x="755246" y="0"/>
              <a:ext cx="3132351" cy="813452"/>
            </a:xfrm>
            <a:prstGeom prst="line">
              <a:avLst/>
            </a:prstGeom>
            <a:noFill/>
            <a:ln w="25400" cap="flat">
              <a:solidFill>
                <a:srgbClr val="6DA02E"/>
              </a:solidFill>
              <a:prstDash val="solid"/>
              <a:round/>
              <a:tailEnd type="triangle" w="med" len="med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5" name="Shape 215"/>
            <p:cNvSpPr/>
            <p:nvPr/>
          </p:nvSpPr>
          <p:spPr>
            <a:xfrm>
              <a:off x="3887594" y="0"/>
              <a:ext cx="2772311" cy="741442"/>
            </a:xfrm>
            <a:prstGeom prst="line">
              <a:avLst/>
            </a:prstGeom>
            <a:noFill/>
            <a:ln w="25400" cap="flat">
              <a:solidFill>
                <a:srgbClr val="6DA02E"/>
              </a:solidFill>
              <a:prstDash val="solid"/>
              <a:round/>
              <a:tailEnd type="triangle" w="med" len="med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6" name="Shape 216"/>
            <p:cNvSpPr/>
            <p:nvPr/>
          </p:nvSpPr>
          <p:spPr>
            <a:xfrm>
              <a:off x="3887594" y="-1"/>
              <a:ext cx="36007" cy="1317509"/>
            </a:xfrm>
            <a:prstGeom prst="line">
              <a:avLst/>
            </a:prstGeom>
            <a:noFill/>
            <a:ln w="25400" cap="flat">
              <a:solidFill>
                <a:srgbClr val="6DA02E"/>
              </a:solidFill>
              <a:prstDash val="solid"/>
              <a:round/>
              <a:tailEnd type="triangle" w="med" len="med"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7" name="Shape 217"/>
            <p:cNvSpPr/>
            <p:nvPr/>
          </p:nvSpPr>
          <p:spPr>
            <a:xfrm rot="5402476">
              <a:off x="-446342" y="2833099"/>
              <a:ext cx="2167362" cy="1273120"/>
            </a:xfrm>
            <a:prstGeom prst="rightArrow">
              <a:avLst>
                <a:gd name="adj1" fmla="val 31466"/>
                <a:gd name="adj2" fmla="val 73865"/>
              </a:avLst>
            </a:prstGeom>
            <a:solidFill>
              <a:schemeClr val="accent2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hangingPunct="0">
                <a:defRPr>
                  <a:solidFill>
                    <a:srgbClr val="FFFFFF"/>
                  </a:solidFill>
                  <a:latin typeface="+mj-lt"/>
                  <a:ea typeface="+mj-ea"/>
                  <a:cs typeface="+mj-cs"/>
                  <a:sym typeface="Helvetica"/>
                </a:defRPr>
              </a:pPr>
              <a:endParaRPr kern="0">
                <a:solidFill>
                  <a:srgbClr val="FFFFFF"/>
                </a:solidFill>
                <a:latin typeface="Helvetica"/>
                <a:ea typeface="Helvetica"/>
                <a:cs typeface="Helvetica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97369375"/>
      </p:ext>
    </p:extLst>
  </p:cSld>
  <p:clrMapOvr>
    <a:masterClrMapping/>
  </p:clrMapOvr>
  <p:transition spd="med"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" name="Shape 220"/>
          <p:cNvSpPr>
            <a:spLocks noGrp="1"/>
          </p:cNvSpPr>
          <p:nvPr>
            <p:ph type="title"/>
          </p:nvPr>
        </p:nvSpPr>
        <p:spPr>
          <a:xfrm>
            <a:off x="121490" y="491164"/>
            <a:ext cx="6916719" cy="29833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pic>
        <p:nvPicPr>
          <p:cNvPr id="221" name="image22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09459" y="1232361"/>
            <a:ext cx="8886450" cy="488332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567472166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BD5762-3BDC-484D-9503-7EA6D5A9A8CE}" type="slidenum">
              <a:rPr lang="ru-RU" smtClean="0">
                <a:solidFill>
                  <a:srgbClr val="000000"/>
                </a:solidFill>
              </a:rPr>
              <a:pPr/>
              <a:t>3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026" name="Picture 2" descr="https://pp.userapi.com/c636216/v636216730/54fa0/FU3QVRx2HsM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23" t="12325" r="22648" b="13216"/>
          <a:stretch/>
        </p:blipFill>
        <p:spPr bwMode="auto">
          <a:xfrm>
            <a:off x="1554417" y="1534596"/>
            <a:ext cx="5912033" cy="3940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04787" y="685800"/>
            <a:ext cx="8142302" cy="914400"/>
          </a:xfrm>
        </p:spPr>
        <p:txBody>
          <a:bodyPr/>
          <a:lstStyle/>
          <a:p>
            <a:r>
              <a:rPr lang="ru-RU" dirty="0" smtClean="0"/>
              <a:t>Добрый день, я – аудитор…</a:t>
            </a:r>
            <a:br>
              <a:rPr lang="ru-RU" dirty="0" smtClean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92057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" name="Shape 223"/>
          <p:cNvSpPr>
            <a:spLocks noGrp="1"/>
          </p:cNvSpPr>
          <p:nvPr>
            <p:ph type="sldNum" sz="quarter" idx="4294967295"/>
          </p:nvPr>
        </p:nvSpPr>
        <p:spPr>
          <a:xfrm>
            <a:off x="8888071" y="6649267"/>
            <a:ext cx="142642" cy="153888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/>
          <a:lstStyle/>
          <a:p>
            <a:fld id="{86CB4B4D-7CA3-9044-876B-883B54F8677D}" type="slidenum">
              <a:rPr/>
              <a:pPr/>
              <a:t>30</a:t>
            </a:fld>
            <a:endParaRPr/>
          </a:p>
        </p:txBody>
      </p:sp>
      <p:pic>
        <p:nvPicPr>
          <p:cNvPr id="224" name="image4.jpeg" descr="57443de36fe36154e291c082 (2).jp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39833" y="1143000"/>
            <a:ext cx="3340243" cy="5581930"/>
          </a:xfrm>
          <a:prstGeom prst="rect">
            <a:avLst/>
          </a:prstGeom>
          <a:ln w="12700">
            <a:miter lim="400000"/>
          </a:ln>
        </p:spPr>
      </p:pic>
      <p:sp>
        <p:nvSpPr>
          <p:cNvPr id="225" name="Shape 225"/>
          <p:cNvSpPr>
            <a:spLocks noGrp="1"/>
          </p:cNvSpPr>
          <p:nvPr>
            <p:ph type="body" sz="quarter" idx="1"/>
          </p:nvPr>
        </p:nvSpPr>
        <p:spPr>
          <a:xfrm>
            <a:off x="611579" y="116630"/>
            <a:ext cx="5293639" cy="430892"/>
          </a:xfrm>
          <a:prstGeom prst="rect">
            <a:avLst/>
          </a:prstGeom>
        </p:spPr>
        <p:txBody>
          <a:bodyPr/>
          <a:lstStyle>
            <a:lvl1pPr defTabSz="831307">
              <a:defRPr sz="2500" b="0">
                <a:solidFill>
                  <a:srgbClr val="65942C"/>
                </a:solidFill>
                <a:latin typeface="Arial Unicode MS"/>
                <a:ea typeface="Arial Unicode MS"/>
                <a:cs typeface="Arial Unicode MS"/>
                <a:sym typeface="Arial Unicode MS"/>
              </a:defRPr>
            </a:lvl1pPr>
          </a:lstStyle>
          <a:p>
            <a:r>
              <a:t>Школа дизайн-мышления</a:t>
            </a:r>
          </a:p>
        </p:txBody>
      </p:sp>
      <p:sp>
        <p:nvSpPr>
          <p:cNvPr id="226" name="Shape 226"/>
          <p:cNvSpPr/>
          <p:nvPr/>
        </p:nvSpPr>
        <p:spPr>
          <a:xfrm>
            <a:off x="-8893" y="1394233"/>
            <a:ext cx="5208097" cy="147732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/>
          <a:p>
            <a:pPr marL="285750" indent="-285750" hangingPunct="0">
              <a:defRPr b="1">
                <a:latin typeface="Arial"/>
                <a:ea typeface="Arial"/>
                <a:cs typeface="Arial"/>
                <a:sym typeface="Arial"/>
              </a:defRPr>
            </a:pPr>
            <a:r>
              <a:rPr b="1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Целевая аудитория </a:t>
            </a:r>
            <a:r>
              <a:rPr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— руководители, ответственные за внедрение новых или совершенствование существующих продуктов, услуг, процессов.</a:t>
            </a:r>
          </a:p>
          <a:p>
            <a:pPr marL="285750" indent="-285750" hangingPunct="0">
              <a:defRPr>
                <a:latin typeface="Arial"/>
                <a:ea typeface="Arial"/>
                <a:cs typeface="Arial"/>
                <a:sym typeface="Arial"/>
              </a:defRPr>
            </a:pPr>
            <a:endParaRPr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7" name="Shape 227"/>
          <p:cNvSpPr/>
          <p:nvPr/>
        </p:nvSpPr>
        <p:spPr>
          <a:xfrm>
            <a:off x="1215187" y="3405382"/>
            <a:ext cx="5935316" cy="12003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/>
          <a:p>
            <a:pPr marL="285750" indent="-285750" hangingPunct="0">
              <a:buSzPct val="100000"/>
              <a:buFont typeface="Wingdings"/>
              <a:buChar char="➢"/>
              <a:defRPr b="1">
                <a:latin typeface="Arial"/>
                <a:ea typeface="Arial"/>
                <a:cs typeface="Arial"/>
                <a:sym typeface="Arial"/>
              </a:defRPr>
            </a:pPr>
            <a:r>
              <a:rPr b="1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Цели программы </a:t>
            </a:r>
            <a:r>
              <a:rPr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— изучить основные принципы методологии дизайн-мышления; — развить навыки создания инновационных решений.</a:t>
            </a:r>
          </a:p>
        </p:txBody>
      </p:sp>
      <p:sp>
        <p:nvSpPr>
          <p:cNvPr id="228" name="Shape 228"/>
          <p:cNvSpPr/>
          <p:nvPr/>
        </p:nvSpPr>
        <p:spPr>
          <a:xfrm>
            <a:off x="2579920" y="910484"/>
            <a:ext cx="3427903" cy="6463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 hangingPunct="0">
              <a:defRPr b="1">
                <a:latin typeface="Arial"/>
                <a:ea typeface="Arial"/>
                <a:cs typeface="Arial"/>
                <a:sym typeface="Arial"/>
              </a:defRPr>
            </a:pPr>
            <a:r>
              <a:rPr b="1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«Oт инсайтов к инновациям" </a:t>
            </a:r>
          </a:p>
          <a:p>
            <a:pPr marL="285750" indent="-285750" hangingPunct="0">
              <a:defRPr>
                <a:latin typeface="Arial"/>
                <a:ea typeface="Arial"/>
                <a:cs typeface="Arial"/>
                <a:sym typeface="Arial"/>
              </a:defRPr>
            </a:pPr>
            <a:r>
              <a:rPr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    </a:t>
            </a:r>
          </a:p>
        </p:txBody>
      </p:sp>
      <p:pic>
        <p:nvPicPr>
          <p:cNvPr id="229" name="image23.pn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795428" y="4191744"/>
            <a:ext cx="5538605" cy="2761602"/>
          </a:xfrm>
          <a:prstGeom prst="rect">
            <a:avLst/>
          </a:prstGeom>
          <a:ln w="12700">
            <a:miter lim="400000"/>
          </a:ln>
        </p:spPr>
      </p:pic>
      <p:sp>
        <p:nvSpPr>
          <p:cNvPr id="230" name="Shape 230"/>
          <p:cNvSpPr/>
          <p:nvPr/>
        </p:nvSpPr>
        <p:spPr>
          <a:xfrm>
            <a:off x="4894495" y="1394239"/>
            <a:ext cx="4403696" cy="20313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/>
          <a:p>
            <a:pPr marL="285750" indent="-285750" hangingPunct="0">
              <a:defRPr b="1">
                <a:latin typeface="Arial"/>
                <a:ea typeface="Arial"/>
                <a:cs typeface="Arial"/>
                <a:sym typeface="Arial"/>
              </a:defRPr>
            </a:pPr>
            <a:r>
              <a:rPr b="1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Продолжительность программы </a:t>
            </a:r>
            <a:r>
              <a:rPr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– 2 месяца. </a:t>
            </a:r>
          </a:p>
          <a:p>
            <a:pPr marL="285750" indent="-285750" hangingPunct="0">
              <a:defRPr b="1">
                <a:latin typeface="Arial"/>
                <a:ea typeface="Arial"/>
                <a:cs typeface="Arial"/>
                <a:sym typeface="Arial"/>
              </a:defRPr>
            </a:pPr>
            <a:endParaRPr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indent="-285750" hangingPunct="0">
              <a:defRPr b="1">
                <a:latin typeface="Arial"/>
                <a:ea typeface="Arial"/>
                <a:cs typeface="Arial"/>
                <a:sym typeface="Arial"/>
              </a:defRPr>
            </a:pPr>
            <a:r>
              <a:rPr b="1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Численность одного потока </a:t>
            </a:r>
            <a:r>
              <a:rPr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– 25 человек. </a:t>
            </a:r>
          </a:p>
          <a:p>
            <a:pPr marL="285750" indent="-285750" hangingPunct="0">
              <a:defRPr>
                <a:latin typeface="Arial"/>
                <a:ea typeface="Arial"/>
                <a:cs typeface="Arial"/>
                <a:sym typeface="Arial"/>
              </a:defRPr>
            </a:pPr>
            <a:endParaRPr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indent="-285750" hangingPunct="0">
              <a:defRPr b="1">
                <a:latin typeface="Arial"/>
                <a:ea typeface="Arial"/>
                <a:cs typeface="Arial"/>
                <a:sym typeface="Arial"/>
              </a:defRPr>
            </a:pPr>
            <a:r>
              <a:rPr b="1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Форма обучения</a:t>
            </a:r>
            <a:r>
              <a:rPr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-смешанная. </a:t>
            </a:r>
          </a:p>
        </p:txBody>
      </p:sp>
    </p:spTree>
    <p:extLst>
      <p:ext uri="{BB962C8B-B14F-4D97-AF65-F5344CB8AC3E}">
        <p14:creationId xmlns:p14="http://schemas.microsoft.com/office/powerpoint/2010/main" val="396208068"/>
      </p:ext>
    </p:extLst>
  </p:cSld>
  <p:clrMapOvr>
    <a:masterClrMapping/>
  </p:clrMapOvr>
  <p:transition spd="med"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Shape 232"/>
          <p:cNvSpPr>
            <a:spLocks noGrp="1"/>
          </p:cNvSpPr>
          <p:nvPr>
            <p:ph type="sldNum" sz="quarter" idx="4294967295"/>
          </p:nvPr>
        </p:nvSpPr>
        <p:spPr>
          <a:xfrm>
            <a:off x="8888071" y="6649267"/>
            <a:ext cx="142642" cy="153888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/>
          <a:lstStyle/>
          <a:p>
            <a:fld id="{86CB4B4D-7CA3-9044-876B-883B54F8677D}" type="slidenum">
              <a:rPr/>
              <a:pPr/>
              <a:t>31</a:t>
            </a:fld>
            <a:endParaRPr/>
          </a:p>
        </p:txBody>
      </p:sp>
      <p:sp>
        <p:nvSpPr>
          <p:cNvPr id="233" name="Shape 233"/>
          <p:cNvSpPr>
            <a:spLocks noGrp="1"/>
          </p:cNvSpPr>
          <p:nvPr>
            <p:ph type="title"/>
          </p:nvPr>
        </p:nvSpPr>
        <p:spPr>
          <a:xfrm>
            <a:off x="121490" y="358642"/>
            <a:ext cx="6916719" cy="430891"/>
          </a:xfrm>
          <a:prstGeom prst="rect">
            <a:avLst/>
          </a:prstGeom>
        </p:spPr>
        <p:txBody>
          <a:bodyPr/>
          <a:lstStyle>
            <a:lvl1pPr defTabSz="831307">
              <a:tabLst>
                <a:tab pos="317500" algn="l"/>
              </a:tabLst>
              <a:defRPr sz="2500" b="0">
                <a:solidFill>
                  <a:srgbClr val="65942C"/>
                </a:solidFill>
                <a:latin typeface="Arial Unicode MS"/>
                <a:ea typeface="Arial Unicode MS"/>
                <a:cs typeface="Arial Unicode MS"/>
                <a:sym typeface="Arial Unicode MS"/>
              </a:defRPr>
            </a:lvl1pPr>
          </a:lstStyle>
          <a:p>
            <a:r>
              <a:t>Обязанности и задачи</a:t>
            </a:r>
          </a:p>
        </p:txBody>
      </p:sp>
      <p:sp>
        <p:nvSpPr>
          <p:cNvPr id="234" name="Shape 234"/>
          <p:cNvSpPr/>
          <p:nvPr/>
        </p:nvSpPr>
        <p:spPr>
          <a:xfrm>
            <a:off x="3695273" y="1129117"/>
            <a:ext cx="5269215" cy="642758"/>
          </a:xfrm>
          <a:prstGeom prst="rect">
            <a:avLst/>
          </a:prstGeom>
          <a:solidFill>
            <a:srgbClr val="FFFFFF"/>
          </a:solidFill>
          <a:ln w="25400">
            <a:solidFill>
              <a:schemeClr val="accent2"/>
            </a:solidFill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>
            <a:lvl1pPr marL="285750" indent="-285750">
              <a:buSzPct val="100000"/>
              <a:buFont typeface="Wingdings"/>
              <a:buChar char="✓"/>
              <a:defRPr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hangingPunct="0"/>
            <a:r>
              <a:rPr kern="0">
                <a:solidFill>
                  <a:srgbClr val="000000"/>
                </a:solidFill>
              </a:rPr>
              <a:t>формирование приказов на зачисление слушателей программ</a:t>
            </a:r>
          </a:p>
        </p:txBody>
      </p:sp>
      <p:sp>
        <p:nvSpPr>
          <p:cNvPr id="235" name="Shape 235"/>
          <p:cNvSpPr/>
          <p:nvPr/>
        </p:nvSpPr>
        <p:spPr>
          <a:xfrm>
            <a:off x="198884" y="1868832"/>
            <a:ext cx="6966109" cy="923326"/>
          </a:xfrm>
          <a:prstGeom prst="rect">
            <a:avLst/>
          </a:prstGeom>
          <a:solidFill>
            <a:srgbClr val="FFFFFF"/>
          </a:solidFill>
          <a:ln w="25400">
            <a:solidFill>
              <a:schemeClr val="accent1"/>
            </a:solidFill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>
            <a:lvl1pPr marL="285750" indent="-285750">
              <a:buSzPct val="100000"/>
              <a:buFont typeface="Wingdings"/>
              <a:buChar char="✓"/>
              <a:defRPr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hangingPunct="0"/>
            <a:r>
              <a:rPr kern="0">
                <a:solidFill>
                  <a:srgbClr val="000000"/>
                </a:solidFill>
              </a:rPr>
              <a:t>Подготовка и размещение на электронных носителях (видеостена, информационные стенды, айпады) стандартной информации о мероприятиях</a:t>
            </a:r>
          </a:p>
        </p:txBody>
      </p:sp>
      <p:sp>
        <p:nvSpPr>
          <p:cNvPr id="236" name="Shape 236"/>
          <p:cNvSpPr/>
          <p:nvPr/>
        </p:nvSpPr>
        <p:spPr>
          <a:xfrm>
            <a:off x="1885250" y="3008591"/>
            <a:ext cx="7047894" cy="376059"/>
          </a:xfrm>
          <a:prstGeom prst="rect">
            <a:avLst/>
          </a:prstGeom>
          <a:solidFill>
            <a:srgbClr val="FFFFFF"/>
          </a:solidFill>
          <a:ln w="25400">
            <a:solidFill>
              <a:schemeClr val="accent2"/>
            </a:solidFill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>
            <a:lvl1pPr marL="285750" indent="-285750">
              <a:buSzPct val="100000"/>
              <a:buFont typeface="Wingdings"/>
              <a:buChar char="✓"/>
              <a:defRPr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hangingPunct="0"/>
            <a:r>
              <a:rPr kern="0">
                <a:solidFill>
                  <a:srgbClr val="000000"/>
                </a:solidFill>
              </a:rPr>
              <a:t>Создание дайджеста для программы дизайн-мышления</a:t>
            </a:r>
          </a:p>
        </p:txBody>
      </p:sp>
      <p:sp>
        <p:nvSpPr>
          <p:cNvPr id="237" name="Shape 237"/>
          <p:cNvSpPr/>
          <p:nvPr/>
        </p:nvSpPr>
        <p:spPr>
          <a:xfrm>
            <a:off x="91756" y="3607033"/>
            <a:ext cx="8764112" cy="642759"/>
          </a:xfrm>
          <a:prstGeom prst="rect">
            <a:avLst/>
          </a:prstGeom>
          <a:solidFill>
            <a:srgbClr val="FFFFFF"/>
          </a:solidFill>
          <a:ln w="25400">
            <a:solidFill>
              <a:schemeClr val="accent1"/>
            </a:solidFill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>
            <a:lvl1pPr marL="285750" indent="-285750">
              <a:buSzPct val="100000"/>
              <a:buFont typeface="Wingdings"/>
              <a:buChar char="✓"/>
              <a:defRPr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hangingPunct="0"/>
            <a:r>
              <a:rPr kern="0">
                <a:solidFill>
                  <a:srgbClr val="000000"/>
                </a:solidFill>
              </a:rPr>
              <a:t>- Помощь в реализации программ в соответствии со стандартом организации программ и мероприятий в Кампусе</a:t>
            </a:r>
          </a:p>
        </p:txBody>
      </p:sp>
      <p:sp>
        <p:nvSpPr>
          <p:cNvPr id="238" name="Shape 238"/>
          <p:cNvSpPr/>
          <p:nvPr/>
        </p:nvSpPr>
        <p:spPr>
          <a:xfrm>
            <a:off x="1897950" y="4351551"/>
            <a:ext cx="7047894" cy="642758"/>
          </a:xfrm>
          <a:prstGeom prst="rect">
            <a:avLst/>
          </a:prstGeom>
          <a:solidFill>
            <a:srgbClr val="FFFFFF"/>
          </a:solidFill>
          <a:ln w="25400">
            <a:solidFill>
              <a:schemeClr val="accent2"/>
            </a:solidFill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>
            <a:lvl1pPr marL="285750" indent="-285750">
              <a:buSzPct val="100000"/>
              <a:buFont typeface="Wingdings"/>
              <a:buChar char="✓"/>
              <a:defRPr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hangingPunct="0"/>
            <a:r>
              <a:rPr kern="0">
                <a:solidFill>
                  <a:srgbClr val="000000"/>
                </a:solidFill>
              </a:rPr>
              <a:t>Статистический анализ результатов анкет обратной связи от слушателей программ «от Инсайтов к инновациям»</a:t>
            </a:r>
          </a:p>
        </p:txBody>
      </p:sp>
      <p:sp>
        <p:nvSpPr>
          <p:cNvPr id="239" name="Shape 239"/>
          <p:cNvSpPr/>
          <p:nvPr/>
        </p:nvSpPr>
        <p:spPr>
          <a:xfrm>
            <a:off x="72014" y="5123493"/>
            <a:ext cx="6353829" cy="376058"/>
          </a:xfrm>
          <a:prstGeom prst="rect">
            <a:avLst/>
          </a:prstGeom>
          <a:solidFill>
            <a:srgbClr val="FFFFFF"/>
          </a:solidFill>
          <a:ln w="25400">
            <a:solidFill>
              <a:schemeClr val="accent1"/>
            </a:solidFill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>
            <a:lvl1pPr marL="285750" indent="-285750">
              <a:buSzPct val="100000"/>
              <a:buFont typeface="Wingdings"/>
              <a:buChar char="✓"/>
              <a:defRPr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hangingPunct="0"/>
            <a:r>
              <a:rPr kern="0">
                <a:solidFill>
                  <a:srgbClr val="000000"/>
                </a:solidFill>
              </a:rPr>
              <a:t>участие в фокус-группах на стадии тестирования</a:t>
            </a:r>
          </a:p>
        </p:txBody>
      </p:sp>
      <p:pic>
        <p:nvPicPr>
          <p:cNvPr id="240" name="image5.jpe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267347" y="908720"/>
            <a:ext cx="1001943" cy="828168"/>
          </a:xfrm>
          <a:prstGeom prst="rect">
            <a:avLst/>
          </a:prstGeom>
          <a:ln w="12700">
            <a:miter lim="400000"/>
          </a:ln>
        </p:spPr>
      </p:pic>
      <p:pic>
        <p:nvPicPr>
          <p:cNvPr id="241" name="image6.jpe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304906" y="2810406"/>
            <a:ext cx="926826" cy="772356"/>
          </a:xfrm>
          <a:prstGeom prst="rect">
            <a:avLst/>
          </a:prstGeom>
          <a:ln w="12700">
            <a:miter lim="400000"/>
          </a:ln>
        </p:spPr>
      </p:pic>
      <p:pic>
        <p:nvPicPr>
          <p:cNvPr id="242" name="image7.jpeg" descr="Без названия.jpg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7414340" y="1916401"/>
            <a:ext cx="1346145" cy="882481"/>
          </a:xfrm>
          <a:prstGeom prst="rect">
            <a:avLst/>
          </a:prstGeom>
          <a:ln w="12700">
            <a:miter lim="400000"/>
          </a:ln>
        </p:spPr>
      </p:pic>
      <p:sp>
        <p:nvSpPr>
          <p:cNvPr id="243" name="Shape 243"/>
          <p:cNvSpPr/>
          <p:nvPr/>
        </p:nvSpPr>
        <p:spPr>
          <a:xfrm>
            <a:off x="72034" y="6373259"/>
            <a:ext cx="8318635" cy="376058"/>
          </a:xfrm>
          <a:prstGeom prst="rect">
            <a:avLst/>
          </a:prstGeom>
          <a:solidFill>
            <a:srgbClr val="FFFFFF"/>
          </a:solidFill>
          <a:ln w="25400">
            <a:solidFill>
              <a:schemeClr val="accent1"/>
            </a:solidFill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>
            <a:lvl1pPr marL="285750" indent="-285750">
              <a:buSzPct val="100000"/>
              <a:buFont typeface="Wingdings"/>
              <a:buChar char="✓"/>
              <a:defRPr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hangingPunct="0"/>
            <a:r>
              <a:rPr kern="0">
                <a:solidFill>
                  <a:srgbClr val="000000"/>
                </a:solidFill>
              </a:rPr>
              <a:t>Составление и обработка анкет обратной связи по программе </a:t>
            </a:r>
          </a:p>
        </p:txBody>
      </p:sp>
      <p:sp>
        <p:nvSpPr>
          <p:cNvPr id="244" name="Shape 244"/>
          <p:cNvSpPr/>
          <p:nvPr/>
        </p:nvSpPr>
        <p:spPr>
          <a:xfrm>
            <a:off x="1851723" y="5599279"/>
            <a:ext cx="6952427" cy="646327"/>
          </a:xfrm>
          <a:prstGeom prst="rect">
            <a:avLst/>
          </a:prstGeom>
          <a:solidFill>
            <a:srgbClr val="FFFFFF"/>
          </a:solidFill>
          <a:ln w="25400">
            <a:solidFill>
              <a:schemeClr val="accent2"/>
            </a:solidFill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>
            <a:lvl1pPr marL="285750" indent="-285750">
              <a:buSzPct val="100000"/>
              <a:buFont typeface="Wingdings"/>
              <a:buChar char="✓"/>
              <a:defRPr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hangingPunct="0"/>
            <a:r>
              <a:rPr kern="0">
                <a:solidFill>
                  <a:srgbClr val="000000"/>
                </a:solidFill>
              </a:rPr>
              <a:t>Формирование списков слушателей и зачисление их через систему АСПК</a:t>
            </a:r>
          </a:p>
        </p:txBody>
      </p:sp>
    </p:spTree>
    <p:extLst>
      <p:ext uri="{BB962C8B-B14F-4D97-AF65-F5344CB8AC3E}">
        <p14:creationId xmlns:p14="http://schemas.microsoft.com/office/powerpoint/2010/main" val="3324000105"/>
      </p:ext>
    </p:extLst>
  </p:cSld>
  <p:clrMapOvr>
    <a:masterClrMapping/>
  </p:clrMapOvr>
  <p:transition spd="med"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" name="Shape 246"/>
          <p:cNvSpPr>
            <a:spLocks noGrp="1"/>
          </p:cNvSpPr>
          <p:nvPr>
            <p:ph type="body" sz="quarter" idx="1"/>
          </p:nvPr>
        </p:nvSpPr>
        <p:spPr>
          <a:xfrm>
            <a:off x="3094330" y="1426636"/>
            <a:ext cx="5814482" cy="482161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</a:lstStyle>
          <a:p>
            <a:r>
              <a:rPr dirty="0"/>
              <a:t>Курсы повышения квалификации: а судьи кто?</a:t>
            </a:r>
          </a:p>
        </p:txBody>
      </p:sp>
      <p:sp>
        <p:nvSpPr>
          <p:cNvPr id="247" name="Shape 247"/>
          <p:cNvSpPr>
            <a:spLocks noGrp="1"/>
          </p:cNvSpPr>
          <p:nvPr>
            <p:ph type="body" idx="13"/>
          </p:nvPr>
        </p:nvSpPr>
        <p:spPr>
          <a:xfrm>
            <a:off x="3872742" y="1818250"/>
            <a:ext cx="5293643" cy="569715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/>
          <a:lstStyle/>
          <a:p>
            <a:pPr>
              <a:defRPr i="1">
                <a:latin typeface="Times New Roman"/>
                <a:ea typeface="Times New Roman"/>
                <a:cs typeface="Times New Roman"/>
                <a:sym typeface="Times New Roman"/>
              </a:defRPr>
            </a:pPr>
            <a:r>
              <a:t>Эффективно?</a:t>
            </a:r>
          </a:p>
          <a:p>
            <a:pPr>
              <a:defRPr i="1">
                <a:latin typeface="Times New Roman"/>
                <a:ea typeface="Times New Roman"/>
                <a:cs typeface="Times New Roman"/>
                <a:sym typeface="Times New Roman"/>
              </a:defRPr>
            </a:pPr>
            <a:r>
              <a:t>Стоит ли это тех ресурсов, что на неё затрачиваются? </a:t>
            </a:r>
          </a:p>
        </p:txBody>
      </p:sp>
      <p:grpSp>
        <p:nvGrpSpPr>
          <p:cNvPr id="250" name="Group 250"/>
          <p:cNvGrpSpPr/>
          <p:nvPr/>
        </p:nvGrpSpPr>
        <p:grpSpPr>
          <a:xfrm>
            <a:off x="3800736" y="2541486"/>
            <a:ext cx="3092344" cy="415425"/>
            <a:chOff x="0" y="0"/>
            <a:chExt cx="3092342" cy="415424"/>
          </a:xfrm>
        </p:grpSpPr>
        <p:sp>
          <p:nvSpPr>
            <p:cNvPr id="248" name="Shape 248"/>
            <p:cNvSpPr/>
            <p:nvPr/>
          </p:nvSpPr>
          <p:spPr>
            <a:xfrm>
              <a:off x="-1" y="-1"/>
              <a:ext cx="3092344" cy="415426"/>
            </a:xfrm>
            <a:prstGeom prst="rect">
              <a:avLst/>
            </a:prstGeom>
            <a:solidFill>
              <a:srgbClr val="FFFFFF"/>
            </a:solidFill>
            <a:ln w="25400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hangingPunct="0">
                <a:defRPr>
                  <a:latin typeface="+mj-lt"/>
                  <a:ea typeface="+mj-ea"/>
                  <a:cs typeface="+mj-cs"/>
                  <a:sym typeface="Helvetica"/>
                </a:defRPr>
              </a:pPr>
              <a:endParaRPr kern="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endParaRPr>
            </a:p>
          </p:txBody>
        </p:sp>
        <p:sp>
          <p:nvSpPr>
            <p:cNvPr id="249" name="Shape 249"/>
            <p:cNvSpPr/>
            <p:nvPr/>
          </p:nvSpPr>
          <p:spPr>
            <a:xfrm>
              <a:off x="-1" y="22294"/>
              <a:ext cx="3092344" cy="37083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8" tIns="45718" rIns="45718" bIns="45718" numCol="1" anchor="ctr">
              <a:spAutoFit/>
            </a:bodyPr>
            <a:lstStyle>
              <a:lvl1pPr>
                <a:defRPr>
                  <a:latin typeface="+mj-lt"/>
                  <a:ea typeface="+mj-ea"/>
                  <a:cs typeface="+mj-cs"/>
                  <a:sym typeface="Helvetica"/>
                </a:defRPr>
              </a:lvl1pPr>
            </a:lstStyle>
            <a:p>
              <a:pPr hangingPunct="0"/>
              <a:r>
                <a:rPr kern="0">
                  <a:solidFill>
                    <a:srgbClr val="000000"/>
                  </a:solidFill>
                  <a:latin typeface="Helvetica"/>
                  <a:ea typeface="Helvetica"/>
                  <a:cs typeface="Helvetica"/>
                </a:rPr>
                <a:t>Кто оценивает результат?</a:t>
              </a:r>
            </a:p>
          </p:txBody>
        </p:sp>
      </p:grpSp>
      <p:grpSp>
        <p:nvGrpSpPr>
          <p:cNvPr id="253" name="Group 253"/>
          <p:cNvGrpSpPr/>
          <p:nvPr/>
        </p:nvGrpSpPr>
        <p:grpSpPr>
          <a:xfrm>
            <a:off x="4195632" y="3317590"/>
            <a:ext cx="3092344" cy="415425"/>
            <a:chOff x="0" y="0"/>
            <a:chExt cx="3092343" cy="415424"/>
          </a:xfrm>
        </p:grpSpPr>
        <p:sp>
          <p:nvSpPr>
            <p:cNvPr id="251" name="Shape 251"/>
            <p:cNvSpPr/>
            <p:nvPr/>
          </p:nvSpPr>
          <p:spPr>
            <a:xfrm>
              <a:off x="-1" y="-1"/>
              <a:ext cx="3092345" cy="415426"/>
            </a:xfrm>
            <a:prstGeom prst="rect">
              <a:avLst/>
            </a:prstGeom>
            <a:solidFill>
              <a:srgbClr val="FFFFFF"/>
            </a:solidFill>
            <a:ln w="25400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hangingPunct="0">
                <a:defRPr>
                  <a:latin typeface="+mj-lt"/>
                  <a:ea typeface="+mj-ea"/>
                  <a:cs typeface="+mj-cs"/>
                  <a:sym typeface="Helvetica"/>
                </a:defRPr>
              </a:pPr>
              <a:endParaRPr kern="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endParaRPr>
            </a:p>
          </p:txBody>
        </p:sp>
        <p:sp>
          <p:nvSpPr>
            <p:cNvPr id="252" name="Shape 252"/>
            <p:cNvSpPr/>
            <p:nvPr/>
          </p:nvSpPr>
          <p:spPr>
            <a:xfrm>
              <a:off x="-1" y="22294"/>
              <a:ext cx="3092345" cy="37083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8" tIns="45718" rIns="45718" bIns="45718" numCol="1" anchor="ctr">
              <a:spAutoFit/>
            </a:bodyPr>
            <a:lstStyle>
              <a:lvl1pPr>
                <a:defRPr>
                  <a:latin typeface="+mj-lt"/>
                  <a:ea typeface="+mj-ea"/>
                  <a:cs typeface="+mj-cs"/>
                  <a:sym typeface="Helvetica"/>
                </a:defRPr>
              </a:lvl1pPr>
            </a:lstStyle>
            <a:p>
              <a:pPr hangingPunct="0"/>
              <a:r>
                <a:rPr kern="0">
                  <a:solidFill>
                    <a:srgbClr val="000000"/>
                  </a:solidFill>
                  <a:latin typeface="Helvetica"/>
                  <a:ea typeface="Helvetica"/>
                  <a:cs typeface="Helvetica"/>
                </a:rPr>
                <a:t>Сама учебная организация</a:t>
              </a:r>
            </a:p>
          </p:txBody>
        </p:sp>
      </p:grpSp>
      <p:grpSp>
        <p:nvGrpSpPr>
          <p:cNvPr id="256" name="Group 256"/>
          <p:cNvGrpSpPr/>
          <p:nvPr/>
        </p:nvGrpSpPr>
        <p:grpSpPr>
          <a:xfrm>
            <a:off x="4538626" y="4093769"/>
            <a:ext cx="3092344" cy="415425"/>
            <a:chOff x="0" y="0"/>
            <a:chExt cx="3092343" cy="415424"/>
          </a:xfrm>
        </p:grpSpPr>
        <p:sp>
          <p:nvSpPr>
            <p:cNvPr id="254" name="Shape 254"/>
            <p:cNvSpPr/>
            <p:nvPr/>
          </p:nvSpPr>
          <p:spPr>
            <a:xfrm>
              <a:off x="-1" y="-1"/>
              <a:ext cx="3092345" cy="415426"/>
            </a:xfrm>
            <a:prstGeom prst="rect">
              <a:avLst/>
            </a:prstGeom>
            <a:solidFill>
              <a:srgbClr val="FFFFFF"/>
            </a:solidFill>
            <a:ln w="25400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hangingPunct="0">
                <a:defRPr>
                  <a:latin typeface="+mj-lt"/>
                  <a:ea typeface="+mj-ea"/>
                  <a:cs typeface="+mj-cs"/>
                  <a:sym typeface="Helvetica"/>
                </a:defRPr>
              </a:pPr>
              <a:endParaRPr kern="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endParaRPr>
            </a:p>
          </p:txBody>
        </p:sp>
        <p:sp>
          <p:nvSpPr>
            <p:cNvPr id="255" name="Shape 255"/>
            <p:cNvSpPr/>
            <p:nvPr/>
          </p:nvSpPr>
          <p:spPr>
            <a:xfrm>
              <a:off x="-1" y="22294"/>
              <a:ext cx="3092345" cy="37083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8" tIns="45718" rIns="45718" bIns="45718" numCol="1" anchor="ctr">
              <a:spAutoFit/>
            </a:bodyPr>
            <a:lstStyle>
              <a:lvl1pPr>
                <a:defRPr>
                  <a:latin typeface="+mj-lt"/>
                  <a:ea typeface="+mj-ea"/>
                  <a:cs typeface="+mj-cs"/>
                  <a:sym typeface="Helvetica"/>
                </a:defRPr>
              </a:lvl1pPr>
            </a:lstStyle>
            <a:p>
              <a:pPr hangingPunct="0"/>
              <a:r>
                <a:rPr kern="0">
                  <a:solidFill>
                    <a:srgbClr val="000000"/>
                  </a:solidFill>
                  <a:latin typeface="Helvetica"/>
                  <a:ea typeface="Helvetica"/>
                  <a:cs typeface="Helvetica"/>
                </a:rPr>
                <a:t>Заинтересованная сторона</a:t>
              </a:r>
            </a:p>
          </p:txBody>
        </p:sp>
      </p:grpSp>
      <p:grpSp>
        <p:nvGrpSpPr>
          <p:cNvPr id="259" name="Group 259"/>
          <p:cNvGrpSpPr/>
          <p:nvPr/>
        </p:nvGrpSpPr>
        <p:grpSpPr>
          <a:xfrm>
            <a:off x="4867197" y="4869912"/>
            <a:ext cx="3622024" cy="415425"/>
            <a:chOff x="0" y="0"/>
            <a:chExt cx="3622023" cy="415424"/>
          </a:xfrm>
        </p:grpSpPr>
        <p:sp>
          <p:nvSpPr>
            <p:cNvPr id="257" name="Shape 257"/>
            <p:cNvSpPr/>
            <p:nvPr/>
          </p:nvSpPr>
          <p:spPr>
            <a:xfrm>
              <a:off x="-1" y="-1"/>
              <a:ext cx="3622025" cy="415426"/>
            </a:xfrm>
            <a:prstGeom prst="rect">
              <a:avLst/>
            </a:prstGeom>
            <a:solidFill>
              <a:srgbClr val="FFFFFF"/>
            </a:solidFill>
            <a:ln w="25400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hangingPunct="0">
                <a:defRPr>
                  <a:latin typeface="+mj-lt"/>
                  <a:ea typeface="+mj-ea"/>
                  <a:cs typeface="+mj-cs"/>
                  <a:sym typeface="Helvetica"/>
                </a:defRPr>
              </a:pPr>
              <a:endParaRPr kern="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endParaRPr>
            </a:p>
          </p:txBody>
        </p:sp>
        <p:sp>
          <p:nvSpPr>
            <p:cNvPr id="258" name="Shape 258"/>
            <p:cNvSpPr/>
            <p:nvPr/>
          </p:nvSpPr>
          <p:spPr>
            <a:xfrm>
              <a:off x="-1" y="22294"/>
              <a:ext cx="3622025" cy="37083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8" tIns="45718" rIns="45718" bIns="45718" numCol="1" anchor="ctr">
              <a:spAutoFit/>
            </a:bodyPr>
            <a:lstStyle>
              <a:lvl1pPr>
                <a:defRPr>
                  <a:latin typeface="+mj-lt"/>
                  <a:ea typeface="+mj-ea"/>
                  <a:cs typeface="+mj-cs"/>
                  <a:sym typeface="Helvetica"/>
                </a:defRPr>
              </a:lvl1pPr>
            </a:lstStyle>
            <a:p>
              <a:pPr hangingPunct="0"/>
              <a:r>
                <a:rPr kern="0">
                  <a:solidFill>
                    <a:srgbClr val="000000"/>
                  </a:solidFill>
                  <a:latin typeface="Helvetica"/>
                  <a:ea typeface="Helvetica"/>
                  <a:cs typeface="Helvetica"/>
                </a:rPr>
                <a:t>Высокие показатели на выходе</a:t>
              </a:r>
            </a:p>
          </p:txBody>
        </p:sp>
      </p:grpSp>
      <p:grpSp>
        <p:nvGrpSpPr>
          <p:cNvPr id="262" name="Group 262"/>
          <p:cNvGrpSpPr/>
          <p:nvPr/>
        </p:nvGrpSpPr>
        <p:grpSpPr>
          <a:xfrm>
            <a:off x="6790823" y="5646053"/>
            <a:ext cx="1683819" cy="415425"/>
            <a:chOff x="0" y="0"/>
            <a:chExt cx="1683817" cy="415424"/>
          </a:xfrm>
        </p:grpSpPr>
        <p:sp>
          <p:nvSpPr>
            <p:cNvPr id="260" name="Shape 260"/>
            <p:cNvSpPr/>
            <p:nvPr/>
          </p:nvSpPr>
          <p:spPr>
            <a:xfrm>
              <a:off x="0" y="-1"/>
              <a:ext cx="1683818" cy="415426"/>
            </a:xfrm>
            <a:prstGeom prst="rect">
              <a:avLst/>
            </a:prstGeom>
            <a:solidFill>
              <a:srgbClr val="FFFFFF"/>
            </a:solidFill>
            <a:ln w="25400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hangingPunct="0">
                <a:defRPr>
                  <a:latin typeface="+mj-lt"/>
                  <a:ea typeface="+mj-ea"/>
                  <a:cs typeface="+mj-cs"/>
                  <a:sym typeface="Helvetica"/>
                </a:defRPr>
              </a:pPr>
              <a:endParaRPr kern="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endParaRPr>
            </a:p>
          </p:txBody>
        </p:sp>
        <p:sp>
          <p:nvSpPr>
            <p:cNvPr id="261" name="Shape 261"/>
            <p:cNvSpPr/>
            <p:nvPr/>
          </p:nvSpPr>
          <p:spPr>
            <a:xfrm>
              <a:off x="0" y="22294"/>
              <a:ext cx="1683818" cy="37083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8" tIns="45718" rIns="45718" bIns="45718" numCol="1" anchor="ctr">
              <a:spAutoFit/>
            </a:bodyPr>
            <a:lstStyle>
              <a:lvl1pPr>
                <a:defRPr>
                  <a:latin typeface="+mj-lt"/>
                  <a:ea typeface="+mj-ea"/>
                  <a:cs typeface="+mj-cs"/>
                  <a:sym typeface="Helvetica"/>
                </a:defRPr>
              </a:lvl1pPr>
            </a:lstStyle>
            <a:p>
              <a:pPr hangingPunct="0"/>
              <a:r>
                <a:rPr kern="0">
                  <a:solidFill>
                    <a:srgbClr val="000000"/>
                  </a:solidFill>
                  <a:latin typeface="Helvetica"/>
                  <a:ea typeface="Helvetica"/>
                  <a:cs typeface="Helvetica"/>
                </a:rPr>
                <a:t>Все довольны</a:t>
              </a:r>
            </a:p>
          </p:txBody>
        </p:sp>
      </p:grpSp>
      <p:sp>
        <p:nvSpPr>
          <p:cNvPr id="263" name="Shape 263"/>
          <p:cNvSpPr/>
          <p:nvPr/>
        </p:nvSpPr>
        <p:spPr>
          <a:xfrm>
            <a:off x="2903640" y="5494651"/>
            <a:ext cx="3367750" cy="718152"/>
          </a:xfrm>
          <a:prstGeom prst="rightArrow">
            <a:avLst>
              <a:gd name="adj1" fmla="val 32000"/>
              <a:gd name="adj2" fmla="val 111710"/>
            </a:avLst>
          </a:prstGeom>
          <a:solidFill>
            <a:srgbClr val="FFFFFF"/>
          </a:solidFill>
          <a:ln w="25400">
            <a:solidFill>
              <a:schemeClr val="accent1"/>
            </a:solidFill>
          </a:ln>
        </p:spPr>
        <p:txBody>
          <a:bodyPr lIns="45718" tIns="45718" rIns="45718" bIns="45718" anchor="ctr"/>
          <a:lstStyle/>
          <a:p>
            <a:pPr hangingPunct="0">
              <a:defRPr>
                <a:latin typeface="+mj-lt"/>
                <a:ea typeface="+mj-ea"/>
                <a:cs typeface="+mj-cs"/>
                <a:sym typeface="Helvetica"/>
              </a:defRPr>
            </a:pPr>
            <a:endParaRPr kern="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498686970"/>
      </p:ext>
    </p:extLst>
  </p:cSld>
  <p:clrMapOvr>
    <a:masterClrMapping/>
  </p:clrMapOvr>
  <p:transition spd="med"/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Shape 265"/>
          <p:cNvSpPr>
            <a:spLocks noGrp="1"/>
          </p:cNvSpPr>
          <p:nvPr>
            <p:ph type="title"/>
          </p:nvPr>
        </p:nvSpPr>
        <p:spPr>
          <a:xfrm>
            <a:off x="899593" y="2996953"/>
            <a:ext cx="7342166" cy="1292665"/>
          </a:xfrm>
          <a:prstGeom prst="rect">
            <a:avLst/>
          </a:prstGeom>
        </p:spPr>
        <p:txBody>
          <a:bodyPr/>
          <a:lstStyle/>
          <a:p>
            <a:pPr>
              <a:defRPr sz="2800" b="0"/>
            </a:pPr>
            <a:r>
              <a:t>Производственная практика в </a:t>
            </a:r>
          </a:p>
          <a:p>
            <a:pPr>
              <a:defRPr sz="2800" b="0"/>
            </a:pPr>
            <a:r>
              <a:t>АНО ДПО </a:t>
            </a:r>
          </a:p>
          <a:p>
            <a:pPr>
              <a:defRPr sz="2800" b="0"/>
            </a:pPr>
            <a:r>
              <a:t>«Корпоративный университет Сбербанка»</a:t>
            </a:r>
          </a:p>
        </p:txBody>
      </p:sp>
      <p:sp>
        <p:nvSpPr>
          <p:cNvPr id="266" name="Shape 266"/>
          <p:cNvSpPr>
            <a:spLocks noGrp="1"/>
          </p:cNvSpPr>
          <p:nvPr>
            <p:ph type="body" sz="quarter" idx="1"/>
          </p:nvPr>
        </p:nvSpPr>
        <p:spPr>
          <a:xfrm>
            <a:off x="7165910" y="5743378"/>
            <a:ext cx="3084546" cy="738667"/>
          </a:xfrm>
          <a:prstGeom prst="rect">
            <a:avLst/>
          </a:prstGeom>
        </p:spPr>
        <p:txBody>
          <a:bodyPr/>
          <a:lstStyle/>
          <a:p>
            <a:pPr>
              <a:defRPr sz="1600" b="0" i="1"/>
            </a:pPr>
            <a:r>
              <a:t>Ухин Валентин</a:t>
            </a:r>
          </a:p>
          <a:p>
            <a:pPr>
              <a:defRPr sz="1600" b="0" i="1"/>
            </a:pPr>
            <a:r>
              <a:t>Студент 4 курса</a:t>
            </a:r>
          </a:p>
          <a:p>
            <a:pPr>
              <a:defRPr sz="1600" b="0" i="1"/>
            </a:pPr>
            <a:r>
              <a:t>ФМБДА ИБДА</a:t>
            </a:r>
          </a:p>
        </p:txBody>
      </p:sp>
    </p:spTree>
    <p:extLst>
      <p:ext uri="{BB962C8B-B14F-4D97-AF65-F5344CB8AC3E}">
        <p14:creationId xmlns:p14="http://schemas.microsoft.com/office/powerpoint/2010/main" val="79370241"/>
      </p:ext>
    </p:extLst>
  </p:cSld>
  <p:clrMapOvr>
    <a:masterClrMapping/>
  </p:clrMapOvr>
  <p:transition spd="med"/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95535" y="1"/>
            <a:ext cx="7673765" cy="1079500"/>
          </a:xfrm>
        </p:spPr>
        <p:txBody>
          <a:bodyPr>
            <a:noAutofit/>
          </a:bodyPr>
          <a:lstStyle/>
          <a:p>
            <a:r>
              <a:rPr lang="ru-RU" sz="40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Портрет «уставшей» компании в интерьере</a:t>
            </a:r>
            <a:endParaRPr lang="ru-RU" sz="4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34343D-424D-479E-A25B-CEA996702F2B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34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pic>
        <p:nvPicPr>
          <p:cNvPr id="5126" name="Picture 6" descr="Картинки по запросу question mark 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3954" y="3327256"/>
            <a:ext cx="251152" cy="552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6" descr="Картинки по запросу question mark 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2752" y="3603625"/>
            <a:ext cx="251152" cy="552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488" y="1079501"/>
            <a:ext cx="4420618" cy="5495992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089312" y="4871026"/>
            <a:ext cx="31369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400" b="1" dirty="0" smtClean="0"/>
              <a:t>Субботина Мария</a:t>
            </a:r>
          </a:p>
          <a:p>
            <a:pPr algn="r"/>
            <a:r>
              <a:rPr lang="ru-RU" sz="2400" i="1" dirty="0" smtClean="0"/>
              <a:t>4 курс УП</a:t>
            </a:r>
            <a:endParaRPr lang="ru-RU" sz="2400" i="1" dirty="0"/>
          </a:p>
        </p:txBody>
      </p:sp>
    </p:spTree>
    <p:extLst>
      <p:ext uri="{BB962C8B-B14F-4D97-AF65-F5344CB8AC3E}">
        <p14:creationId xmlns:p14="http://schemas.microsoft.com/office/powerpoint/2010/main" val="137910365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/>
          <a:srcRect l="2935" t="20978" r="33495" b="14678"/>
          <a:stretch/>
        </p:blipFill>
        <p:spPr>
          <a:xfrm>
            <a:off x="0" y="3"/>
            <a:ext cx="9144000" cy="6858001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481931"/>
            <a:ext cx="7886700" cy="1325563"/>
          </a:xfrm>
        </p:spPr>
        <p:txBody>
          <a:bodyPr>
            <a:normAutofit/>
          </a:bodyPr>
          <a:lstStyle/>
          <a:p>
            <a:r>
              <a:rPr lang="ru-RU" sz="4000" dirty="0" smtClean="0"/>
              <a:t>О компании</a:t>
            </a:r>
            <a:endParaRPr lang="ru-RU" sz="4000" dirty="0"/>
          </a:p>
        </p:txBody>
      </p:sp>
      <p:sp>
        <p:nvSpPr>
          <p:cNvPr id="7" name="TextBox 6"/>
          <p:cNvSpPr txBox="1"/>
          <p:nvPr/>
        </p:nvSpPr>
        <p:spPr>
          <a:xfrm>
            <a:off x="5356523" y="2317031"/>
            <a:ext cx="3158837" cy="646331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олее 200 000 000 клиентов в мире</a:t>
            </a:r>
            <a:endParaRPr lang="ru-RU" b="1" dirty="0">
              <a:solidFill>
                <a:schemeClr val="tx1">
                  <a:lumMod val="65000"/>
                  <a:lumOff val="3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999390" y="481931"/>
            <a:ext cx="4187537" cy="369332"/>
          </a:xfrm>
          <a:prstGeom prst="rect">
            <a:avLst/>
          </a:prstGeom>
          <a:ln/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Голландия, Амстердам 1991г.</a:t>
            </a:r>
            <a:endParaRPr lang="ru-RU" b="1" dirty="0">
              <a:solidFill>
                <a:schemeClr val="tx1">
                  <a:lumMod val="65000"/>
                  <a:lumOff val="3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777354" y="1135422"/>
            <a:ext cx="3158837" cy="369332"/>
          </a:xfrm>
          <a:prstGeom prst="rect">
            <a:avLst/>
          </a:prstGeom>
          <a:noFill/>
          <a:ln/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4 стран мира</a:t>
            </a:r>
            <a:endParaRPr lang="ru-RU" b="1" dirty="0">
              <a:solidFill>
                <a:schemeClr val="tx1">
                  <a:lumMod val="65000"/>
                  <a:lumOff val="3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021292" y="1721054"/>
            <a:ext cx="3158837" cy="369332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5 000 сотрудников</a:t>
            </a:r>
            <a:endParaRPr lang="ru-RU" b="1" dirty="0">
              <a:solidFill>
                <a:schemeClr val="tx1">
                  <a:lumMod val="65000"/>
                  <a:lumOff val="3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992592" y="5837499"/>
            <a:ext cx="3158837" cy="923330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«Билайн»: выручка 2</a:t>
            </a:r>
            <a:r>
              <a:rPr lang="en-US" b="1" dirty="0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Q’16 – 66.7 </a:t>
            </a:r>
            <a:r>
              <a:rPr lang="ru-RU" b="1" dirty="0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лрд. руб.</a:t>
            </a:r>
            <a:endParaRPr lang="ru-RU" b="1" dirty="0">
              <a:solidFill>
                <a:schemeClr val="accent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01846" y="3979136"/>
            <a:ext cx="3158837" cy="646331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оп – 4 операторов связи в России</a:t>
            </a:r>
            <a:endParaRPr lang="ru-RU" b="1" dirty="0">
              <a:solidFill>
                <a:schemeClr val="accent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777354" y="4852091"/>
            <a:ext cx="3158837" cy="646331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wrap="square" rtlCol="0">
            <a:spAutoFit/>
          </a:bodyPr>
          <a:lstStyle/>
          <a:p>
            <a:r>
              <a:rPr lang="ru-RU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7 400 000 абонентов в России </a:t>
            </a:r>
            <a:endParaRPr lang="ru-RU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2367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рганизационная диаграмма 51"/>
          <p:cNvGraphicFramePr/>
          <p:nvPr>
            <p:extLst>
              <p:ext uri="{D42A27DB-BD31-4B8C-83A1-F6EECF244321}">
                <p14:modId xmlns:p14="http://schemas.microsoft.com/office/powerpoint/2010/main" val="3805208907"/>
              </p:ext>
            </p:extLst>
          </p:nvPr>
        </p:nvGraphicFramePr>
        <p:xfrm>
          <a:off x="0" y="1215192"/>
          <a:ext cx="9050757" cy="55465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R</a:t>
            </a:r>
            <a:endParaRPr lang="ru-RU" sz="4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7"/>
          <a:srcRect l="16707" t="1273" r="16707" b="4666"/>
          <a:stretch/>
        </p:blipFill>
        <p:spPr>
          <a:xfrm>
            <a:off x="5259502" y="1600702"/>
            <a:ext cx="284460" cy="357186"/>
          </a:xfrm>
          <a:prstGeom prst="rect">
            <a:avLst/>
          </a:prstGeom>
        </p:spPr>
      </p:pic>
      <p:pic>
        <p:nvPicPr>
          <p:cNvPr id="7172" name="Picture 4" descr="Картинки по запросу билайн просто удобно для тебя"/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430" y="2358699"/>
            <a:ext cx="1589948" cy="3905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54688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4000" b="1" dirty="0" smtClean="0"/>
              <a:t>От чего зависит рейтинг?</a:t>
            </a:r>
            <a:endParaRPr lang="ru-RU" sz="4000" b="1" dirty="0"/>
          </a:p>
        </p:txBody>
      </p:sp>
      <p:sp>
        <p:nvSpPr>
          <p:cNvPr id="27" name="Объект 2"/>
          <p:cNvSpPr txBox="1">
            <a:spLocks/>
          </p:cNvSpPr>
          <p:nvPr/>
        </p:nvSpPr>
        <p:spPr>
          <a:xfrm>
            <a:off x="1039091" y="1593225"/>
            <a:ext cx="4679343" cy="425304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ru-RU" sz="3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Поведение компании на рынке</a:t>
            </a:r>
            <a:endParaRPr lang="en-US" sz="3200" b="1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  <a:p>
            <a:pPr marL="0" indent="0">
              <a:lnSpc>
                <a:spcPct val="100000"/>
              </a:lnSpc>
              <a:buNone/>
            </a:pPr>
            <a:endParaRPr lang="en-US" sz="32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ru-RU" sz="3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Размер </a:t>
            </a:r>
            <a:r>
              <a:rPr lang="ru-RU" sz="3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компании</a:t>
            </a:r>
            <a:endParaRPr lang="en-US" sz="3200" b="1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  <a:p>
            <a:pPr marL="0" indent="0">
              <a:lnSpc>
                <a:spcPct val="100000"/>
              </a:lnSpc>
              <a:buNone/>
            </a:pPr>
            <a:endParaRPr lang="en-US" sz="3200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ru-RU" sz="3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Сфера деятельности компании</a:t>
            </a:r>
          </a:p>
          <a:p>
            <a:endParaRPr lang="ru-RU" dirty="0">
              <a:latin typeface="+mj-lt"/>
            </a:endParaRPr>
          </a:p>
          <a:p>
            <a:endParaRPr lang="ru-RU" dirty="0" smtClean="0">
              <a:latin typeface="+mj-lt"/>
            </a:endParaRPr>
          </a:p>
        </p:txBody>
      </p:sp>
      <p:pic>
        <p:nvPicPr>
          <p:cNvPr id="1030" name="Picture 6" descr="Картинки по запросу лупа icon"/>
          <p:cNvPicPr>
            <a:picLocks noChangeArrowheads="1"/>
          </p:cNvPicPr>
          <p:nvPr/>
        </p:nvPicPr>
        <p:blipFill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928834" y="1690260"/>
            <a:ext cx="4067761" cy="4339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318764" y="1857765"/>
            <a:ext cx="720327" cy="647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solidFill>
                  <a:srgbClr val="3AB0C8"/>
                </a:solidFill>
                <a:latin typeface="+mj-lt"/>
              </a:rPr>
              <a:t>01</a:t>
            </a:r>
            <a:endParaRPr lang="ru-RU" sz="3600" b="1" dirty="0">
              <a:solidFill>
                <a:srgbClr val="3AB0C8"/>
              </a:solidFill>
              <a:latin typeface="+mj-lt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18764" y="3334530"/>
            <a:ext cx="720327" cy="648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solidFill>
                  <a:srgbClr val="E74683"/>
                </a:solidFill>
                <a:latin typeface="+mj-lt"/>
              </a:rPr>
              <a:t>02</a:t>
            </a:r>
            <a:endParaRPr lang="ru-RU" sz="3600" b="1" dirty="0">
              <a:solidFill>
                <a:srgbClr val="E74683"/>
              </a:solidFill>
              <a:latin typeface="+mj-lt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18764" y="4811367"/>
            <a:ext cx="720327" cy="647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solidFill>
                  <a:srgbClr val="B31AAB"/>
                </a:solidFill>
                <a:latin typeface="+mj-lt"/>
              </a:rPr>
              <a:t>03</a:t>
            </a:r>
            <a:endParaRPr lang="ru-RU" sz="3600" b="1" dirty="0">
              <a:solidFill>
                <a:srgbClr val="B31AAB"/>
              </a:solidFill>
              <a:latin typeface="+mj-lt"/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1039090" y="3167057"/>
            <a:ext cx="0" cy="1025236"/>
          </a:xfrm>
          <a:prstGeom prst="line">
            <a:avLst/>
          </a:prstGeom>
          <a:ln w="28575" cap="flat" cmpd="sng" algn="ctr">
            <a:solidFill>
              <a:srgbClr val="E7468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>
            <a:off x="1039090" y="1690256"/>
            <a:ext cx="0" cy="1025236"/>
          </a:xfrm>
          <a:prstGeom prst="line">
            <a:avLst/>
          </a:prstGeom>
          <a:ln w="28575" cap="flat" cmpd="sng" algn="ctr">
            <a:solidFill>
              <a:srgbClr val="3AB0C8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>
            <a:off x="1039090" y="4643426"/>
            <a:ext cx="0" cy="1025236"/>
          </a:xfrm>
          <a:prstGeom prst="line">
            <a:avLst/>
          </a:prstGeom>
          <a:ln w="28575" cap="flat" cmpd="sng" algn="ctr">
            <a:solidFill>
              <a:srgbClr val="B31AAB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2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34343D-424D-479E-A25B-CEA996702F2B}" type="slidenum">
              <a:rPr lang="ru-RU" smtClean="0"/>
              <a:t>37</a:t>
            </a:fld>
            <a:endParaRPr lang="ru-RU"/>
          </a:p>
        </p:txBody>
      </p:sp>
      <p:pic>
        <p:nvPicPr>
          <p:cNvPr id="1034" name="Picture 10" descr="Картинки по запросу decrease 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0013" y="2331626"/>
            <a:ext cx="1965638" cy="20058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7954524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4000" b="1" dirty="0" smtClean="0"/>
              <a:t>Причины потери позиций крупными игроками</a:t>
            </a:r>
            <a:endParaRPr lang="ru-RU" sz="4000" b="1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127830" y="2104416"/>
            <a:ext cx="4774208" cy="942109"/>
          </a:xfrm>
        </p:spPr>
        <p:txBody>
          <a:bodyPr>
            <a:normAutofit fontScale="92500" lnSpcReduction="20000"/>
          </a:bodyPr>
          <a:lstStyle/>
          <a:p>
            <a:pPr marL="0" lvl="0" indent="0">
              <a:buNone/>
            </a:pPr>
            <a:r>
              <a:rPr lang="ru-RU" dirty="0">
                <a:latin typeface="+mj-lt"/>
              </a:rPr>
              <a:t>Падение рейтинга в связи с </a:t>
            </a:r>
            <a:r>
              <a:rPr lang="ru-RU" b="1" dirty="0">
                <a:latin typeface="+mj-lt"/>
              </a:rPr>
              <a:t>деятельностью, поведением компании</a:t>
            </a:r>
          </a:p>
          <a:p>
            <a:endParaRPr lang="ru-RU" dirty="0">
              <a:latin typeface="+mj-lt"/>
            </a:endParaRPr>
          </a:p>
        </p:txBody>
      </p:sp>
      <p:grpSp>
        <p:nvGrpSpPr>
          <p:cNvPr id="4" name="Группа 3"/>
          <p:cNvGrpSpPr/>
          <p:nvPr/>
        </p:nvGrpSpPr>
        <p:grpSpPr>
          <a:xfrm flipH="1">
            <a:off x="5648776" y="1412617"/>
            <a:ext cx="3499139" cy="5084958"/>
            <a:chOff x="-98713" y="1690688"/>
            <a:chExt cx="4665518" cy="5084958"/>
          </a:xfrm>
        </p:grpSpPr>
        <p:pic>
          <p:nvPicPr>
            <p:cNvPr id="1026" name="Picture 2" descr="Картинки по запросу tap icon"/>
            <p:cNvPicPr>
              <a:picLocks noChangeAspect="1" noChangeArrowheads="1"/>
            </p:cNvPicPr>
            <p:nvPr/>
          </p:nvPicPr>
          <p:blipFill rotWithShape="1">
            <a:blip r:embed="rId2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332" b="35574"/>
            <a:stretch/>
          </p:blipFill>
          <p:spPr bwMode="auto">
            <a:xfrm>
              <a:off x="-98713" y="1690688"/>
              <a:ext cx="4665518" cy="31419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Картинки по запросу a drop icon"/>
            <p:cNvPicPr>
              <a:picLocks noChangeAspect="1" noChangeArrowheads="1"/>
            </p:cNvPicPr>
            <p:nvPr/>
          </p:nvPicPr>
          <p:blipFill>
            <a:blip r:embed="rId3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541195">
              <a:off x="2208285" y="4987086"/>
              <a:ext cx="1153101" cy="11531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4" descr="Картинки по запросу a drop icon"/>
            <p:cNvPicPr>
              <a:picLocks noChangeAspect="1" noChangeArrowheads="1"/>
            </p:cNvPicPr>
            <p:nvPr/>
          </p:nvPicPr>
          <p:blipFill>
            <a:blip r:embed="rId4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308689">
              <a:off x="3036493" y="4839397"/>
              <a:ext cx="1332367" cy="13323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4" descr="Картинки по запросу a drop icon"/>
            <p:cNvPicPr>
              <a:picLocks noChangeAspect="1" noChangeArrowheads="1"/>
            </p:cNvPicPr>
            <p:nvPr/>
          </p:nvPicPr>
          <p:blipFill>
            <a:blip r:embed="rId5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486639">
              <a:off x="2719021" y="5979276"/>
              <a:ext cx="780868" cy="7808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4" descr="Картинки по запросу a drop icon"/>
            <p:cNvPicPr>
              <a:picLocks noChangeAspect="1" noChangeArrowheads="1"/>
            </p:cNvPicPr>
            <p:nvPr/>
          </p:nvPicPr>
          <p:blipFill>
            <a:blip r:embed="rId6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070403">
              <a:off x="3366037" y="6252570"/>
              <a:ext cx="523076" cy="5230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" name="Объект 2"/>
          <p:cNvSpPr txBox="1">
            <a:spLocks/>
          </p:cNvSpPr>
          <p:nvPr/>
        </p:nvSpPr>
        <p:spPr>
          <a:xfrm>
            <a:off x="1127828" y="3369706"/>
            <a:ext cx="4774209" cy="99367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dirty="0" smtClean="0">
                <a:latin typeface="+mj-lt"/>
              </a:rPr>
              <a:t>Падение рейтинга в связи с </a:t>
            </a:r>
            <a:r>
              <a:rPr lang="ru-RU" b="1" dirty="0" smtClean="0">
                <a:latin typeface="+mj-lt"/>
              </a:rPr>
              <a:t>«накопленной усталостью» </a:t>
            </a:r>
            <a:r>
              <a:rPr lang="ru-RU" dirty="0" smtClean="0">
                <a:latin typeface="+mj-lt"/>
              </a:rPr>
              <a:t>компании</a:t>
            </a:r>
          </a:p>
          <a:p>
            <a:endParaRPr lang="ru-RU" dirty="0">
              <a:latin typeface="+mj-lt"/>
            </a:endParaRPr>
          </a:p>
        </p:txBody>
      </p:sp>
      <p:pic>
        <p:nvPicPr>
          <p:cNvPr id="10" name="Picture 4" descr="Картинки по запросу a drop icon"/>
          <p:cNvPicPr>
            <a:picLocks noChangeAspect="1" noChangeArrowheads="1"/>
          </p:cNvPicPr>
          <p:nvPr/>
        </p:nvPicPr>
        <p:blipFill>
          <a:blip r:embed="rId6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652" y="2292550"/>
            <a:ext cx="392307" cy="523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Картинки по запросу a drop icon"/>
          <p:cNvPicPr>
            <a:picLocks noChangeAspect="1" noChangeArrowheads="1"/>
          </p:cNvPicPr>
          <p:nvPr/>
        </p:nvPicPr>
        <p:blipFill>
          <a:blip r:embed="rId6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652" y="3605005"/>
            <a:ext cx="392307" cy="523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34343D-424D-479E-A25B-CEA996702F2B}" type="slidenum">
              <a:rPr lang="ru-RU" smtClean="0"/>
              <a:t>3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8928529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4"/>
          <p:cNvGrpSpPr/>
          <p:nvPr/>
        </p:nvGrpSpPr>
        <p:grpSpPr>
          <a:xfrm>
            <a:off x="3420741" y="2036963"/>
            <a:ext cx="2302555" cy="4718732"/>
            <a:chOff x="4536072" y="1097386"/>
            <a:chExt cx="3017176" cy="5566650"/>
          </a:xfrm>
        </p:grpSpPr>
        <p:sp>
          <p:nvSpPr>
            <p:cNvPr id="16" name="Стрелка углом 15"/>
            <p:cNvSpPr/>
            <p:nvPr/>
          </p:nvSpPr>
          <p:spPr>
            <a:xfrm>
              <a:off x="6074277" y="1413912"/>
              <a:ext cx="574962" cy="4973348"/>
            </a:xfrm>
            <a:prstGeom prst="bentArrow">
              <a:avLst>
                <a:gd name="adj1" fmla="val 25000"/>
                <a:gd name="adj2" fmla="val 12241"/>
                <a:gd name="adj3" fmla="val 25000"/>
                <a:gd name="adj4" fmla="val 43750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17" name="Стрелка углом 16"/>
            <p:cNvSpPr/>
            <p:nvPr/>
          </p:nvSpPr>
          <p:spPr>
            <a:xfrm flipH="1">
              <a:off x="5450826" y="1690688"/>
              <a:ext cx="574962" cy="4973348"/>
            </a:xfrm>
            <a:prstGeom prst="bentArrow">
              <a:avLst>
                <a:gd name="adj1" fmla="val 25000"/>
                <a:gd name="adj2" fmla="val 12241"/>
                <a:gd name="adj3" fmla="val 25000"/>
                <a:gd name="adj4" fmla="val 43750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pic>
          <p:nvPicPr>
            <p:cNvPr id="9" name="Picture 2" descr="Картинки по запросу tap icon"/>
            <p:cNvPicPr>
              <a:picLocks noChangeAspect="1" noChangeArrowheads="1"/>
            </p:cNvPicPr>
            <p:nvPr/>
          </p:nvPicPr>
          <p:blipFill rotWithShape="1">
            <a:blip r:embed="rId2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5574"/>
            <a:stretch/>
          </p:blipFill>
          <p:spPr bwMode="auto">
            <a:xfrm>
              <a:off x="6361758" y="1097386"/>
              <a:ext cx="1191490" cy="7676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2" descr="Картинки по запросу tap icon"/>
            <p:cNvPicPr>
              <a:picLocks noChangeAspect="1" noChangeArrowheads="1"/>
            </p:cNvPicPr>
            <p:nvPr/>
          </p:nvPicPr>
          <p:blipFill rotWithShape="1">
            <a:blip r:embed="rId2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5574"/>
            <a:stretch/>
          </p:blipFill>
          <p:spPr bwMode="auto">
            <a:xfrm flipH="1">
              <a:off x="4536072" y="1349643"/>
              <a:ext cx="1191490" cy="7676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050" name="Picture 2" descr="Картинки по запросу картинка моря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41" b="38013"/>
          <a:stretch/>
        </p:blipFill>
        <p:spPr bwMode="auto">
          <a:xfrm>
            <a:off x="0" y="4961249"/>
            <a:ext cx="9144000" cy="1919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Объект 3"/>
          <p:cNvSpPr>
            <a:spLocks noGrp="1"/>
          </p:cNvSpPr>
          <p:nvPr>
            <p:ph idx="1"/>
          </p:nvPr>
        </p:nvSpPr>
        <p:spPr>
          <a:xfrm>
            <a:off x="699803" y="1909062"/>
            <a:ext cx="3480373" cy="2926484"/>
          </a:xfrm>
        </p:spPr>
        <p:txBody>
          <a:bodyPr>
            <a:noAutofit/>
          </a:bodyPr>
          <a:lstStyle/>
          <a:p>
            <a:pPr marL="0" lvl="0" indent="0">
              <a:buNone/>
            </a:pPr>
            <a:r>
              <a:rPr lang="ru-RU" sz="2000" dirty="0" smtClean="0">
                <a:latin typeface="+mj-lt"/>
              </a:rPr>
              <a:t>Этап жизненного цикла</a:t>
            </a:r>
          </a:p>
          <a:p>
            <a:pPr marL="0" lvl="0" indent="0">
              <a:buNone/>
            </a:pPr>
            <a:endParaRPr lang="en-US" sz="2000" dirty="0" smtClean="0">
              <a:latin typeface="+mj-lt"/>
            </a:endParaRPr>
          </a:p>
          <a:p>
            <a:pPr marL="0" lvl="0" indent="0">
              <a:buNone/>
            </a:pPr>
            <a:r>
              <a:rPr lang="ru-RU" sz="2000" dirty="0" smtClean="0">
                <a:latin typeface="+mj-lt"/>
              </a:rPr>
              <a:t>Частый </a:t>
            </a:r>
            <a:r>
              <a:rPr lang="ru-RU" sz="2000" dirty="0">
                <a:latin typeface="+mj-lt"/>
              </a:rPr>
              <a:t>подбор топ </a:t>
            </a:r>
            <a:r>
              <a:rPr lang="ru-RU" sz="2000" dirty="0" smtClean="0">
                <a:latin typeface="+mj-lt"/>
              </a:rPr>
              <a:t>менеджмента</a:t>
            </a:r>
          </a:p>
          <a:p>
            <a:pPr marL="0" lvl="0" indent="0">
              <a:buNone/>
            </a:pPr>
            <a:endParaRPr lang="ru-RU" sz="2000" dirty="0">
              <a:latin typeface="+mj-lt"/>
            </a:endParaRPr>
          </a:p>
          <a:p>
            <a:pPr marL="0" lvl="0" indent="0">
              <a:buNone/>
            </a:pPr>
            <a:r>
              <a:rPr lang="ru-RU" sz="2000" dirty="0">
                <a:latin typeface="+mj-lt"/>
              </a:rPr>
              <a:t>Структура </a:t>
            </a:r>
            <a:r>
              <a:rPr lang="ru-RU" sz="2000" dirty="0" smtClean="0">
                <a:latin typeface="+mj-lt"/>
              </a:rPr>
              <a:t>компании</a:t>
            </a:r>
          </a:p>
          <a:p>
            <a:pPr marL="0" lvl="0" indent="0">
              <a:buNone/>
            </a:pPr>
            <a:endParaRPr lang="ru-RU" sz="2000" dirty="0">
              <a:latin typeface="+mj-lt"/>
            </a:endParaRPr>
          </a:p>
          <a:p>
            <a:pPr marL="0" lvl="0" indent="0">
              <a:buNone/>
            </a:pPr>
            <a:r>
              <a:rPr lang="ru-RU" sz="2000" dirty="0" smtClean="0">
                <a:latin typeface="+mj-lt"/>
              </a:rPr>
              <a:t>Процесс принятия решений</a:t>
            </a:r>
            <a:endParaRPr lang="ru-RU" sz="2000" dirty="0">
              <a:latin typeface="+mj-lt"/>
            </a:endParaRPr>
          </a:p>
        </p:txBody>
      </p:sp>
      <p:sp>
        <p:nvSpPr>
          <p:cNvPr id="21" name="Объект 3"/>
          <p:cNvSpPr txBox="1">
            <a:spLocks/>
          </p:cNvSpPr>
          <p:nvPr/>
        </p:nvSpPr>
        <p:spPr>
          <a:xfrm>
            <a:off x="4478482" y="1825627"/>
            <a:ext cx="3970340" cy="336983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ru-RU" sz="2000" dirty="0" smtClean="0">
                <a:latin typeface="+mj-lt"/>
              </a:rPr>
              <a:t>Политика компании</a:t>
            </a:r>
          </a:p>
          <a:p>
            <a:pPr marL="0" indent="0" algn="r">
              <a:buNone/>
            </a:pPr>
            <a:endParaRPr lang="ru-RU" sz="2000" dirty="0" smtClean="0">
              <a:latin typeface="+mj-lt"/>
            </a:endParaRPr>
          </a:p>
          <a:p>
            <a:pPr marL="0" indent="0" algn="r">
              <a:buNone/>
            </a:pPr>
            <a:r>
              <a:rPr lang="ru-RU" sz="2000" dirty="0" smtClean="0">
                <a:latin typeface="+mj-lt"/>
              </a:rPr>
              <a:t>Портфель услуг</a:t>
            </a:r>
          </a:p>
          <a:p>
            <a:pPr marL="0" indent="0" algn="r">
              <a:buNone/>
            </a:pPr>
            <a:endParaRPr lang="ru-RU" sz="2000" dirty="0" smtClean="0">
              <a:latin typeface="+mj-lt"/>
            </a:endParaRPr>
          </a:p>
          <a:p>
            <a:pPr marL="0" indent="0" algn="r">
              <a:buNone/>
            </a:pPr>
            <a:r>
              <a:rPr lang="ru-RU" sz="2000" dirty="0" smtClean="0">
                <a:latin typeface="+mj-lt"/>
              </a:rPr>
              <a:t>Отношение к клиентам</a:t>
            </a:r>
          </a:p>
          <a:p>
            <a:pPr marL="0" indent="0" algn="r">
              <a:buNone/>
            </a:pPr>
            <a:endParaRPr lang="ru-RU" sz="2000" dirty="0" smtClean="0">
              <a:latin typeface="+mj-lt"/>
            </a:endParaRPr>
          </a:p>
          <a:p>
            <a:pPr marL="0" indent="0" algn="r">
              <a:buNone/>
            </a:pPr>
            <a:r>
              <a:rPr lang="ru-RU" sz="2000" dirty="0" smtClean="0">
                <a:latin typeface="+mj-lt"/>
              </a:rPr>
              <a:t>Концентрация внимания на имидже, а не репутации</a:t>
            </a:r>
            <a:endParaRPr lang="ru-RU" sz="2000" dirty="0">
              <a:latin typeface="+mj-lt"/>
            </a:endParaRPr>
          </a:p>
        </p:txBody>
      </p:sp>
      <p:grpSp>
        <p:nvGrpSpPr>
          <p:cNvPr id="34" name="Группа 33"/>
          <p:cNvGrpSpPr/>
          <p:nvPr/>
        </p:nvGrpSpPr>
        <p:grpSpPr>
          <a:xfrm>
            <a:off x="280753" y="1746102"/>
            <a:ext cx="414443" cy="552590"/>
            <a:chOff x="5595116" y="1503223"/>
            <a:chExt cx="552590" cy="552590"/>
          </a:xfrm>
        </p:grpSpPr>
        <p:sp>
          <p:nvSpPr>
            <p:cNvPr id="38" name="Овал 37"/>
            <p:cNvSpPr/>
            <p:nvPr/>
          </p:nvSpPr>
          <p:spPr>
            <a:xfrm>
              <a:off x="5595116" y="1503223"/>
              <a:ext cx="552590" cy="552590"/>
            </a:xfrm>
            <a:prstGeom prst="ellipse">
              <a:avLst/>
            </a:prstGeom>
            <a:solidFill>
              <a:srgbClr val="3AB0C8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5651601" y="1548686"/>
              <a:ext cx="48538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>
                  <a:solidFill>
                    <a:schemeClr val="bg1"/>
                  </a:solidFill>
                </a:rPr>
                <a:t>1</a:t>
              </a:r>
            </a:p>
          </p:txBody>
        </p:sp>
      </p:grpSp>
      <p:grpSp>
        <p:nvGrpSpPr>
          <p:cNvPr id="41" name="Группа 40"/>
          <p:cNvGrpSpPr/>
          <p:nvPr/>
        </p:nvGrpSpPr>
        <p:grpSpPr>
          <a:xfrm>
            <a:off x="280753" y="2573316"/>
            <a:ext cx="414443" cy="552590"/>
            <a:chOff x="5584393" y="3539191"/>
            <a:chExt cx="552590" cy="552590"/>
          </a:xfrm>
        </p:grpSpPr>
        <p:sp>
          <p:nvSpPr>
            <p:cNvPr id="42" name="Овал 41"/>
            <p:cNvSpPr/>
            <p:nvPr/>
          </p:nvSpPr>
          <p:spPr>
            <a:xfrm>
              <a:off x="5584393" y="3539191"/>
              <a:ext cx="552590" cy="552590"/>
            </a:xfrm>
            <a:prstGeom prst="ellipse">
              <a:avLst/>
            </a:prstGeom>
            <a:solidFill>
              <a:srgbClr val="C1D42F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5640878" y="3584654"/>
              <a:ext cx="48538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 smtClean="0">
                  <a:solidFill>
                    <a:schemeClr val="bg1"/>
                  </a:solidFill>
                </a:rPr>
                <a:t>2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4" name="Группа 43"/>
          <p:cNvGrpSpPr/>
          <p:nvPr/>
        </p:nvGrpSpPr>
        <p:grpSpPr>
          <a:xfrm>
            <a:off x="286507" y="3335010"/>
            <a:ext cx="414443" cy="552590"/>
            <a:chOff x="5595116" y="4839498"/>
            <a:chExt cx="552590" cy="552590"/>
          </a:xfrm>
        </p:grpSpPr>
        <p:sp>
          <p:nvSpPr>
            <p:cNvPr id="45" name="Овал 44"/>
            <p:cNvSpPr/>
            <p:nvPr/>
          </p:nvSpPr>
          <p:spPr>
            <a:xfrm>
              <a:off x="5595116" y="4839498"/>
              <a:ext cx="552590" cy="552590"/>
            </a:xfrm>
            <a:prstGeom prst="ellipse">
              <a:avLst/>
            </a:prstGeom>
            <a:solidFill>
              <a:srgbClr val="E74683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5651601" y="4884961"/>
              <a:ext cx="48538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 smtClean="0">
                  <a:solidFill>
                    <a:schemeClr val="bg1"/>
                  </a:solidFill>
                </a:rPr>
                <a:t>3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7" name="Группа 46"/>
          <p:cNvGrpSpPr/>
          <p:nvPr/>
        </p:nvGrpSpPr>
        <p:grpSpPr>
          <a:xfrm>
            <a:off x="285935" y="4142287"/>
            <a:ext cx="414443" cy="552590"/>
            <a:chOff x="5595410" y="3712470"/>
            <a:chExt cx="552590" cy="552590"/>
          </a:xfrm>
        </p:grpSpPr>
        <p:sp>
          <p:nvSpPr>
            <p:cNvPr id="48" name="Овал 47"/>
            <p:cNvSpPr/>
            <p:nvPr/>
          </p:nvSpPr>
          <p:spPr>
            <a:xfrm>
              <a:off x="5595410" y="3712470"/>
              <a:ext cx="552590" cy="552590"/>
            </a:xfrm>
            <a:prstGeom prst="ellipse">
              <a:avLst/>
            </a:prstGeom>
            <a:solidFill>
              <a:srgbClr val="B31AAB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5629014" y="3769007"/>
              <a:ext cx="48538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>
                  <a:solidFill>
                    <a:schemeClr val="bg1"/>
                  </a:solidFill>
                </a:rPr>
                <a:t>4</a:t>
              </a:r>
            </a:p>
          </p:txBody>
        </p:sp>
      </p:grpSp>
      <p:grpSp>
        <p:nvGrpSpPr>
          <p:cNvPr id="50" name="Группа 49"/>
          <p:cNvGrpSpPr/>
          <p:nvPr/>
        </p:nvGrpSpPr>
        <p:grpSpPr>
          <a:xfrm>
            <a:off x="8448840" y="1676684"/>
            <a:ext cx="414443" cy="552590"/>
            <a:chOff x="5595116" y="5125937"/>
            <a:chExt cx="552590" cy="552590"/>
          </a:xfrm>
        </p:grpSpPr>
        <p:sp>
          <p:nvSpPr>
            <p:cNvPr id="51" name="Овал 50"/>
            <p:cNvSpPr/>
            <p:nvPr/>
          </p:nvSpPr>
          <p:spPr>
            <a:xfrm>
              <a:off x="5595116" y="5125937"/>
              <a:ext cx="552590" cy="552590"/>
            </a:xfrm>
            <a:prstGeom prst="ellipse">
              <a:avLst/>
            </a:prstGeom>
            <a:solidFill>
              <a:srgbClr val="FFB700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5628720" y="5182474"/>
              <a:ext cx="48538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>
                  <a:solidFill>
                    <a:schemeClr val="bg1"/>
                  </a:solidFill>
                </a:rPr>
                <a:t>5</a:t>
              </a:r>
            </a:p>
          </p:txBody>
        </p:sp>
      </p:grpSp>
      <p:grpSp>
        <p:nvGrpSpPr>
          <p:cNvPr id="53" name="Группа 52"/>
          <p:cNvGrpSpPr/>
          <p:nvPr/>
        </p:nvGrpSpPr>
        <p:grpSpPr>
          <a:xfrm>
            <a:off x="8463471" y="4198824"/>
            <a:ext cx="414443" cy="552590"/>
            <a:chOff x="5595116" y="1503223"/>
            <a:chExt cx="552590" cy="552590"/>
          </a:xfrm>
        </p:grpSpPr>
        <p:sp>
          <p:nvSpPr>
            <p:cNvPr id="54" name="Овал 53"/>
            <p:cNvSpPr/>
            <p:nvPr/>
          </p:nvSpPr>
          <p:spPr>
            <a:xfrm>
              <a:off x="5595116" y="1503223"/>
              <a:ext cx="552590" cy="552590"/>
            </a:xfrm>
            <a:prstGeom prst="ellipse">
              <a:avLst/>
            </a:prstGeom>
            <a:solidFill>
              <a:srgbClr val="3AB0C8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5651601" y="1548686"/>
              <a:ext cx="48538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 smtClean="0">
                  <a:solidFill>
                    <a:schemeClr val="bg1"/>
                  </a:solidFill>
                </a:rPr>
                <a:t>8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6" name="Группа 55"/>
          <p:cNvGrpSpPr/>
          <p:nvPr/>
        </p:nvGrpSpPr>
        <p:grpSpPr>
          <a:xfrm>
            <a:off x="8448840" y="3369031"/>
            <a:ext cx="414443" cy="552590"/>
            <a:chOff x="5584393" y="3539191"/>
            <a:chExt cx="552590" cy="552590"/>
          </a:xfrm>
        </p:grpSpPr>
        <p:sp>
          <p:nvSpPr>
            <p:cNvPr id="57" name="Овал 56"/>
            <p:cNvSpPr/>
            <p:nvPr/>
          </p:nvSpPr>
          <p:spPr>
            <a:xfrm>
              <a:off x="5584393" y="3539191"/>
              <a:ext cx="552590" cy="552590"/>
            </a:xfrm>
            <a:prstGeom prst="ellipse">
              <a:avLst/>
            </a:prstGeom>
            <a:solidFill>
              <a:srgbClr val="C1D42F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5640878" y="3584654"/>
              <a:ext cx="48538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 smtClean="0">
                  <a:solidFill>
                    <a:schemeClr val="bg1"/>
                  </a:solidFill>
                </a:rPr>
                <a:t>7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9" name="Группа 58"/>
          <p:cNvGrpSpPr/>
          <p:nvPr/>
        </p:nvGrpSpPr>
        <p:grpSpPr>
          <a:xfrm>
            <a:off x="8423637" y="2573316"/>
            <a:ext cx="414443" cy="552590"/>
            <a:chOff x="5595116" y="4839498"/>
            <a:chExt cx="552590" cy="552590"/>
          </a:xfrm>
        </p:grpSpPr>
        <p:sp>
          <p:nvSpPr>
            <p:cNvPr id="60" name="Овал 59"/>
            <p:cNvSpPr/>
            <p:nvPr/>
          </p:nvSpPr>
          <p:spPr>
            <a:xfrm>
              <a:off x="5595116" y="4839498"/>
              <a:ext cx="552590" cy="552590"/>
            </a:xfrm>
            <a:prstGeom prst="ellipse">
              <a:avLst/>
            </a:prstGeom>
            <a:solidFill>
              <a:srgbClr val="E74683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5651601" y="4884961"/>
              <a:ext cx="48538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 smtClean="0">
                  <a:solidFill>
                    <a:schemeClr val="bg1"/>
                  </a:solidFill>
                </a:rPr>
                <a:t>6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69" name="Заголовок 1"/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</p:spPr>
        <p:txBody>
          <a:bodyPr>
            <a:noAutofit/>
          </a:bodyPr>
          <a:lstStyle/>
          <a:p>
            <a:r>
              <a:rPr lang="ru-RU" sz="4000" b="1" dirty="0" smtClean="0"/>
              <a:t>Причины потери позиций крупными игроками</a:t>
            </a:r>
            <a:endParaRPr lang="ru-RU" sz="4000" b="1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34343D-424D-479E-A25B-CEA996702F2B}" type="slidenum">
              <a:rPr lang="ru-RU" smtClean="0"/>
              <a:t>3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17585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татистика набора: Москва, Санкт-Петербург, Екатеринбург</a:t>
            </a:r>
            <a:endParaRPr lang="ru-RU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BD5762-3BDC-484D-9503-7EA6D5A9A8CE}" type="slidenum">
              <a:rPr lang="ru-RU" smtClean="0">
                <a:solidFill>
                  <a:srgbClr val="000000"/>
                </a:solidFill>
              </a:rPr>
              <a:pPr/>
              <a:t>4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708916" y="1847682"/>
            <a:ext cx="2783269" cy="8640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indent="-265066" defTabSz="914174">
              <a:spcAft>
                <a:spcPts val="870"/>
              </a:spcAft>
            </a:pPr>
            <a:r>
              <a:rPr lang="ru-RU" sz="1900" dirty="0">
                <a:solidFill>
                  <a:srgbClr val="000000"/>
                </a:solidFill>
                <a:latin typeface="Georgia" pitchFamily="18" charset="0"/>
              </a:rPr>
              <a:t>Прошли </a:t>
            </a:r>
            <a:r>
              <a:rPr lang="en-US" sz="1900" dirty="0">
                <a:solidFill>
                  <a:srgbClr val="000000"/>
                </a:solidFill>
                <a:latin typeface="Georgia" pitchFamily="18" charset="0"/>
              </a:rPr>
              <a:t>HR </a:t>
            </a:r>
            <a:r>
              <a:rPr lang="ru-RU" sz="1900" dirty="0">
                <a:solidFill>
                  <a:srgbClr val="000000"/>
                </a:solidFill>
                <a:latin typeface="Georgia" pitchFamily="18" charset="0"/>
              </a:rPr>
              <a:t>интервью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708899" y="3049752"/>
            <a:ext cx="3868118" cy="8640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indent="-265066" defTabSz="914174">
              <a:spcAft>
                <a:spcPts val="870"/>
              </a:spcAft>
            </a:pPr>
            <a:r>
              <a:rPr lang="ru-RU" sz="1900" dirty="0">
                <a:solidFill>
                  <a:srgbClr val="000000"/>
                </a:solidFill>
                <a:latin typeface="Georgia" pitchFamily="18" charset="0"/>
              </a:rPr>
              <a:t>Были приглашены на </a:t>
            </a:r>
            <a:r>
              <a:rPr lang="en-US" sz="1900" dirty="0" err="1">
                <a:solidFill>
                  <a:srgbClr val="000000"/>
                </a:solidFill>
                <a:latin typeface="Georgia" pitchFamily="18" charset="0"/>
              </a:rPr>
              <a:t>LoS</a:t>
            </a:r>
            <a:r>
              <a:rPr lang="en-US" sz="1900" dirty="0">
                <a:solidFill>
                  <a:srgbClr val="000000"/>
                </a:solidFill>
                <a:latin typeface="Georgia" pitchFamily="18" charset="0"/>
              </a:rPr>
              <a:t> </a:t>
            </a:r>
            <a:r>
              <a:rPr lang="ru-RU" sz="1900" dirty="0">
                <a:solidFill>
                  <a:srgbClr val="000000"/>
                </a:solidFill>
                <a:latin typeface="Georgia" pitchFamily="18" charset="0"/>
              </a:rPr>
              <a:t>интервью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799067" y="4329552"/>
            <a:ext cx="4485016" cy="8640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indent="-265066" defTabSz="914174">
              <a:spcAft>
                <a:spcPts val="870"/>
              </a:spcAft>
            </a:pPr>
            <a:r>
              <a:rPr lang="ru-RU" sz="1900" dirty="0">
                <a:solidFill>
                  <a:srgbClr val="000000"/>
                </a:solidFill>
                <a:latin typeface="Georgia" pitchFamily="18" charset="0"/>
              </a:rPr>
              <a:t>Прошли интервью с менеджерам и ожидают интервью с партнером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181669" y="5571253"/>
            <a:ext cx="5340189" cy="8640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indent="-265066" defTabSz="914174">
              <a:spcAft>
                <a:spcPts val="870"/>
              </a:spcAft>
            </a:pPr>
            <a:r>
              <a:rPr lang="ru-RU" sz="1900" dirty="0">
                <a:solidFill>
                  <a:srgbClr val="000000"/>
                </a:solidFill>
                <a:latin typeface="Georgia" pitchFamily="18" charset="0"/>
              </a:rPr>
              <a:t>Приняли </a:t>
            </a:r>
            <a:r>
              <a:rPr lang="en-US" sz="1900" dirty="0">
                <a:solidFill>
                  <a:srgbClr val="000000"/>
                </a:solidFill>
                <a:latin typeface="Georgia" pitchFamily="18" charset="0"/>
              </a:rPr>
              <a:t>offer (2</a:t>
            </a:r>
            <a:r>
              <a:rPr lang="ru-RU" sz="1900" dirty="0">
                <a:solidFill>
                  <a:srgbClr val="000000"/>
                </a:solidFill>
                <a:latin typeface="Georgia" pitchFamily="18" charset="0"/>
              </a:rPr>
              <a:t> консультанта</a:t>
            </a:r>
            <a:r>
              <a:rPr lang="en-US" sz="1900" dirty="0">
                <a:solidFill>
                  <a:srgbClr val="000000"/>
                </a:solidFill>
                <a:latin typeface="Georgia" pitchFamily="18" charset="0"/>
              </a:rPr>
              <a:t>, 2 </a:t>
            </a:r>
            <a:r>
              <a:rPr lang="ru-RU" sz="1900" dirty="0">
                <a:solidFill>
                  <a:srgbClr val="000000"/>
                </a:solidFill>
                <a:latin typeface="Georgia" pitchFamily="18" charset="0"/>
              </a:rPr>
              <a:t>стажера</a:t>
            </a:r>
            <a:r>
              <a:rPr lang="en-US" sz="1900" dirty="0">
                <a:solidFill>
                  <a:srgbClr val="000000"/>
                </a:solidFill>
                <a:latin typeface="Georgia" pitchFamily="18" charset="0"/>
              </a:rPr>
              <a:t>)</a:t>
            </a:r>
            <a:endParaRPr lang="ru-RU" sz="1900" dirty="0">
              <a:solidFill>
                <a:srgbClr val="000000"/>
              </a:solidFill>
              <a:latin typeface="Georgia" pitchFamily="18" charset="0"/>
            </a:endParaRPr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3868626191"/>
              </p:ext>
            </p:extLst>
          </p:nvPr>
        </p:nvGraphicFramePr>
        <p:xfrm>
          <a:off x="685457" y="1475589"/>
          <a:ext cx="4638745" cy="47519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287505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8" y="0"/>
            <a:ext cx="5590309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02556" y="365129"/>
            <a:ext cx="7644289" cy="1325563"/>
          </a:xfrm>
        </p:spPr>
        <p:txBody>
          <a:bodyPr>
            <a:normAutofit/>
          </a:bodyPr>
          <a:lstStyle/>
          <a:p>
            <a:r>
              <a:rPr lang="ru-RU" sz="3900" b="1" dirty="0" smtClean="0">
                <a:solidFill>
                  <a:schemeClr val="bg1"/>
                </a:solidFill>
              </a:rPr>
              <a:t>Портрет «уставшей» компании</a:t>
            </a:r>
            <a:endParaRPr lang="ru-RU" sz="3900" b="1" dirty="0">
              <a:solidFill>
                <a:schemeClr val="bg1"/>
              </a:solidFill>
            </a:endParaRPr>
          </a:p>
        </p:txBody>
      </p:sp>
      <p:pic>
        <p:nvPicPr>
          <p:cNvPr id="3082" name="Picture 10" descr="Профиль головы"/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5604" y="1574874"/>
            <a:ext cx="2400300" cy="476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Объект 4"/>
          <p:cNvSpPr>
            <a:spLocks noGrp="1"/>
          </p:cNvSpPr>
          <p:nvPr>
            <p:ph idx="1"/>
          </p:nvPr>
        </p:nvSpPr>
        <p:spPr>
          <a:xfrm>
            <a:off x="625133" y="1574874"/>
            <a:ext cx="4593918" cy="5130726"/>
          </a:xfrm>
        </p:spPr>
        <p:txBody>
          <a:bodyPr>
            <a:normAutofit fontScale="70000" lnSpcReduction="20000"/>
          </a:bodyPr>
          <a:lstStyle/>
          <a:p>
            <a:pPr lvl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ru-RU" dirty="0" smtClean="0">
                <a:solidFill>
                  <a:schemeClr val="bg1"/>
                </a:solidFill>
                <a:latin typeface="+mj-lt"/>
              </a:rPr>
              <a:t>Реструктуризация</a:t>
            </a:r>
            <a:endParaRPr lang="ru-RU" dirty="0">
              <a:solidFill>
                <a:schemeClr val="bg1"/>
              </a:solidFill>
              <a:latin typeface="+mj-lt"/>
            </a:endParaRPr>
          </a:p>
          <a:p>
            <a:pPr lvl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ru-RU" dirty="0" smtClean="0">
                <a:solidFill>
                  <a:schemeClr val="bg1"/>
                </a:solidFill>
                <a:latin typeface="+mj-lt"/>
              </a:rPr>
              <a:t>Реклама услуг</a:t>
            </a:r>
          </a:p>
          <a:p>
            <a:pPr lvl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ru-RU" dirty="0" smtClean="0">
                <a:solidFill>
                  <a:schemeClr val="bg1"/>
                </a:solidFill>
                <a:latin typeface="+mj-lt"/>
              </a:rPr>
              <a:t>Большая </a:t>
            </a:r>
            <a:r>
              <a:rPr lang="ru-RU" dirty="0">
                <a:solidFill>
                  <a:schemeClr val="bg1"/>
                </a:solidFill>
                <a:latin typeface="+mj-lt"/>
              </a:rPr>
              <a:t>доля </a:t>
            </a:r>
            <a:r>
              <a:rPr lang="ru-RU" dirty="0" smtClean="0">
                <a:solidFill>
                  <a:schemeClr val="bg1"/>
                </a:solidFill>
                <a:latin typeface="+mj-lt"/>
              </a:rPr>
              <a:t>рынка</a:t>
            </a:r>
          </a:p>
          <a:p>
            <a:pPr lvl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ru-RU" dirty="0" smtClean="0">
                <a:solidFill>
                  <a:schemeClr val="bg1"/>
                </a:solidFill>
                <a:latin typeface="+mj-lt"/>
              </a:rPr>
              <a:t>Уменьшение коммуникаций</a:t>
            </a:r>
            <a:endParaRPr lang="ru-RU" dirty="0">
              <a:solidFill>
                <a:schemeClr val="bg1"/>
              </a:solidFill>
              <a:latin typeface="+mj-lt"/>
            </a:endParaRPr>
          </a:p>
          <a:p>
            <a:pPr lvl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ru-RU" dirty="0" smtClean="0">
                <a:solidFill>
                  <a:schemeClr val="bg1"/>
                </a:solidFill>
                <a:latin typeface="+mj-lt"/>
              </a:rPr>
              <a:t>Пассивность </a:t>
            </a:r>
            <a:r>
              <a:rPr lang="ru-RU" dirty="0">
                <a:solidFill>
                  <a:schemeClr val="bg1"/>
                </a:solidFill>
                <a:latin typeface="+mj-lt"/>
              </a:rPr>
              <a:t>в урегулировании </a:t>
            </a:r>
            <a:r>
              <a:rPr lang="ru-RU" dirty="0" smtClean="0">
                <a:solidFill>
                  <a:schemeClr val="bg1"/>
                </a:solidFill>
                <a:latin typeface="+mj-lt"/>
              </a:rPr>
              <a:t>жалоб</a:t>
            </a:r>
            <a:endParaRPr lang="ru-RU" dirty="0">
              <a:solidFill>
                <a:schemeClr val="bg1"/>
              </a:solidFill>
              <a:latin typeface="+mj-lt"/>
            </a:endParaRPr>
          </a:p>
          <a:p>
            <a:pPr lvl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ru-RU" dirty="0" smtClean="0">
                <a:solidFill>
                  <a:schemeClr val="bg1"/>
                </a:solidFill>
                <a:latin typeface="+mj-lt"/>
              </a:rPr>
              <a:t>Рост </a:t>
            </a:r>
            <a:r>
              <a:rPr lang="ru-RU" dirty="0">
                <a:solidFill>
                  <a:schemeClr val="bg1"/>
                </a:solidFill>
                <a:latin typeface="+mj-lt"/>
              </a:rPr>
              <a:t>обвинений со стороны </a:t>
            </a:r>
            <a:r>
              <a:rPr lang="ru-RU" dirty="0" smtClean="0">
                <a:solidFill>
                  <a:schemeClr val="bg1"/>
                </a:solidFill>
                <a:latin typeface="+mj-lt"/>
              </a:rPr>
              <a:t>компании</a:t>
            </a:r>
            <a:endParaRPr lang="ru-RU" dirty="0">
              <a:solidFill>
                <a:schemeClr val="bg1"/>
              </a:solidFill>
              <a:latin typeface="+mj-lt"/>
            </a:endParaRPr>
          </a:p>
          <a:p>
            <a:pPr lvl="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ru-RU" dirty="0" smtClean="0">
                <a:solidFill>
                  <a:schemeClr val="bg1"/>
                </a:solidFill>
                <a:latin typeface="+mj-lt"/>
              </a:rPr>
              <a:t>Отсутствие </a:t>
            </a:r>
            <a:r>
              <a:rPr lang="ru-RU" dirty="0">
                <a:solidFill>
                  <a:schemeClr val="bg1"/>
                </a:solidFill>
                <a:latin typeface="+mj-lt"/>
              </a:rPr>
              <a:t>стремления развиваться</a:t>
            </a:r>
          </a:p>
        </p:txBody>
      </p:sp>
      <p:pic>
        <p:nvPicPr>
          <p:cNvPr id="3074" name="Picture 2" descr="Картинки по запросу restructure icon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9605" y="1453970"/>
            <a:ext cx="721410" cy="961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Картинки по запросу advertising icon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2587" y="2497491"/>
            <a:ext cx="707663" cy="943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Похожее изображение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7801" y="3501388"/>
            <a:ext cx="716066" cy="9547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Картинки по запросу claim icon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0386" y="4557294"/>
            <a:ext cx="725065" cy="966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10" descr="Картинки по запросу learning icon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0386" y="5625162"/>
            <a:ext cx="711841" cy="949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34343D-424D-479E-A25B-CEA996702F2B}" type="slidenum">
              <a:rPr lang="ru-RU" smtClean="0"/>
              <a:t>4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57115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/>
          <p:cNvSpPr/>
          <p:nvPr/>
        </p:nvSpPr>
        <p:spPr>
          <a:xfrm>
            <a:off x="3553710" y="3283"/>
            <a:ext cx="5590309" cy="685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3283"/>
            <a:ext cx="7886700" cy="1146510"/>
          </a:xfrm>
        </p:spPr>
        <p:txBody>
          <a:bodyPr>
            <a:normAutofit/>
          </a:bodyPr>
          <a:lstStyle/>
          <a:p>
            <a:r>
              <a:rPr lang="ru-RU" sz="3800" b="1" dirty="0" smtClean="0"/>
              <a:t>Пути решения</a:t>
            </a:r>
            <a:r>
              <a:rPr lang="en-US" sz="3800" b="1" dirty="0" smtClean="0"/>
              <a:t> </a:t>
            </a:r>
            <a:endParaRPr lang="ru-RU" sz="3800" b="1" dirty="0"/>
          </a:p>
        </p:txBody>
      </p:sp>
      <p:pic>
        <p:nvPicPr>
          <p:cNvPr id="4098" name="Picture 2" descr="http://www.slideteam.net/media/catalog/product/cache/1/thumbnail/543x403/0e7a751fc24f39b632cb88e6c5925d9b/e/n/en_hammer_screw_driver_plas_and_saw_for_construction_work_powerpoint_template_Slide01.jpg"/>
          <p:cNvPicPr>
            <a:picLocks noChangeAspect="1" noChangeArrowheads="1"/>
          </p:cNvPicPr>
          <p:nvPr/>
        </p:nvPicPr>
        <p:blipFill rotWithShape="1">
          <a:blip r:embed="rId2">
            <a:clrChange>
              <a:clrFrom>
                <a:srgbClr val="F6F6F6"/>
              </a:clrFrom>
              <a:clrTo>
                <a:srgbClr val="F6F6F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751" t="33864"/>
          <a:stretch/>
        </p:blipFill>
        <p:spPr bwMode="auto">
          <a:xfrm>
            <a:off x="2508597" y="4148790"/>
            <a:ext cx="714053" cy="27092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http://www.slideteam.net/media/catalog/product/cache/1/thumbnail/543x403/0e7a751fc24f39b632cb88e6c5925d9b/e/n/en_hammer_screw_driver_plas_and_saw_for_construction_work_powerpoint_template_Slide01.jpg"/>
          <p:cNvPicPr>
            <a:picLocks noChangeAspect="1" noChangeArrowheads="1"/>
          </p:cNvPicPr>
          <p:nvPr/>
        </p:nvPicPr>
        <p:blipFill rotWithShape="1">
          <a:blip r:embed="rId2">
            <a:clrChange>
              <a:clrFrom>
                <a:srgbClr val="F8F8F8"/>
              </a:clrFrom>
              <a:clrTo>
                <a:srgbClr val="F8F8F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272" r="82970" b="19597"/>
          <a:stretch/>
        </p:blipFill>
        <p:spPr bwMode="auto">
          <a:xfrm>
            <a:off x="1" y="2908989"/>
            <a:ext cx="852054" cy="24821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0" y="4816522"/>
            <a:ext cx="1223520" cy="2041478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359392" y="5237018"/>
            <a:ext cx="782663" cy="1620982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554568" y="4939732"/>
            <a:ext cx="1075898" cy="1918268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4042138" y="775447"/>
            <a:ext cx="4515593" cy="60139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15000"/>
              </a:lnSpc>
              <a:spcAft>
                <a:spcPts val="0"/>
              </a:spcAft>
            </a:pPr>
            <a:r>
              <a:rPr lang="ru-RU" sz="2000" b="1" dirty="0" smtClean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Выявление причин:</a:t>
            </a:r>
          </a:p>
          <a:p>
            <a:pPr marL="285750" lvl="0" indent="-285750" algn="just">
              <a:lnSpc>
                <a:spcPct val="115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5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Анализ деятельности</a:t>
            </a:r>
          </a:p>
          <a:p>
            <a:pPr marL="285750" lvl="0" indent="-285750" algn="just">
              <a:lnSpc>
                <a:spcPct val="115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5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Выявление слабых сторон</a:t>
            </a:r>
          </a:p>
          <a:p>
            <a:pPr lvl="0" algn="just">
              <a:lnSpc>
                <a:spcPct val="115000"/>
              </a:lnSpc>
              <a:spcAft>
                <a:spcPts val="0"/>
              </a:spcAft>
            </a:pPr>
            <a:endParaRPr lang="ru-RU" sz="16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 algn="just">
              <a:lnSpc>
                <a:spcPct val="115000"/>
              </a:lnSpc>
              <a:spcAft>
                <a:spcPts val="0"/>
              </a:spcAft>
            </a:pPr>
            <a:r>
              <a:rPr lang="ru-RU" sz="2000" b="1" dirty="0" smtClean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Деятельность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500" dirty="0" smtClean="0">
                <a:latin typeface="+mj-lt"/>
              </a:rPr>
              <a:t>Реструктуризац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500" dirty="0" smtClean="0">
                <a:latin typeface="+mj-lt"/>
              </a:rPr>
              <a:t>Фокус </a:t>
            </a:r>
            <a:r>
              <a:rPr lang="ru-RU" sz="1500" dirty="0">
                <a:latin typeface="+mj-lt"/>
              </a:rPr>
              <a:t>на ключевом производств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500" dirty="0">
                <a:latin typeface="+mj-lt"/>
              </a:rPr>
              <a:t>Оперировать в меньшем количестве регионов</a:t>
            </a:r>
          </a:p>
          <a:p>
            <a:pPr lvl="0" algn="just">
              <a:lnSpc>
                <a:spcPct val="115000"/>
              </a:lnSpc>
              <a:spcAft>
                <a:spcPts val="0"/>
              </a:spcAft>
            </a:pPr>
            <a:endParaRPr lang="ru-RU" sz="1600" dirty="0" smtClean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 algn="just">
              <a:lnSpc>
                <a:spcPct val="115000"/>
              </a:lnSpc>
              <a:spcAft>
                <a:spcPts val="0"/>
              </a:spcAft>
            </a:pPr>
            <a:r>
              <a:rPr lang="en-US" sz="2000" b="1" dirty="0" smtClean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HR </a:t>
            </a:r>
            <a:r>
              <a:rPr lang="ru-RU" sz="2000" b="1" dirty="0" smtClean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инструменты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500" dirty="0" smtClean="0">
                <a:latin typeface="+mj-lt"/>
              </a:rPr>
              <a:t>Укрепление оптимизма внутри компани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500" dirty="0" smtClean="0">
                <a:latin typeface="+mj-lt"/>
              </a:rPr>
              <a:t>Поощрение инициатив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500" dirty="0" smtClean="0">
                <a:latin typeface="+mj-lt"/>
              </a:rPr>
              <a:t>Повышение мотивации</a:t>
            </a:r>
          </a:p>
          <a:p>
            <a:endParaRPr lang="ru-RU" sz="1600" dirty="0">
              <a:latin typeface="+mj-lt"/>
            </a:endParaRPr>
          </a:p>
          <a:p>
            <a:r>
              <a:rPr lang="ru-RU" sz="2000" b="1" dirty="0" smtClean="0">
                <a:solidFill>
                  <a:schemeClr val="bg1"/>
                </a:solidFill>
                <a:latin typeface="+mj-lt"/>
              </a:rPr>
              <a:t>Управление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500" dirty="0" smtClean="0">
                <a:latin typeface="+mj-lt"/>
              </a:rPr>
              <a:t>Подчеркивать личную ответственность</a:t>
            </a:r>
          </a:p>
          <a:p>
            <a:endParaRPr lang="ru-RU" sz="1600" dirty="0">
              <a:latin typeface="+mj-lt"/>
            </a:endParaRPr>
          </a:p>
          <a:p>
            <a:r>
              <a:rPr lang="ru-RU" sz="2000" b="1" dirty="0" smtClean="0">
                <a:solidFill>
                  <a:schemeClr val="bg1"/>
                </a:solidFill>
                <a:latin typeface="+mj-lt"/>
              </a:rPr>
              <a:t>Коммуникации:</a:t>
            </a:r>
          </a:p>
          <a:p>
            <a:pPr marL="285750" lvl="0" indent="-285750" algn="just">
              <a:lnSpc>
                <a:spcPct val="115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5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Поддерживать </a:t>
            </a:r>
            <a:r>
              <a:rPr lang="ru-RU" sz="15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диалог с клиентом, выстраивать </a:t>
            </a:r>
          </a:p>
          <a:p>
            <a:pPr marL="285750" lvl="0" indent="-285750" algn="just">
              <a:lnSpc>
                <a:spcPct val="115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5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Сделать информацию доступной </a:t>
            </a:r>
            <a:r>
              <a:rPr lang="ru-RU" sz="16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ru-RU" sz="16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20" name="Группа 19"/>
          <p:cNvGrpSpPr/>
          <p:nvPr/>
        </p:nvGrpSpPr>
        <p:grpSpPr>
          <a:xfrm>
            <a:off x="3347073" y="908373"/>
            <a:ext cx="414443" cy="552590"/>
            <a:chOff x="5595116" y="1503223"/>
            <a:chExt cx="552590" cy="552590"/>
          </a:xfrm>
        </p:grpSpPr>
        <p:sp>
          <p:nvSpPr>
            <p:cNvPr id="21" name="Овал 20"/>
            <p:cNvSpPr/>
            <p:nvPr/>
          </p:nvSpPr>
          <p:spPr>
            <a:xfrm>
              <a:off x="5595116" y="1503223"/>
              <a:ext cx="552590" cy="552590"/>
            </a:xfrm>
            <a:prstGeom prst="ellipse">
              <a:avLst/>
            </a:prstGeom>
            <a:solidFill>
              <a:srgbClr val="3AB0C8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5651601" y="1548686"/>
              <a:ext cx="48538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>
                  <a:solidFill>
                    <a:schemeClr val="bg1"/>
                  </a:solidFill>
                </a:rPr>
                <a:t>1</a:t>
              </a:r>
            </a:p>
          </p:txBody>
        </p:sp>
      </p:grpSp>
      <p:grpSp>
        <p:nvGrpSpPr>
          <p:cNvPr id="23" name="Группа 22"/>
          <p:cNvGrpSpPr/>
          <p:nvPr/>
        </p:nvGrpSpPr>
        <p:grpSpPr>
          <a:xfrm>
            <a:off x="3382860" y="2210030"/>
            <a:ext cx="414443" cy="552590"/>
            <a:chOff x="5584393" y="3539191"/>
            <a:chExt cx="552590" cy="552590"/>
          </a:xfrm>
        </p:grpSpPr>
        <p:sp>
          <p:nvSpPr>
            <p:cNvPr id="24" name="Овал 23"/>
            <p:cNvSpPr/>
            <p:nvPr/>
          </p:nvSpPr>
          <p:spPr>
            <a:xfrm>
              <a:off x="5584393" y="3539191"/>
              <a:ext cx="552590" cy="552590"/>
            </a:xfrm>
            <a:prstGeom prst="ellipse">
              <a:avLst/>
            </a:prstGeom>
            <a:solidFill>
              <a:srgbClr val="C1D42F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5640878" y="3584654"/>
              <a:ext cx="48538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 smtClean="0">
                  <a:solidFill>
                    <a:schemeClr val="bg1"/>
                  </a:solidFill>
                </a:rPr>
                <a:t>2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6" name="Группа 25"/>
          <p:cNvGrpSpPr/>
          <p:nvPr/>
        </p:nvGrpSpPr>
        <p:grpSpPr>
          <a:xfrm>
            <a:off x="3351506" y="3720719"/>
            <a:ext cx="414443" cy="552590"/>
            <a:chOff x="5595116" y="4839498"/>
            <a:chExt cx="552590" cy="552590"/>
          </a:xfrm>
        </p:grpSpPr>
        <p:sp>
          <p:nvSpPr>
            <p:cNvPr id="27" name="Овал 26"/>
            <p:cNvSpPr/>
            <p:nvPr/>
          </p:nvSpPr>
          <p:spPr>
            <a:xfrm>
              <a:off x="5595116" y="4839498"/>
              <a:ext cx="552590" cy="552590"/>
            </a:xfrm>
            <a:prstGeom prst="ellipse">
              <a:avLst/>
            </a:prstGeom>
            <a:solidFill>
              <a:srgbClr val="E74683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5651601" y="4884961"/>
              <a:ext cx="48538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 smtClean="0">
                  <a:solidFill>
                    <a:schemeClr val="bg1"/>
                  </a:solidFill>
                </a:rPr>
                <a:t>3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9" name="Группа 28"/>
          <p:cNvGrpSpPr/>
          <p:nvPr/>
        </p:nvGrpSpPr>
        <p:grpSpPr>
          <a:xfrm>
            <a:off x="3400137" y="4891206"/>
            <a:ext cx="414443" cy="552590"/>
            <a:chOff x="5595410" y="3712470"/>
            <a:chExt cx="552590" cy="552590"/>
          </a:xfrm>
        </p:grpSpPr>
        <p:sp>
          <p:nvSpPr>
            <p:cNvPr id="30" name="Овал 29"/>
            <p:cNvSpPr/>
            <p:nvPr/>
          </p:nvSpPr>
          <p:spPr>
            <a:xfrm>
              <a:off x="5595410" y="3712470"/>
              <a:ext cx="552590" cy="552590"/>
            </a:xfrm>
            <a:prstGeom prst="ellipse">
              <a:avLst/>
            </a:prstGeom>
            <a:solidFill>
              <a:srgbClr val="B31AAB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629014" y="3769007"/>
              <a:ext cx="48538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>
                  <a:solidFill>
                    <a:schemeClr val="bg1"/>
                  </a:solidFill>
                </a:rPr>
                <a:t>4</a:t>
              </a:r>
            </a:p>
          </p:txBody>
        </p:sp>
      </p:grpSp>
      <p:grpSp>
        <p:nvGrpSpPr>
          <p:cNvPr id="32" name="Группа 31"/>
          <p:cNvGrpSpPr/>
          <p:nvPr/>
        </p:nvGrpSpPr>
        <p:grpSpPr>
          <a:xfrm>
            <a:off x="3400026" y="5849101"/>
            <a:ext cx="414443" cy="552590"/>
            <a:chOff x="5595116" y="5125937"/>
            <a:chExt cx="552590" cy="552590"/>
          </a:xfrm>
        </p:grpSpPr>
        <p:sp>
          <p:nvSpPr>
            <p:cNvPr id="33" name="Овал 32"/>
            <p:cNvSpPr/>
            <p:nvPr/>
          </p:nvSpPr>
          <p:spPr>
            <a:xfrm>
              <a:off x="5595116" y="5125937"/>
              <a:ext cx="552590" cy="552590"/>
            </a:xfrm>
            <a:prstGeom prst="ellipse">
              <a:avLst/>
            </a:prstGeom>
            <a:solidFill>
              <a:srgbClr val="FFB700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5628720" y="5182474"/>
              <a:ext cx="48538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>
                  <a:solidFill>
                    <a:schemeClr val="bg1"/>
                  </a:solidFill>
                </a:rPr>
                <a:t>5</a:t>
              </a:r>
            </a:p>
          </p:txBody>
        </p:sp>
      </p:grpSp>
      <p:sp>
        <p:nvSpPr>
          <p:cNvPr id="14" name="Номер слайда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34343D-424D-479E-A25B-CEA996702F2B}" type="slidenum">
              <a:rPr lang="ru-RU" smtClean="0"/>
              <a:t>4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1904446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77621" y="482508"/>
            <a:ext cx="8662487" cy="2024081"/>
          </a:xfrm>
        </p:spPr>
        <p:txBody>
          <a:bodyPr>
            <a:normAutofit/>
          </a:bodyPr>
          <a:lstStyle/>
          <a:p>
            <a:r>
              <a:rPr lang="ru-RU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Спасибо за внимание!</a:t>
            </a:r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/>
            </a:r>
            <a:b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endParaRPr lang="ru-RU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34343D-424D-479E-A25B-CEA996702F2B}" type="slidenum">
              <a:rPr lang="ru-RU" smtClean="0"/>
              <a:t>42</a:t>
            </a:fld>
            <a:endParaRPr lang="ru-RU"/>
          </a:p>
        </p:txBody>
      </p:sp>
      <p:pic>
        <p:nvPicPr>
          <p:cNvPr id="5124" name="Picture 4" descr="Картинки по запросу interior 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2299892"/>
            <a:ext cx="9144001" cy="45581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974791" y="5929745"/>
            <a:ext cx="3065317" cy="928254"/>
          </a:xfrm>
        </p:spPr>
        <p:txBody>
          <a:bodyPr>
            <a:normAutofit fontScale="62500" lnSpcReduction="20000"/>
          </a:bodyPr>
          <a:lstStyle/>
          <a:p>
            <a:pPr algn="r"/>
            <a:r>
              <a:rPr lang="ru-RU" sz="2000" b="1" dirty="0" smtClean="0">
                <a:latin typeface="+mj-lt"/>
              </a:rPr>
              <a:t>Презентацию подготовила:</a:t>
            </a:r>
            <a:r>
              <a:rPr lang="en-US" sz="2000" b="1" dirty="0">
                <a:latin typeface="+mj-lt"/>
              </a:rPr>
              <a:t> </a:t>
            </a:r>
            <a:r>
              <a:rPr lang="ru-RU" sz="2000" b="1" dirty="0" smtClean="0">
                <a:latin typeface="+mj-lt"/>
              </a:rPr>
              <a:t>студентка 4 курса</a:t>
            </a:r>
          </a:p>
          <a:p>
            <a:pPr algn="r"/>
            <a:r>
              <a:rPr lang="ru-RU" sz="2000" b="1" dirty="0" smtClean="0">
                <a:latin typeface="+mj-lt"/>
              </a:rPr>
              <a:t>Направления УП</a:t>
            </a:r>
          </a:p>
          <a:p>
            <a:pPr algn="r"/>
            <a:r>
              <a:rPr lang="ru-RU" sz="2000" b="1" dirty="0" smtClean="0">
                <a:latin typeface="+mj-lt"/>
              </a:rPr>
              <a:t>Субботина Мария</a:t>
            </a:r>
            <a:endParaRPr lang="ru-RU" sz="20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06777341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85786" y="0"/>
            <a:ext cx="7772400" cy="928670"/>
          </a:xfrm>
        </p:spPr>
        <p:txBody>
          <a:bodyPr>
            <a:normAutofit/>
          </a:bodyPr>
          <a:lstStyle/>
          <a:p>
            <a:r>
              <a:rPr lang="ru-RU" sz="5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solidFill>
                  <a:schemeClr val="accent6"/>
                </a:soli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тальянцы в России:</a:t>
            </a:r>
            <a:endParaRPr lang="ru-RU" sz="5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solidFill>
                <a:schemeClr val="accent6"/>
              </a:solidFill>
              <a:effectLst>
                <a:glow rad="45500">
                  <a:schemeClr val="accent1">
                    <a:satMod val="220000"/>
                    <a:alpha val="35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260" y="1471630"/>
            <a:ext cx="3811574" cy="5072062"/>
          </a:xfrm>
          <a:prstGeom prst="rect">
            <a:avLst/>
          </a:prstGeom>
        </p:spPr>
      </p:pic>
      <p:sp>
        <p:nvSpPr>
          <p:cNvPr id="7" name="Заголовок 1"/>
          <p:cNvSpPr txBox="1">
            <a:spLocks/>
          </p:cNvSpPr>
          <p:nvPr/>
        </p:nvSpPr>
        <p:spPr>
          <a:xfrm>
            <a:off x="509260" y="685800"/>
            <a:ext cx="7772400" cy="9286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ru-RU" sz="5400" b="1" i="1" spc="300" dirty="0" smtClean="0">
                <a:ln w="11430" cmpd="sng">
                  <a:solidFill>
                    <a:srgbClr val="4F81BD">
                      <a:tint val="10000"/>
                    </a:srgbClr>
                  </a:solidFill>
                  <a:prstDash val="solid"/>
                  <a:miter lim="800000"/>
                </a:ln>
                <a:solidFill>
                  <a:srgbClr val="F79646"/>
                </a:solidFill>
                <a:effectLst>
                  <a:glow rad="45500">
                    <a:srgbClr val="4F81BD">
                      <a:satMod val="220000"/>
                      <a:alpha val="35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Д</a:t>
            </a:r>
            <a:r>
              <a:rPr lang="ru-RU" sz="5400" b="1" i="1" spc="300" dirty="0" err="1" smtClean="0">
                <a:ln w="11430" cmpd="sng">
                  <a:solidFill>
                    <a:srgbClr val="4F81BD">
                      <a:tint val="10000"/>
                    </a:srgbClr>
                  </a:solidFill>
                  <a:prstDash val="solid"/>
                  <a:miter lim="800000"/>
                </a:ln>
                <a:solidFill>
                  <a:srgbClr val="F79646"/>
                </a:solidFill>
                <a:effectLst>
                  <a:glow rad="45500">
                    <a:srgbClr val="4F81BD">
                      <a:satMod val="220000"/>
                      <a:alpha val="35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ень</a:t>
            </a:r>
            <a:r>
              <a:rPr lang="ru-RU" sz="5400" b="1" i="1" spc="300" dirty="0" smtClean="0">
                <a:ln w="11430" cmpd="sng">
                  <a:solidFill>
                    <a:srgbClr val="4F81BD">
                      <a:tint val="10000"/>
                    </a:srgbClr>
                  </a:solidFill>
                  <a:prstDash val="solid"/>
                  <a:miter lim="800000"/>
                </a:ln>
                <a:solidFill>
                  <a:srgbClr val="F79646"/>
                </a:solidFill>
                <a:effectLst>
                  <a:glow rad="45500">
                    <a:srgbClr val="4F81BD">
                      <a:satMod val="220000"/>
                      <a:alpha val="35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 сегодняшний</a:t>
            </a:r>
            <a:endParaRPr lang="ru-RU" sz="5400" b="1" i="1" spc="300" dirty="0">
              <a:ln w="11430" cmpd="sng">
                <a:solidFill>
                  <a:srgbClr val="4F81BD">
                    <a:tint val="10000"/>
                  </a:srgbClr>
                </a:solidFill>
                <a:prstDash val="solid"/>
                <a:miter lim="800000"/>
              </a:ln>
              <a:solidFill>
                <a:srgbClr val="F79646"/>
              </a:solidFill>
              <a:effectLst>
                <a:glow rad="45500">
                  <a:srgbClr val="4F81BD">
                    <a:satMod val="220000"/>
                    <a:alpha val="35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051300" y="4914900"/>
            <a:ext cx="412750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3200" dirty="0" err="1" smtClean="0">
                <a:solidFill>
                  <a:srgbClr val="C00000"/>
                </a:solidFill>
                <a:latin typeface="Bookman Old Style" panose="02050604050505020204" pitchFamily="18" charset="0"/>
              </a:rPr>
              <a:t>Мицко</a:t>
            </a:r>
            <a:r>
              <a:rPr lang="ru-RU" sz="3200" dirty="0" smtClean="0">
                <a:solidFill>
                  <a:srgbClr val="C00000"/>
                </a:solidFill>
                <a:latin typeface="Bookman Old Style" panose="02050604050505020204" pitchFamily="18" charset="0"/>
              </a:rPr>
              <a:t> Вероника </a:t>
            </a:r>
          </a:p>
          <a:p>
            <a:pPr algn="r"/>
            <a:r>
              <a:rPr lang="ru-RU" i="1" dirty="0" smtClean="0"/>
              <a:t>4 курс МБ</a:t>
            </a:r>
            <a:endParaRPr lang="ru-RU" i="1" dirty="0"/>
          </a:p>
        </p:txBody>
      </p:sp>
    </p:spTree>
    <p:extLst>
      <p:ext uri="{BB962C8B-B14F-4D97-AF65-F5344CB8AC3E}">
        <p14:creationId xmlns:p14="http://schemas.microsoft.com/office/powerpoint/2010/main" val="2937061581"/>
      </p:ext>
    </p:extLst>
  </p:cSld>
  <p:clrMapOvr>
    <a:masterClrMapping/>
  </p:clrMapOvr>
  <p:transition spd="slow">
    <p:split dir="in"/>
  </p:transition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Содержимое 5" descr="504.jpg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285728"/>
            <a:ext cx="7858180" cy="4686090"/>
          </a:xfrm>
        </p:spPr>
      </p:pic>
      <p:pic>
        <p:nvPicPr>
          <p:cNvPr id="8" name="Рисунок 7" descr="Team-Building-a-Team-Really-That-Easy.jpg"/>
          <p:cNvPicPr>
            <a:picLocks noChangeAspect="1"/>
          </p:cNvPicPr>
          <p:nvPr/>
        </p:nvPicPr>
        <p:blipFill>
          <a:blip r:embed="rId3"/>
          <a:srcRect l="6030" t="12195" r="7723" b="12195"/>
          <a:stretch>
            <a:fillRect/>
          </a:stretch>
        </p:blipFill>
        <p:spPr>
          <a:xfrm>
            <a:off x="4143372" y="4643422"/>
            <a:ext cx="4786346" cy="2214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3773433"/>
      </p:ext>
    </p:extLst>
  </p:cSld>
  <p:clrMapOvr>
    <a:masterClrMapping/>
  </p:clrMapOvr>
  <p:transition spd="slow">
    <p:split dir="in"/>
  </p:transition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Содержимое 4" descr="shiva_07.png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428728" y="1285860"/>
            <a:ext cx="6143668" cy="4607751"/>
          </a:xfrm>
        </p:spPr>
      </p:pic>
      <p:sp>
        <p:nvSpPr>
          <p:cNvPr id="7" name="TextBox 6"/>
          <p:cNvSpPr txBox="1"/>
          <p:nvPr/>
        </p:nvSpPr>
        <p:spPr>
          <a:xfrm>
            <a:off x="1714480" y="642918"/>
            <a:ext cx="578647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000" b="1" dirty="0" smtClean="0">
                <a:ln w="1905"/>
                <a:gradFill>
                  <a:gsLst>
                    <a:gs pos="0">
                      <a:srgbClr val="F79646">
                        <a:shade val="20000"/>
                        <a:satMod val="200000"/>
                      </a:srgbClr>
                    </a:gs>
                    <a:gs pos="78000">
                      <a:srgbClr val="F79646">
                        <a:tint val="90000"/>
                        <a:shade val="89000"/>
                        <a:satMod val="220000"/>
                      </a:srgbClr>
                    </a:gs>
                    <a:gs pos="100000">
                      <a:srgbClr val="F79646">
                        <a:tint val="12000"/>
                        <a:satMod val="255000"/>
                      </a:srgb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alibri"/>
              </a:rPr>
              <a:t>Моё отношение к работе</a:t>
            </a:r>
            <a:endParaRPr lang="ru-RU" sz="4000" b="1" dirty="0">
              <a:ln w="1905"/>
              <a:gradFill>
                <a:gsLst>
                  <a:gs pos="0">
                    <a:srgbClr val="F79646">
                      <a:shade val="20000"/>
                      <a:satMod val="200000"/>
                    </a:srgbClr>
                  </a:gs>
                  <a:gs pos="78000">
                    <a:srgbClr val="F79646">
                      <a:tint val="90000"/>
                      <a:shade val="89000"/>
                      <a:satMod val="220000"/>
                    </a:srgbClr>
                  </a:gs>
                  <a:gs pos="100000">
                    <a:srgbClr val="F79646">
                      <a:tint val="12000"/>
                      <a:satMod val="255000"/>
                    </a:srgb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Calibri"/>
            </a:endParaRPr>
          </a:p>
        </p:txBody>
      </p:sp>
      <p:sp>
        <p:nvSpPr>
          <p:cNvPr id="9" name="Блок-схема: решение 8"/>
          <p:cNvSpPr/>
          <p:nvPr/>
        </p:nvSpPr>
        <p:spPr>
          <a:xfrm>
            <a:off x="6357950" y="2143116"/>
            <a:ext cx="2357454" cy="1285884"/>
          </a:xfrm>
          <a:prstGeom prst="flowChartDecision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572264" y="2571744"/>
            <a:ext cx="21431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Calibri"/>
              </a:rPr>
              <a:t>Ответственность</a:t>
            </a:r>
            <a:endParaRPr lang="ru-RU" sz="200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Calibri"/>
            </a:endParaRPr>
          </a:p>
        </p:txBody>
      </p:sp>
      <p:sp>
        <p:nvSpPr>
          <p:cNvPr id="12" name="Блок-схема: решение 11"/>
          <p:cNvSpPr/>
          <p:nvPr/>
        </p:nvSpPr>
        <p:spPr>
          <a:xfrm>
            <a:off x="428596" y="2143116"/>
            <a:ext cx="2357454" cy="1285884"/>
          </a:xfrm>
          <a:prstGeom prst="flowChartDecision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" name="Блок-схема: решение 12"/>
          <p:cNvSpPr/>
          <p:nvPr/>
        </p:nvSpPr>
        <p:spPr>
          <a:xfrm>
            <a:off x="6357950" y="4429132"/>
            <a:ext cx="2357454" cy="1285884"/>
          </a:xfrm>
          <a:prstGeom prst="flowChartDecision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00034" y="2571744"/>
            <a:ext cx="21431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Calibri"/>
              </a:rPr>
              <a:t>Многозадачность</a:t>
            </a:r>
            <a:endParaRPr lang="ru-RU" sz="200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Calibri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786578" y="4857760"/>
            <a:ext cx="15716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Calibri"/>
              </a:rPr>
              <a:t>Энтузиазм</a:t>
            </a:r>
            <a:endParaRPr lang="ru-RU" sz="200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Calibri"/>
            </a:endParaRPr>
          </a:p>
        </p:txBody>
      </p:sp>
      <p:sp>
        <p:nvSpPr>
          <p:cNvPr id="16" name="Блок-схема: решение 15"/>
          <p:cNvSpPr/>
          <p:nvPr/>
        </p:nvSpPr>
        <p:spPr>
          <a:xfrm>
            <a:off x="214282" y="4500570"/>
            <a:ext cx="2357454" cy="1285884"/>
          </a:xfrm>
          <a:prstGeom prst="flowChartDecision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" name="Блок-схема: решение 16"/>
          <p:cNvSpPr/>
          <p:nvPr/>
        </p:nvSpPr>
        <p:spPr>
          <a:xfrm>
            <a:off x="3357554" y="5429264"/>
            <a:ext cx="2357454" cy="1285884"/>
          </a:xfrm>
          <a:prstGeom prst="flowChartDecision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85720" y="4929198"/>
            <a:ext cx="22860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Calibri"/>
              </a:rPr>
              <a:t>Исполнительность</a:t>
            </a:r>
            <a:endParaRPr lang="ru-RU" sz="200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Calibri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571868" y="5643578"/>
            <a:ext cx="200026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Calibri"/>
              </a:rPr>
              <a:t>Первый серьёзный опыт</a:t>
            </a:r>
            <a:endParaRPr lang="ru-RU" sz="200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2327904"/>
      </p:ext>
    </p:extLst>
  </p:cSld>
  <p:clrMapOvr>
    <a:masterClrMapping/>
  </p:clrMapOvr>
  <p:transition spd="slow">
    <p:split dir="in"/>
  </p:transition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920267_flag-italii-foto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7999"/>
          </a:xfrm>
          <a:prstGeom prst="rect">
            <a:avLst/>
          </a:prstGeom>
          <a:effectLst>
            <a:glow rad="101600">
              <a:schemeClr val="accent3">
                <a:satMod val="175000"/>
                <a:alpha val="40000"/>
              </a:schemeClr>
            </a:glow>
            <a:softEdge rad="317500"/>
          </a:effec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57356" y="2000240"/>
            <a:ext cx="5715040" cy="2857520"/>
          </a:xfrm>
        </p:spPr>
        <p:txBody>
          <a:bodyPr>
            <a:no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ru-RU" sz="48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Почему итальянцы активно продолжают развивать бизнес на территории нашей страны и как им это удаётся?</a:t>
            </a:r>
            <a:endParaRPr lang="ru-RU" sz="4800" b="1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600268249"/>
      </p:ext>
    </p:extLst>
  </p:cSld>
  <p:clrMapOvr>
    <a:masterClrMapping/>
  </p:clrMapOvr>
  <p:transition spd="slow">
    <p:split dir="in"/>
  </p:transition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 descr="DSC07876-1024x768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4192084"/>
      </p:ext>
    </p:extLst>
  </p:cSld>
  <p:clrMapOvr>
    <a:masterClrMapping/>
  </p:clrMapOvr>
  <p:transition spd="slow">
    <p:split dir="in"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2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720" y="500042"/>
            <a:ext cx="8577921" cy="5857916"/>
          </a:xfrm>
          <a:prstGeom prst="rect">
            <a:avLst/>
          </a:prstGeom>
          <a:effectLst>
            <a:glow rad="228600">
              <a:schemeClr val="accent6">
                <a:satMod val="175000"/>
                <a:alpha val="4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360993989"/>
      </p:ext>
    </p:extLst>
  </p:cSld>
  <p:clrMapOvr>
    <a:masterClrMapping/>
  </p:clrMapOvr>
  <p:transition spd="slow">
    <p:split dir="in"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 descr="456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4282" y="0"/>
            <a:ext cx="4848225" cy="6858000"/>
          </a:xfrm>
          <a:prstGeom prst="rect">
            <a:avLst/>
          </a:prstGeom>
        </p:spPr>
      </p:pic>
      <p:pic>
        <p:nvPicPr>
          <p:cNvPr id="5" name="Рисунок 4" descr="Publicis Groupe 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86314" y="2285992"/>
            <a:ext cx="4148647" cy="2857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9817521"/>
      </p:ext>
    </p:extLst>
  </p:cSld>
  <p:clrMapOvr>
    <a:masterClrMapping/>
  </p:clrMapOvr>
  <p:transition spd="slow">
    <p:split dir="in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BD5762-3BDC-484D-9503-7EA6D5A9A8CE}" type="slidenum">
              <a:rPr lang="ru-RU" smtClean="0">
                <a:solidFill>
                  <a:srgbClr val="000000"/>
                </a:solidFill>
              </a:rPr>
              <a:pPr/>
              <a:t>5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Мои обязанности в </a:t>
            </a:r>
            <a:r>
              <a:rPr lang="en-US" dirty="0" smtClean="0"/>
              <a:t>PwC</a:t>
            </a:r>
            <a:endParaRPr lang="en-US" dirty="0"/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410694334"/>
              </p:ext>
            </p:extLst>
          </p:nvPr>
        </p:nvGraphicFramePr>
        <p:xfrm>
          <a:off x="1308068" y="1207972"/>
          <a:ext cx="6866187" cy="45724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029683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4274154" y="3919818"/>
            <a:ext cx="4170424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ru-RU" sz="2000" dirty="0" smtClean="0">
                <a:solidFill>
                  <a:srgbClr val="000000"/>
                </a:solidFill>
              </a:rPr>
              <a:t>Мосолова</a:t>
            </a:r>
            <a:r>
              <a:rPr lang="ru-RU" sz="2000" dirty="0" smtClean="0"/>
              <a:t> Анастасия</a:t>
            </a:r>
          </a:p>
          <a:p>
            <a:pPr algn="r"/>
            <a:r>
              <a:rPr lang="ru-RU" sz="2000" dirty="0" smtClean="0"/>
              <a:t>4 курс ИБДА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400" y="692208"/>
            <a:ext cx="3604567" cy="541213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33983" y="91320"/>
            <a:ext cx="7419533" cy="778688"/>
          </a:xfrm>
        </p:spPr>
        <p:txBody>
          <a:bodyPr/>
          <a:lstStyle/>
          <a:p>
            <a:pPr algn="r"/>
            <a:r>
              <a:rPr lang="ru-RU" dirty="0" smtClean="0"/>
              <a:t>И еще раз об итальянском менеджменте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2100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GB" dirty="0"/>
          </a:p>
        </p:txBody>
      </p:sp>
      <p:grpSp>
        <p:nvGrpSpPr>
          <p:cNvPr id="7" name="Gruppo 6"/>
          <p:cNvGrpSpPr/>
          <p:nvPr/>
        </p:nvGrpSpPr>
        <p:grpSpPr>
          <a:xfrm>
            <a:off x="1930152" y="2323487"/>
            <a:ext cx="5283739" cy="2833711"/>
            <a:chOff x="2248644" y="1742611"/>
            <a:chExt cx="5283739" cy="2125283"/>
          </a:xfrm>
        </p:grpSpPr>
        <p:sp>
          <p:nvSpPr>
            <p:cNvPr id="29" name="AutoShape 5"/>
            <p:cNvSpPr>
              <a:spLocks noChangeArrowheads="1"/>
            </p:cNvSpPr>
            <p:nvPr/>
          </p:nvSpPr>
          <p:spPr bwMode="auto">
            <a:xfrm>
              <a:off x="2437021" y="1818933"/>
              <a:ext cx="5095362" cy="482101"/>
            </a:xfrm>
            <a:prstGeom prst="rect">
              <a:avLst/>
            </a:prstGeom>
            <a:gradFill flip="none" rotWithShape="1">
              <a:gsLst>
                <a:gs pos="0">
                  <a:srgbClr val="0555E6"/>
                </a:gs>
                <a:gs pos="100000">
                  <a:srgbClr val="0555E6">
                    <a:alpha val="50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  <a:headEnd/>
              <a:tailEnd/>
            </a:ln>
            <a:effectLst/>
          </p:spPr>
          <p:txBody>
            <a:bodyPr lIns="216000" tIns="0" rIns="0" bIns="0" anchor="ctr"/>
            <a:lstStyle/>
            <a:p>
              <a:pPr defTabSz="887391" eaLnBrk="0" hangingPunct="0">
                <a:buClr>
                  <a:srgbClr val="000066"/>
                </a:buClr>
                <a:buSzPct val="100000"/>
                <a:defRPr/>
              </a:pPr>
              <a:r>
                <a:rPr lang="ru-RU" dirty="0" smtClea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  <a:sym typeface="Symbol"/>
                </a:rPr>
                <a:t>О компании и история практики</a:t>
              </a:r>
              <a:endParaRPr lang="en-GB" dirty="0">
                <a:solidFill>
                  <a:prstClr val="white"/>
                </a:solidFill>
                <a:latin typeface="Arial" pitchFamily="34" charset="0"/>
                <a:cs typeface="Arial" pitchFamily="34" charset="0"/>
                <a:sym typeface="Symbol"/>
              </a:endParaRPr>
            </a:p>
          </p:txBody>
        </p:sp>
        <p:cxnSp>
          <p:nvCxnSpPr>
            <p:cNvPr id="30" name="Connettore 1 29"/>
            <p:cNvCxnSpPr/>
            <p:nvPr/>
          </p:nvCxnSpPr>
          <p:spPr>
            <a:xfrm>
              <a:off x="2437022" y="2445051"/>
              <a:ext cx="5095361" cy="0"/>
            </a:xfrm>
            <a:prstGeom prst="line">
              <a:avLst/>
            </a:prstGeom>
            <a:ln w="12700">
              <a:solidFill>
                <a:srgbClr val="C7C7C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Parallelogramma 30"/>
            <p:cNvSpPr/>
            <p:nvPr/>
          </p:nvSpPr>
          <p:spPr>
            <a:xfrm rot="5400000">
              <a:off x="2064681" y="1928696"/>
              <a:ext cx="558425" cy="186256"/>
            </a:xfrm>
            <a:prstGeom prst="parallelogram">
              <a:avLst>
                <a:gd name="adj" fmla="val 41870"/>
              </a:avLst>
            </a:prstGeom>
            <a:solidFill>
              <a:srgbClr val="0E3D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defTabSz="685800"/>
              <a:endParaRPr lang="it-IT" sz="2000" dirty="0" err="1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2" name="AutoShape 5"/>
            <p:cNvSpPr>
              <a:spLocks noChangeArrowheads="1"/>
            </p:cNvSpPr>
            <p:nvPr/>
          </p:nvSpPr>
          <p:spPr bwMode="auto">
            <a:xfrm>
              <a:off x="2437021" y="2589067"/>
              <a:ext cx="5095362" cy="482101"/>
            </a:xfrm>
            <a:prstGeom prst="rect">
              <a:avLst/>
            </a:prstGeom>
            <a:gradFill flip="none" rotWithShape="1">
              <a:gsLst>
                <a:gs pos="0">
                  <a:srgbClr val="0555E6"/>
                </a:gs>
                <a:gs pos="100000">
                  <a:srgbClr val="0555E6">
                    <a:alpha val="50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  <a:headEnd/>
              <a:tailEnd/>
            </a:ln>
            <a:effectLst/>
          </p:spPr>
          <p:txBody>
            <a:bodyPr lIns="216000" tIns="0" rIns="0" bIns="0" anchor="ctr"/>
            <a:lstStyle/>
            <a:p>
              <a:pPr defTabSz="887391" eaLnBrk="0" hangingPunct="0">
                <a:buClr>
                  <a:srgbClr val="000066"/>
                </a:buClr>
                <a:buSzPct val="100000"/>
                <a:defRPr/>
              </a:pPr>
              <a:r>
                <a:rPr lang="ru-RU" dirty="0" smtClea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  <a:sym typeface="Symbol"/>
                </a:rPr>
                <a:t>Итальянский менеджмент в России</a:t>
              </a:r>
              <a:endParaRPr lang="en-GB" dirty="0">
                <a:solidFill>
                  <a:prstClr val="white"/>
                </a:solidFill>
                <a:latin typeface="Arial" pitchFamily="34" charset="0"/>
                <a:cs typeface="Arial" pitchFamily="34" charset="0"/>
                <a:sym typeface="Symbol"/>
              </a:endParaRPr>
            </a:p>
          </p:txBody>
        </p:sp>
        <p:cxnSp>
          <p:nvCxnSpPr>
            <p:cNvPr id="33" name="Connettore 1 32"/>
            <p:cNvCxnSpPr/>
            <p:nvPr/>
          </p:nvCxnSpPr>
          <p:spPr>
            <a:xfrm>
              <a:off x="2437022" y="3215185"/>
              <a:ext cx="5095361" cy="0"/>
            </a:xfrm>
            <a:prstGeom prst="line">
              <a:avLst/>
            </a:prstGeom>
            <a:ln w="12700">
              <a:solidFill>
                <a:srgbClr val="C7C7C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Parallelogramma 33"/>
            <p:cNvSpPr/>
            <p:nvPr/>
          </p:nvSpPr>
          <p:spPr>
            <a:xfrm rot="5400000">
              <a:off x="2064681" y="2698830"/>
              <a:ext cx="558425" cy="186256"/>
            </a:xfrm>
            <a:prstGeom prst="parallelogram">
              <a:avLst>
                <a:gd name="adj" fmla="val 41870"/>
              </a:avLst>
            </a:prstGeom>
            <a:solidFill>
              <a:srgbClr val="0E3D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defTabSz="685800"/>
              <a:endParaRPr lang="it-IT" sz="2000" dirty="0" err="1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5" name="AutoShape 5"/>
            <p:cNvSpPr>
              <a:spLocks noChangeArrowheads="1"/>
            </p:cNvSpPr>
            <p:nvPr/>
          </p:nvSpPr>
          <p:spPr bwMode="auto">
            <a:xfrm>
              <a:off x="2437021" y="3385788"/>
              <a:ext cx="5095362" cy="482101"/>
            </a:xfrm>
            <a:prstGeom prst="rect">
              <a:avLst/>
            </a:prstGeom>
            <a:gradFill flip="none" rotWithShape="1">
              <a:gsLst>
                <a:gs pos="0">
                  <a:srgbClr val="0555E6"/>
                </a:gs>
                <a:gs pos="100000">
                  <a:srgbClr val="0555E6">
                    <a:alpha val="50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  <a:headEnd/>
              <a:tailEnd/>
            </a:ln>
            <a:effectLst/>
          </p:spPr>
          <p:txBody>
            <a:bodyPr lIns="216000" tIns="0" rIns="0" bIns="0" anchor="ctr"/>
            <a:lstStyle/>
            <a:p>
              <a:pPr defTabSz="887391" eaLnBrk="0" hangingPunct="0">
                <a:buClr>
                  <a:srgbClr val="000066"/>
                </a:buClr>
                <a:buSzPct val="100000"/>
                <a:defRPr/>
              </a:pPr>
              <a:r>
                <a:rPr lang="ru-RU" dirty="0" smtClea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  <a:sym typeface="Symbol"/>
                </a:rPr>
                <a:t>Где же лучше работать?</a:t>
              </a:r>
              <a:endParaRPr lang="en-GB" dirty="0">
                <a:solidFill>
                  <a:prstClr val="white"/>
                </a:solidFill>
                <a:latin typeface="Arial" pitchFamily="34" charset="0"/>
                <a:cs typeface="Arial" pitchFamily="34" charset="0"/>
                <a:sym typeface="Symbol"/>
              </a:endParaRPr>
            </a:p>
          </p:txBody>
        </p:sp>
        <p:sp>
          <p:nvSpPr>
            <p:cNvPr id="36" name="Parallelogramma 35"/>
            <p:cNvSpPr/>
            <p:nvPr/>
          </p:nvSpPr>
          <p:spPr>
            <a:xfrm rot="5400000">
              <a:off x="2064681" y="3495551"/>
              <a:ext cx="558425" cy="186256"/>
            </a:xfrm>
            <a:prstGeom prst="parallelogram">
              <a:avLst>
                <a:gd name="adj" fmla="val 41870"/>
              </a:avLst>
            </a:prstGeom>
            <a:solidFill>
              <a:srgbClr val="0E3D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defTabSz="685800"/>
              <a:endParaRPr lang="it-IT" sz="2000" dirty="0" err="1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7" name="Rettangolo 36"/>
            <p:cNvSpPr/>
            <p:nvPr/>
          </p:nvSpPr>
          <p:spPr>
            <a:xfrm>
              <a:off x="2315964" y="2733392"/>
              <a:ext cx="71321" cy="115416"/>
            </a:xfrm>
            <a:prstGeom prst="rect">
              <a:avLst/>
            </a:prstGeom>
          </p:spPr>
          <p:txBody>
            <a:bodyPr wrap="none" lIns="0" tIns="0" rIns="0" bIns="0" anchor="ctr">
              <a:spAutoFit/>
            </a:bodyPr>
            <a:lstStyle/>
            <a:p>
              <a:pPr algn="ctr" defTabSz="685800"/>
              <a:r>
                <a:rPr lang="en-GB" sz="1000" b="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  <a:sym typeface="Symbol"/>
                </a:rPr>
                <a:t>2</a:t>
              </a:r>
              <a:endParaRPr lang="it-IT" sz="1000" b="1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8" name="Rettangolo 37"/>
            <p:cNvSpPr/>
            <p:nvPr/>
          </p:nvSpPr>
          <p:spPr>
            <a:xfrm>
              <a:off x="2315964" y="1979319"/>
              <a:ext cx="71321" cy="115416"/>
            </a:xfrm>
            <a:prstGeom prst="rect">
              <a:avLst/>
            </a:prstGeom>
          </p:spPr>
          <p:txBody>
            <a:bodyPr wrap="none" lIns="0" tIns="0" rIns="0" bIns="0" anchor="ctr">
              <a:spAutoFit/>
            </a:bodyPr>
            <a:lstStyle/>
            <a:p>
              <a:pPr algn="ctr" defTabSz="685800"/>
              <a:r>
                <a:rPr lang="en-GB" sz="1000" b="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  <a:sym typeface="Symbol"/>
                </a:rPr>
                <a:t>1</a:t>
              </a:r>
              <a:endParaRPr lang="it-IT" sz="1000" b="1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9" name="Rettangolo 38"/>
            <p:cNvSpPr/>
            <p:nvPr/>
          </p:nvSpPr>
          <p:spPr>
            <a:xfrm>
              <a:off x="2315964" y="3544407"/>
              <a:ext cx="71321" cy="115416"/>
            </a:xfrm>
            <a:prstGeom prst="rect">
              <a:avLst/>
            </a:prstGeom>
          </p:spPr>
          <p:txBody>
            <a:bodyPr wrap="none" lIns="0" tIns="0" rIns="0" bIns="0" anchor="ctr">
              <a:spAutoFit/>
            </a:bodyPr>
            <a:lstStyle/>
            <a:p>
              <a:pPr algn="ctr" defTabSz="685800"/>
              <a:r>
                <a:rPr lang="en-GB" sz="1000" b="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  <a:sym typeface="Symbol"/>
                </a:rPr>
                <a:t>3</a:t>
              </a:r>
              <a:endParaRPr lang="it-IT" sz="1000" b="1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0" name="Parallelogramma 39"/>
            <p:cNvSpPr/>
            <p:nvPr/>
          </p:nvSpPr>
          <p:spPr>
            <a:xfrm rot="5400000">
              <a:off x="7211280" y="1979936"/>
              <a:ext cx="531174" cy="111032"/>
            </a:xfrm>
            <a:prstGeom prst="parallelogram">
              <a:avLst>
                <a:gd name="adj" fmla="val 41870"/>
              </a:avLst>
            </a:prstGeom>
            <a:solidFill>
              <a:srgbClr val="A6C0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defTabSz="685800"/>
              <a:endParaRPr lang="it-IT" sz="2000" dirty="0" err="1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41" name="Parallelogramma 40"/>
            <p:cNvSpPr/>
            <p:nvPr/>
          </p:nvSpPr>
          <p:spPr>
            <a:xfrm rot="5400000">
              <a:off x="7211280" y="2750071"/>
              <a:ext cx="531174" cy="111032"/>
            </a:xfrm>
            <a:prstGeom prst="parallelogram">
              <a:avLst>
                <a:gd name="adj" fmla="val 41870"/>
              </a:avLst>
            </a:prstGeom>
            <a:solidFill>
              <a:srgbClr val="A6C0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defTabSz="685800"/>
              <a:endParaRPr lang="it-IT" sz="2000" dirty="0" err="1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42" name="Parallelogramma 41"/>
            <p:cNvSpPr/>
            <p:nvPr/>
          </p:nvSpPr>
          <p:spPr>
            <a:xfrm rot="5400000">
              <a:off x="7211280" y="3546791"/>
              <a:ext cx="531174" cy="111032"/>
            </a:xfrm>
            <a:prstGeom prst="parallelogram">
              <a:avLst>
                <a:gd name="adj" fmla="val 41870"/>
              </a:avLst>
            </a:prstGeom>
            <a:solidFill>
              <a:srgbClr val="A6C0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defTabSz="685800"/>
              <a:endParaRPr lang="it-IT" sz="2000" dirty="0" err="1" smtClean="0">
                <a:solidFill>
                  <a:prstClr val="white"/>
                </a:solidFill>
                <a:latin typeface="Arial"/>
              </a:endParaRPr>
            </a:p>
          </p:txBody>
        </p:sp>
        <p:cxnSp>
          <p:nvCxnSpPr>
            <p:cNvPr id="43" name="Connettore 1 42"/>
            <p:cNvCxnSpPr/>
            <p:nvPr/>
          </p:nvCxnSpPr>
          <p:spPr>
            <a:xfrm>
              <a:off x="2248644" y="2366172"/>
              <a:ext cx="188378" cy="78879"/>
            </a:xfrm>
            <a:prstGeom prst="line">
              <a:avLst/>
            </a:prstGeom>
            <a:ln w="12700">
              <a:solidFill>
                <a:srgbClr val="C7C7C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Connettore 1 43"/>
            <p:cNvCxnSpPr/>
            <p:nvPr/>
          </p:nvCxnSpPr>
          <p:spPr>
            <a:xfrm>
              <a:off x="2248644" y="3136306"/>
              <a:ext cx="188378" cy="78879"/>
            </a:xfrm>
            <a:prstGeom prst="line">
              <a:avLst/>
            </a:prstGeom>
            <a:ln w="12700">
              <a:solidFill>
                <a:srgbClr val="C7C7C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1" name="Freeform 31"/>
            <p:cNvSpPr>
              <a:spLocks noEditPoints="1"/>
            </p:cNvSpPr>
            <p:nvPr/>
          </p:nvSpPr>
          <p:spPr bwMode="auto">
            <a:xfrm flipH="1">
              <a:off x="6853238" y="3499200"/>
              <a:ext cx="345108" cy="278954"/>
            </a:xfrm>
            <a:custGeom>
              <a:avLst/>
              <a:gdLst>
                <a:gd name="T0" fmla="*/ 1761 w 3645"/>
                <a:gd name="T1" fmla="*/ 2921 h 3195"/>
                <a:gd name="T2" fmla="*/ 1718 w 3645"/>
                <a:gd name="T3" fmla="*/ 3008 h 3195"/>
                <a:gd name="T4" fmla="*/ 1214 w 3645"/>
                <a:gd name="T5" fmla="*/ 3192 h 3195"/>
                <a:gd name="T6" fmla="*/ 1146 w 3645"/>
                <a:gd name="T7" fmla="*/ 3121 h 3195"/>
                <a:gd name="T8" fmla="*/ 3105 w 3645"/>
                <a:gd name="T9" fmla="*/ 892 h 3195"/>
                <a:gd name="T10" fmla="*/ 3175 w 3645"/>
                <a:gd name="T11" fmla="*/ 1029 h 3195"/>
                <a:gd name="T12" fmla="*/ 3209 w 3645"/>
                <a:gd name="T13" fmla="*/ 1303 h 3195"/>
                <a:gd name="T14" fmla="*/ 3175 w 3645"/>
                <a:gd name="T15" fmla="*/ 1576 h 3195"/>
                <a:gd name="T16" fmla="*/ 3105 w 3645"/>
                <a:gd name="T17" fmla="*/ 1714 h 3195"/>
                <a:gd name="T18" fmla="*/ 3059 w 3645"/>
                <a:gd name="T19" fmla="*/ 1721 h 3195"/>
                <a:gd name="T20" fmla="*/ 2996 w 3645"/>
                <a:gd name="T21" fmla="*/ 1620 h 3195"/>
                <a:gd name="T22" fmla="*/ 2947 w 3645"/>
                <a:gd name="T23" fmla="*/ 1362 h 3195"/>
                <a:gd name="T24" fmla="*/ 2969 w 3645"/>
                <a:gd name="T25" fmla="*/ 1078 h 3195"/>
                <a:gd name="T26" fmla="*/ 3044 w 3645"/>
                <a:gd name="T27" fmla="*/ 898 h 3195"/>
                <a:gd name="T28" fmla="*/ 935 w 3645"/>
                <a:gd name="T29" fmla="*/ 771 h 3195"/>
                <a:gd name="T30" fmla="*/ 897 w 3645"/>
                <a:gd name="T31" fmla="*/ 1303 h 3195"/>
                <a:gd name="T32" fmla="*/ 935 w 3645"/>
                <a:gd name="T33" fmla="*/ 1834 h 3195"/>
                <a:gd name="T34" fmla="*/ 525 w 3645"/>
                <a:gd name="T35" fmla="*/ 1799 h 3195"/>
                <a:gd name="T36" fmla="*/ 198 w 3645"/>
                <a:gd name="T37" fmla="*/ 808 h 3195"/>
                <a:gd name="T38" fmla="*/ 772 w 3645"/>
                <a:gd name="T39" fmla="*/ 791 h 3195"/>
                <a:gd name="T40" fmla="*/ 3044 w 3645"/>
                <a:gd name="T41" fmla="*/ 208 h 3195"/>
                <a:gd name="T42" fmla="*/ 2963 w 3645"/>
                <a:gd name="T43" fmla="*/ 286 h 3195"/>
                <a:gd name="T44" fmla="*/ 2839 w 3645"/>
                <a:gd name="T45" fmla="*/ 554 h 3195"/>
                <a:gd name="T46" fmla="*/ 2751 w 3645"/>
                <a:gd name="T47" fmla="*/ 998 h 3195"/>
                <a:gd name="T48" fmla="*/ 2743 w 3645"/>
                <a:gd name="T49" fmla="*/ 1508 h 3195"/>
                <a:gd name="T50" fmla="*/ 2816 w 3645"/>
                <a:gd name="T51" fmla="*/ 1970 h 3195"/>
                <a:gd name="T52" fmla="*/ 2937 w 3645"/>
                <a:gd name="T53" fmla="*/ 2279 h 3195"/>
                <a:gd name="T54" fmla="*/ 3028 w 3645"/>
                <a:gd name="T55" fmla="*/ 2388 h 3195"/>
                <a:gd name="T56" fmla="*/ 3112 w 3645"/>
                <a:gd name="T57" fmla="*/ 2398 h 3195"/>
                <a:gd name="T58" fmla="*/ 3193 w 3645"/>
                <a:gd name="T59" fmla="*/ 2319 h 3195"/>
                <a:gd name="T60" fmla="*/ 3317 w 3645"/>
                <a:gd name="T61" fmla="*/ 2051 h 3195"/>
                <a:gd name="T62" fmla="*/ 3405 w 3645"/>
                <a:gd name="T63" fmla="*/ 1607 h 3195"/>
                <a:gd name="T64" fmla="*/ 3413 w 3645"/>
                <a:gd name="T65" fmla="*/ 1098 h 3195"/>
                <a:gd name="T66" fmla="*/ 3341 w 3645"/>
                <a:gd name="T67" fmla="*/ 635 h 3195"/>
                <a:gd name="T68" fmla="*/ 3219 w 3645"/>
                <a:gd name="T69" fmla="*/ 326 h 3195"/>
                <a:gd name="T70" fmla="*/ 3127 w 3645"/>
                <a:gd name="T71" fmla="*/ 217 h 3195"/>
                <a:gd name="T72" fmla="*/ 3179 w 3645"/>
                <a:gd name="T73" fmla="*/ 0 h 3195"/>
                <a:gd name="T74" fmla="*/ 3317 w 3645"/>
                <a:gd name="T75" fmla="*/ 62 h 3195"/>
                <a:gd name="T76" fmla="*/ 3469 w 3645"/>
                <a:gd name="T77" fmla="*/ 289 h 3195"/>
                <a:gd name="T78" fmla="*/ 3581 w 3645"/>
                <a:gd name="T79" fmla="*/ 648 h 3195"/>
                <a:gd name="T80" fmla="*/ 3639 w 3645"/>
                <a:gd name="T81" fmla="*/ 1102 h 3195"/>
                <a:gd name="T82" fmla="*/ 3633 w 3645"/>
                <a:gd name="T83" fmla="*/ 1601 h 3195"/>
                <a:gd name="T84" fmla="*/ 3562 w 3645"/>
                <a:gd name="T85" fmla="*/ 2038 h 3195"/>
                <a:gd name="T86" fmla="*/ 3441 w 3645"/>
                <a:gd name="T87" fmla="*/ 2372 h 3195"/>
                <a:gd name="T88" fmla="*/ 3284 w 3645"/>
                <a:gd name="T89" fmla="*/ 2568 h 3195"/>
                <a:gd name="T90" fmla="*/ 2884 w 3645"/>
                <a:gd name="T91" fmla="*/ 2605 h 3195"/>
                <a:gd name="T92" fmla="*/ 2824 w 3645"/>
                <a:gd name="T93" fmla="*/ 2563 h 3195"/>
                <a:gd name="T94" fmla="*/ 2653 w 3645"/>
                <a:gd name="T95" fmla="*/ 2453 h 3195"/>
                <a:gd name="T96" fmla="*/ 2382 w 3645"/>
                <a:gd name="T97" fmla="*/ 2303 h 3195"/>
                <a:gd name="T98" fmla="*/ 2023 w 3645"/>
                <a:gd name="T99" fmla="*/ 2135 h 3195"/>
                <a:gd name="T100" fmla="*/ 1587 w 3645"/>
                <a:gd name="T101" fmla="*/ 1979 h 3195"/>
                <a:gd name="T102" fmla="*/ 1178 w 3645"/>
                <a:gd name="T103" fmla="*/ 1795 h 3195"/>
                <a:gd name="T104" fmla="*/ 1143 w 3645"/>
                <a:gd name="T105" fmla="*/ 1303 h 3195"/>
                <a:gd name="T106" fmla="*/ 1178 w 3645"/>
                <a:gd name="T107" fmla="*/ 810 h 3195"/>
                <a:gd name="T108" fmla="*/ 1587 w 3645"/>
                <a:gd name="T109" fmla="*/ 626 h 3195"/>
                <a:gd name="T110" fmla="*/ 2023 w 3645"/>
                <a:gd name="T111" fmla="*/ 470 h 3195"/>
                <a:gd name="T112" fmla="*/ 2382 w 3645"/>
                <a:gd name="T113" fmla="*/ 303 h 3195"/>
                <a:gd name="T114" fmla="*/ 2653 w 3645"/>
                <a:gd name="T115" fmla="*/ 152 h 3195"/>
                <a:gd name="T116" fmla="*/ 2824 w 3645"/>
                <a:gd name="T117" fmla="*/ 43 h 3195"/>
                <a:gd name="T118" fmla="*/ 2884 w 3645"/>
                <a:gd name="T119" fmla="*/ 0 h 3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645" h="3195">
                  <a:moveTo>
                    <a:pt x="855" y="1975"/>
                  </a:moveTo>
                  <a:lnTo>
                    <a:pt x="1310" y="2061"/>
                  </a:lnTo>
                  <a:lnTo>
                    <a:pt x="1749" y="2878"/>
                  </a:lnTo>
                  <a:lnTo>
                    <a:pt x="1758" y="2899"/>
                  </a:lnTo>
                  <a:lnTo>
                    <a:pt x="1761" y="2921"/>
                  </a:lnTo>
                  <a:lnTo>
                    <a:pt x="1761" y="2940"/>
                  </a:lnTo>
                  <a:lnTo>
                    <a:pt x="1755" y="2960"/>
                  </a:lnTo>
                  <a:lnTo>
                    <a:pt x="1747" y="2978"/>
                  </a:lnTo>
                  <a:lnTo>
                    <a:pt x="1734" y="2995"/>
                  </a:lnTo>
                  <a:lnTo>
                    <a:pt x="1718" y="3008"/>
                  </a:lnTo>
                  <a:lnTo>
                    <a:pt x="1698" y="3018"/>
                  </a:lnTo>
                  <a:lnTo>
                    <a:pt x="1277" y="3187"/>
                  </a:lnTo>
                  <a:lnTo>
                    <a:pt x="1256" y="3193"/>
                  </a:lnTo>
                  <a:lnTo>
                    <a:pt x="1235" y="3195"/>
                  </a:lnTo>
                  <a:lnTo>
                    <a:pt x="1214" y="3192"/>
                  </a:lnTo>
                  <a:lnTo>
                    <a:pt x="1196" y="3185"/>
                  </a:lnTo>
                  <a:lnTo>
                    <a:pt x="1178" y="3174"/>
                  </a:lnTo>
                  <a:lnTo>
                    <a:pt x="1165" y="3160"/>
                  </a:lnTo>
                  <a:lnTo>
                    <a:pt x="1154" y="3142"/>
                  </a:lnTo>
                  <a:lnTo>
                    <a:pt x="1146" y="3121"/>
                  </a:lnTo>
                  <a:lnTo>
                    <a:pt x="855" y="1975"/>
                  </a:lnTo>
                  <a:close/>
                  <a:moveTo>
                    <a:pt x="3078" y="876"/>
                  </a:moveTo>
                  <a:lnTo>
                    <a:pt x="3088" y="879"/>
                  </a:lnTo>
                  <a:lnTo>
                    <a:pt x="3097" y="884"/>
                  </a:lnTo>
                  <a:lnTo>
                    <a:pt x="3105" y="892"/>
                  </a:lnTo>
                  <a:lnTo>
                    <a:pt x="3112" y="898"/>
                  </a:lnTo>
                  <a:lnTo>
                    <a:pt x="3128" y="921"/>
                  </a:lnTo>
                  <a:lnTo>
                    <a:pt x="3145" y="951"/>
                  </a:lnTo>
                  <a:lnTo>
                    <a:pt x="3160" y="985"/>
                  </a:lnTo>
                  <a:lnTo>
                    <a:pt x="3175" y="1029"/>
                  </a:lnTo>
                  <a:lnTo>
                    <a:pt x="3187" y="1078"/>
                  </a:lnTo>
                  <a:lnTo>
                    <a:pt x="3197" y="1130"/>
                  </a:lnTo>
                  <a:lnTo>
                    <a:pt x="3204" y="1185"/>
                  </a:lnTo>
                  <a:lnTo>
                    <a:pt x="3208" y="1243"/>
                  </a:lnTo>
                  <a:lnTo>
                    <a:pt x="3209" y="1303"/>
                  </a:lnTo>
                  <a:lnTo>
                    <a:pt x="3208" y="1362"/>
                  </a:lnTo>
                  <a:lnTo>
                    <a:pt x="3204" y="1420"/>
                  </a:lnTo>
                  <a:lnTo>
                    <a:pt x="3197" y="1475"/>
                  </a:lnTo>
                  <a:lnTo>
                    <a:pt x="3187" y="1527"/>
                  </a:lnTo>
                  <a:lnTo>
                    <a:pt x="3175" y="1576"/>
                  </a:lnTo>
                  <a:lnTo>
                    <a:pt x="3160" y="1620"/>
                  </a:lnTo>
                  <a:lnTo>
                    <a:pt x="3145" y="1655"/>
                  </a:lnTo>
                  <a:lnTo>
                    <a:pt x="3128" y="1685"/>
                  </a:lnTo>
                  <a:lnTo>
                    <a:pt x="3112" y="1707"/>
                  </a:lnTo>
                  <a:lnTo>
                    <a:pt x="3105" y="1714"/>
                  </a:lnTo>
                  <a:lnTo>
                    <a:pt x="3097" y="1721"/>
                  </a:lnTo>
                  <a:lnTo>
                    <a:pt x="3088" y="1727"/>
                  </a:lnTo>
                  <a:lnTo>
                    <a:pt x="3078" y="1729"/>
                  </a:lnTo>
                  <a:lnTo>
                    <a:pt x="3069" y="1727"/>
                  </a:lnTo>
                  <a:lnTo>
                    <a:pt x="3059" y="1721"/>
                  </a:lnTo>
                  <a:lnTo>
                    <a:pt x="3050" y="1714"/>
                  </a:lnTo>
                  <a:lnTo>
                    <a:pt x="3044" y="1707"/>
                  </a:lnTo>
                  <a:lnTo>
                    <a:pt x="3027" y="1685"/>
                  </a:lnTo>
                  <a:lnTo>
                    <a:pt x="3011" y="1655"/>
                  </a:lnTo>
                  <a:lnTo>
                    <a:pt x="2996" y="1620"/>
                  </a:lnTo>
                  <a:lnTo>
                    <a:pt x="2981" y="1576"/>
                  </a:lnTo>
                  <a:lnTo>
                    <a:pt x="2969" y="1527"/>
                  </a:lnTo>
                  <a:lnTo>
                    <a:pt x="2959" y="1475"/>
                  </a:lnTo>
                  <a:lnTo>
                    <a:pt x="2952" y="1420"/>
                  </a:lnTo>
                  <a:lnTo>
                    <a:pt x="2947" y="1362"/>
                  </a:lnTo>
                  <a:lnTo>
                    <a:pt x="2946" y="1303"/>
                  </a:lnTo>
                  <a:lnTo>
                    <a:pt x="2947" y="1243"/>
                  </a:lnTo>
                  <a:lnTo>
                    <a:pt x="2952" y="1185"/>
                  </a:lnTo>
                  <a:lnTo>
                    <a:pt x="2959" y="1130"/>
                  </a:lnTo>
                  <a:lnTo>
                    <a:pt x="2969" y="1078"/>
                  </a:lnTo>
                  <a:lnTo>
                    <a:pt x="2981" y="1029"/>
                  </a:lnTo>
                  <a:lnTo>
                    <a:pt x="2996" y="985"/>
                  </a:lnTo>
                  <a:lnTo>
                    <a:pt x="3011" y="951"/>
                  </a:lnTo>
                  <a:lnTo>
                    <a:pt x="3027" y="921"/>
                  </a:lnTo>
                  <a:lnTo>
                    <a:pt x="3044" y="898"/>
                  </a:lnTo>
                  <a:lnTo>
                    <a:pt x="3050" y="892"/>
                  </a:lnTo>
                  <a:lnTo>
                    <a:pt x="3059" y="884"/>
                  </a:lnTo>
                  <a:lnTo>
                    <a:pt x="3069" y="879"/>
                  </a:lnTo>
                  <a:lnTo>
                    <a:pt x="3078" y="876"/>
                  </a:lnTo>
                  <a:close/>
                  <a:moveTo>
                    <a:pt x="935" y="771"/>
                  </a:moveTo>
                  <a:lnTo>
                    <a:pt x="922" y="873"/>
                  </a:lnTo>
                  <a:lnTo>
                    <a:pt x="911" y="977"/>
                  </a:lnTo>
                  <a:lnTo>
                    <a:pt x="903" y="1083"/>
                  </a:lnTo>
                  <a:lnTo>
                    <a:pt x="898" y="1192"/>
                  </a:lnTo>
                  <a:lnTo>
                    <a:pt x="897" y="1303"/>
                  </a:lnTo>
                  <a:lnTo>
                    <a:pt x="898" y="1413"/>
                  </a:lnTo>
                  <a:lnTo>
                    <a:pt x="903" y="1522"/>
                  </a:lnTo>
                  <a:lnTo>
                    <a:pt x="911" y="1628"/>
                  </a:lnTo>
                  <a:lnTo>
                    <a:pt x="922" y="1732"/>
                  </a:lnTo>
                  <a:lnTo>
                    <a:pt x="935" y="1834"/>
                  </a:lnTo>
                  <a:lnTo>
                    <a:pt x="852" y="1823"/>
                  </a:lnTo>
                  <a:lnTo>
                    <a:pt x="772" y="1814"/>
                  </a:lnTo>
                  <a:lnTo>
                    <a:pt x="691" y="1807"/>
                  </a:lnTo>
                  <a:lnTo>
                    <a:pt x="609" y="1802"/>
                  </a:lnTo>
                  <a:lnTo>
                    <a:pt x="525" y="1799"/>
                  </a:lnTo>
                  <a:lnTo>
                    <a:pt x="436" y="1798"/>
                  </a:lnTo>
                  <a:lnTo>
                    <a:pt x="198" y="1798"/>
                  </a:lnTo>
                  <a:lnTo>
                    <a:pt x="0" y="1460"/>
                  </a:lnTo>
                  <a:lnTo>
                    <a:pt x="0" y="1145"/>
                  </a:lnTo>
                  <a:lnTo>
                    <a:pt x="198" y="808"/>
                  </a:lnTo>
                  <a:lnTo>
                    <a:pt x="436" y="808"/>
                  </a:lnTo>
                  <a:lnTo>
                    <a:pt x="525" y="807"/>
                  </a:lnTo>
                  <a:lnTo>
                    <a:pt x="609" y="803"/>
                  </a:lnTo>
                  <a:lnTo>
                    <a:pt x="691" y="799"/>
                  </a:lnTo>
                  <a:lnTo>
                    <a:pt x="772" y="791"/>
                  </a:lnTo>
                  <a:lnTo>
                    <a:pt x="852" y="782"/>
                  </a:lnTo>
                  <a:lnTo>
                    <a:pt x="935" y="771"/>
                  </a:lnTo>
                  <a:close/>
                  <a:moveTo>
                    <a:pt x="3078" y="198"/>
                  </a:moveTo>
                  <a:lnTo>
                    <a:pt x="3061" y="200"/>
                  </a:lnTo>
                  <a:lnTo>
                    <a:pt x="3044" y="208"/>
                  </a:lnTo>
                  <a:lnTo>
                    <a:pt x="3028" y="217"/>
                  </a:lnTo>
                  <a:lnTo>
                    <a:pt x="3013" y="230"/>
                  </a:lnTo>
                  <a:lnTo>
                    <a:pt x="3000" y="242"/>
                  </a:lnTo>
                  <a:lnTo>
                    <a:pt x="2990" y="253"/>
                  </a:lnTo>
                  <a:lnTo>
                    <a:pt x="2963" y="286"/>
                  </a:lnTo>
                  <a:lnTo>
                    <a:pt x="2937" y="326"/>
                  </a:lnTo>
                  <a:lnTo>
                    <a:pt x="2912" y="371"/>
                  </a:lnTo>
                  <a:lnTo>
                    <a:pt x="2887" y="422"/>
                  </a:lnTo>
                  <a:lnTo>
                    <a:pt x="2864" y="479"/>
                  </a:lnTo>
                  <a:lnTo>
                    <a:pt x="2839" y="554"/>
                  </a:lnTo>
                  <a:lnTo>
                    <a:pt x="2816" y="635"/>
                  </a:lnTo>
                  <a:lnTo>
                    <a:pt x="2795" y="720"/>
                  </a:lnTo>
                  <a:lnTo>
                    <a:pt x="2777" y="809"/>
                  </a:lnTo>
                  <a:lnTo>
                    <a:pt x="2763" y="902"/>
                  </a:lnTo>
                  <a:lnTo>
                    <a:pt x="2751" y="998"/>
                  </a:lnTo>
                  <a:lnTo>
                    <a:pt x="2743" y="1098"/>
                  </a:lnTo>
                  <a:lnTo>
                    <a:pt x="2738" y="1200"/>
                  </a:lnTo>
                  <a:lnTo>
                    <a:pt x="2736" y="1303"/>
                  </a:lnTo>
                  <a:lnTo>
                    <a:pt x="2738" y="1406"/>
                  </a:lnTo>
                  <a:lnTo>
                    <a:pt x="2743" y="1508"/>
                  </a:lnTo>
                  <a:lnTo>
                    <a:pt x="2751" y="1607"/>
                  </a:lnTo>
                  <a:lnTo>
                    <a:pt x="2763" y="1704"/>
                  </a:lnTo>
                  <a:lnTo>
                    <a:pt x="2777" y="1797"/>
                  </a:lnTo>
                  <a:lnTo>
                    <a:pt x="2795" y="1885"/>
                  </a:lnTo>
                  <a:lnTo>
                    <a:pt x="2816" y="1970"/>
                  </a:lnTo>
                  <a:lnTo>
                    <a:pt x="2839" y="2051"/>
                  </a:lnTo>
                  <a:lnTo>
                    <a:pt x="2864" y="2127"/>
                  </a:lnTo>
                  <a:lnTo>
                    <a:pt x="2887" y="2183"/>
                  </a:lnTo>
                  <a:lnTo>
                    <a:pt x="2912" y="2234"/>
                  </a:lnTo>
                  <a:lnTo>
                    <a:pt x="2937" y="2279"/>
                  </a:lnTo>
                  <a:lnTo>
                    <a:pt x="2963" y="2319"/>
                  </a:lnTo>
                  <a:lnTo>
                    <a:pt x="2990" y="2352"/>
                  </a:lnTo>
                  <a:lnTo>
                    <a:pt x="3000" y="2364"/>
                  </a:lnTo>
                  <a:lnTo>
                    <a:pt x="3013" y="2376"/>
                  </a:lnTo>
                  <a:lnTo>
                    <a:pt x="3028" y="2388"/>
                  </a:lnTo>
                  <a:lnTo>
                    <a:pt x="3044" y="2398"/>
                  </a:lnTo>
                  <a:lnTo>
                    <a:pt x="3061" y="2406"/>
                  </a:lnTo>
                  <a:lnTo>
                    <a:pt x="3078" y="2408"/>
                  </a:lnTo>
                  <a:lnTo>
                    <a:pt x="3095" y="2406"/>
                  </a:lnTo>
                  <a:lnTo>
                    <a:pt x="3112" y="2398"/>
                  </a:lnTo>
                  <a:lnTo>
                    <a:pt x="3127" y="2388"/>
                  </a:lnTo>
                  <a:lnTo>
                    <a:pt x="3143" y="2376"/>
                  </a:lnTo>
                  <a:lnTo>
                    <a:pt x="3155" y="2364"/>
                  </a:lnTo>
                  <a:lnTo>
                    <a:pt x="3166" y="2352"/>
                  </a:lnTo>
                  <a:lnTo>
                    <a:pt x="3193" y="2319"/>
                  </a:lnTo>
                  <a:lnTo>
                    <a:pt x="3219" y="2279"/>
                  </a:lnTo>
                  <a:lnTo>
                    <a:pt x="3245" y="2234"/>
                  </a:lnTo>
                  <a:lnTo>
                    <a:pt x="3269" y="2183"/>
                  </a:lnTo>
                  <a:lnTo>
                    <a:pt x="3291" y="2127"/>
                  </a:lnTo>
                  <a:lnTo>
                    <a:pt x="3317" y="2051"/>
                  </a:lnTo>
                  <a:lnTo>
                    <a:pt x="3341" y="1970"/>
                  </a:lnTo>
                  <a:lnTo>
                    <a:pt x="3362" y="1885"/>
                  </a:lnTo>
                  <a:lnTo>
                    <a:pt x="3379" y="1797"/>
                  </a:lnTo>
                  <a:lnTo>
                    <a:pt x="3394" y="1704"/>
                  </a:lnTo>
                  <a:lnTo>
                    <a:pt x="3405" y="1607"/>
                  </a:lnTo>
                  <a:lnTo>
                    <a:pt x="3413" y="1508"/>
                  </a:lnTo>
                  <a:lnTo>
                    <a:pt x="3418" y="1406"/>
                  </a:lnTo>
                  <a:lnTo>
                    <a:pt x="3419" y="1303"/>
                  </a:lnTo>
                  <a:lnTo>
                    <a:pt x="3418" y="1200"/>
                  </a:lnTo>
                  <a:lnTo>
                    <a:pt x="3413" y="1098"/>
                  </a:lnTo>
                  <a:lnTo>
                    <a:pt x="3405" y="998"/>
                  </a:lnTo>
                  <a:lnTo>
                    <a:pt x="3394" y="902"/>
                  </a:lnTo>
                  <a:lnTo>
                    <a:pt x="3379" y="809"/>
                  </a:lnTo>
                  <a:lnTo>
                    <a:pt x="3362" y="720"/>
                  </a:lnTo>
                  <a:lnTo>
                    <a:pt x="3341" y="635"/>
                  </a:lnTo>
                  <a:lnTo>
                    <a:pt x="3317" y="554"/>
                  </a:lnTo>
                  <a:lnTo>
                    <a:pt x="3291" y="479"/>
                  </a:lnTo>
                  <a:lnTo>
                    <a:pt x="3269" y="422"/>
                  </a:lnTo>
                  <a:lnTo>
                    <a:pt x="3245" y="371"/>
                  </a:lnTo>
                  <a:lnTo>
                    <a:pt x="3219" y="326"/>
                  </a:lnTo>
                  <a:lnTo>
                    <a:pt x="3193" y="286"/>
                  </a:lnTo>
                  <a:lnTo>
                    <a:pt x="3166" y="253"/>
                  </a:lnTo>
                  <a:lnTo>
                    <a:pt x="3155" y="242"/>
                  </a:lnTo>
                  <a:lnTo>
                    <a:pt x="3143" y="230"/>
                  </a:lnTo>
                  <a:lnTo>
                    <a:pt x="3127" y="217"/>
                  </a:lnTo>
                  <a:lnTo>
                    <a:pt x="3112" y="208"/>
                  </a:lnTo>
                  <a:lnTo>
                    <a:pt x="3095" y="200"/>
                  </a:lnTo>
                  <a:lnTo>
                    <a:pt x="3078" y="198"/>
                  </a:lnTo>
                  <a:close/>
                  <a:moveTo>
                    <a:pt x="2884" y="0"/>
                  </a:moveTo>
                  <a:lnTo>
                    <a:pt x="3179" y="0"/>
                  </a:lnTo>
                  <a:lnTo>
                    <a:pt x="3176" y="0"/>
                  </a:lnTo>
                  <a:lnTo>
                    <a:pt x="3214" y="5"/>
                  </a:lnTo>
                  <a:lnTo>
                    <a:pt x="3249" y="17"/>
                  </a:lnTo>
                  <a:lnTo>
                    <a:pt x="3284" y="37"/>
                  </a:lnTo>
                  <a:lnTo>
                    <a:pt x="3317" y="62"/>
                  </a:lnTo>
                  <a:lnTo>
                    <a:pt x="3351" y="96"/>
                  </a:lnTo>
                  <a:lnTo>
                    <a:pt x="3383" y="136"/>
                  </a:lnTo>
                  <a:lnTo>
                    <a:pt x="3413" y="181"/>
                  </a:lnTo>
                  <a:lnTo>
                    <a:pt x="3441" y="233"/>
                  </a:lnTo>
                  <a:lnTo>
                    <a:pt x="3469" y="289"/>
                  </a:lnTo>
                  <a:lnTo>
                    <a:pt x="3495" y="351"/>
                  </a:lnTo>
                  <a:lnTo>
                    <a:pt x="3520" y="419"/>
                  </a:lnTo>
                  <a:lnTo>
                    <a:pt x="3542" y="491"/>
                  </a:lnTo>
                  <a:lnTo>
                    <a:pt x="3562" y="567"/>
                  </a:lnTo>
                  <a:lnTo>
                    <a:pt x="3581" y="648"/>
                  </a:lnTo>
                  <a:lnTo>
                    <a:pt x="3597" y="732"/>
                  </a:lnTo>
                  <a:lnTo>
                    <a:pt x="3612" y="820"/>
                  </a:lnTo>
                  <a:lnTo>
                    <a:pt x="3623" y="911"/>
                  </a:lnTo>
                  <a:lnTo>
                    <a:pt x="3633" y="1005"/>
                  </a:lnTo>
                  <a:lnTo>
                    <a:pt x="3639" y="1102"/>
                  </a:lnTo>
                  <a:lnTo>
                    <a:pt x="3644" y="1201"/>
                  </a:lnTo>
                  <a:lnTo>
                    <a:pt x="3645" y="1303"/>
                  </a:lnTo>
                  <a:lnTo>
                    <a:pt x="3644" y="1405"/>
                  </a:lnTo>
                  <a:lnTo>
                    <a:pt x="3639" y="1503"/>
                  </a:lnTo>
                  <a:lnTo>
                    <a:pt x="3633" y="1601"/>
                  </a:lnTo>
                  <a:lnTo>
                    <a:pt x="3623" y="1695"/>
                  </a:lnTo>
                  <a:lnTo>
                    <a:pt x="3612" y="1785"/>
                  </a:lnTo>
                  <a:lnTo>
                    <a:pt x="3597" y="1873"/>
                  </a:lnTo>
                  <a:lnTo>
                    <a:pt x="3581" y="1957"/>
                  </a:lnTo>
                  <a:lnTo>
                    <a:pt x="3562" y="2038"/>
                  </a:lnTo>
                  <a:lnTo>
                    <a:pt x="3542" y="2114"/>
                  </a:lnTo>
                  <a:lnTo>
                    <a:pt x="3520" y="2186"/>
                  </a:lnTo>
                  <a:lnTo>
                    <a:pt x="3495" y="2254"/>
                  </a:lnTo>
                  <a:lnTo>
                    <a:pt x="3469" y="2316"/>
                  </a:lnTo>
                  <a:lnTo>
                    <a:pt x="3441" y="2372"/>
                  </a:lnTo>
                  <a:lnTo>
                    <a:pt x="3413" y="2424"/>
                  </a:lnTo>
                  <a:lnTo>
                    <a:pt x="3383" y="2470"/>
                  </a:lnTo>
                  <a:lnTo>
                    <a:pt x="3351" y="2510"/>
                  </a:lnTo>
                  <a:lnTo>
                    <a:pt x="3317" y="2543"/>
                  </a:lnTo>
                  <a:lnTo>
                    <a:pt x="3284" y="2568"/>
                  </a:lnTo>
                  <a:lnTo>
                    <a:pt x="3249" y="2588"/>
                  </a:lnTo>
                  <a:lnTo>
                    <a:pt x="3214" y="2600"/>
                  </a:lnTo>
                  <a:lnTo>
                    <a:pt x="3176" y="2605"/>
                  </a:lnTo>
                  <a:lnTo>
                    <a:pt x="3179" y="2605"/>
                  </a:lnTo>
                  <a:lnTo>
                    <a:pt x="2884" y="2605"/>
                  </a:lnTo>
                  <a:lnTo>
                    <a:pt x="2882" y="2603"/>
                  </a:lnTo>
                  <a:lnTo>
                    <a:pt x="2874" y="2597"/>
                  </a:lnTo>
                  <a:lnTo>
                    <a:pt x="2863" y="2589"/>
                  </a:lnTo>
                  <a:lnTo>
                    <a:pt x="2845" y="2577"/>
                  </a:lnTo>
                  <a:lnTo>
                    <a:pt x="2824" y="2563"/>
                  </a:lnTo>
                  <a:lnTo>
                    <a:pt x="2799" y="2545"/>
                  </a:lnTo>
                  <a:lnTo>
                    <a:pt x="2769" y="2525"/>
                  </a:lnTo>
                  <a:lnTo>
                    <a:pt x="2734" y="2503"/>
                  </a:lnTo>
                  <a:lnTo>
                    <a:pt x="2696" y="2479"/>
                  </a:lnTo>
                  <a:lnTo>
                    <a:pt x="2653" y="2453"/>
                  </a:lnTo>
                  <a:lnTo>
                    <a:pt x="2607" y="2426"/>
                  </a:lnTo>
                  <a:lnTo>
                    <a:pt x="2556" y="2397"/>
                  </a:lnTo>
                  <a:lnTo>
                    <a:pt x="2502" y="2366"/>
                  </a:lnTo>
                  <a:lnTo>
                    <a:pt x="2443" y="2335"/>
                  </a:lnTo>
                  <a:lnTo>
                    <a:pt x="2382" y="2303"/>
                  </a:lnTo>
                  <a:lnTo>
                    <a:pt x="2317" y="2269"/>
                  </a:lnTo>
                  <a:lnTo>
                    <a:pt x="2247" y="2236"/>
                  </a:lnTo>
                  <a:lnTo>
                    <a:pt x="2176" y="2203"/>
                  </a:lnTo>
                  <a:lnTo>
                    <a:pt x="2100" y="2169"/>
                  </a:lnTo>
                  <a:lnTo>
                    <a:pt x="2023" y="2135"/>
                  </a:lnTo>
                  <a:lnTo>
                    <a:pt x="1941" y="2102"/>
                  </a:lnTo>
                  <a:lnTo>
                    <a:pt x="1857" y="2070"/>
                  </a:lnTo>
                  <a:lnTo>
                    <a:pt x="1770" y="2039"/>
                  </a:lnTo>
                  <a:lnTo>
                    <a:pt x="1680" y="2008"/>
                  </a:lnTo>
                  <a:lnTo>
                    <a:pt x="1587" y="1979"/>
                  </a:lnTo>
                  <a:lnTo>
                    <a:pt x="1492" y="1952"/>
                  </a:lnTo>
                  <a:lnTo>
                    <a:pt x="1395" y="1925"/>
                  </a:lnTo>
                  <a:lnTo>
                    <a:pt x="1296" y="1901"/>
                  </a:lnTo>
                  <a:lnTo>
                    <a:pt x="1193" y="1878"/>
                  </a:lnTo>
                  <a:lnTo>
                    <a:pt x="1178" y="1795"/>
                  </a:lnTo>
                  <a:lnTo>
                    <a:pt x="1166" y="1707"/>
                  </a:lnTo>
                  <a:lnTo>
                    <a:pt x="1156" y="1613"/>
                  </a:lnTo>
                  <a:lnTo>
                    <a:pt x="1150" y="1514"/>
                  </a:lnTo>
                  <a:lnTo>
                    <a:pt x="1145" y="1411"/>
                  </a:lnTo>
                  <a:lnTo>
                    <a:pt x="1143" y="1303"/>
                  </a:lnTo>
                  <a:lnTo>
                    <a:pt x="1145" y="1194"/>
                  </a:lnTo>
                  <a:lnTo>
                    <a:pt x="1150" y="1091"/>
                  </a:lnTo>
                  <a:lnTo>
                    <a:pt x="1156" y="993"/>
                  </a:lnTo>
                  <a:lnTo>
                    <a:pt x="1166" y="898"/>
                  </a:lnTo>
                  <a:lnTo>
                    <a:pt x="1178" y="810"/>
                  </a:lnTo>
                  <a:lnTo>
                    <a:pt x="1193" y="727"/>
                  </a:lnTo>
                  <a:lnTo>
                    <a:pt x="1296" y="705"/>
                  </a:lnTo>
                  <a:lnTo>
                    <a:pt x="1395" y="680"/>
                  </a:lnTo>
                  <a:lnTo>
                    <a:pt x="1492" y="654"/>
                  </a:lnTo>
                  <a:lnTo>
                    <a:pt x="1587" y="626"/>
                  </a:lnTo>
                  <a:lnTo>
                    <a:pt x="1680" y="597"/>
                  </a:lnTo>
                  <a:lnTo>
                    <a:pt x="1770" y="566"/>
                  </a:lnTo>
                  <a:lnTo>
                    <a:pt x="1857" y="535"/>
                  </a:lnTo>
                  <a:lnTo>
                    <a:pt x="1941" y="503"/>
                  </a:lnTo>
                  <a:lnTo>
                    <a:pt x="2023" y="470"/>
                  </a:lnTo>
                  <a:lnTo>
                    <a:pt x="2100" y="437"/>
                  </a:lnTo>
                  <a:lnTo>
                    <a:pt x="2176" y="402"/>
                  </a:lnTo>
                  <a:lnTo>
                    <a:pt x="2248" y="369"/>
                  </a:lnTo>
                  <a:lnTo>
                    <a:pt x="2317" y="336"/>
                  </a:lnTo>
                  <a:lnTo>
                    <a:pt x="2382" y="303"/>
                  </a:lnTo>
                  <a:lnTo>
                    <a:pt x="2443" y="271"/>
                  </a:lnTo>
                  <a:lnTo>
                    <a:pt x="2502" y="240"/>
                  </a:lnTo>
                  <a:lnTo>
                    <a:pt x="2556" y="209"/>
                  </a:lnTo>
                  <a:lnTo>
                    <a:pt x="2607" y="180"/>
                  </a:lnTo>
                  <a:lnTo>
                    <a:pt x="2653" y="152"/>
                  </a:lnTo>
                  <a:lnTo>
                    <a:pt x="2696" y="127"/>
                  </a:lnTo>
                  <a:lnTo>
                    <a:pt x="2734" y="102"/>
                  </a:lnTo>
                  <a:lnTo>
                    <a:pt x="2769" y="80"/>
                  </a:lnTo>
                  <a:lnTo>
                    <a:pt x="2799" y="60"/>
                  </a:lnTo>
                  <a:lnTo>
                    <a:pt x="2824" y="43"/>
                  </a:lnTo>
                  <a:lnTo>
                    <a:pt x="2845" y="28"/>
                  </a:lnTo>
                  <a:lnTo>
                    <a:pt x="2863" y="16"/>
                  </a:lnTo>
                  <a:lnTo>
                    <a:pt x="2874" y="8"/>
                  </a:lnTo>
                  <a:lnTo>
                    <a:pt x="2882" y="3"/>
                  </a:lnTo>
                  <a:lnTo>
                    <a:pt x="2884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4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49" name="Freeform 11"/>
            <p:cNvSpPr>
              <a:spLocks noEditPoints="1"/>
            </p:cNvSpPr>
            <p:nvPr/>
          </p:nvSpPr>
          <p:spPr bwMode="auto">
            <a:xfrm>
              <a:off x="6807093" y="1915920"/>
              <a:ext cx="458978" cy="282894"/>
            </a:xfrm>
            <a:custGeom>
              <a:avLst/>
              <a:gdLst>
                <a:gd name="T0" fmla="*/ 2212 w 3390"/>
                <a:gd name="T1" fmla="*/ 1401 h 2540"/>
                <a:gd name="T2" fmla="*/ 2082 w 3390"/>
                <a:gd name="T3" fmla="*/ 1890 h 2540"/>
                <a:gd name="T4" fmla="*/ 2394 w 3390"/>
                <a:gd name="T5" fmla="*/ 2275 h 2540"/>
                <a:gd name="T6" fmla="*/ 2900 w 3390"/>
                <a:gd name="T7" fmla="*/ 2249 h 2540"/>
                <a:gd name="T8" fmla="*/ 3170 w 3390"/>
                <a:gd name="T9" fmla="*/ 1832 h 2540"/>
                <a:gd name="T10" fmla="*/ 2991 w 3390"/>
                <a:gd name="T11" fmla="*/ 1361 h 2540"/>
                <a:gd name="T12" fmla="*/ 707 w 3390"/>
                <a:gd name="T13" fmla="*/ 1223 h 2540"/>
                <a:gd name="T14" fmla="*/ 290 w 3390"/>
                <a:gd name="T15" fmla="*/ 1493 h 2540"/>
                <a:gd name="T16" fmla="*/ 264 w 3390"/>
                <a:gd name="T17" fmla="*/ 1999 h 2540"/>
                <a:gd name="T18" fmla="*/ 649 w 3390"/>
                <a:gd name="T19" fmla="*/ 2312 h 2540"/>
                <a:gd name="T20" fmla="*/ 1137 w 3390"/>
                <a:gd name="T21" fmla="*/ 2182 h 2540"/>
                <a:gd name="T22" fmla="*/ 1316 w 3390"/>
                <a:gd name="T23" fmla="*/ 1712 h 2540"/>
                <a:gd name="T24" fmla="*/ 1046 w 3390"/>
                <a:gd name="T25" fmla="*/ 1295 h 2540"/>
                <a:gd name="T26" fmla="*/ 1556 w 3390"/>
                <a:gd name="T27" fmla="*/ 896 h 2540"/>
                <a:gd name="T28" fmla="*/ 1337 w 3390"/>
                <a:gd name="T29" fmla="*/ 1029 h 2540"/>
                <a:gd name="T30" fmla="*/ 1556 w 3390"/>
                <a:gd name="T31" fmla="*/ 1160 h 2540"/>
                <a:gd name="T32" fmla="*/ 1947 w 3390"/>
                <a:gd name="T33" fmla="*/ 1130 h 2540"/>
                <a:gd name="T34" fmla="*/ 2024 w 3390"/>
                <a:gd name="T35" fmla="*/ 973 h 2540"/>
                <a:gd name="T36" fmla="*/ 1695 w 3390"/>
                <a:gd name="T37" fmla="*/ 886 h 2540"/>
                <a:gd name="T38" fmla="*/ 1950 w 3390"/>
                <a:gd name="T39" fmla="*/ 406 h 2540"/>
                <a:gd name="T40" fmla="*/ 2007 w 3390"/>
                <a:gd name="T41" fmla="*/ 460 h 2540"/>
                <a:gd name="T42" fmla="*/ 2283 w 3390"/>
                <a:gd name="T43" fmla="*/ 342 h 2540"/>
                <a:gd name="T44" fmla="*/ 2422 w 3390"/>
                <a:gd name="T45" fmla="*/ 372 h 2540"/>
                <a:gd name="T46" fmla="*/ 2439 w 3390"/>
                <a:gd name="T47" fmla="*/ 294 h 2540"/>
                <a:gd name="T48" fmla="*/ 2260 w 3390"/>
                <a:gd name="T49" fmla="*/ 260 h 2540"/>
                <a:gd name="T50" fmla="*/ 954 w 3390"/>
                <a:gd name="T51" fmla="*/ 292 h 2540"/>
                <a:gd name="T52" fmla="*/ 955 w 3390"/>
                <a:gd name="T53" fmla="*/ 371 h 2540"/>
                <a:gd name="T54" fmla="*/ 1078 w 3390"/>
                <a:gd name="T55" fmla="*/ 346 h 2540"/>
                <a:gd name="T56" fmla="*/ 1326 w 3390"/>
                <a:gd name="T57" fmla="*/ 400 h 2540"/>
                <a:gd name="T58" fmla="*/ 1445 w 3390"/>
                <a:gd name="T59" fmla="*/ 441 h 2540"/>
                <a:gd name="T60" fmla="*/ 1225 w 3390"/>
                <a:gd name="T61" fmla="*/ 268 h 2540"/>
                <a:gd name="T62" fmla="*/ 1449 w 3390"/>
                <a:gd name="T63" fmla="*/ 92 h 2540"/>
                <a:gd name="T64" fmla="*/ 1505 w 3390"/>
                <a:gd name="T65" fmla="*/ 324 h 2540"/>
                <a:gd name="T66" fmla="*/ 1529 w 3390"/>
                <a:gd name="T67" fmla="*/ 705 h 2540"/>
                <a:gd name="T68" fmla="*/ 1626 w 3390"/>
                <a:gd name="T69" fmla="*/ 626 h 2540"/>
                <a:gd name="T70" fmla="*/ 1745 w 3390"/>
                <a:gd name="T71" fmla="*/ 610 h 2540"/>
                <a:gd name="T72" fmla="*/ 1828 w 3390"/>
                <a:gd name="T73" fmla="*/ 699 h 2540"/>
                <a:gd name="T74" fmla="*/ 1879 w 3390"/>
                <a:gd name="T75" fmla="*/ 406 h 2540"/>
                <a:gd name="T76" fmla="*/ 1904 w 3390"/>
                <a:gd name="T77" fmla="*/ 153 h 2540"/>
                <a:gd name="T78" fmla="*/ 2166 w 3390"/>
                <a:gd name="T79" fmla="*/ 1 h 2540"/>
                <a:gd name="T80" fmla="*/ 2396 w 3390"/>
                <a:gd name="T81" fmla="*/ 155 h 2540"/>
                <a:gd name="T82" fmla="*/ 2582 w 3390"/>
                <a:gd name="T83" fmla="*/ 410 h 2540"/>
                <a:gd name="T84" fmla="*/ 2844 w 3390"/>
                <a:gd name="T85" fmla="*/ 783 h 2540"/>
                <a:gd name="T86" fmla="*/ 3126 w 3390"/>
                <a:gd name="T87" fmla="*/ 1187 h 2540"/>
                <a:gd name="T88" fmla="*/ 3292 w 3390"/>
                <a:gd name="T89" fmla="*/ 1426 h 2540"/>
                <a:gd name="T90" fmla="*/ 3390 w 3390"/>
                <a:gd name="T91" fmla="*/ 1772 h 2540"/>
                <a:gd name="T92" fmla="*/ 3166 w 3390"/>
                <a:gd name="T93" fmla="*/ 2314 h 2540"/>
                <a:gd name="T94" fmla="*/ 2624 w 3390"/>
                <a:gd name="T95" fmla="*/ 2540 h 2540"/>
                <a:gd name="T96" fmla="*/ 2082 w 3390"/>
                <a:gd name="T97" fmla="*/ 2314 h 2540"/>
                <a:gd name="T98" fmla="*/ 1859 w 3390"/>
                <a:gd name="T99" fmla="*/ 1772 h 2540"/>
                <a:gd name="T100" fmla="*/ 1805 w 3390"/>
                <a:gd name="T101" fmla="*/ 1469 h 2540"/>
                <a:gd name="T102" fmla="*/ 1547 w 3390"/>
                <a:gd name="T103" fmla="*/ 1507 h 2540"/>
                <a:gd name="T104" fmla="*/ 1468 w 3390"/>
                <a:gd name="T105" fmla="*/ 2101 h 2540"/>
                <a:gd name="T106" fmla="*/ 1039 w 3390"/>
                <a:gd name="T107" fmla="*/ 2491 h 2540"/>
                <a:gd name="T108" fmla="*/ 442 w 3390"/>
                <a:gd name="T109" fmla="*/ 2466 h 2540"/>
                <a:gd name="T110" fmla="*/ 48 w 3390"/>
                <a:gd name="T111" fmla="*/ 2039 h 2540"/>
                <a:gd name="T112" fmla="*/ 34 w 3390"/>
                <a:gd name="T113" fmla="*/ 1579 h 2540"/>
                <a:gd name="T114" fmla="*/ 170 w 3390"/>
                <a:gd name="T115" fmla="*/ 1318 h 2540"/>
                <a:gd name="T116" fmla="*/ 413 w 3390"/>
                <a:gd name="T117" fmla="*/ 972 h 2540"/>
                <a:gd name="T118" fmla="*/ 703 w 3390"/>
                <a:gd name="T119" fmla="*/ 558 h 2540"/>
                <a:gd name="T120" fmla="*/ 888 w 3390"/>
                <a:gd name="T121" fmla="*/ 294 h 2540"/>
                <a:gd name="T122" fmla="*/ 1124 w 3390"/>
                <a:gd name="T123" fmla="*/ 34 h 2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90" h="2540">
                  <a:moveTo>
                    <a:pt x="2622" y="1219"/>
                  </a:moveTo>
                  <a:lnTo>
                    <a:pt x="2561" y="1223"/>
                  </a:lnTo>
                  <a:lnTo>
                    <a:pt x="2503" y="1232"/>
                  </a:lnTo>
                  <a:lnTo>
                    <a:pt x="2447" y="1248"/>
                  </a:lnTo>
                  <a:lnTo>
                    <a:pt x="2394" y="1269"/>
                  </a:lnTo>
                  <a:lnTo>
                    <a:pt x="2343" y="1295"/>
                  </a:lnTo>
                  <a:lnTo>
                    <a:pt x="2296" y="1326"/>
                  </a:lnTo>
                  <a:lnTo>
                    <a:pt x="2252" y="1361"/>
                  </a:lnTo>
                  <a:lnTo>
                    <a:pt x="2212" y="1401"/>
                  </a:lnTo>
                  <a:lnTo>
                    <a:pt x="2176" y="1446"/>
                  </a:lnTo>
                  <a:lnTo>
                    <a:pt x="2144" y="1493"/>
                  </a:lnTo>
                  <a:lnTo>
                    <a:pt x="2118" y="1544"/>
                  </a:lnTo>
                  <a:lnTo>
                    <a:pt x="2097" y="1597"/>
                  </a:lnTo>
                  <a:lnTo>
                    <a:pt x="2082" y="1653"/>
                  </a:lnTo>
                  <a:lnTo>
                    <a:pt x="2073" y="1712"/>
                  </a:lnTo>
                  <a:lnTo>
                    <a:pt x="2070" y="1772"/>
                  </a:lnTo>
                  <a:lnTo>
                    <a:pt x="2073" y="1832"/>
                  </a:lnTo>
                  <a:lnTo>
                    <a:pt x="2082" y="1890"/>
                  </a:lnTo>
                  <a:lnTo>
                    <a:pt x="2097" y="1947"/>
                  </a:lnTo>
                  <a:lnTo>
                    <a:pt x="2118" y="1999"/>
                  </a:lnTo>
                  <a:lnTo>
                    <a:pt x="2144" y="2051"/>
                  </a:lnTo>
                  <a:lnTo>
                    <a:pt x="2176" y="2098"/>
                  </a:lnTo>
                  <a:lnTo>
                    <a:pt x="2212" y="2142"/>
                  </a:lnTo>
                  <a:lnTo>
                    <a:pt x="2252" y="2182"/>
                  </a:lnTo>
                  <a:lnTo>
                    <a:pt x="2296" y="2218"/>
                  </a:lnTo>
                  <a:lnTo>
                    <a:pt x="2343" y="2249"/>
                  </a:lnTo>
                  <a:lnTo>
                    <a:pt x="2394" y="2275"/>
                  </a:lnTo>
                  <a:lnTo>
                    <a:pt x="2447" y="2296"/>
                  </a:lnTo>
                  <a:lnTo>
                    <a:pt x="2503" y="2312"/>
                  </a:lnTo>
                  <a:lnTo>
                    <a:pt x="2561" y="2322"/>
                  </a:lnTo>
                  <a:lnTo>
                    <a:pt x="2622" y="2325"/>
                  </a:lnTo>
                  <a:lnTo>
                    <a:pt x="2682" y="2322"/>
                  </a:lnTo>
                  <a:lnTo>
                    <a:pt x="2740" y="2312"/>
                  </a:lnTo>
                  <a:lnTo>
                    <a:pt x="2795" y="2296"/>
                  </a:lnTo>
                  <a:lnTo>
                    <a:pt x="2849" y="2275"/>
                  </a:lnTo>
                  <a:lnTo>
                    <a:pt x="2900" y="2249"/>
                  </a:lnTo>
                  <a:lnTo>
                    <a:pt x="2947" y="2218"/>
                  </a:lnTo>
                  <a:lnTo>
                    <a:pt x="2991" y="2182"/>
                  </a:lnTo>
                  <a:lnTo>
                    <a:pt x="3031" y="2142"/>
                  </a:lnTo>
                  <a:lnTo>
                    <a:pt x="3067" y="2098"/>
                  </a:lnTo>
                  <a:lnTo>
                    <a:pt x="3098" y="2051"/>
                  </a:lnTo>
                  <a:lnTo>
                    <a:pt x="3125" y="1999"/>
                  </a:lnTo>
                  <a:lnTo>
                    <a:pt x="3146" y="1947"/>
                  </a:lnTo>
                  <a:lnTo>
                    <a:pt x="3161" y="1890"/>
                  </a:lnTo>
                  <a:lnTo>
                    <a:pt x="3170" y="1832"/>
                  </a:lnTo>
                  <a:lnTo>
                    <a:pt x="3173" y="1772"/>
                  </a:lnTo>
                  <a:lnTo>
                    <a:pt x="3170" y="1712"/>
                  </a:lnTo>
                  <a:lnTo>
                    <a:pt x="3161" y="1653"/>
                  </a:lnTo>
                  <a:lnTo>
                    <a:pt x="3146" y="1597"/>
                  </a:lnTo>
                  <a:lnTo>
                    <a:pt x="3125" y="1544"/>
                  </a:lnTo>
                  <a:lnTo>
                    <a:pt x="3098" y="1493"/>
                  </a:lnTo>
                  <a:lnTo>
                    <a:pt x="3067" y="1446"/>
                  </a:lnTo>
                  <a:lnTo>
                    <a:pt x="3031" y="1401"/>
                  </a:lnTo>
                  <a:lnTo>
                    <a:pt x="2991" y="1361"/>
                  </a:lnTo>
                  <a:lnTo>
                    <a:pt x="2947" y="1326"/>
                  </a:lnTo>
                  <a:lnTo>
                    <a:pt x="2900" y="1295"/>
                  </a:lnTo>
                  <a:lnTo>
                    <a:pt x="2849" y="1269"/>
                  </a:lnTo>
                  <a:lnTo>
                    <a:pt x="2795" y="1248"/>
                  </a:lnTo>
                  <a:lnTo>
                    <a:pt x="2740" y="1232"/>
                  </a:lnTo>
                  <a:lnTo>
                    <a:pt x="2682" y="1223"/>
                  </a:lnTo>
                  <a:lnTo>
                    <a:pt x="2622" y="1219"/>
                  </a:lnTo>
                  <a:close/>
                  <a:moveTo>
                    <a:pt x="767" y="1219"/>
                  </a:moveTo>
                  <a:lnTo>
                    <a:pt x="707" y="1223"/>
                  </a:lnTo>
                  <a:lnTo>
                    <a:pt x="649" y="1232"/>
                  </a:lnTo>
                  <a:lnTo>
                    <a:pt x="593" y="1248"/>
                  </a:lnTo>
                  <a:lnTo>
                    <a:pt x="540" y="1269"/>
                  </a:lnTo>
                  <a:lnTo>
                    <a:pt x="489" y="1295"/>
                  </a:lnTo>
                  <a:lnTo>
                    <a:pt x="441" y="1326"/>
                  </a:lnTo>
                  <a:lnTo>
                    <a:pt x="398" y="1361"/>
                  </a:lnTo>
                  <a:lnTo>
                    <a:pt x="358" y="1401"/>
                  </a:lnTo>
                  <a:lnTo>
                    <a:pt x="322" y="1446"/>
                  </a:lnTo>
                  <a:lnTo>
                    <a:pt x="290" y="1493"/>
                  </a:lnTo>
                  <a:lnTo>
                    <a:pt x="264" y="1544"/>
                  </a:lnTo>
                  <a:lnTo>
                    <a:pt x="243" y="1597"/>
                  </a:lnTo>
                  <a:lnTo>
                    <a:pt x="228" y="1653"/>
                  </a:lnTo>
                  <a:lnTo>
                    <a:pt x="219" y="1712"/>
                  </a:lnTo>
                  <a:lnTo>
                    <a:pt x="216" y="1772"/>
                  </a:lnTo>
                  <a:lnTo>
                    <a:pt x="219" y="1832"/>
                  </a:lnTo>
                  <a:lnTo>
                    <a:pt x="228" y="1890"/>
                  </a:lnTo>
                  <a:lnTo>
                    <a:pt x="243" y="1947"/>
                  </a:lnTo>
                  <a:lnTo>
                    <a:pt x="264" y="1999"/>
                  </a:lnTo>
                  <a:lnTo>
                    <a:pt x="290" y="2051"/>
                  </a:lnTo>
                  <a:lnTo>
                    <a:pt x="322" y="2098"/>
                  </a:lnTo>
                  <a:lnTo>
                    <a:pt x="358" y="2142"/>
                  </a:lnTo>
                  <a:lnTo>
                    <a:pt x="398" y="2182"/>
                  </a:lnTo>
                  <a:lnTo>
                    <a:pt x="441" y="2218"/>
                  </a:lnTo>
                  <a:lnTo>
                    <a:pt x="489" y="2249"/>
                  </a:lnTo>
                  <a:lnTo>
                    <a:pt x="540" y="2275"/>
                  </a:lnTo>
                  <a:lnTo>
                    <a:pt x="593" y="2296"/>
                  </a:lnTo>
                  <a:lnTo>
                    <a:pt x="649" y="2312"/>
                  </a:lnTo>
                  <a:lnTo>
                    <a:pt x="707" y="2322"/>
                  </a:lnTo>
                  <a:lnTo>
                    <a:pt x="767" y="2325"/>
                  </a:lnTo>
                  <a:lnTo>
                    <a:pt x="828" y="2322"/>
                  </a:lnTo>
                  <a:lnTo>
                    <a:pt x="886" y="2312"/>
                  </a:lnTo>
                  <a:lnTo>
                    <a:pt x="942" y="2296"/>
                  </a:lnTo>
                  <a:lnTo>
                    <a:pt x="995" y="2275"/>
                  </a:lnTo>
                  <a:lnTo>
                    <a:pt x="1046" y="2249"/>
                  </a:lnTo>
                  <a:lnTo>
                    <a:pt x="1093" y="2218"/>
                  </a:lnTo>
                  <a:lnTo>
                    <a:pt x="1137" y="2182"/>
                  </a:lnTo>
                  <a:lnTo>
                    <a:pt x="1177" y="2142"/>
                  </a:lnTo>
                  <a:lnTo>
                    <a:pt x="1213" y="2098"/>
                  </a:lnTo>
                  <a:lnTo>
                    <a:pt x="1245" y="2051"/>
                  </a:lnTo>
                  <a:lnTo>
                    <a:pt x="1271" y="1999"/>
                  </a:lnTo>
                  <a:lnTo>
                    <a:pt x="1292" y="1947"/>
                  </a:lnTo>
                  <a:lnTo>
                    <a:pt x="1307" y="1890"/>
                  </a:lnTo>
                  <a:lnTo>
                    <a:pt x="1316" y="1832"/>
                  </a:lnTo>
                  <a:lnTo>
                    <a:pt x="1319" y="1772"/>
                  </a:lnTo>
                  <a:lnTo>
                    <a:pt x="1316" y="1712"/>
                  </a:lnTo>
                  <a:lnTo>
                    <a:pt x="1307" y="1653"/>
                  </a:lnTo>
                  <a:lnTo>
                    <a:pt x="1292" y="1597"/>
                  </a:lnTo>
                  <a:lnTo>
                    <a:pt x="1271" y="1544"/>
                  </a:lnTo>
                  <a:lnTo>
                    <a:pt x="1245" y="1493"/>
                  </a:lnTo>
                  <a:lnTo>
                    <a:pt x="1213" y="1446"/>
                  </a:lnTo>
                  <a:lnTo>
                    <a:pt x="1177" y="1401"/>
                  </a:lnTo>
                  <a:lnTo>
                    <a:pt x="1137" y="1361"/>
                  </a:lnTo>
                  <a:lnTo>
                    <a:pt x="1093" y="1326"/>
                  </a:lnTo>
                  <a:lnTo>
                    <a:pt x="1046" y="1295"/>
                  </a:lnTo>
                  <a:lnTo>
                    <a:pt x="995" y="1269"/>
                  </a:lnTo>
                  <a:lnTo>
                    <a:pt x="942" y="1248"/>
                  </a:lnTo>
                  <a:lnTo>
                    <a:pt x="886" y="1232"/>
                  </a:lnTo>
                  <a:lnTo>
                    <a:pt x="828" y="1223"/>
                  </a:lnTo>
                  <a:lnTo>
                    <a:pt x="767" y="1219"/>
                  </a:lnTo>
                  <a:close/>
                  <a:moveTo>
                    <a:pt x="1695" y="886"/>
                  </a:moveTo>
                  <a:lnTo>
                    <a:pt x="1647" y="887"/>
                  </a:lnTo>
                  <a:lnTo>
                    <a:pt x="1599" y="891"/>
                  </a:lnTo>
                  <a:lnTo>
                    <a:pt x="1556" y="896"/>
                  </a:lnTo>
                  <a:lnTo>
                    <a:pt x="1514" y="905"/>
                  </a:lnTo>
                  <a:lnTo>
                    <a:pt x="1476" y="915"/>
                  </a:lnTo>
                  <a:lnTo>
                    <a:pt x="1442" y="927"/>
                  </a:lnTo>
                  <a:lnTo>
                    <a:pt x="1412" y="941"/>
                  </a:lnTo>
                  <a:lnTo>
                    <a:pt x="1387" y="956"/>
                  </a:lnTo>
                  <a:lnTo>
                    <a:pt x="1366" y="973"/>
                  </a:lnTo>
                  <a:lnTo>
                    <a:pt x="1350" y="991"/>
                  </a:lnTo>
                  <a:lnTo>
                    <a:pt x="1340" y="1009"/>
                  </a:lnTo>
                  <a:lnTo>
                    <a:pt x="1337" y="1029"/>
                  </a:lnTo>
                  <a:lnTo>
                    <a:pt x="1340" y="1048"/>
                  </a:lnTo>
                  <a:lnTo>
                    <a:pt x="1350" y="1067"/>
                  </a:lnTo>
                  <a:lnTo>
                    <a:pt x="1366" y="1085"/>
                  </a:lnTo>
                  <a:lnTo>
                    <a:pt x="1387" y="1100"/>
                  </a:lnTo>
                  <a:lnTo>
                    <a:pt x="1412" y="1116"/>
                  </a:lnTo>
                  <a:lnTo>
                    <a:pt x="1442" y="1130"/>
                  </a:lnTo>
                  <a:lnTo>
                    <a:pt x="1476" y="1143"/>
                  </a:lnTo>
                  <a:lnTo>
                    <a:pt x="1514" y="1152"/>
                  </a:lnTo>
                  <a:lnTo>
                    <a:pt x="1556" y="1160"/>
                  </a:lnTo>
                  <a:lnTo>
                    <a:pt x="1599" y="1167"/>
                  </a:lnTo>
                  <a:lnTo>
                    <a:pt x="1647" y="1171"/>
                  </a:lnTo>
                  <a:lnTo>
                    <a:pt x="1695" y="1172"/>
                  </a:lnTo>
                  <a:lnTo>
                    <a:pt x="1743" y="1171"/>
                  </a:lnTo>
                  <a:lnTo>
                    <a:pt x="1790" y="1167"/>
                  </a:lnTo>
                  <a:lnTo>
                    <a:pt x="1834" y="1160"/>
                  </a:lnTo>
                  <a:lnTo>
                    <a:pt x="1875" y="1152"/>
                  </a:lnTo>
                  <a:lnTo>
                    <a:pt x="1913" y="1143"/>
                  </a:lnTo>
                  <a:lnTo>
                    <a:pt x="1947" y="1130"/>
                  </a:lnTo>
                  <a:lnTo>
                    <a:pt x="1978" y="1116"/>
                  </a:lnTo>
                  <a:lnTo>
                    <a:pt x="2003" y="1100"/>
                  </a:lnTo>
                  <a:lnTo>
                    <a:pt x="2024" y="1085"/>
                  </a:lnTo>
                  <a:lnTo>
                    <a:pt x="2039" y="1067"/>
                  </a:lnTo>
                  <a:lnTo>
                    <a:pt x="2048" y="1048"/>
                  </a:lnTo>
                  <a:lnTo>
                    <a:pt x="2052" y="1029"/>
                  </a:lnTo>
                  <a:lnTo>
                    <a:pt x="2048" y="1009"/>
                  </a:lnTo>
                  <a:lnTo>
                    <a:pt x="2039" y="991"/>
                  </a:lnTo>
                  <a:lnTo>
                    <a:pt x="2024" y="973"/>
                  </a:lnTo>
                  <a:lnTo>
                    <a:pt x="2003" y="956"/>
                  </a:lnTo>
                  <a:lnTo>
                    <a:pt x="1978" y="941"/>
                  </a:lnTo>
                  <a:lnTo>
                    <a:pt x="1947" y="927"/>
                  </a:lnTo>
                  <a:lnTo>
                    <a:pt x="1913" y="915"/>
                  </a:lnTo>
                  <a:lnTo>
                    <a:pt x="1875" y="905"/>
                  </a:lnTo>
                  <a:lnTo>
                    <a:pt x="1834" y="896"/>
                  </a:lnTo>
                  <a:lnTo>
                    <a:pt x="1790" y="891"/>
                  </a:lnTo>
                  <a:lnTo>
                    <a:pt x="1743" y="887"/>
                  </a:lnTo>
                  <a:lnTo>
                    <a:pt x="1695" y="886"/>
                  </a:lnTo>
                  <a:close/>
                  <a:moveTo>
                    <a:pt x="2260" y="260"/>
                  </a:moveTo>
                  <a:lnTo>
                    <a:pt x="2211" y="261"/>
                  </a:lnTo>
                  <a:lnTo>
                    <a:pt x="2164" y="268"/>
                  </a:lnTo>
                  <a:lnTo>
                    <a:pt x="2121" y="278"/>
                  </a:lnTo>
                  <a:lnTo>
                    <a:pt x="2080" y="294"/>
                  </a:lnTo>
                  <a:lnTo>
                    <a:pt x="2043" y="315"/>
                  </a:lnTo>
                  <a:lnTo>
                    <a:pt x="2008" y="340"/>
                  </a:lnTo>
                  <a:lnTo>
                    <a:pt x="1977" y="371"/>
                  </a:lnTo>
                  <a:lnTo>
                    <a:pt x="1950" y="406"/>
                  </a:lnTo>
                  <a:lnTo>
                    <a:pt x="1944" y="417"/>
                  </a:lnTo>
                  <a:lnTo>
                    <a:pt x="1943" y="429"/>
                  </a:lnTo>
                  <a:lnTo>
                    <a:pt x="1945" y="441"/>
                  </a:lnTo>
                  <a:lnTo>
                    <a:pt x="1951" y="452"/>
                  </a:lnTo>
                  <a:lnTo>
                    <a:pt x="1960" y="461"/>
                  </a:lnTo>
                  <a:lnTo>
                    <a:pt x="1972" y="467"/>
                  </a:lnTo>
                  <a:lnTo>
                    <a:pt x="1983" y="469"/>
                  </a:lnTo>
                  <a:lnTo>
                    <a:pt x="1996" y="467"/>
                  </a:lnTo>
                  <a:lnTo>
                    <a:pt x="2007" y="460"/>
                  </a:lnTo>
                  <a:lnTo>
                    <a:pt x="2016" y="451"/>
                  </a:lnTo>
                  <a:lnTo>
                    <a:pt x="2040" y="421"/>
                  </a:lnTo>
                  <a:lnTo>
                    <a:pt x="2068" y="396"/>
                  </a:lnTo>
                  <a:lnTo>
                    <a:pt x="2099" y="375"/>
                  </a:lnTo>
                  <a:lnTo>
                    <a:pt x="2134" y="359"/>
                  </a:lnTo>
                  <a:lnTo>
                    <a:pt x="2172" y="349"/>
                  </a:lnTo>
                  <a:lnTo>
                    <a:pt x="2212" y="342"/>
                  </a:lnTo>
                  <a:lnTo>
                    <a:pt x="2256" y="340"/>
                  </a:lnTo>
                  <a:lnTo>
                    <a:pt x="2283" y="342"/>
                  </a:lnTo>
                  <a:lnTo>
                    <a:pt x="2308" y="344"/>
                  </a:lnTo>
                  <a:lnTo>
                    <a:pt x="2333" y="349"/>
                  </a:lnTo>
                  <a:lnTo>
                    <a:pt x="2354" y="353"/>
                  </a:lnTo>
                  <a:lnTo>
                    <a:pt x="2371" y="357"/>
                  </a:lnTo>
                  <a:lnTo>
                    <a:pt x="2387" y="361"/>
                  </a:lnTo>
                  <a:lnTo>
                    <a:pt x="2399" y="366"/>
                  </a:lnTo>
                  <a:lnTo>
                    <a:pt x="2406" y="368"/>
                  </a:lnTo>
                  <a:lnTo>
                    <a:pt x="2409" y="369"/>
                  </a:lnTo>
                  <a:lnTo>
                    <a:pt x="2422" y="372"/>
                  </a:lnTo>
                  <a:lnTo>
                    <a:pt x="2435" y="371"/>
                  </a:lnTo>
                  <a:lnTo>
                    <a:pt x="2446" y="366"/>
                  </a:lnTo>
                  <a:lnTo>
                    <a:pt x="2455" y="357"/>
                  </a:lnTo>
                  <a:lnTo>
                    <a:pt x="2462" y="346"/>
                  </a:lnTo>
                  <a:lnTo>
                    <a:pt x="2464" y="333"/>
                  </a:lnTo>
                  <a:lnTo>
                    <a:pt x="2463" y="321"/>
                  </a:lnTo>
                  <a:lnTo>
                    <a:pt x="2458" y="310"/>
                  </a:lnTo>
                  <a:lnTo>
                    <a:pt x="2450" y="300"/>
                  </a:lnTo>
                  <a:lnTo>
                    <a:pt x="2439" y="294"/>
                  </a:lnTo>
                  <a:lnTo>
                    <a:pt x="2435" y="292"/>
                  </a:lnTo>
                  <a:lnTo>
                    <a:pt x="2426" y="289"/>
                  </a:lnTo>
                  <a:lnTo>
                    <a:pt x="2413" y="284"/>
                  </a:lnTo>
                  <a:lnTo>
                    <a:pt x="2395" y="280"/>
                  </a:lnTo>
                  <a:lnTo>
                    <a:pt x="2374" y="275"/>
                  </a:lnTo>
                  <a:lnTo>
                    <a:pt x="2349" y="270"/>
                  </a:lnTo>
                  <a:lnTo>
                    <a:pt x="2322" y="266"/>
                  </a:lnTo>
                  <a:lnTo>
                    <a:pt x="2292" y="261"/>
                  </a:lnTo>
                  <a:lnTo>
                    <a:pt x="2260" y="260"/>
                  </a:lnTo>
                  <a:close/>
                  <a:moveTo>
                    <a:pt x="1130" y="260"/>
                  </a:moveTo>
                  <a:lnTo>
                    <a:pt x="1097" y="261"/>
                  </a:lnTo>
                  <a:lnTo>
                    <a:pt x="1068" y="266"/>
                  </a:lnTo>
                  <a:lnTo>
                    <a:pt x="1041" y="270"/>
                  </a:lnTo>
                  <a:lnTo>
                    <a:pt x="1015" y="275"/>
                  </a:lnTo>
                  <a:lnTo>
                    <a:pt x="994" y="280"/>
                  </a:lnTo>
                  <a:lnTo>
                    <a:pt x="976" y="284"/>
                  </a:lnTo>
                  <a:lnTo>
                    <a:pt x="964" y="289"/>
                  </a:lnTo>
                  <a:lnTo>
                    <a:pt x="954" y="292"/>
                  </a:lnTo>
                  <a:lnTo>
                    <a:pt x="951" y="294"/>
                  </a:lnTo>
                  <a:lnTo>
                    <a:pt x="940" y="300"/>
                  </a:lnTo>
                  <a:lnTo>
                    <a:pt x="931" y="310"/>
                  </a:lnTo>
                  <a:lnTo>
                    <a:pt x="927" y="321"/>
                  </a:lnTo>
                  <a:lnTo>
                    <a:pt x="925" y="333"/>
                  </a:lnTo>
                  <a:lnTo>
                    <a:pt x="928" y="346"/>
                  </a:lnTo>
                  <a:lnTo>
                    <a:pt x="934" y="357"/>
                  </a:lnTo>
                  <a:lnTo>
                    <a:pt x="944" y="366"/>
                  </a:lnTo>
                  <a:lnTo>
                    <a:pt x="955" y="371"/>
                  </a:lnTo>
                  <a:lnTo>
                    <a:pt x="968" y="372"/>
                  </a:lnTo>
                  <a:lnTo>
                    <a:pt x="981" y="369"/>
                  </a:lnTo>
                  <a:lnTo>
                    <a:pt x="983" y="368"/>
                  </a:lnTo>
                  <a:lnTo>
                    <a:pt x="990" y="366"/>
                  </a:lnTo>
                  <a:lnTo>
                    <a:pt x="1002" y="362"/>
                  </a:lnTo>
                  <a:lnTo>
                    <a:pt x="1016" y="358"/>
                  </a:lnTo>
                  <a:lnTo>
                    <a:pt x="1034" y="353"/>
                  </a:lnTo>
                  <a:lnTo>
                    <a:pt x="1055" y="349"/>
                  </a:lnTo>
                  <a:lnTo>
                    <a:pt x="1078" y="346"/>
                  </a:lnTo>
                  <a:lnTo>
                    <a:pt x="1103" y="342"/>
                  </a:lnTo>
                  <a:lnTo>
                    <a:pt x="1130" y="341"/>
                  </a:lnTo>
                  <a:lnTo>
                    <a:pt x="1157" y="341"/>
                  </a:lnTo>
                  <a:lnTo>
                    <a:pt x="1186" y="343"/>
                  </a:lnTo>
                  <a:lnTo>
                    <a:pt x="1215" y="348"/>
                  </a:lnTo>
                  <a:lnTo>
                    <a:pt x="1244" y="356"/>
                  </a:lnTo>
                  <a:lnTo>
                    <a:pt x="1272" y="367"/>
                  </a:lnTo>
                  <a:lnTo>
                    <a:pt x="1300" y="381"/>
                  </a:lnTo>
                  <a:lnTo>
                    <a:pt x="1326" y="400"/>
                  </a:lnTo>
                  <a:lnTo>
                    <a:pt x="1351" y="423"/>
                  </a:lnTo>
                  <a:lnTo>
                    <a:pt x="1373" y="451"/>
                  </a:lnTo>
                  <a:lnTo>
                    <a:pt x="1382" y="460"/>
                  </a:lnTo>
                  <a:lnTo>
                    <a:pt x="1394" y="467"/>
                  </a:lnTo>
                  <a:lnTo>
                    <a:pt x="1407" y="469"/>
                  </a:lnTo>
                  <a:lnTo>
                    <a:pt x="1418" y="467"/>
                  </a:lnTo>
                  <a:lnTo>
                    <a:pt x="1430" y="461"/>
                  </a:lnTo>
                  <a:lnTo>
                    <a:pt x="1439" y="452"/>
                  </a:lnTo>
                  <a:lnTo>
                    <a:pt x="1445" y="441"/>
                  </a:lnTo>
                  <a:lnTo>
                    <a:pt x="1447" y="429"/>
                  </a:lnTo>
                  <a:lnTo>
                    <a:pt x="1446" y="416"/>
                  </a:lnTo>
                  <a:lnTo>
                    <a:pt x="1439" y="404"/>
                  </a:lnTo>
                  <a:lnTo>
                    <a:pt x="1412" y="370"/>
                  </a:lnTo>
                  <a:lnTo>
                    <a:pt x="1381" y="340"/>
                  </a:lnTo>
                  <a:lnTo>
                    <a:pt x="1347" y="315"/>
                  </a:lnTo>
                  <a:lnTo>
                    <a:pt x="1309" y="294"/>
                  </a:lnTo>
                  <a:lnTo>
                    <a:pt x="1269" y="278"/>
                  </a:lnTo>
                  <a:lnTo>
                    <a:pt x="1225" y="268"/>
                  </a:lnTo>
                  <a:lnTo>
                    <a:pt x="1178" y="261"/>
                  </a:lnTo>
                  <a:lnTo>
                    <a:pt x="1130" y="260"/>
                  </a:lnTo>
                  <a:close/>
                  <a:moveTo>
                    <a:pt x="1249" y="0"/>
                  </a:moveTo>
                  <a:lnTo>
                    <a:pt x="1288" y="3"/>
                  </a:lnTo>
                  <a:lnTo>
                    <a:pt x="1326" y="12"/>
                  </a:lnTo>
                  <a:lnTo>
                    <a:pt x="1361" y="25"/>
                  </a:lnTo>
                  <a:lnTo>
                    <a:pt x="1394" y="44"/>
                  </a:lnTo>
                  <a:lnTo>
                    <a:pt x="1424" y="67"/>
                  </a:lnTo>
                  <a:lnTo>
                    <a:pt x="1449" y="92"/>
                  </a:lnTo>
                  <a:lnTo>
                    <a:pt x="1470" y="121"/>
                  </a:lnTo>
                  <a:lnTo>
                    <a:pt x="1485" y="153"/>
                  </a:lnTo>
                  <a:lnTo>
                    <a:pt x="1494" y="186"/>
                  </a:lnTo>
                  <a:lnTo>
                    <a:pt x="1495" y="194"/>
                  </a:lnTo>
                  <a:lnTo>
                    <a:pt x="1496" y="209"/>
                  </a:lnTo>
                  <a:lnTo>
                    <a:pt x="1498" y="230"/>
                  </a:lnTo>
                  <a:lnTo>
                    <a:pt x="1500" y="257"/>
                  </a:lnTo>
                  <a:lnTo>
                    <a:pt x="1502" y="289"/>
                  </a:lnTo>
                  <a:lnTo>
                    <a:pt x="1505" y="324"/>
                  </a:lnTo>
                  <a:lnTo>
                    <a:pt x="1508" y="364"/>
                  </a:lnTo>
                  <a:lnTo>
                    <a:pt x="1511" y="406"/>
                  </a:lnTo>
                  <a:lnTo>
                    <a:pt x="1513" y="450"/>
                  </a:lnTo>
                  <a:lnTo>
                    <a:pt x="1516" y="494"/>
                  </a:lnTo>
                  <a:lnTo>
                    <a:pt x="1519" y="539"/>
                  </a:lnTo>
                  <a:lnTo>
                    <a:pt x="1521" y="583"/>
                  </a:lnTo>
                  <a:lnTo>
                    <a:pt x="1525" y="626"/>
                  </a:lnTo>
                  <a:lnTo>
                    <a:pt x="1527" y="667"/>
                  </a:lnTo>
                  <a:lnTo>
                    <a:pt x="1529" y="705"/>
                  </a:lnTo>
                  <a:lnTo>
                    <a:pt x="1547" y="703"/>
                  </a:lnTo>
                  <a:lnTo>
                    <a:pt x="1561" y="699"/>
                  </a:lnTo>
                  <a:lnTo>
                    <a:pt x="1573" y="693"/>
                  </a:lnTo>
                  <a:lnTo>
                    <a:pt x="1582" y="685"/>
                  </a:lnTo>
                  <a:lnTo>
                    <a:pt x="1591" y="675"/>
                  </a:lnTo>
                  <a:lnTo>
                    <a:pt x="1599" y="665"/>
                  </a:lnTo>
                  <a:lnTo>
                    <a:pt x="1607" y="652"/>
                  </a:lnTo>
                  <a:lnTo>
                    <a:pt x="1615" y="639"/>
                  </a:lnTo>
                  <a:lnTo>
                    <a:pt x="1626" y="626"/>
                  </a:lnTo>
                  <a:lnTo>
                    <a:pt x="1638" y="613"/>
                  </a:lnTo>
                  <a:lnTo>
                    <a:pt x="1643" y="610"/>
                  </a:lnTo>
                  <a:lnTo>
                    <a:pt x="1654" y="609"/>
                  </a:lnTo>
                  <a:lnTo>
                    <a:pt x="1669" y="607"/>
                  </a:lnTo>
                  <a:lnTo>
                    <a:pt x="1685" y="607"/>
                  </a:lnTo>
                  <a:lnTo>
                    <a:pt x="1703" y="607"/>
                  </a:lnTo>
                  <a:lnTo>
                    <a:pt x="1720" y="607"/>
                  </a:lnTo>
                  <a:lnTo>
                    <a:pt x="1735" y="609"/>
                  </a:lnTo>
                  <a:lnTo>
                    <a:pt x="1745" y="610"/>
                  </a:lnTo>
                  <a:lnTo>
                    <a:pt x="1752" y="613"/>
                  </a:lnTo>
                  <a:lnTo>
                    <a:pt x="1764" y="626"/>
                  </a:lnTo>
                  <a:lnTo>
                    <a:pt x="1774" y="639"/>
                  </a:lnTo>
                  <a:lnTo>
                    <a:pt x="1782" y="652"/>
                  </a:lnTo>
                  <a:lnTo>
                    <a:pt x="1791" y="665"/>
                  </a:lnTo>
                  <a:lnTo>
                    <a:pt x="1798" y="675"/>
                  </a:lnTo>
                  <a:lnTo>
                    <a:pt x="1806" y="685"/>
                  </a:lnTo>
                  <a:lnTo>
                    <a:pt x="1816" y="693"/>
                  </a:lnTo>
                  <a:lnTo>
                    <a:pt x="1828" y="699"/>
                  </a:lnTo>
                  <a:lnTo>
                    <a:pt x="1842" y="703"/>
                  </a:lnTo>
                  <a:lnTo>
                    <a:pt x="1860" y="705"/>
                  </a:lnTo>
                  <a:lnTo>
                    <a:pt x="1862" y="667"/>
                  </a:lnTo>
                  <a:lnTo>
                    <a:pt x="1865" y="626"/>
                  </a:lnTo>
                  <a:lnTo>
                    <a:pt x="1868" y="583"/>
                  </a:lnTo>
                  <a:lnTo>
                    <a:pt x="1871" y="539"/>
                  </a:lnTo>
                  <a:lnTo>
                    <a:pt x="1873" y="494"/>
                  </a:lnTo>
                  <a:lnTo>
                    <a:pt x="1876" y="450"/>
                  </a:lnTo>
                  <a:lnTo>
                    <a:pt x="1879" y="406"/>
                  </a:lnTo>
                  <a:lnTo>
                    <a:pt x="1881" y="364"/>
                  </a:lnTo>
                  <a:lnTo>
                    <a:pt x="1884" y="324"/>
                  </a:lnTo>
                  <a:lnTo>
                    <a:pt x="1886" y="289"/>
                  </a:lnTo>
                  <a:lnTo>
                    <a:pt x="1889" y="257"/>
                  </a:lnTo>
                  <a:lnTo>
                    <a:pt x="1891" y="230"/>
                  </a:lnTo>
                  <a:lnTo>
                    <a:pt x="1893" y="209"/>
                  </a:lnTo>
                  <a:lnTo>
                    <a:pt x="1894" y="194"/>
                  </a:lnTo>
                  <a:lnTo>
                    <a:pt x="1895" y="186"/>
                  </a:lnTo>
                  <a:lnTo>
                    <a:pt x="1904" y="153"/>
                  </a:lnTo>
                  <a:lnTo>
                    <a:pt x="1920" y="121"/>
                  </a:lnTo>
                  <a:lnTo>
                    <a:pt x="1940" y="92"/>
                  </a:lnTo>
                  <a:lnTo>
                    <a:pt x="1965" y="67"/>
                  </a:lnTo>
                  <a:lnTo>
                    <a:pt x="1995" y="44"/>
                  </a:lnTo>
                  <a:lnTo>
                    <a:pt x="2028" y="25"/>
                  </a:lnTo>
                  <a:lnTo>
                    <a:pt x="2063" y="12"/>
                  </a:lnTo>
                  <a:lnTo>
                    <a:pt x="2101" y="3"/>
                  </a:lnTo>
                  <a:lnTo>
                    <a:pt x="2140" y="0"/>
                  </a:lnTo>
                  <a:lnTo>
                    <a:pt x="2166" y="1"/>
                  </a:lnTo>
                  <a:lnTo>
                    <a:pt x="2192" y="5"/>
                  </a:lnTo>
                  <a:lnTo>
                    <a:pt x="2217" y="12"/>
                  </a:lnTo>
                  <a:lnTo>
                    <a:pt x="2241" y="21"/>
                  </a:lnTo>
                  <a:lnTo>
                    <a:pt x="2265" y="34"/>
                  </a:lnTo>
                  <a:lnTo>
                    <a:pt x="2289" y="50"/>
                  </a:lnTo>
                  <a:lnTo>
                    <a:pt x="2315" y="70"/>
                  </a:lnTo>
                  <a:lnTo>
                    <a:pt x="2340" y="94"/>
                  </a:lnTo>
                  <a:lnTo>
                    <a:pt x="2367" y="122"/>
                  </a:lnTo>
                  <a:lnTo>
                    <a:pt x="2396" y="155"/>
                  </a:lnTo>
                  <a:lnTo>
                    <a:pt x="2426" y="193"/>
                  </a:lnTo>
                  <a:lnTo>
                    <a:pt x="2458" y="235"/>
                  </a:lnTo>
                  <a:lnTo>
                    <a:pt x="2494" y="283"/>
                  </a:lnTo>
                  <a:lnTo>
                    <a:pt x="2501" y="294"/>
                  </a:lnTo>
                  <a:lnTo>
                    <a:pt x="2511" y="310"/>
                  </a:lnTo>
                  <a:lnTo>
                    <a:pt x="2525" y="329"/>
                  </a:lnTo>
                  <a:lnTo>
                    <a:pt x="2542" y="352"/>
                  </a:lnTo>
                  <a:lnTo>
                    <a:pt x="2561" y="379"/>
                  </a:lnTo>
                  <a:lnTo>
                    <a:pt x="2582" y="410"/>
                  </a:lnTo>
                  <a:lnTo>
                    <a:pt x="2605" y="442"/>
                  </a:lnTo>
                  <a:lnTo>
                    <a:pt x="2631" y="479"/>
                  </a:lnTo>
                  <a:lnTo>
                    <a:pt x="2658" y="517"/>
                  </a:lnTo>
                  <a:lnTo>
                    <a:pt x="2686" y="558"/>
                  </a:lnTo>
                  <a:lnTo>
                    <a:pt x="2717" y="600"/>
                  </a:lnTo>
                  <a:lnTo>
                    <a:pt x="2747" y="645"/>
                  </a:lnTo>
                  <a:lnTo>
                    <a:pt x="2779" y="690"/>
                  </a:lnTo>
                  <a:lnTo>
                    <a:pt x="2811" y="736"/>
                  </a:lnTo>
                  <a:lnTo>
                    <a:pt x="2844" y="783"/>
                  </a:lnTo>
                  <a:lnTo>
                    <a:pt x="2878" y="831"/>
                  </a:lnTo>
                  <a:lnTo>
                    <a:pt x="2910" y="878"/>
                  </a:lnTo>
                  <a:lnTo>
                    <a:pt x="2944" y="925"/>
                  </a:lnTo>
                  <a:lnTo>
                    <a:pt x="2976" y="972"/>
                  </a:lnTo>
                  <a:lnTo>
                    <a:pt x="3008" y="1017"/>
                  </a:lnTo>
                  <a:lnTo>
                    <a:pt x="3040" y="1062"/>
                  </a:lnTo>
                  <a:lnTo>
                    <a:pt x="3070" y="1106"/>
                  </a:lnTo>
                  <a:lnTo>
                    <a:pt x="3098" y="1147"/>
                  </a:lnTo>
                  <a:lnTo>
                    <a:pt x="3126" y="1187"/>
                  </a:lnTo>
                  <a:lnTo>
                    <a:pt x="3152" y="1224"/>
                  </a:lnTo>
                  <a:lnTo>
                    <a:pt x="3176" y="1258"/>
                  </a:lnTo>
                  <a:lnTo>
                    <a:pt x="3198" y="1290"/>
                  </a:lnTo>
                  <a:lnTo>
                    <a:pt x="3218" y="1318"/>
                  </a:lnTo>
                  <a:lnTo>
                    <a:pt x="3236" y="1344"/>
                  </a:lnTo>
                  <a:lnTo>
                    <a:pt x="3251" y="1366"/>
                  </a:lnTo>
                  <a:lnTo>
                    <a:pt x="3264" y="1383"/>
                  </a:lnTo>
                  <a:lnTo>
                    <a:pt x="3272" y="1395"/>
                  </a:lnTo>
                  <a:lnTo>
                    <a:pt x="3292" y="1426"/>
                  </a:lnTo>
                  <a:lnTo>
                    <a:pt x="3310" y="1460"/>
                  </a:lnTo>
                  <a:lnTo>
                    <a:pt x="3327" y="1498"/>
                  </a:lnTo>
                  <a:lnTo>
                    <a:pt x="3343" y="1538"/>
                  </a:lnTo>
                  <a:lnTo>
                    <a:pt x="3356" y="1579"/>
                  </a:lnTo>
                  <a:lnTo>
                    <a:pt x="3368" y="1622"/>
                  </a:lnTo>
                  <a:lnTo>
                    <a:pt x="3377" y="1663"/>
                  </a:lnTo>
                  <a:lnTo>
                    <a:pt x="3385" y="1702"/>
                  </a:lnTo>
                  <a:lnTo>
                    <a:pt x="3389" y="1738"/>
                  </a:lnTo>
                  <a:lnTo>
                    <a:pt x="3390" y="1772"/>
                  </a:lnTo>
                  <a:lnTo>
                    <a:pt x="3387" y="1842"/>
                  </a:lnTo>
                  <a:lnTo>
                    <a:pt x="3378" y="1910"/>
                  </a:lnTo>
                  <a:lnTo>
                    <a:pt x="3363" y="1976"/>
                  </a:lnTo>
                  <a:lnTo>
                    <a:pt x="3343" y="2039"/>
                  </a:lnTo>
                  <a:lnTo>
                    <a:pt x="3316" y="2101"/>
                  </a:lnTo>
                  <a:lnTo>
                    <a:pt x="3286" y="2160"/>
                  </a:lnTo>
                  <a:lnTo>
                    <a:pt x="3250" y="2214"/>
                  </a:lnTo>
                  <a:lnTo>
                    <a:pt x="3210" y="2267"/>
                  </a:lnTo>
                  <a:lnTo>
                    <a:pt x="3166" y="2314"/>
                  </a:lnTo>
                  <a:lnTo>
                    <a:pt x="3117" y="2358"/>
                  </a:lnTo>
                  <a:lnTo>
                    <a:pt x="3066" y="2398"/>
                  </a:lnTo>
                  <a:lnTo>
                    <a:pt x="3011" y="2434"/>
                  </a:lnTo>
                  <a:lnTo>
                    <a:pt x="2952" y="2466"/>
                  </a:lnTo>
                  <a:lnTo>
                    <a:pt x="2891" y="2491"/>
                  </a:lnTo>
                  <a:lnTo>
                    <a:pt x="2827" y="2512"/>
                  </a:lnTo>
                  <a:lnTo>
                    <a:pt x="2762" y="2527"/>
                  </a:lnTo>
                  <a:lnTo>
                    <a:pt x="2693" y="2536"/>
                  </a:lnTo>
                  <a:lnTo>
                    <a:pt x="2624" y="2540"/>
                  </a:lnTo>
                  <a:lnTo>
                    <a:pt x="2553" y="2536"/>
                  </a:lnTo>
                  <a:lnTo>
                    <a:pt x="2486" y="2527"/>
                  </a:lnTo>
                  <a:lnTo>
                    <a:pt x="2420" y="2512"/>
                  </a:lnTo>
                  <a:lnTo>
                    <a:pt x="2357" y="2491"/>
                  </a:lnTo>
                  <a:lnTo>
                    <a:pt x="2296" y="2466"/>
                  </a:lnTo>
                  <a:lnTo>
                    <a:pt x="2237" y="2434"/>
                  </a:lnTo>
                  <a:lnTo>
                    <a:pt x="2182" y="2398"/>
                  </a:lnTo>
                  <a:lnTo>
                    <a:pt x="2131" y="2358"/>
                  </a:lnTo>
                  <a:lnTo>
                    <a:pt x="2082" y="2314"/>
                  </a:lnTo>
                  <a:lnTo>
                    <a:pt x="2038" y="2267"/>
                  </a:lnTo>
                  <a:lnTo>
                    <a:pt x="1998" y="2214"/>
                  </a:lnTo>
                  <a:lnTo>
                    <a:pt x="1963" y="2160"/>
                  </a:lnTo>
                  <a:lnTo>
                    <a:pt x="1933" y="2101"/>
                  </a:lnTo>
                  <a:lnTo>
                    <a:pt x="1906" y="2039"/>
                  </a:lnTo>
                  <a:lnTo>
                    <a:pt x="1886" y="1976"/>
                  </a:lnTo>
                  <a:lnTo>
                    <a:pt x="1871" y="1910"/>
                  </a:lnTo>
                  <a:lnTo>
                    <a:pt x="1862" y="1842"/>
                  </a:lnTo>
                  <a:lnTo>
                    <a:pt x="1859" y="1772"/>
                  </a:lnTo>
                  <a:lnTo>
                    <a:pt x="1859" y="1578"/>
                  </a:lnTo>
                  <a:lnTo>
                    <a:pt x="1858" y="1557"/>
                  </a:lnTo>
                  <a:lnTo>
                    <a:pt x="1857" y="1538"/>
                  </a:lnTo>
                  <a:lnTo>
                    <a:pt x="1855" y="1522"/>
                  </a:lnTo>
                  <a:lnTo>
                    <a:pt x="1850" y="1507"/>
                  </a:lnTo>
                  <a:lnTo>
                    <a:pt x="1843" y="1494"/>
                  </a:lnTo>
                  <a:lnTo>
                    <a:pt x="1834" y="1484"/>
                  </a:lnTo>
                  <a:lnTo>
                    <a:pt x="1821" y="1475"/>
                  </a:lnTo>
                  <a:lnTo>
                    <a:pt x="1805" y="1469"/>
                  </a:lnTo>
                  <a:lnTo>
                    <a:pt x="1787" y="1466"/>
                  </a:lnTo>
                  <a:lnTo>
                    <a:pt x="1762" y="1465"/>
                  </a:lnTo>
                  <a:lnTo>
                    <a:pt x="1627" y="1465"/>
                  </a:lnTo>
                  <a:lnTo>
                    <a:pt x="1603" y="1466"/>
                  </a:lnTo>
                  <a:lnTo>
                    <a:pt x="1584" y="1469"/>
                  </a:lnTo>
                  <a:lnTo>
                    <a:pt x="1570" y="1475"/>
                  </a:lnTo>
                  <a:lnTo>
                    <a:pt x="1559" y="1484"/>
                  </a:lnTo>
                  <a:lnTo>
                    <a:pt x="1552" y="1494"/>
                  </a:lnTo>
                  <a:lnTo>
                    <a:pt x="1547" y="1507"/>
                  </a:lnTo>
                  <a:lnTo>
                    <a:pt x="1545" y="1522"/>
                  </a:lnTo>
                  <a:lnTo>
                    <a:pt x="1543" y="1538"/>
                  </a:lnTo>
                  <a:lnTo>
                    <a:pt x="1542" y="1557"/>
                  </a:lnTo>
                  <a:lnTo>
                    <a:pt x="1542" y="1772"/>
                  </a:lnTo>
                  <a:lnTo>
                    <a:pt x="1539" y="1842"/>
                  </a:lnTo>
                  <a:lnTo>
                    <a:pt x="1530" y="1910"/>
                  </a:lnTo>
                  <a:lnTo>
                    <a:pt x="1515" y="1976"/>
                  </a:lnTo>
                  <a:lnTo>
                    <a:pt x="1494" y="2039"/>
                  </a:lnTo>
                  <a:lnTo>
                    <a:pt x="1468" y="2101"/>
                  </a:lnTo>
                  <a:lnTo>
                    <a:pt x="1437" y="2160"/>
                  </a:lnTo>
                  <a:lnTo>
                    <a:pt x="1401" y="2214"/>
                  </a:lnTo>
                  <a:lnTo>
                    <a:pt x="1360" y="2267"/>
                  </a:lnTo>
                  <a:lnTo>
                    <a:pt x="1316" y="2314"/>
                  </a:lnTo>
                  <a:lnTo>
                    <a:pt x="1268" y="2358"/>
                  </a:lnTo>
                  <a:lnTo>
                    <a:pt x="1215" y="2398"/>
                  </a:lnTo>
                  <a:lnTo>
                    <a:pt x="1159" y="2434"/>
                  </a:lnTo>
                  <a:lnTo>
                    <a:pt x="1102" y="2466"/>
                  </a:lnTo>
                  <a:lnTo>
                    <a:pt x="1039" y="2491"/>
                  </a:lnTo>
                  <a:lnTo>
                    <a:pt x="976" y="2512"/>
                  </a:lnTo>
                  <a:lnTo>
                    <a:pt x="910" y="2527"/>
                  </a:lnTo>
                  <a:lnTo>
                    <a:pt x="842" y="2536"/>
                  </a:lnTo>
                  <a:lnTo>
                    <a:pt x="772" y="2540"/>
                  </a:lnTo>
                  <a:lnTo>
                    <a:pt x="702" y="2536"/>
                  </a:lnTo>
                  <a:lnTo>
                    <a:pt x="633" y="2527"/>
                  </a:lnTo>
                  <a:lnTo>
                    <a:pt x="568" y="2512"/>
                  </a:lnTo>
                  <a:lnTo>
                    <a:pt x="504" y="2491"/>
                  </a:lnTo>
                  <a:lnTo>
                    <a:pt x="442" y="2466"/>
                  </a:lnTo>
                  <a:lnTo>
                    <a:pt x="383" y="2434"/>
                  </a:lnTo>
                  <a:lnTo>
                    <a:pt x="328" y="2398"/>
                  </a:lnTo>
                  <a:lnTo>
                    <a:pt x="276" y="2358"/>
                  </a:lnTo>
                  <a:lnTo>
                    <a:pt x="227" y="2314"/>
                  </a:lnTo>
                  <a:lnTo>
                    <a:pt x="182" y="2267"/>
                  </a:lnTo>
                  <a:lnTo>
                    <a:pt x="142" y="2214"/>
                  </a:lnTo>
                  <a:lnTo>
                    <a:pt x="106" y="2160"/>
                  </a:lnTo>
                  <a:lnTo>
                    <a:pt x="75" y="2101"/>
                  </a:lnTo>
                  <a:lnTo>
                    <a:pt x="48" y="2039"/>
                  </a:lnTo>
                  <a:lnTo>
                    <a:pt x="27" y="1976"/>
                  </a:lnTo>
                  <a:lnTo>
                    <a:pt x="13" y="1910"/>
                  </a:lnTo>
                  <a:lnTo>
                    <a:pt x="3" y="1842"/>
                  </a:lnTo>
                  <a:lnTo>
                    <a:pt x="0" y="1772"/>
                  </a:lnTo>
                  <a:lnTo>
                    <a:pt x="1" y="1738"/>
                  </a:lnTo>
                  <a:lnTo>
                    <a:pt x="6" y="1702"/>
                  </a:lnTo>
                  <a:lnTo>
                    <a:pt x="13" y="1663"/>
                  </a:lnTo>
                  <a:lnTo>
                    <a:pt x="22" y="1622"/>
                  </a:lnTo>
                  <a:lnTo>
                    <a:pt x="34" y="1579"/>
                  </a:lnTo>
                  <a:lnTo>
                    <a:pt x="47" y="1538"/>
                  </a:lnTo>
                  <a:lnTo>
                    <a:pt x="62" y="1498"/>
                  </a:lnTo>
                  <a:lnTo>
                    <a:pt x="79" y="1460"/>
                  </a:lnTo>
                  <a:lnTo>
                    <a:pt x="98" y="1426"/>
                  </a:lnTo>
                  <a:lnTo>
                    <a:pt x="117" y="1395"/>
                  </a:lnTo>
                  <a:lnTo>
                    <a:pt x="126" y="1383"/>
                  </a:lnTo>
                  <a:lnTo>
                    <a:pt x="138" y="1366"/>
                  </a:lnTo>
                  <a:lnTo>
                    <a:pt x="153" y="1344"/>
                  </a:lnTo>
                  <a:lnTo>
                    <a:pt x="170" y="1318"/>
                  </a:lnTo>
                  <a:lnTo>
                    <a:pt x="190" y="1290"/>
                  </a:lnTo>
                  <a:lnTo>
                    <a:pt x="213" y="1258"/>
                  </a:lnTo>
                  <a:lnTo>
                    <a:pt x="237" y="1224"/>
                  </a:lnTo>
                  <a:lnTo>
                    <a:pt x="263" y="1187"/>
                  </a:lnTo>
                  <a:lnTo>
                    <a:pt x="290" y="1147"/>
                  </a:lnTo>
                  <a:lnTo>
                    <a:pt x="320" y="1106"/>
                  </a:lnTo>
                  <a:lnTo>
                    <a:pt x="350" y="1062"/>
                  </a:lnTo>
                  <a:lnTo>
                    <a:pt x="381" y="1017"/>
                  </a:lnTo>
                  <a:lnTo>
                    <a:pt x="413" y="972"/>
                  </a:lnTo>
                  <a:lnTo>
                    <a:pt x="446" y="925"/>
                  </a:lnTo>
                  <a:lnTo>
                    <a:pt x="479" y="878"/>
                  </a:lnTo>
                  <a:lnTo>
                    <a:pt x="512" y="831"/>
                  </a:lnTo>
                  <a:lnTo>
                    <a:pt x="545" y="783"/>
                  </a:lnTo>
                  <a:lnTo>
                    <a:pt x="578" y="736"/>
                  </a:lnTo>
                  <a:lnTo>
                    <a:pt x="610" y="690"/>
                  </a:lnTo>
                  <a:lnTo>
                    <a:pt x="642" y="645"/>
                  </a:lnTo>
                  <a:lnTo>
                    <a:pt x="673" y="600"/>
                  </a:lnTo>
                  <a:lnTo>
                    <a:pt x="703" y="558"/>
                  </a:lnTo>
                  <a:lnTo>
                    <a:pt x="731" y="517"/>
                  </a:lnTo>
                  <a:lnTo>
                    <a:pt x="759" y="479"/>
                  </a:lnTo>
                  <a:lnTo>
                    <a:pt x="784" y="442"/>
                  </a:lnTo>
                  <a:lnTo>
                    <a:pt x="807" y="410"/>
                  </a:lnTo>
                  <a:lnTo>
                    <a:pt x="828" y="379"/>
                  </a:lnTo>
                  <a:lnTo>
                    <a:pt x="847" y="352"/>
                  </a:lnTo>
                  <a:lnTo>
                    <a:pt x="864" y="329"/>
                  </a:lnTo>
                  <a:lnTo>
                    <a:pt x="877" y="310"/>
                  </a:lnTo>
                  <a:lnTo>
                    <a:pt x="888" y="294"/>
                  </a:lnTo>
                  <a:lnTo>
                    <a:pt x="895" y="283"/>
                  </a:lnTo>
                  <a:lnTo>
                    <a:pt x="931" y="235"/>
                  </a:lnTo>
                  <a:lnTo>
                    <a:pt x="963" y="193"/>
                  </a:lnTo>
                  <a:lnTo>
                    <a:pt x="993" y="155"/>
                  </a:lnTo>
                  <a:lnTo>
                    <a:pt x="1022" y="122"/>
                  </a:lnTo>
                  <a:lnTo>
                    <a:pt x="1049" y="94"/>
                  </a:lnTo>
                  <a:lnTo>
                    <a:pt x="1075" y="70"/>
                  </a:lnTo>
                  <a:lnTo>
                    <a:pt x="1099" y="50"/>
                  </a:lnTo>
                  <a:lnTo>
                    <a:pt x="1124" y="34"/>
                  </a:lnTo>
                  <a:lnTo>
                    <a:pt x="1148" y="21"/>
                  </a:lnTo>
                  <a:lnTo>
                    <a:pt x="1172" y="12"/>
                  </a:lnTo>
                  <a:lnTo>
                    <a:pt x="1197" y="5"/>
                  </a:lnTo>
                  <a:lnTo>
                    <a:pt x="1223" y="1"/>
                  </a:lnTo>
                  <a:lnTo>
                    <a:pt x="124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40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50" name="Freeform 17"/>
            <p:cNvSpPr>
              <a:spLocks noEditPoints="1"/>
            </p:cNvSpPr>
            <p:nvPr/>
          </p:nvSpPr>
          <p:spPr bwMode="auto">
            <a:xfrm>
              <a:off x="6858113" y="2681964"/>
              <a:ext cx="366578" cy="302926"/>
            </a:xfrm>
            <a:custGeom>
              <a:avLst/>
              <a:gdLst>
                <a:gd name="T0" fmla="*/ 1220 w 3390"/>
                <a:gd name="T1" fmla="*/ 2886 h 3167"/>
                <a:gd name="T2" fmla="*/ 1015 w 3390"/>
                <a:gd name="T3" fmla="*/ 2329 h 3167"/>
                <a:gd name="T4" fmla="*/ 222 w 3390"/>
                <a:gd name="T5" fmla="*/ 2438 h 3167"/>
                <a:gd name="T6" fmla="*/ 1015 w 3390"/>
                <a:gd name="T7" fmla="*/ 1916 h 3167"/>
                <a:gd name="T8" fmla="*/ 222 w 3390"/>
                <a:gd name="T9" fmla="*/ 1814 h 3167"/>
                <a:gd name="T10" fmla="*/ 1130 w 3390"/>
                <a:gd name="T11" fmla="*/ 1404 h 3167"/>
                <a:gd name="T12" fmla="*/ 1096 w 3390"/>
                <a:gd name="T13" fmla="*/ 1503 h 3167"/>
                <a:gd name="T14" fmla="*/ 1064 w 3390"/>
                <a:gd name="T15" fmla="*/ 1404 h 3167"/>
                <a:gd name="T16" fmla="*/ 796 w 3390"/>
                <a:gd name="T17" fmla="*/ 1448 h 3167"/>
                <a:gd name="T18" fmla="*/ 696 w 3390"/>
                <a:gd name="T19" fmla="*/ 1481 h 3167"/>
                <a:gd name="T20" fmla="*/ 1096 w 3390"/>
                <a:gd name="T21" fmla="*/ 1303 h 3167"/>
                <a:gd name="T22" fmla="*/ 952 w 3390"/>
                <a:gd name="T23" fmla="*/ 1448 h 3167"/>
                <a:gd name="T24" fmla="*/ 1096 w 3390"/>
                <a:gd name="T25" fmla="*/ 1594 h 3167"/>
                <a:gd name="T26" fmla="*/ 1242 w 3390"/>
                <a:gd name="T27" fmla="*/ 1448 h 3167"/>
                <a:gd name="T28" fmla="*/ 1096 w 3390"/>
                <a:gd name="T29" fmla="*/ 1303 h 3167"/>
                <a:gd name="T30" fmla="*/ 599 w 3390"/>
                <a:gd name="T31" fmla="*/ 1419 h 3167"/>
                <a:gd name="T32" fmla="*/ 712 w 3390"/>
                <a:gd name="T33" fmla="*/ 1591 h 3167"/>
                <a:gd name="T34" fmla="*/ 882 w 3390"/>
                <a:gd name="T35" fmla="*/ 1477 h 3167"/>
                <a:gd name="T36" fmla="*/ 770 w 3390"/>
                <a:gd name="T37" fmla="*/ 1307 h 3167"/>
                <a:gd name="T38" fmla="*/ 1887 w 3390"/>
                <a:gd name="T39" fmla="*/ 0 h 3167"/>
                <a:gd name="T40" fmla="*/ 2619 w 3390"/>
                <a:gd name="T41" fmla="*/ 191 h 3167"/>
                <a:gd name="T42" fmla="*/ 3153 w 3390"/>
                <a:gd name="T43" fmla="*/ 695 h 3167"/>
                <a:gd name="T44" fmla="*/ 3387 w 3390"/>
                <a:gd name="T45" fmla="*/ 1410 h 3167"/>
                <a:gd name="T46" fmla="*/ 3244 w 3390"/>
                <a:gd name="T47" fmla="*/ 2157 h 3167"/>
                <a:gd name="T48" fmla="*/ 2775 w 3390"/>
                <a:gd name="T49" fmla="*/ 2725 h 3167"/>
                <a:gd name="T50" fmla="*/ 2084 w 3390"/>
                <a:gd name="T51" fmla="*/ 3004 h 3167"/>
                <a:gd name="T52" fmla="*/ 1683 w 3390"/>
                <a:gd name="T53" fmla="*/ 2127 h 3167"/>
                <a:gd name="T54" fmla="*/ 1863 w 3390"/>
                <a:gd name="T55" fmla="*/ 2184 h 3167"/>
                <a:gd name="T56" fmla="*/ 2045 w 3390"/>
                <a:gd name="T57" fmla="*/ 2229 h 3167"/>
                <a:gd name="T58" fmla="*/ 2114 w 3390"/>
                <a:gd name="T59" fmla="*/ 2420 h 3167"/>
                <a:gd name="T60" fmla="*/ 2175 w 3390"/>
                <a:gd name="T61" fmla="*/ 2621 h 3167"/>
                <a:gd name="T62" fmla="*/ 2140 w 3390"/>
                <a:gd name="T63" fmla="*/ 2816 h 3167"/>
                <a:gd name="T64" fmla="*/ 2641 w 3390"/>
                <a:gd name="T65" fmla="*/ 2621 h 3167"/>
                <a:gd name="T66" fmla="*/ 2655 w 3390"/>
                <a:gd name="T67" fmla="*/ 2353 h 3167"/>
                <a:gd name="T68" fmla="*/ 2540 w 3390"/>
                <a:gd name="T69" fmla="*/ 2105 h 3167"/>
                <a:gd name="T70" fmla="*/ 2640 w 3390"/>
                <a:gd name="T71" fmla="*/ 1876 h 3167"/>
                <a:gd name="T72" fmla="*/ 2866 w 3390"/>
                <a:gd name="T73" fmla="*/ 1811 h 3167"/>
                <a:gd name="T74" fmla="*/ 3122 w 3390"/>
                <a:gd name="T75" fmla="*/ 1778 h 3167"/>
                <a:gd name="T76" fmla="*/ 3215 w 3390"/>
                <a:gd name="T77" fmla="*/ 1323 h 3167"/>
                <a:gd name="T78" fmla="*/ 2938 w 3390"/>
                <a:gd name="T79" fmla="*/ 675 h 3167"/>
                <a:gd name="T80" fmla="*/ 2594 w 3390"/>
                <a:gd name="T81" fmla="*/ 388 h 3167"/>
                <a:gd name="T82" fmla="*/ 2721 w 3390"/>
                <a:gd name="T83" fmla="*/ 592 h 3167"/>
                <a:gd name="T84" fmla="*/ 2716 w 3390"/>
                <a:gd name="T85" fmla="*/ 774 h 3167"/>
                <a:gd name="T86" fmla="*/ 2739 w 3390"/>
                <a:gd name="T87" fmla="*/ 987 h 3167"/>
                <a:gd name="T88" fmla="*/ 2858 w 3390"/>
                <a:gd name="T89" fmla="*/ 1070 h 3167"/>
                <a:gd name="T90" fmla="*/ 2907 w 3390"/>
                <a:gd name="T91" fmla="*/ 1240 h 3167"/>
                <a:gd name="T92" fmla="*/ 2859 w 3390"/>
                <a:gd name="T93" fmla="*/ 1428 h 3167"/>
                <a:gd name="T94" fmla="*/ 2754 w 3390"/>
                <a:gd name="T95" fmla="*/ 1471 h 3167"/>
                <a:gd name="T96" fmla="*/ 2529 w 3390"/>
                <a:gd name="T97" fmla="*/ 1348 h 3167"/>
                <a:gd name="T98" fmla="*/ 2358 w 3390"/>
                <a:gd name="T99" fmla="*/ 1371 h 3167"/>
                <a:gd name="T100" fmla="*/ 2241 w 3390"/>
                <a:gd name="T101" fmla="*/ 1289 h 3167"/>
                <a:gd name="T102" fmla="*/ 2114 w 3390"/>
                <a:gd name="T103" fmla="*/ 1150 h 3167"/>
                <a:gd name="T104" fmla="*/ 1961 w 3390"/>
                <a:gd name="T105" fmla="*/ 1232 h 3167"/>
                <a:gd name="T106" fmla="*/ 1897 w 3390"/>
                <a:gd name="T107" fmla="*/ 1419 h 3167"/>
                <a:gd name="T108" fmla="*/ 1826 w 3390"/>
                <a:gd name="T109" fmla="*/ 1578 h 3167"/>
                <a:gd name="T110" fmla="*/ 1647 w 3390"/>
                <a:gd name="T111" fmla="*/ 1576 h 3167"/>
                <a:gd name="T112" fmla="*/ 1419 w 3390"/>
                <a:gd name="T113" fmla="*/ 731 h 3167"/>
                <a:gd name="T114" fmla="*/ 1282 w 3390"/>
                <a:gd name="T115" fmla="*/ 411 h 3167"/>
                <a:gd name="T116" fmla="*/ 838 w 3390"/>
                <a:gd name="T117" fmla="*/ 675 h 3167"/>
                <a:gd name="T118" fmla="*/ 616 w 3390"/>
                <a:gd name="T119" fmla="*/ 707 h 3167"/>
                <a:gd name="T120" fmla="*/ 1150 w 3390"/>
                <a:gd name="T121" fmla="*/ 194 h 3167"/>
                <a:gd name="T122" fmla="*/ 1887 w 3390"/>
                <a:gd name="T123" fmla="*/ 0 h 3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90" h="3167">
                  <a:moveTo>
                    <a:pt x="1015" y="2777"/>
                  </a:moveTo>
                  <a:lnTo>
                    <a:pt x="1015" y="2825"/>
                  </a:lnTo>
                  <a:lnTo>
                    <a:pt x="1151" y="2825"/>
                  </a:lnTo>
                  <a:lnTo>
                    <a:pt x="1151" y="2777"/>
                  </a:lnTo>
                  <a:lnTo>
                    <a:pt x="1015" y="2777"/>
                  </a:lnTo>
                  <a:close/>
                  <a:moveTo>
                    <a:pt x="222" y="2715"/>
                  </a:moveTo>
                  <a:lnTo>
                    <a:pt x="1220" y="2715"/>
                  </a:lnTo>
                  <a:lnTo>
                    <a:pt x="1220" y="2886"/>
                  </a:lnTo>
                  <a:lnTo>
                    <a:pt x="222" y="2886"/>
                  </a:lnTo>
                  <a:lnTo>
                    <a:pt x="222" y="2715"/>
                  </a:lnTo>
                  <a:close/>
                  <a:moveTo>
                    <a:pt x="132" y="2626"/>
                  </a:moveTo>
                  <a:lnTo>
                    <a:pt x="132" y="2975"/>
                  </a:lnTo>
                  <a:lnTo>
                    <a:pt x="1309" y="2975"/>
                  </a:lnTo>
                  <a:lnTo>
                    <a:pt x="1309" y="2626"/>
                  </a:lnTo>
                  <a:lnTo>
                    <a:pt x="132" y="2626"/>
                  </a:lnTo>
                  <a:close/>
                  <a:moveTo>
                    <a:pt x="1015" y="2329"/>
                  </a:moveTo>
                  <a:lnTo>
                    <a:pt x="1015" y="2376"/>
                  </a:lnTo>
                  <a:lnTo>
                    <a:pt x="1151" y="2376"/>
                  </a:lnTo>
                  <a:lnTo>
                    <a:pt x="1151" y="2329"/>
                  </a:lnTo>
                  <a:lnTo>
                    <a:pt x="1015" y="2329"/>
                  </a:lnTo>
                  <a:close/>
                  <a:moveTo>
                    <a:pt x="222" y="2268"/>
                  </a:moveTo>
                  <a:lnTo>
                    <a:pt x="1220" y="2268"/>
                  </a:lnTo>
                  <a:lnTo>
                    <a:pt x="1220" y="2438"/>
                  </a:lnTo>
                  <a:lnTo>
                    <a:pt x="222" y="2438"/>
                  </a:lnTo>
                  <a:lnTo>
                    <a:pt x="222" y="2268"/>
                  </a:lnTo>
                  <a:close/>
                  <a:moveTo>
                    <a:pt x="132" y="2177"/>
                  </a:moveTo>
                  <a:lnTo>
                    <a:pt x="132" y="2528"/>
                  </a:lnTo>
                  <a:lnTo>
                    <a:pt x="1309" y="2528"/>
                  </a:lnTo>
                  <a:lnTo>
                    <a:pt x="1309" y="2177"/>
                  </a:lnTo>
                  <a:lnTo>
                    <a:pt x="132" y="2177"/>
                  </a:lnTo>
                  <a:close/>
                  <a:moveTo>
                    <a:pt x="1015" y="1869"/>
                  </a:moveTo>
                  <a:lnTo>
                    <a:pt x="1015" y="1916"/>
                  </a:lnTo>
                  <a:lnTo>
                    <a:pt x="1151" y="1916"/>
                  </a:lnTo>
                  <a:lnTo>
                    <a:pt x="1151" y="1869"/>
                  </a:lnTo>
                  <a:lnTo>
                    <a:pt x="1015" y="1869"/>
                  </a:lnTo>
                  <a:close/>
                  <a:moveTo>
                    <a:pt x="222" y="1814"/>
                  </a:moveTo>
                  <a:lnTo>
                    <a:pt x="1220" y="1814"/>
                  </a:lnTo>
                  <a:lnTo>
                    <a:pt x="1220" y="1984"/>
                  </a:lnTo>
                  <a:lnTo>
                    <a:pt x="222" y="1984"/>
                  </a:lnTo>
                  <a:lnTo>
                    <a:pt x="222" y="1814"/>
                  </a:lnTo>
                  <a:close/>
                  <a:moveTo>
                    <a:pt x="132" y="1724"/>
                  </a:moveTo>
                  <a:lnTo>
                    <a:pt x="132" y="2074"/>
                  </a:lnTo>
                  <a:lnTo>
                    <a:pt x="1309" y="2074"/>
                  </a:lnTo>
                  <a:lnTo>
                    <a:pt x="1309" y="1724"/>
                  </a:lnTo>
                  <a:lnTo>
                    <a:pt x="132" y="1724"/>
                  </a:lnTo>
                  <a:close/>
                  <a:moveTo>
                    <a:pt x="1096" y="1393"/>
                  </a:moveTo>
                  <a:lnTo>
                    <a:pt x="1114" y="1396"/>
                  </a:lnTo>
                  <a:lnTo>
                    <a:pt x="1130" y="1404"/>
                  </a:lnTo>
                  <a:lnTo>
                    <a:pt x="1141" y="1416"/>
                  </a:lnTo>
                  <a:lnTo>
                    <a:pt x="1149" y="1431"/>
                  </a:lnTo>
                  <a:lnTo>
                    <a:pt x="1151" y="1448"/>
                  </a:lnTo>
                  <a:lnTo>
                    <a:pt x="1149" y="1466"/>
                  </a:lnTo>
                  <a:lnTo>
                    <a:pt x="1141" y="1481"/>
                  </a:lnTo>
                  <a:lnTo>
                    <a:pt x="1130" y="1493"/>
                  </a:lnTo>
                  <a:lnTo>
                    <a:pt x="1114" y="1501"/>
                  </a:lnTo>
                  <a:lnTo>
                    <a:pt x="1096" y="1503"/>
                  </a:lnTo>
                  <a:lnTo>
                    <a:pt x="1080" y="1501"/>
                  </a:lnTo>
                  <a:lnTo>
                    <a:pt x="1064" y="1493"/>
                  </a:lnTo>
                  <a:lnTo>
                    <a:pt x="1053" y="1481"/>
                  </a:lnTo>
                  <a:lnTo>
                    <a:pt x="1045" y="1466"/>
                  </a:lnTo>
                  <a:lnTo>
                    <a:pt x="1042" y="1448"/>
                  </a:lnTo>
                  <a:lnTo>
                    <a:pt x="1045" y="1431"/>
                  </a:lnTo>
                  <a:lnTo>
                    <a:pt x="1053" y="1416"/>
                  </a:lnTo>
                  <a:lnTo>
                    <a:pt x="1064" y="1404"/>
                  </a:lnTo>
                  <a:lnTo>
                    <a:pt x="1080" y="1396"/>
                  </a:lnTo>
                  <a:lnTo>
                    <a:pt x="1096" y="1393"/>
                  </a:lnTo>
                  <a:close/>
                  <a:moveTo>
                    <a:pt x="741" y="1393"/>
                  </a:moveTo>
                  <a:lnTo>
                    <a:pt x="759" y="1396"/>
                  </a:lnTo>
                  <a:lnTo>
                    <a:pt x="773" y="1404"/>
                  </a:lnTo>
                  <a:lnTo>
                    <a:pt x="786" y="1416"/>
                  </a:lnTo>
                  <a:lnTo>
                    <a:pt x="793" y="1431"/>
                  </a:lnTo>
                  <a:lnTo>
                    <a:pt x="796" y="1448"/>
                  </a:lnTo>
                  <a:lnTo>
                    <a:pt x="793" y="1466"/>
                  </a:lnTo>
                  <a:lnTo>
                    <a:pt x="786" y="1481"/>
                  </a:lnTo>
                  <a:lnTo>
                    <a:pt x="773" y="1493"/>
                  </a:lnTo>
                  <a:lnTo>
                    <a:pt x="759" y="1501"/>
                  </a:lnTo>
                  <a:lnTo>
                    <a:pt x="741" y="1503"/>
                  </a:lnTo>
                  <a:lnTo>
                    <a:pt x="723" y="1501"/>
                  </a:lnTo>
                  <a:lnTo>
                    <a:pt x="709" y="1493"/>
                  </a:lnTo>
                  <a:lnTo>
                    <a:pt x="696" y="1481"/>
                  </a:lnTo>
                  <a:lnTo>
                    <a:pt x="689" y="1466"/>
                  </a:lnTo>
                  <a:lnTo>
                    <a:pt x="686" y="1448"/>
                  </a:lnTo>
                  <a:lnTo>
                    <a:pt x="689" y="1431"/>
                  </a:lnTo>
                  <a:lnTo>
                    <a:pt x="696" y="1416"/>
                  </a:lnTo>
                  <a:lnTo>
                    <a:pt x="709" y="1404"/>
                  </a:lnTo>
                  <a:lnTo>
                    <a:pt x="723" y="1396"/>
                  </a:lnTo>
                  <a:lnTo>
                    <a:pt x="741" y="1393"/>
                  </a:lnTo>
                  <a:close/>
                  <a:moveTo>
                    <a:pt x="1096" y="1303"/>
                  </a:moveTo>
                  <a:lnTo>
                    <a:pt x="1067" y="1307"/>
                  </a:lnTo>
                  <a:lnTo>
                    <a:pt x="1041" y="1315"/>
                  </a:lnTo>
                  <a:lnTo>
                    <a:pt x="1016" y="1328"/>
                  </a:lnTo>
                  <a:lnTo>
                    <a:pt x="995" y="1346"/>
                  </a:lnTo>
                  <a:lnTo>
                    <a:pt x="977" y="1367"/>
                  </a:lnTo>
                  <a:lnTo>
                    <a:pt x="964" y="1392"/>
                  </a:lnTo>
                  <a:lnTo>
                    <a:pt x="956" y="1419"/>
                  </a:lnTo>
                  <a:lnTo>
                    <a:pt x="952" y="1448"/>
                  </a:lnTo>
                  <a:lnTo>
                    <a:pt x="956" y="1477"/>
                  </a:lnTo>
                  <a:lnTo>
                    <a:pt x="964" y="1505"/>
                  </a:lnTo>
                  <a:lnTo>
                    <a:pt x="977" y="1529"/>
                  </a:lnTo>
                  <a:lnTo>
                    <a:pt x="995" y="1551"/>
                  </a:lnTo>
                  <a:lnTo>
                    <a:pt x="1016" y="1569"/>
                  </a:lnTo>
                  <a:lnTo>
                    <a:pt x="1041" y="1582"/>
                  </a:lnTo>
                  <a:lnTo>
                    <a:pt x="1067" y="1591"/>
                  </a:lnTo>
                  <a:lnTo>
                    <a:pt x="1096" y="1594"/>
                  </a:lnTo>
                  <a:lnTo>
                    <a:pt x="1125" y="1591"/>
                  </a:lnTo>
                  <a:lnTo>
                    <a:pt x="1153" y="1582"/>
                  </a:lnTo>
                  <a:lnTo>
                    <a:pt x="1177" y="1569"/>
                  </a:lnTo>
                  <a:lnTo>
                    <a:pt x="1199" y="1551"/>
                  </a:lnTo>
                  <a:lnTo>
                    <a:pt x="1217" y="1529"/>
                  </a:lnTo>
                  <a:lnTo>
                    <a:pt x="1230" y="1505"/>
                  </a:lnTo>
                  <a:lnTo>
                    <a:pt x="1238" y="1477"/>
                  </a:lnTo>
                  <a:lnTo>
                    <a:pt x="1242" y="1448"/>
                  </a:lnTo>
                  <a:lnTo>
                    <a:pt x="1238" y="1419"/>
                  </a:lnTo>
                  <a:lnTo>
                    <a:pt x="1230" y="1392"/>
                  </a:lnTo>
                  <a:lnTo>
                    <a:pt x="1217" y="1367"/>
                  </a:lnTo>
                  <a:lnTo>
                    <a:pt x="1199" y="1346"/>
                  </a:lnTo>
                  <a:lnTo>
                    <a:pt x="1177" y="1328"/>
                  </a:lnTo>
                  <a:lnTo>
                    <a:pt x="1153" y="1315"/>
                  </a:lnTo>
                  <a:lnTo>
                    <a:pt x="1125" y="1307"/>
                  </a:lnTo>
                  <a:lnTo>
                    <a:pt x="1096" y="1303"/>
                  </a:lnTo>
                  <a:close/>
                  <a:moveTo>
                    <a:pt x="741" y="1303"/>
                  </a:moveTo>
                  <a:lnTo>
                    <a:pt x="712" y="1307"/>
                  </a:lnTo>
                  <a:lnTo>
                    <a:pt x="685" y="1315"/>
                  </a:lnTo>
                  <a:lnTo>
                    <a:pt x="660" y="1328"/>
                  </a:lnTo>
                  <a:lnTo>
                    <a:pt x="638" y="1346"/>
                  </a:lnTo>
                  <a:lnTo>
                    <a:pt x="621" y="1367"/>
                  </a:lnTo>
                  <a:lnTo>
                    <a:pt x="607" y="1392"/>
                  </a:lnTo>
                  <a:lnTo>
                    <a:pt x="599" y="1419"/>
                  </a:lnTo>
                  <a:lnTo>
                    <a:pt x="596" y="1448"/>
                  </a:lnTo>
                  <a:lnTo>
                    <a:pt x="599" y="1477"/>
                  </a:lnTo>
                  <a:lnTo>
                    <a:pt x="607" y="1505"/>
                  </a:lnTo>
                  <a:lnTo>
                    <a:pt x="621" y="1529"/>
                  </a:lnTo>
                  <a:lnTo>
                    <a:pt x="638" y="1551"/>
                  </a:lnTo>
                  <a:lnTo>
                    <a:pt x="660" y="1569"/>
                  </a:lnTo>
                  <a:lnTo>
                    <a:pt x="685" y="1582"/>
                  </a:lnTo>
                  <a:lnTo>
                    <a:pt x="712" y="1591"/>
                  </a:lnTo>
                  <a:lnTo>
                    <a:pt x="741" y="1594"/>
                  </a:lnTo>
                  <a:lnTo>
                    <a:pt x="770" y="1591"/>
                  </a:lnTo>
                  <a:lnTo>
                    <a:pt x="797" y="1582"/>
                  </a:lnTo>
                  <a:lnTo>
                    <a:pt x="822" y="1569"/>
                  </a:lnTo>
                  <a:lnTo>
                    <a:pt x="843" y="1551"/>
                  </a:lnTo>
                  <a:lnTo>
                    <a:pt x="860" y="1529"/>
                  </a:lnTo>
                  <a:lnTo>
                    <a:pt x="874" y="1505"/>
                  </a:lnTo>
                  <a:lnTo>
                    <a:pt x="882" y="1477"/>
                  </a:lnTo>
                  <a:lnTo>
                    <a:pt x="885" y="1448"/>
                  </a:lnTo>
                  <a:lnTo>
                    <a:pt x="882" y="1419"/>
                  </a:lnTo>
                  <a:lnTo>
                    <a:pt x="874" y="1392"/>
                  </a:lnTo>
                  <a:lnTo>
                    <a:pt x="860" y="1367"/>
                  </a:lnTo>
                  <a:lnTo>
                    <a:pt x="843" y="1346"/>
                  </a:lnTo>
                  <a:lnTo>
                    <a:pt x="822" y="1328"/>
                  </a:lnTo>
                  <a:lnTo>
                    <a:pt x="797" y="1315"/>
                  </a:lnTo>
                  <a:lnTo>
                    <a:pt x="770" y="1307"/>
                  </a:lnTo>
                  <a:lnTo>
                    <a:pt x="741" y="1303"/>
                  </a:lnTo>
                  <a:close/>
                  <a:moveTo>
                    <a:pt x="0" y="1156"/>
                  </a:moveTo>
                  <a:lnTo>
                    <a:pt x="1427" y="1156"/>
                  </a:lnTo>
                  <a:lnTo>
                    <a:pt x="1427" y="3167"/>
                  </a:lnTo>
                  <a:lnTo>
                    <a:pt x="0" y="3167"/>
                  </a:lnTo>
                  <a:lnTo>
                    <a:pt x="0" y="2404"/>
                  </a:lnTo>
                  <a:lnTo>
                    <a:pt x="0" y="1156"/>
                  </a:lnTo>
                  <a:close/>
                  <a:moveTo>
                    <a:pt x="1887" y="0"/>
                  </a:moveTo>
                  <a:lnTo>
                    <a:pt x="1987" y="3"/>
                  </a:lnTo>
                  <a:lnTo>
                    <a:pt x="2083" y="13"/>
                  </a:lnTo>
                  <a:lnTo>
                    <a:pt x="2178" y="29"/>
                  </a:lnTo>
                  <a:lnTo>
                    <a:pt x="2272" y="50"/>
                  </a:lnTo>
                  <a:lnTo>
                    <a:pt x="2362" y="77"/>
                  </a:lnTo>
                  <a:lnTo>
                    <a:pt x="2450" y="110"/>
                  </a:lnTo>
                  <a:lnTo>
                    <a:pt x="2536" y="147"/>
                  </a:lnTo>
                  <a:lnTo>
                    <a:pt x="2619" y="191"/>
                  </a:lnTo>
                  <a:lnTo>
                    <a:pt x="2698" y="239"/>
                  </a:lnTo>
                  <a:lnTo>
                    <a:pt x="2774" y="291"/>
                  </a:lnTo>
                  <a:lnTo>
                    <a:pt x="2847" y="348"/>
                  </a:lnTo>
                  <a:lnTo>
                    <a:pt x="2916" y="410"/>
                  </a:lnTo>
                  <a:lnTo>
                    <a:pt x="2982" y="475"/>
                  </a:lnTo>
                  <a:lnTo>
                    <a:pt x="3043" y="545"/>
                  </a:lnTo>
                  <a:lnTo>
                    <a:pt x="3100" y="618"/>
                  </a:lnTo>
                  <a:lnTo>
                    <a:pt x="3153" y="695"/>
                  </a:lnTo>
                  <a:lnTo>
                    <a:pt x="3200" y="775"/>
                  </a:lnTo>
                  <a:lnTo>
                    <a:pt x="3243" y="858"/>
                  </a:lnTo>
                  <a:lnTo>
                    <a:pt x="3281" y="943"/>
                  </a:lnTo>
                  <a:lnTo>
                    <a:pt x="3313" y="1032"/>
                  </a:lnTo>
                  <a:lnTo>
                    <a:pt x="3340" y="1123"/>
                  </a:lnTo>
                  <a:lnTo>
                    <a:pt x="3362" y="1217"/>
                  </a:lnTo>
                  <a:lnTo>
                    <a:pt x="3378" y="1312"/>
                  </a:lnTo>
                  <a:lnTo>
                    <a:pt x="3387" y="1410"/>
                  </a:lnTo>
                  <a:lnTo>
                    <a:pt x="3390" y="1508"/>
                  </a:lnTo>
                  <a:lnTo>
                    <a:pt x="3388" y="1596"/>
                  </a:lnTo>
                  <a:lnTo>
                    <a:pt x="3380" y="1682"/>
                  </a:lnTo>
                  <a:lnTo>
                    <a:pt x="3367" y="1767"/>
                  </a:lnTo>
                  <a:lnTo>
                    <a:pt x="3341" y="1890"/>
                  </a:lnTo>
                  <a:lnTo>
                    <a:pt x="3314" y="1981"/>
                  </a:lnTo>
                  <a:lnTo>
                    <a:pt x="3282" y="2070"/>
                  </a:lnTo>
                  <a:lnTo>
                    <a:pt x="3244" y="2157"/>
                  </a:lnTo>
                  <a:lnTo>
                    <a:pt x="3201" y="2240"/>
                  </a:lnTo>
                  <a:lnTo>
                    <a:pt x="3154" y="2320"/>
                  </a:lnTo>
                  <a:lnTo>
                    <a:pt x="3102" y="2397"/>
                  </a:lnTo>
                  <a:lnTo>
                    <a:pt x="3045" y="2470"/>
                  </a:lnTo>
                  <a:lnTo>
                    <a:pt x="2984" y="2539"/>
                  </a:lnTo>
                  <a:lnTo>
                    <a:pt x="2918" y="2605"/>
                  </a:lnTo>
                  <a:lnTo>
                    <a:pt x="2849" y="2666"/>
                  </a:lnTo>
                  <a:lnTo>
                    <a:pt x="2775" y="2725"/>
                  </a:lnTo>
                  <a:lnTo>
                    <a:pt x="2700" y="2777"/>
                  </a:lnTo>
                  <a:lnTo>
                    <a:pt x="2620" y="2826"/>
                  </a:lnTo>
                  <a:lnTo>
                    <a:pt x="2537" y="2868"/>
                  </a:lnTo>
                  <a:lnTo>
                    <a:pt x="2451" y="2907"/>
                  </a:lnTo>
                  <a:lnTo>
                    <a:pt x="2363" y="2939"/>
                  </a:lnTo>
                  <a:lnTo>
                    <a:pt x="2272" y="2967"/>
                  </a:lnTo>
                  <a:lnTo>
                    <a:pt x="2178" y="2988"/>
                  </a:lnTo>
                  <a:lnTo>
                    <a:pt x="2084" y="3004"/>
                  </a:lnTo>
                  <a:lnTo>
                    <a:pt x="1987" y="3014"/>
                  </a:lnTo>
                  <a:lnTo>
                    <a:pt x="1888" y="3017"/>
                  </a:lnTo>
                  <a:lnTo>
                    <a:pt x="1800" y="3014"/>
                  </a:lnTo>
                  <a:lnTo>
                    <a:pt x="1713" y="3007"/>
                  </a:lnTo>
                  <a:lnTo>
                    <a:pt x="1628" y="2994"/>
                  </a:lnTo>
                  <a:lnTo>
                    <a:pt x="1628" y="2095"/>
                  </a:lnTo>
                  <a:lnTo>
                    <a:pt x="1656" y="2110"/>
                  </a:lnTo>
                  <a:lnTo>
                    <a:pt x="1683" y="2127"/>
                  </a:lnTo>
                  <a:lnTo>
                    <a:pt x="1709" y="2147"/>
                  </a:lnTo>
                  <a:lnTo>
                    <a:pt x="1735" y="2169"/>
                  </a:lnTo>
                  <a:lnTo>
                    <a:pt x="1754" y="2179"/>
                  </a:lnTo>
                  <a:lnTo>
                    <a:pt x="1774" y="2187"/>
                  </a:lnTo>
                  <a:lnTo>
                    <a:pt x="1795" y="2189"/>
                  </a:lnTo>
                  <a:lnTo>
                    <a:pt x="1818" y="2189"/>
                  </a:lnTo>
                  <a:lnTo>
                    <a:pt x="1841" y="2187"/>
                  </a:lnTo>
                  <a:lnTo>
                    <a:pt x="1863" y="2184"/>
                  </a:lnTo>
                  <a:lnTo>
                    <a:pt x="1886" y="2181"/>
                  </a:lnTo>
                  <a:lnTo>
                    <a:pt x="1908" y="2178"/>
                  </a:lnTo>
                  <a:lnTo>
                    <a:pt x="1929" y="2178"/>
                  </a:lnTo>
                  <a:lnTo>
                    <a:pt x="1958" y="2182"/>
                  </a:lnTo>
                  <a:lnTo>
                    <a:pt x="1984" y="2189"/>
                  </a:lnTo>
                  <a:lnTo>
                    <a:pt x="2006" y="2199"/>
                  </a:lnTo>
                  <a:lnTo>
                    <a:pt x="2027" y="2213"/>
                  </a:lnTo>
                  <a:lnTo>
                    <a:pt x="2045" y="2229"/>
                  </a:lnTo>
                  <a:lnTo>
                    <a:pt x="2059" y="2248"/>
                  </a:lnTo>
                  <a:lnTo>
                    <a:pt x="2073" y="2270"/>
                  </a:lnTo>
                  <a:lnTo>
                    <a:pt x="2083" y="2293"/>
                  </a:lnTo>
                  <a:lnTo>
                    <a:pt x="2092" y="2317"/>
                  </a:lnTo>
                  <a:lnTo>
                    <a:pt x="2100" y="2342"/>
                  </a:lnTo>
                  <a:lnTo>
                    <a:pt x="2106" y="2368"/>
                  </a:lnTo>
                  <a:lnTo>
                    <a:pt x="2111" y="2394"/>
                  </a:lnTo>
                  <a:lnTo>
                    <a:pt x="2114" y="2420"/>
                  </a:lnTo>
                  <a:lnTo>
                    <a:pt x="2117" y="2446"/>
                  </a:lnTo>
                  <a:lnTo>
                    <a:pt x="2119" y="2471"/>
                  </a:lnTo>
                  <a:lnTo>
                    <a:pt x="2125" y="2497"/>
                  </a:lnTo>
                  <a:lnTo>
                    <a:pt x="2132" y="2522"/>
                  </a:lnTo>
                  <a:lnTo>
                    <a:pt x="2142" y="2547"/>
                  </a:lnTo>
                  <a:lnTo>
                    <a:pt x="2154" y="2572"/>
                  </a:lnTo>
                  <a:lnTo>
                    <a:pt x="2165" y="2596"/>
                  </a:lnTo>
                  <a:lnTo>
                    <a:pt x="2175" y="2621"/>
                  </a:lnTo>
                  <a:lnTo>
                    <a:pt x="2184" y="2646"/>
                  </a:lnTo>
                  <a:lnTo>
                    <a:pt x="2189" y="2671"/>
                  </a:lnTo>
                  <a:lnTo>
                    <a:pt x="2191" y="2697"/>
                  </a:lnTo>
                  <a:lnTo>
                    <a:pt x="2187" y="2725"/>
                  </a:lnTo>
                  <a:lnTo>
                    <a:pt x="2179" y="2749"/>
                  </a:lnTo>
                  <a:lnTo>
                    <a:pt x="2169" y="2773"/>
                  </a:lnTo>
                  <a:lnTo>
                    <a:pt x="2156" y="2795"/>
                  </a:lnTo>
                  <a:lnTo>
                    <a:pt x="2140" y="2816"/>
                  </a:lnTo>
                  <a:lnTo>
                    <a:pt x="2120" y="2833"/>
                  </a:lnTo>
                  <a:lnTo>
                    <a:pt x="2201" y="2816"/>
                  </a:lnTo>
                  <a:lnTo>
                    <a:pt x="2280" y="2794"/>
                  </a:lnTo>
                  <a:lnTo>
                    <a:pt x="2357" y="2768"/>
                  </a:lnTo>
                  <a:lnTo>
                    <a:pt x="2431" y="2737"/>
                  </a:lnTo>
                  <a:lnTo>
                    <a:pt x="2504" y="2703"/>
                  </a:lnTo>
                  <a:lnTo>
                    <a:pt x="2573" y="2663"/>
                  </a:lnTo>
                  <a:lnTo>
                    <a:pt x="2641" y="2621"/>
                  </a:lnTo>
                  <a:lnTo>
                    <a:pt x="2705" y="2574"/>
                  </a:lnTo>
                  <a:lnTo>
                    <a:pt x="2766" y="2523"/>
                  </a:lnTo>
                  <a:lnTo>
                    <a:pt x="2753" y="2493"/>
                  </a:lnTo>
                  <a:lnTo>
                    <a:pt x="2736" y="2464"/>
                  </a:lnTo>
                  <a:lnTo>
                    <a:pt x="2717" y="2435"/>
                  </a:lnTo>
                  <a:lnTo>
                    <a:pt x="2698" y="2407"/>
                  </a:lnTo>
                  <a:lnTo>
                    <a:pt x="2677" y="2380"/>
                  </a:lnTo>
                  <a:lnTo>
                    <a:pt x="2655" y="2353"/>
                  </a:lnTo>
                  <a:lnTo>
                    <a:pt x="2634" y="2326"/>
                  </a:lnTo>
                  <a:lnTo>
                    <a:pt x="2614" y="2299"/>
                  </a:lnTo>
                  <a:lnTo>
                    <a:pt x="2595" y="2270"/>
                  </a:lnTo>
                  <a:lnTo>
                    <a:pt x="2578" y="2241"/>
                  </a:lnTo>
                  <a:lnTo>
                    <a:pt x="2564" y="2210"/>
                  </a:lnTo>
                  <a:lnTo>
                    <a:pt x="2552" y="2177"/>
                  </a:lnTo>
                  <a:lnTo>
                    <a:pt x="2544" y="2142"/>
                  </a:lnTo>
                  <a:lnTo>
                    <a:pt x="2540" y="2105"/>
                  </a:lnTo>
                  <a:lnTo>
                    <a:pt x="2540" y="2065"/>
                  </a:lnTo>
                  <a:lnTo>
                    <a:pt x="2546" y="2028"/>
                  </a:lnTo>
                  <a:lnTo>
                    <a:pt x="2556" y="1993"/>
                  </a:lnTo>
                  <a:lnTo>
                    <a:pt x="2567" y="1963"/>
                  </a:lnTo>
                  <a:lnTo>
                    <a:pt x="2582" y="1936"/>
                  </a:lnTo>
                  <a:lnTo>
                    <a:pt x="2598" y="1913"/>
                  </a:lnTo>
                  <a:lnTo>
                    <a:pt x="2618" y="1893"/>
                  </a:lnTo>
                  <a:lnTo>
                    <a:pt x="2640" y="1876"/>
                  </a:lnTo>
                  <a:lnTo>
                    <a:pt x="2662" y="1861"/>
                  </a:lnTo>
                  <a:lnTo>
                    <a:pt x="2687" y="1850"/>
                  </a:lnTo>
                  <a:lnTo>
                    <a:pt x="2714" y="1839"/>
                  </a:lnTo>
                  <a:lnTo>
                    <a:pt x="2742" y="1831"/>
                  </a:lnTo>
                  <a:lnTo>
                    <a:pt x="2772" y="1825"/>
                  </a:lnTo>
                  <a:lnTo>
                    <a:pt x="2802" y="1818"/>
                  </a:lnTo>
                  <a:lnTo>
                    <a:pt x="2833" y="1814"/>
                  </a:lnTo>
                  <a:lnTo>
                    <a:pt x="2866" y="1811"/>
                  </a:lnTo>
                  <a:lnTo>
                    <a:pt x="2898" y="1808"/>
                  </a:lnTo>
                  <a:lnTo>
                    <a:pt x="2930" y="1805"/>
                  </a:lnTo>
                  <a:lnTo>
                    <a:pt x="2963" y="1802"/>
                  </a:lnTo>
                  <a:lnTo>
                    <a:pt x="2996" y="1799"/>
                  </a:lnTo>
                  <a:lnTo>
                    <a:pt x="3028" y="1795"/>
                  </a:lnTo>
                  <a:lnTo>
                    <a:pt x="3060" y="1790"/>
                  </a:lnTo>
                  <a:lnTo>
                    <a:pt x="3091" y="1784"/>
                  </a:lnTo>
                  <a:lnTo>
                    <a:pt x="3122" y="1778"/>
                  </a:lnTo>
                  <a:lnTo>
                    <a:pt x="3152" y="1768"/>
                  </a:lnTo>
                  <a:lnTo>
                    <a:pt x="3180" y="1758"/>
                  </a:lnTo>
                  <a:lnTo>
                    <a:pt x="3207" y="1746"/>
                  </a:lnTo>
                  <a:lnTo>
                    <a:pt x="3218" y="1668"/>
                  </a:lnTo>
                  <a:lnTo>
                    <a:pt x="3225" y="1589"/>
                  </a:lnTo>
                  <a:lnTo>
                    <a:pt x="3227" y="1508"/>
                  </a:lnTo>
                  <a:lnTo>
                    <a:pt x="3224" y="1415"/>
                  </a:lnTo>
                  <a:lnTo>
                    <a:pt x="3215" y="1323"/>
                  </a:lnTo>
                  <a:lnTo>
                    <a:pt x="3199" y="1233"/>
                  </a:lnTo>
                  <a:lnTo>
                    <a:pt x="3177" y="1145"/>
                  </a:lnTo>
                  <a:lnTo>
                    <a:pt x="3151" y="1060"/>
                  </a:lnTo>
                  <a:lnTo>
                    <a:pt x="3118" y="977"/>
                  </a:lnTo>
                  <a:lnTo>
                    <a:pt x="3081" y="897"/>
                  </a:lnTo>
                  <a:lnTo>
                    <a:pt x="3038" y="820"/>
                  </a:lnTo>
                  <a:lnTo>
                    <a:pt x="2990" y="745"/>
                  </a:lnTo>
                  <a:lnTo>
                    <a:pt x="2938" y="675"/>
                  </a:lnTo>
                  <a:lnTo>
                    <a:pt x="2882" y="607"/>
                  </a:lnTo>
                  <a:lnTo>
                    <a:pt x="2821" y="545"/>
                  </a:lnTo>
                  <a:lnTo>
                    <a:pt x="2757" y="486"/>
                  </a:lnTo>
                  <a:lnTo>
                    <a:pt x="2688" y="430"/>
                  </a:lnTo>
                  <a:lnTo>
                    <a:pt x="2616" y="381"/>
                  </a:lnTo>
                  <a:lnTo>
                    <a:pt x="2541" y="335"/>
                  </a:lnTo>
                  <a:lnTo>
                    <a:pt x="2561" y="353"/>
                  </a:lnTo>
                  <a:lnTo>
                    <a:pt x="2594" y="388"/>
                  </a:lnTo>
                  <a:lnTo>
                    <a:pt x="2623" y="420"/>
                  </a:lnTo>
                  <a:lnTo>
                    <a:pt x="2648" y="449"/>
                  </a:lnTo>
                  <a:lnTo>
                    <a:pt x="2668" y="476"/>
                  </a:lnTo>
                  <a:lnTo>
                    <a:pt x="2684" y="502"/>
                  </a:lnTo>
                  <a:lnTo>
                    <a:pt x="2698" y="526"/>
                  </a:lnTo>
                  <a:lnTo>
                    <a:pt x="2708" y="549"/>
                  </a:lnTo>
                  <a:lnTo>
                    <a:pt x="2716" y="571"/>
                  </a:lnTo>
                  <a:lnTo>
                    <a:pt x="2721" y="592"/>
                  </a:lnTo>
                  <a:lnTo>
                    <a:pt x="2725" y="613"/>
                  </a:lnTo>
                  <a:lnTo>
                    <a:pt x="2726" y="633"/>
                  </a:lnTo>
                  <a:lnTo>
                    <a:pt x="2726" y="654"/>
                  </a:lnTo>
                  <a:lnTo>
                    <a:pt x="2725" y="676"/>
                  </a:lnTo>
                  <a:lnTo>
                    <a:pt x="2723" y="699"/>
                  </a:lnTo>
                  <a:lnTo>
                    <a:pt x="2720" y="722"/>
                  </a:lnTo>
                  <a:lnTo>
                    <a:pt x="2718" y="747"/>
                  </a:lnTo>
                  <a:lnTo>
                    <a:pt x="2716" y="774"/>
                  </a:lnTo>
                  <a:lnTo>
                    <a:pt x="2715" y="803"/>
                  </a:lnTo>
                  <a:lnTo>
                    <a:pt x="2715" y="834"/>
                  </a:lnTo>
                  <a:lnTo>
                    <a:pt x="2716" y="867"/>
                  </a:lnTo>
                  <a:lnTo>
                    <a:pt x="2718" y="904"/>
                  </a:lnTo>
                  <a:lnTo>
                    <a:pt x="2724" y="944"/>
                  </a:lnTo>
                  <a:lnTo>
                    <a:pt x="2725" y="960"/>
                  </a:lnTo>
                  <a:lnTo>
                    <a:pt x="2731" y="975"/>
                  </a:lnTo>
                  <a:lnTo>
                    <a:pt x="2739" y="987"/>
                  </a:lnTo>
                  <a:lnTo>
                    <a:pt x="2749" y="999"/>
                  </a:lnTo>
                  <a:lnTo>
                    <a:pt x="2762" y="1009"/>
                  </a:lnTo>
                  <a:lnTo>
                    <a:pt x="2776" y="1018"/>
                  </a:lnTo>
                  <a:lnTo>
                    <a:pt x="2793" y="1028"/>
                  </a:lnTo>
                  <a:lnTo>
                    <a:pt x="2809" y="1038"/>
                  </a:lnTo>
                  <a:lnTo>
                    <a:pt x="2825" y="1047"/>
                  </a:lnTo>
                  <a:lnTo>
                    <a:pt x="2842" y="1059"/>
                  </a:lnTo>
                  <a:lnTo>
                    <a:pt x="2858" y="1070"/>
                  </a:lnTo>
                  <a:lnTo>
                    <a:pt x="2873" y="1084"/>
                  </a:lnTo>
                  <a:lnTo>
                    <a:pt x="2885" y="1099"/>
                  </a:lnTo>
                  <a:lnTo>
                    <a:pt x="2897" y="1116"/>
                  </a:lnTo>
                  <a:lnTo>
                    <a:pt x="2906" y="1136"/>
                  </a:lnTo>
                  <a:lnTo>
                    <a:pt x="2911" y="1159"/>
                  </a:lnTo>
                  <a:lnTo>
                    <a:pt x="2914" y="1184"/>
                  </a:lnTo>
                  <a:lnTo>
                    <a:pt x="2912" y="1213"/>
                  </a:lnTo>
                  <a:lnTo>
                    <a:pt x="2907" y="1240"/>
                  </a:lnTo>
                  <a:lnTo>
                    <a:pt x="2901" y="1267"/>
                  </a:lnTo>
                  <a:lnTo>
                    <a:pt x="2896" y="1294"/>
                  </a:lnTo>
                  <a:lnTo>
                    <a:pt x="2890" y="1320"/>
                  </a:lnTo>
                  <a:lnTo>
                    <a:pt x="2885" y="1345"/>
                  </a:lnTo>
                  <a:lnTo>
                    <a:pt x="2879" y="1368"/>
                  </a:lnTo>
                  <a:lnTo>
                    <a:pt x="2874" y="1390"/>
                  </a:lnTo>
                  <a:lnTo>
                    <a:pt x="2867" y="1411"/>
                  </a:lnTo>
                  <a:lnTo>
                    <a:pt x="2859" y="1428"/>
                  </a:lnTo>
                  <a:lnTo>
                    <a:pt x="2851" y="1444"/>
                  </a:lnTo>
                  <a:lnTo>
                    <a:pt x="2842" y="1457"/>
                  </a:lnTo>
                  <a:lnTo>
                    <a:pt x="2830" y="1468"/>
                  </a:lnTo>
                  <a:lnTo>
                    <a:pt x="2819" y="1476"/>
                  </a:lnTo>
                  <a:lnTo>
                    <a:pt x="2805" y="1480"/>
                  </a:lnTo>
                  <a:lnTo>
                    <a:pt x="2790" y="1480"/>
                  </a:lnTo>
                  <a:lnTo>
                    <a:pt x="2772" y="1478"/>
                  </a:lnTo>
                  <a:lnTo>
                    <a:pt x="2754" y="1471"/>
                  </a:lnTo>
                  <a:lnTo>
                    <a:pt x="2732" y="1459"/>
                  </a:lnTo>
                  <a:lnTo>
                    <a:pt x="2709" y="1444"/>
                  </a:lnTo>
                  <a:lnTo>
                    <a:pt x="2682" y="1423"/>
                  </a:lnTo>
                  <a:lnTo>
                    <a:pt x="2649" y="1398"/>
                  </a:lnTo>
                  <a:lnTo>
                    <a:pt x="2617" y="1378"/>
                  </a:lnTo>
                  <a:lnTo>
                    <a:pt x="2586" y="1364"/>
                  </a:lnTo>
                  <a:lnTo>
                    <a:pt x="2557" y="1353"/>
                  </a:lnTo>
                  <a:lnTo>
                    <a:pt x="2529" y="1348"/>
                  </a:lnTo>
                  <a:lnTo>
                    <a:pt x="2503" y="1345"/>
                  </a:lnTo>
                  <a:lnTo>
                    <a:pt x="2478" y="1346"/>
                  </a:lnTo>
                  <a:lnTo>
                    <a:pt x="2454" y="1348"/>
                  </a:lnTo>
                  <a:lnTo>
                    <a:pt x="2432" y="1352"/>
                  </a:lnTo>
                  <a:lnTo>
                    <a:pt x="2412" y="1358"/>
                  </a:lnTo>
                  <a:lnTo>
                    <a:pt x="2392" y="1363"/>
                  </a:lnTo>
                  <a:lnTo>
                    <a:pt x="2374" y="1367"/>
                  </a:lnTo>
                  <a:lnTo>
                    <a:pt x="2358" y="1371"/>
                  </a:lnTo>
                  <a:lnTo>
                    <a:pt x="2343" y="1374"/>
                  </a:lnTo>
                  <a:lnTo>
                    <a:pt x="2329" y="1374"/>
                  </a:lnTo>
                  <a:lnTo>
                    <a:pt x="2317" y="1372"/>
                  </a:lnTo>
                  <a:lnTo>
                    <a:pt x="2300" y="1362"/>
                  </a:lnTo>
                  <a:lnTo>
                    <a:pt x="2284" y="1347"/>
                  </a:lnTo>
                  <a:lnTo>
                    <a:pt x="2270" y="1329"/>
                  </a:lnTo>
                  <a:lnTo>
                    <a:pt x="2255" y="1310"/>
                  </a:lnTo>
                  <a:lnTo>
                    <a:pt x="2241" y="1289"/>
                  </a:lnTo>
                  <a:lnTo>
                    <a:pt x="2227" y="1267"/>
                  </a:lnTo>
                  <a:lnTo>
                    <a:pt x="2213" y="1245"/>
                  </a:lnTo>
                  <a:lnTo>
                    <a:pt x="2199" y="1223"/>
                  </a:lnTo>
                  <a:lnTo>
                    <a:pt x="2184" y="1204"/>
                  </a:lnTo>
                  <a:lnTo>
                    <a:pt x="2168" y="1186"/>
                  </a:lnTo>
                  <a:lnTo>
                    <a:pt x="2151" y="1170"/>
                  </a:lnTo>
                  <a:lnTo>
                    <a:pt x="2134" y="1159"/>
                  </a:lnTo>
                  <a:lnTo>
                    <a:pt x="2114" y="1150"/>
                  </a:lnTo>
                  <a:lnTo>
                    <a:pt x="2093" y="1148"/>
                  </a:lnTo>
                  <a:lnTo>
                    <a:pt x="2068" y="1152"/>
                  </a:lnTo>
                  <a:lnTo>
                    <a:pt x="2045" y="1159"/>
                  </a:lnTo>
                  <a:lnTo>
                    <a:pt x="2023" y="1168"/>
                  </a:lnTo>
                  <a:lnTo>
                    <a:pt x="2005" y="1181"/>
                  </a:lnTo>
                  <a:lnTo>
                    <a:pt x="1989" y="1195"/>
                  </a:lnTo>
                  <a:lnTo>
                    <a:pt x="1974" y="1213"/>
                  </a:lnTo>
                  <a:lnTo>
                    <a:pt x="1961" y="1232"/>
                  </a:lnTo>
                  <a:lnTo>
                    <a:pt x="1950" y="1251"/>
                  </a:lnTo>
                  <a:lnTo>
                    <a:pt x="1940" y="1273"/>
                  </a:lnTo>
                  <a:lnTo>
                    <a:pt x="1931" y="1296"/>
                  </a:lnTo>
                  <a:lnTo>
                    <a:pt x="1923" y="1320"/>
                  </a:lnTo>
                  <a:lnTo>
                    <a:pt x="1916" y="1345"/>
                  </a:lnTo>
                  <a:lnTo>
                    <a:pt x="1909" y="1369"/>
                  </a:lnTo>
                  <a:lnTo>
                    <a:pt x="1903" y="1394"/>
                  </a:lnTo>
                  <a:lnTo>
                    <a:pt x="1897" y="1419"/>
                  </a:lnTo>
                  <a:lnTo>
                    <a:pt x="1890" y="1443"/>
                  </a:lnTo>
                  <a:lnTo>
                    <a:pt x="1883" y="1467"/>
                  </a:lnTo>
                  <a:lnTo>
                    <a:pt x="1876" y="1489"/>
                  </a:lnTo>
                  <a:lnTo>
                    <a:pt x="1869" y="1510"/>
                  </a:lnTo>
                  <a:lnTo>
                    <a:pt x="1859" y="1530"/>
                  </a:lnTo>
                  <a:lnTo>
                    <a:pt x="1850" y="1548"/>
                  </a:lnTo>
                  <a:lnTo>
                    <a:pt x="1839" y="1564"/>
                  </a:lnTo>
                  <a:lnTo>
                    <a:pt x="1826" y="1578"/>
                  </a:lnTo>
                  <a:lnTo>
                    <a:pt x="1812" y="1590"/>
                  </a:lnTo>
                  <a:lnTo>
                    <a:pt x="1795" y="1598"/>
                  </a:lnTo>
                  <a:lnTo>
                    <a:pt x="1777" y="1603"/>
                  </a:lnTo>
                  <a:lnTo>
                    <a:pt x="1757" y="1605"/>
                  </a:lnTo>
                  <a:lnTo>
                    <a:pt x="1734" y="1604"/>
                  </a:lnTo>
                  <a:lnTo>
                    <a:pt x="1708" y="1599"/>
                  </a:lnTo>
                  <a:lnTo>
                    <a:pt x="1679" y="1590"/>
                  </a:lnTo>
                  <a:lnTo>
                    <a:pt x="1647" y="1576"/>
                  </a:lnTo>
                  <a:lnTo>
                    <a:pt x="1628" y="1565"/>
                  </a:lnTo>
                  <a:lnTo>
                    <a:pt x="1628" y="961"/>
                  </a:lnTo>
                  <a:lnTo>
                    <a:pt x="1436" y="961"/>
                  </a:lnTo>
                  <a:lnTo>
                    <a:pt x="1434" y="914"/>
                  </a:lnTo>
                  <a:lnTo>
                    <a:pt x="1432" y="869"/>
                  </a:lnTo>
                  <a:lnTo>
                    <a:pt x="1429" y="822"/>
                  </a:lnTo>
                  <a:lnTo>
                    <a:pt x="1425" y="776"/>
                  </a:lnTo>
                  <a:lnTo>
                    <a:pt x="1419" y="731"/>
                  </a:lnTo>
                  <a:lnTo>
                    <a:pt x="1412" y="686"/>
                  </a:lnTo>
                  <a:lnTo>
                    <a:pt x="1402" y="644"/>
                  </a:lnTo>
                  <a:lnTo>
                    <a:pt x="1390" y="601"/>
                  </a:lnTo>
                  <a:lnTo>
                    <a:pt x="1375" y="559"/>
                  </a:lnTo>
                  <a:lnTo>
                    <a:pt x="1358" y="520"/>
                  </a:lnTo>
                  <a:lnTo>
                    <a:pt x="1336" y="481"/>
                  </a:lnTo>
                  <a:lnTo>
                    <a:pt x="1311" y="445"/>
                  </a:lnTo>
                  <a:lnTo>
                    <a:pt x="1282" y="411"/>
                  </a:lnTo>
                  <a:lnTo>
                    <a:pt x="1250" y="377"/>
                  </a:lnTo>
                  <a:lnTo>
                    <a:pt x="1212" y="347"/>
                  </a:lnTo>
                  <a:lnTo>
                    <a:pt x="1141" y="392"/>
                  </a:lnTo>
                  <a:lnTo>
                    <a:pt x="1074" y="441"/>
                  </a:lnTo>
                  <a:lnTo>
                    <a:pt x="1009" y="494"/>
                  </a:lnTo>
                  <a:lnTo>
                    <a:pt x="948" y="550"/>
                  </a:lnTo>
                  <a:lnTo>
                    <a:pt x="891" y="610"/>
                  </a:lnTo>
                  <a:lnTo>
                    <a:pt x="838" y="675"/>
                  </a:lnTo>
                  <a:lnTo>
                    <a:pt x="789" y="742"/>
                  </a:lnTo>
                  <a:lnTo>
                    <a:pt x="743" y="812"/>
                  </a:lnTo>
                  <a:lnTo>
                    <a:pt x="702" y="885"/>
                  </a:lnTo>
                  <a:lnTo>
                    <a:pt x="665" y="961"/>
                  </a:lnTo>
                  <a:lnTo>
                    <a:pt x="488" y="961"/>
                  </a:lnTo>
                  <a:lnTo>
                    <a:pt x="525" y="874"/>
                  </a:lnTo>
                  <a:lnTo>
                    <a:pt x="568" y="789"/>
                  </a:lnTo>
                  <a:lnTo>
                    <a:pt x="616" y="707"/>
                  </a:lnTo>
                  <a:lnTo>
                    <a:pt x="667" y="630"/>
                  </a:lnTo>
                  <a:lnTo>
                    <a:pt x="724" y="555"/>
                  </a:lnTo>
                  <a:lnTo>
                    <a:pt x="786" y="485"/>
                  </a:lnTo>
                  <a:lnTo>
                    <a:pt x="851" y="418"/>
                  </a:lnTo>
                  <a:lnTo>
                    <a:pt x="920" y="356"/>
                  </a:lnTo>
                  <a:lnTo>
                    <a:pt x="994" y="297"/>
                  </a:lnTo>
                  <a:lnTo>
                    <a:pt x="1071" y="243"/>
                  </a:lnTo>
                  <a:lnTo>
                    <a:pt x="1150" y="194"/>
                  </a:lnTo>
                  <a:lnTo>
                    <a:pt x="1233" y="151"/>
                  </a:lnTo>
                  <a:lnTo>
                    <a:pt x="1319" y="112"/>
                  </a:lnTo>
                  <a:lnTo>
                    <a:pt x="1408" y="79"/>
                  </a:lnTo>
                  <a:lnTo>
                    <a:pt x="1501" y="51"/>
                  </a:lnTo>
                  <a:lnTo>
                    <a:pt x="1594" y="29"/>
                  </a:lnTo>
                  <a:lnTo>
                    <a:pt x="1690" y="13"/>
                  </a:lnTo>
                  <a:lnTo>
                    <a:pt x="1788" y="3"/>
                  </a:lnTo>
                  <a:lnTo>
                    <a:pt x="188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400">
                <a:solidFill>
                  <a:prstClr val="black"/>
                </a:solidFill>
                <a:latin typeface="Arial"/>
              </a:endParaRPr>
            </a:p>
          </p:txBody>
        </p:sp>
      </p:grpSp>
      <p:sp>
        <p:nvSpPr>
          <p:cNvPr id="3" name="Segnaposto numero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  <a:latin typeface="Arial"/>
              </a:rPr>
              <a:pPr/>
              <a:t>51</a:t>
            </a:fld>
            <a:endParaRPr lang="en-GB" dirty="0">
              <a:solidFill>
                <a:srgbClr val="C6C6C6">
                  <a:lumMod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10116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683568" y="452705"/>
            <a:ext cx="2376264" cy="124813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685800"/>
            <a:endParaRPr lang="ru-RU" sz="2000" dirty="0" err="1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58627" y="102691"/>
            <a:ext cx="216024" cy="86409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685800"/>
            <a:endParaRPr lang="ru-RU" sz="2000" dirty="0" err="1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602713" y="159170"/>
            <a:ext cx="6281738" cy="39498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dirty="0" smtClean="0">
                <a:solidFill>
                  <a:prstClr val="black"/>
                </a:solidFill>
                <a:latin typeface="Arial"/>
              </a:rPr>
              <a:t>ПАО «Энел Россия»</a:t>
            </a:r>
            <a:endParaRPr lang="en-GB" sz="200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58627" y="1541834"/>
            <a:ext cx="3079284" cy="4128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5292082" y="4581165"/>
            <a:ext cx="3312368" cy="211223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685800"/>
            <a:endParaRPr lang="ru-RU" sz="2000" dirty="0" err="1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743580" y="0"/>
            <a:ext cx="5400420" cy="6858000"/>
          </a:xfrm>
          <a:prstGeom prst="rect">
            <a:avLst/>
          </a:prstGeom>
          <a:solidFill>
            <a:schemeClr val="bg1">
              <a:alpha val="81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685800"/>
            <a:endParaRPr lang="ru-RU" sz="2000" dirty="0" err="1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923929" y="966808"/>
            <a:ext cx="5292080" cy="36933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/>
            <a:r>
              <a:rPr lang="ru-RU" sz="2000" b="1" dirty="0" smtClean="0">
                <a:solidFill>
                  <a:prstClr val="black"/>
                </a:solidFill>
                <a:latin typeface="Arial"/>
              </a:rPr>
              <a:t>Группа </a:t>
            </a:r>
            <a:r>
              <a:rPr lang="en-US" sz="2000" b="1" dirty="0" smtClean="0">
                <a:solidFill>
                  <a:prstClr val="black"/>
                </a:solidFill>
                <a:latin typeface="Arial"/>
              </a:rPr>
              <a:t>Enel</a:t>
            </a:r>
            <a:endParaRPr lang="ru-RU" sz="2000" b="1" dirty="0" smtClean="0">
              <a:solidFill>
                <a:prstClr val="black"/>
              </a:solidFill>
              <a:latin typeface="Arial"/>
            </a:endParaRPr>
          </a:p>
          <a:p>
            <a:pPr marL="342900" indent="-342900" defTabSz="685800"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prstClr val="black"/>
                </a:solidFill>
                <a:latin typeface="Arial"/>
              </a:rPr>
              <a:t>Крупнейшая электроэнергетическая компания Италии</a:t>
            </a:r>
          </a:p>
          <a:p>
            <a:pPr marL="342900" indent="-342900" defTabSz="685800"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prstClr val="black"/>
                </a:solidFill>
                <a:latin typeface="Arial"/>
              </a:rPr>
              <a:t>Представлена в 32 странах, на 4 континентах</a:t>
            </a:r>
          </a:p>
          <a:p>
            <a:pPr marL="342900" indent="-342900" defTabSz="685800"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prstClr val="black"/>
                </a:solidFill>
                <a:latin typeface="Arial"/>
              </a:rPr>
              <a:t>61 миллион потребителей в мире</a:t>
            </a:r>
          </a:p>
          <a:p>
            <a:pPr marL="342900" indent="-342900" defTabSz="6858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prstClr val="black"/>
                </a:solidFill>
                <a:latin typeface="Arial"/>
              </a:rPr>
              <a:t>Enel </a:t>
            </a:r>
            <a:r>
              <a:rPr lang="ru-RU" sz="2000" dirty="0" smtClean="0">
                <a:solidFill>
                  <a:prstClr val="black"/>
                </a:solidFill>
                <a:latin typeface="Arial"/>
              </a:rPr>
              <a:t>владеет 56,4% ПАО «Энел Россия»</a:t>
            </a:r>
          </a:p>
          <a:p>
            <a:pPr defTabSz="685800"/>
            <a:endParaRPr lang="ru-RU" sz="2000" dirty="0">
              <a:solidFill>
                <a:prstClr val="black"/>
              </a:solidFill>
              <a:latin typeface="Arial"/>
            </a:endParaRPr>
          </a:p>
          <a:p>
            <a:pPr defTabSz="685800"/>
            <a:endParaRPr lang="ru-RU" sz="2000" dirty="0" smtClean="0">
              <a:solidFill>
                <a:prstClr val="black"/>
              </a:solidFill>
              <a:latin typeface="Arial"/>
            </a:endParaRPr>
          </a:p>
          <a:p>
            <a:pPr defTabSz="685800"/>
            <a:r>
              <a:rPr lang="ru-RU" sz="2000" b="1" dirty="0" smtClean="0">
                <a:solidFill>
                  <a:prstClr val="black"/>
                </a:solidFill>
                <a:latin typeface="Arial"/>
              </a:rPr>
              <a:t>ПАО «Энел Россия»</a:t>
            </a:r>
          </a:p>
          <a:p>
            <a:pPr marL="342900" indent="-342900" defTabSz="685800"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prstClr val="black"/>
                </a:solidFill>
                <a:latin typeface="Arial"/>
              </a:rPr>
              <a:t>4 производственных филиала</a:t>
            </a:r>
          </a:p>
          <a:p>
            <a:pPr marL="342900" indent="-342900" defTabSz="685800"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prstClr val="black"/>
                </a:solidFill>
                <a:latin typeface="Arial"/>
              </a:rPr>
              <a:t>Котировальный список А1 «ФБ ММВБ»</a:t>
            </a:r>
          </a:p>
        </p:txBody>
      </p:sp>
    </p:spTree>
    <p:extLst>
      <p:ext uri="{BB962C8B-B14F-4D97-AF65-F5344CB8AC3E}">
        <p14:creationId xmlns:p14="http://schemas.microsoft.com/office/powerpoint/2010/main" val="1356142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26" name="Group 1225"/>
          <p:cNvGrpSpPr/>
          <p:nvPr/>
        </p:nvGrpSpPr>
        <p:grpSpPr>
          <a:xfrm>
            <a:off x="179514" y="1796826"/>
            <a:ext cx="8786332" cy="4416491"/>
            <a:chOff x="436423" y="1645633"/>
            <a:chExt cx="7562196" cy="2900236"/>
          </a:xfrm>
        </p:grpSpPr>
        <p:grpSp>
          <p:nvGrpSpPr>
            <p:cNvPr id="1227" name="Group 1226"/>
            <p:cNvGrpSpPr/>
            <p:nvPr/>
          </p:nvGrpSpPr>
          <p:grpSpPr>
            <a:xfrm>
              <a:off x="436423" y="1658938"/>
              <a:ext cx="7347231" cy="2886931"/>
              <a:chOff x="246328" y="1570616"/>
              <a:chExt cx="6699143" cy="2632294"/>
            </a:xfrm>
            <a:solidFill>
              <a:srgbClr val="0555E6">
                <a:alpha val="40000"/>
              </a:srgbClr>
            </a:solidFill>
          </p:grpSpPr>
          <p:grpSp>
            <p:nvGrpSpPr>
              <p:cNvPr id="1966" name="Gruppo 1841"/>
              <p:cNvGrpSpPr/>
              <p:nvPr/>
            </p:nvGrpSpPr>
            <p:grpSpPr>
              <a:xfrm>
                <a:off x="246328" y="1570616"/>
                <a:ext cx="6699143" cy="2632294"/>
                <a:chOff x="1493465" y="1683488"/>
                <a:chExt cx="5963713" cy="2343309"/>
              </a:xfrm>
              <a:grpFill/>
            </p:grpSpPr>
            <p:sp>
              <p:nvSpPr>
                <p:cNvPr id="1968" name="Freeform 2656"/>
                <p:cNvSpPr>
                  <a:spLocks noChangeAspect="1"/>
                </p:cNvSpPr>
                <p:nvPr/>
              </p:nvSpPr>
              <p:spPr bwMode="auto">
                <a:xfrm>
                  <a:off x="2230552" y="1951793"/>
                  <a:ext cx="1295213" cy="563192"/>
                </a:xfrm>
                <a:custGeom>
                  <a:avLst/>
                  <a:gdLst>
                    <a:gd name="T0" fmla="*/ 938 w 965"/>
                    <a:gd name="T1" fmla="*/ 566 h 565"/>
                    <a:gd name="T2" fmla="*/ 1022 w 965"/>
                    <a:gd name="T3" fmla="*/ 509 h 565"/>
                    <a:gd name="T4" fmla="*/ 1120 w 965"/>
                    <a:gd name="T5" fmla="*/ 488 h 565"/>
                    <a:gd name="T6" fmla="*/ 1156 w 965"/>
                    <a:gd name="T7" fmla="*/ 449 h 565"/>
                    <a:gd name="T8" fmla="*/ 1112 w 965"/>
                    <a:gd name="T9" fmla="*/ 436 h 565"/>
                    <a:gd name="T10" fmla="*/ 1117 w 965"/>
                    <a:gd name="T11" fmla="*/ 407 h 565"/>
                    <a:gd name="T12" fmla="*/ 1074 w 965"/>
                    <a:gd name="T13" fmla="*/ 372 h 565"/>
                    <a:gd name="T14" fmla="*/ 1080 w 965"/>
                    <a:gd name="T15" fmla="*/ 340 h 565"/>
                    <a:gd name="T16" fmla="*/ 1062 w 965"/>
                    <a:gd name="T17" fmla="*/ 310 h 565"/>
                    <a:gd name="T18" fmla="*/ 1028 w 965"/>
                    <a:gd name="T19" fmla="*/ 329 h 565"/>
                    <a:gd name="T20" fmla="*/ 976 w 965"/>
                    <a:gd name="T21" fmla="*/ 324 h 565"/>
                    <a:gd name="T22" fmla="*/ 985 w 965"/>
                    <a:gd name="T23" fmla="*/ 281 h 565"/>
                    <a:gd name="T24" fmla="*/ 948 w 965"/>
                    <a:gd name="T25" fmla="*/ 248 h 565"/>
                    <a:gd name="T26" fmla="*/ 888 w 965"/>
                    <a:gd name="T27" fmla="*/ 236 h 565"/>
                    <a:gd name="T28" fmla="*/ 877 w 965"/>
                    <a:gd name="T29" fmla="*/ 286 h 565"/>
                    <a:gd name="T30" fmla="*/ 874 w 965"/>
                    <a:gd name="T31" fmla="*/ 349 h 565"/>
                    <a:gd name="T32" fmla="*/ 832 w 965"/>
                    <a:gd name="T33" fmla="*/ 444 h 565"/>
                    <a:gd name="T34" fmla="*/ 799 w 965"/>
                    <a:gd name="T35" fmla="*/ 491 h 565"/>
                    <a:gd name="T36" fmla="*/ 790 w 965"/>
                    <a:gd name="T37" fmla="*/ 414 h 565"/>
                    <a:gd name="T38" fmla="*/ 702 w 965"/>
                    <a:gd name="T39" fmla="*/ 371 h 565"/>
                    <a:gd name="T40" fmla="*/ 653 w 965"/>
                    <a:gd name="T41" fmla="*/ 326 h 565"/>
                    <a:gd name="T42" fmla="*/ 664 w 965"/>
                    <a:gd name="T43" fmla="*/ 253 h 565"/>
                    <a:gd name="T44" fmla="*/ 686 w 965"/>
                    <a:gd name="T45" fmla="*/ 211 h 565"/>
                    <a:gd name="T46" fmla="*/ 763 w 965"/>
                    <a:gd name="T47" fmla="*/ 184 h 565"/>
                    <a:gd name="T48" fmla="*/ 782 w 965"/>
                    <a:gd name="T49" fmla="*/ 140 h 565"/>
                    <a:gd name="T50" fmla="*/ 821 w 965"/>
                    <a:gd name="T51" fmla="*/ 145 h 565"/>
                    <a:gd name="T52" fmla="*/ 854 w 965"/>
                    <a:gd name="T53" fmla="*/ 85 h 565"/>
                    <a:gd name="T54" fmla="*/ 829 w 965"/>
                    <a:gd name="T55" fmla="*/ 58 h 565"/>
                    <a:gd name="T56" fmla="*/ 781 w 965"/>
                    <a:gd name="T57" fmla="*/ 121 h 565"/>
                    <a:gd name="T58" fmla="*/ 752 w 965"/>
                    <a:gd name="T59" fmla="*/ 82 h 565"/>
                    <a:gd name="T60" fmla="*/ 721 w 965"/>
                    <a:gd name="T61" fmla="*/ 67 h 565"/>
                    <a:gd name="T62" fmla="*/ 725 w 965"/>
                    <a:gd name="T63" fmla="*/ 20 h 565"/>
                    <a:gd name="T64" fmla="*/ 684 w 965"/>
                    <a:gd name="T65" fmla="*/ 14 h 565"/>
                    <a:gd name="T66" fmla="*/ 698 w 965"/>
                    <a:gd name="T67" fmla="*/ 65 h 565"/>
                    <a:gd name="T68" fmla="*/ 696 w 965"/>
                    <a:gd name="T69" fmla="*/ 82 h 565"/>
                    <a:gd name="T70" fmla="*/ 656 w 965"/>
                    <a:gd name="T71" fmla="*/ 133 h 565"/>
                    <a:gd name="T72" fmla="*/ 632 w 965"/>
                    <a:gd name="T73" fmla="*/ 97 h 565"/>
                    <a:gd name="T74" fmla="*/ 564 w 965"/>
                    <a:gd name="T75" fmla="*/ 103 h 565"/>
                    <a:gd name="T76" fmla="*/ 538 w 965"/>
                    <a:gd name="T77" fmla="*/ 90 h 565"/>
                    <a:gd name="T78" fmla="*/ 499 w 965"/>
                    <a:gd name="T79" fmla="*/ 125 h 565"/>
                    <a:gd name="T80" fmla="*/ 403 w 965"/>
                    <a:gd name="T81" fmla="*/ 108 h 565"/>
                    <a:gd name="T82" fmla="*/ 352 w 965"/>
                    <a:gd name="T83" fmla="*/ 68 h 565"/>
                    <a:gd name="T84" fmla="*/ 282 w 965"/>
                    <a:gd name="T85" fmla="*/ 68 h 565"/>
                    <a:gd name="T86" fmla="*/ 204 w 965"/>
                    <a:gd name="T87" fmla="*/ 72 h 565"/>
                    <a:gd name="T88" fmla="*/ 217 w 965"/>
                    <a:gd name="T89" fmla="*/ 49 h 565"/>
                    <a:gd name="T90" fmla="*/ 107 w 965"/>
                    <a:gd name="T91" fmla="*/ 74 h 565"/>
                    <a:gd name="T92" fmla="*/ 28 w 965"/>
                    <a:gd name="T93" fmla="*/ 301 h 565"/>
                    <a:gd name="T94" fmla="*/ 86 w 965"/>
                    <a:gd name="T95" fmla="*/ 331 h 565"/>
                    <a:gd name="T96" fmla="*/ 131 w 965"/>
                    <a:gd name="T97" fmla="*/ 406 h 565"/>
                    <a:gd name="T98" fmla="*/ 132 w 965"/>
                    <a:gd name="T99" fmla="*/ 432 h 565"/>
                    <a:gd name="T100" fmla="*/ 133 w 965"/>
                    <a:gd name="T101" fmla="*/ 481 h 565"/>
                    <a:gd name="T102" fmla="*/ 169 w 965"/>
                    <a:gd name="T103" fmla="*/ 522 h 565"/>
                    <a:gd name="T104" fmla="*/ 594 w 965"/>
                    <a:gd name="T105" fmla="*/ 540 h 565"/>
                    <a:gd name="T106" fmla="*/ 678 w 965"/>
                    <a:gd name="T107" fmla="*/ 542 h 565"/>
                    <a:gd name="T108" fmla="*/ 728 w 965"/>
                    <a:gd name="T109" fmla="*/ 560 h 565"/>
                    <a:gd name="T110" fmla="*/ 770 w 965"/>
                    <a:gd name="T111" fmla="*/ 599 h 565"/>
                    <a:gd name="T112" fmla="*/ 775 w 965"/>
                    <a:gd name="T113" fmla="*/ 620 h 565"/>
                    <a:gd name="T114" fmla="*/ 750 w 965"/>
                    <a:gd name="T115" fmla="*/ 672 h 565"/>
                    <a:gd name="T116" fmla="*/ 803 w 965"/>
                    <a:gd name="T117" fmla="*/ 662 h 565"/>
                    <a:gd name="T118" fmla="*/ 842 w 965"/>
                    <a:gd name="T119" fmla="*/ 635 h 565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965"/>
                    <a:gd name="T181" fmla="*/ 0 h 565"/>
                    <a:gd name="T182" fmla="*/ 965 w 965"/>
                    <a:gd name="T183" fmla="*/ 565 h 565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965" h="565">
                      <a:moveTo>
                        <a:pt x="711" y="522"/>
                      </a:moveTo>
                      <a:cubicBezTo>
                        <a:pt x="712" y="520"/>
                        <a:pt x="713" y="519"/>
                        <a:pt x="714" y="518"/>
                      </a:cubicBezTo>
                      <a:cubicBezTo>
                        <a:pt x="716" y="516"/>
                        <a:pt x="717" y="515"/>
                        <a:pt x="721" y="514"/>
                      </a:cubicBezTo>
                      <a:cubicBezTo>
                        <a:pt x="724" y="513"/>
                        <a:pt x="726" y="512"/>
                        <a:pt x="729" y="511"/>
                      </a:cubicBezTo>
                      <a:cubicBezTo>
                        <a:pt x="731" y="510"/>
                        <a:pt x="734" y="508"/>
                        <a:pt x="736" y="506"/>
                      </a:cubicBezTo>
                      <a:cubicBezTo>
                        <a:pt x="738" y="504"/>
                        <a:pt x="740" y="502"/>
                        <a:pt x="742" y="500"/>
                      </a:cubicBezTo>
                      <a:cubicBezTo>
                        <a:pt x="744" y="498"/>
                        <a:pt x="746" y="496"/>
                        <a:pt x="749" y="495"/>
                      </a:cubicBezTo>
                      <a:cubicBezTo>
                        <a:pt x="751" y="493"/>
                        <a:pt x="754" y="492"/>
                        <a:pt x="757" y="490"/>
                      </a:cubicBezTo>
                      <a:cubicBezTo>
                        <a:pt x="760" y="488"/>
                        <a:pt x="763" y="486"/>
                        <a:pt x="767" y="484"/>
                      </a:cubicBezTo>
                      <a:cubicBezTo>
                        <a:pt x="769" y="483"/>
                        <a:pt x="772" y="482"/>
                        <a:pt x="774" y="480"/>
                      </a:cubicBezTo>
                      <a:cubicBezTo>
                        <a:pt x="777" y="478"/>
                        <a:pt x="780" y="475"/>
                        <a:pt x="782" y="472"/>
                      </a:cubicBezTo>
                      <a:cubicBezTo>
                        <a:pt x="786" y="468"/>
                        <a:pt x="789" y="463"/>
                        <a:pt x="793" y="459"/>
                      </a:cubicBezTo>
                      <a:cubicBezTo>
                        <a:pt x="796" y="456"/>
                        <a:pt x="798" y="452"/>
                        <a:pt x="801" y="450"/>
                      </a:cubicBezTo>
                      <a:cubicBezTo>
                        <a:pt x="804" y="448"/>
                        <a:pt x="807" y="446"/>
                        <a:pt x="810" y="444"/>
                      </a:cubicBezTo>
                      <a:cubicBezTo>
                        <a:pt x="811" y="443"/>
                        <a:pt x="812" y="442"/>
                        <a:pt x="813" y="441"/>
                      </a:cubicBezTo>
                      <a:cubicBezTo>
                        <a:pt x="815" y="440"/>
                        <a:pt x="816" y="441"/>
                        <a:pt x="818" y="440"/>
                      </a:cubicBezTo>
                      <a:cubicBezTo>
                        <a:pt x="820" y="440"/>
                        <a:pt x="822" y="439"/>
                        <a:pt x="823" y="438"/>
                      </a:cubicBezTo>
                      <a:cubicBezTo>
                        <a:pt x="824" y="437"/>
                        <a:pt x="824" y="434"/>
                        <a:pt x="825" y="433"/>
                      </a:cubicBezTo>
                      <a:cubicBezTo>
                        <a:pt x="825" y="431"/>
                        <a:pt x="827" y="430"/>
                        <a:pt x="828" y="429"/>
                      </a:cubicBezTo>
                      <a:cubicBezTo>
                        <a:pt x="830" y="427"/>
                        <a:pt x="832" y="427"/>
                        <a:pt x="834" y="426"/>
                      </a:cubicBezTo>
                      <a:cubicBezTo>
                        <a:pt x="838" y="425"/>
                        <a:pt x="841" y="426"/>
                        <a:pt x="844" y="425"/>
                      </a:cubicBezTo>
                      <a:cubicBezTo>
                        <a:pt x="847" y="425"/>
                        <a:pt x="849" y="424"/>
                        <a:pt x="852" y="424"/>
                      </a:cubicBezTo>
                      <a:cubicBezTo>
                        <a:pt x="856" y="424"/>
                        <a:pt x="860" y="424"/>
                        <a:pt x="864" y="424"/>
                      </a:cubicBezTo>
                      <a:cubicBezTo>
                        <a:pt x="866" y="424"/>
                        <a:pt x="868" y="426"/>
                        <a:pt x="871" y="426"/>
                      </a:cubicBezTo>
                      <a:cubicBezTo>
                        <a:pt x="873" y="426"/>
                        <a:pt x="876" y="424"/>
                        <a:pt x="879" y="424"/>
                      </a:cubicBezTo>
                      <a:cubicBezTo>
                        <a:pt x="882" y="424"/>
                        <a:pt x="885" y="426"/>
                        <a:pt x="888" y="426"/>
                      </a:cubicBezTo>
                      <a:cubicBezTo>
                        <a:pt x="889" y="427"/>
                        <a:pt x="890" y="428"/>
                        <a:pt x="891" y="428"/>
                      </a:cubicBezTo>
                      <a:cubicBezTo>
                        <a:pt x="897" y="427"/>
                        <a:pt x="903" y="427"/>
                        <a:pt x="909" y="426"/>
                      </a:cubicBezTo>
                      <a:cubicBezTo>
                        <a:pt x="912" y="425"/>
                        <a:pt x="914" y="423"/>
                        <a:pt x="916" y="422"/>
                      </a:cubicBezTo>
                      <a:cubicBezTo>
                        <a:pt x="918" y="420"/>
                        <a:pt x="918" y="417"/>
                        <a:pt x="921" y="415"/>
                      </a:cubicBezTo>
                      <a:cubicBezTo>
                        <a:pt x="922" y="415"/>
                        <a:pt x="923" y="417"/>
                        <a:pt x="924" y="417"/>
                      </a:cubicBezTo>
                      <a:cubicBezTo>
                        <a:pt x="926" y="414"/>
                        <a:pt x="926" y="410"/>
                        <a:pt x="928" y="408"/>
                      </a:cubicBezTo>
                      <a:cubicBezTo>
                        <a:pt x="929" y="407"/>
                        <a:pt x="932" y="407"/>
                        <a:pt x="933" y="407"/>
                      </a:cubicBezTo>
                      <a:cubicBezTo>
                        <a:pt x="936" y="406"/>
                        <a:pt x="938" y="404"/>
                        <a:pt x="941" y="403"/>
                      </a:cubicBezTo>
                      <a:cubicBezTo>
                        <a:pt x="943" y="403"/>
                        <a:pt x="945" y="404"/>
                        <a:pt x="947" y="404"/>
                      </a:cubicBezTo>
                      <a:cubicBezTo>
                        <a:pt x="950" y="403"/>
                        <a:pt x="953" y="402"/>
                        <a:pt x="956" y="400"/>
                      </a:cubicBezTo>
                      <a:cubicBezTo>
                        <a:pt x="959" y="398"/>
                        <a:pt x="962" y="396"/>
                        <a:pt x="963" y="393"/>
                      </a:cubicBezTo>
                      <a:cubicBezTo>
                        <a:pt x="964" y="391"/>
                        <a:pt x="960" y="390"/>
                        <a:pt x="961" y="388"/>
                      </a:cubicBezTo>
                      <a:cubicBezTo>
                        <a:pt x="961" y="387"/>
                        <a:pt x="965" y="389"/>
                        <a:pt x="964" y="388"/>
                      </a:cubicBezTo>
                      <a:cubicBezTo>
                        <a:pt x="962" y="386"/>
                        <a:pt x="957" y="387"/>
                        <a:pt x="955" y="384"/>
                      </a:cubicBezTo>
                      <a:cubicBezTo>
                        <a:pt x="954" y="382"/>
                        <a:pt x="960" y="385"/>
                        <a:pt x="962" y="384"/>
                      </a:cubicBezTo>
                      <a:cubicBezTo>
                        <a:pt x="963" y="384"/>
                        <a:pt x="961" y="382"/>
                        <a:pt x="961" y="381"/>
                      </a:cubicBezTo>
                      <a:cubicBezTo>
                        <a:pt x="962" y="380"/>
                        <a:pt x="964" y="379"/>
                        <a:pt x="964" y="378"/>
                      </a:cubicBezTo>
                      <a:cubicBezTo>
                        <a:pt x="965" y="377"/>
                        <a:pt x="963" y="375"/>
                        <a:pt x="963" y="374"/>
                      </a:cubicBezTo>
                      <a:cubicBezTo>
                        <a:pt x="963" y="373"/>
                        <a:pt x="965" y="375"/>
                        <a:pt x="965" y="374"/>
                      </a:cubicBezTo>
                      <a:cubicBezTo>
                        <a:pt x="965" y="372"/>
                        <a:pt x="965" y="369"/>
                        <a:pt x="964" y="367"/>
                      </a:cubicBezTo>
                      <a:cubicBezTo>
                        <a:pt x="962" y="365"/>
                        <a:pt x="960" y="364"/>
                        <a:pt x="958" y="363"/>
                      </a:cubicBezTo>
                      <a:cubicBezTo>
                        <a:pt x="957" y="362"/>
                        <a:pt x="955" y="362"/>
                        <a:pt x="953" y="363"/>
                      </a:cubicBezTo>
                      <a:cubicBezTo>
                        <a:pt x="951" y="364"/>
                        <a:pt x="950" y="367"/>
                        <a:pt x="948" y="368"/>
                      </a:cubicBezTo>
                      <a:cubicBezTo>
                        <a:pt x="947" y="368"/>
                        <a:pt x="946" y="366"/>
                        <a:pt x="946" y="365"/>
                      </a:cubicBezTo>
                      <a:cubicBezTo>
                        <a:pt x="946" y="363"/>
                        <a:pt x="949" y="362"/>
                        <a:pt x="949" y="360"/>
                      </a:cubicBezTo>
                      <a:cubicBezTo>
                        <a:pt x="949" y="358"/>
                        <a:pt x="947" y="358"/>
                        <a:pt x="945" y="357"/>
                      </a:cubicBezTo>
                      <a:cubicBezTo>
                        <a:pt x="944" y="356"/>
                        <a:pt x="941" y="355"/>
                        <a:pt x="939" y="355"/>
                      </a:cubicBezTo>
                      <a:cubicBezTo>
                        <a:pt x="938" y="355"/>
                        <a:pt x="938" y="357"/>
                        <a:pt x="937" y="358"/>
                      </a:cubicBezTo>
                      <a:cubicBezTo>
                        <a:pt x="934" y="360"/>
                        <a:pt x="930" y="362"/>
                        <a:pt x="927" y="363"/>
                      </a:cubicBezTo>
                      <a:cubicBezTo>
                        <a:pt x="923" y="365"/>
                        <a:pt x="920" y="368"/>
                        <a:pt x="916" y="368"/>
                      </a:cubicBezTo>
                      <a:cubicBezTo>
                        <a:pt x="915" y="368"/>
                        <a:pt x="913" y="365"/>
                        <a:pt x="914" y="364"/>
                      </a:cubicBezTo>
                      <a:cubicBezTo>
                        <a:pt x="917" y="362"/>
                        <a:pt x="921" y="361"/>
                        <a:pt x="925" y="360"/>
                      </a:cubicBezTo>
                      <a:cubicBezTo>
                        <a:pt x="928" y="358"/>
                        <a:pt x="932" y="357"/>
                        <a:pt x="935" y="356"/>
                      </a:cubicBezTo>
                      <a:cubicBezTo>
                        <a:pt x="937" y="354"/>
                        <a:pt x="940" y="353"/>
                        <a:pt x="942" y="351"/>
                      </a:cubicBezTo>
                      <a:cubicBezTo>
                        <a:pt x="945" y="350"/>
                        <a:pt x="948" y="351"/>
                        <a:pt x="950" y="348"/>
                      </a:cubicBezTo>
                      <a:cubicBezTo>
                        <a:pt x="950" y="347"/>
                        <a:pt x="946" y="349"/>
                        <a:pt x="944" y="347"/>
                      </a:cubicBezTo>
                      <a:cubicBezTo>
                        <a:pt x="943" y="346"/>
                        <a:pt x="946" y="344"/>
                        <a:pt x="944" y="344"/>
                      </a:cubicBezTo>
                      <a:cubicBezTo>
                        <a:pt x="942" y="343"/>
                        <a:pt x="940" y="345"/>
                        <a:pt x="937" y="345"/>
                      </a:cubicBezTo>
                      <a:cubicBezTo>
                        <a:pt x="935" y="345"/>
                        <a:pt x="932" y="344"/>
                        <a:pt x="931" y="342"/>
                      </a:cubicBezTo>
                      <a:cubicBezTo>
                        <a:pt x="930" y="341"/>
                        <a:pt x="932" y="340"/>
                        <a:pt x="931" y="339"/>
                      </a:cubicBezTo>
                      <a:cubicBezTo>
                        <a:pt x="930" y="338"/>
                        <a:pt x="928" y="339"/>
                        <a:pt x="926" y="339"/>
                      </a:cubicBezTo>
                      <a:cubicBezTo>
                        <a:pt x="925" y="338"/>
                        <a:pt x="924" y="337"/>
                        <a:pt x="922" y="337"/>
                      </a:cubicBezTo>
                      <a:cubicBezTo>
                        <a:pt x="920" y="336"/>
                        <a:pt x="917" y="338"/>
                        <a:pt x="915" y="336"/>
                      </a:cubicBezTo>
                      <a:cubicBezTo>
                        <a:pt x="914" y="334"/>
                        <a:pt x="917" y="330"/>
                        <a:pt x="916" y="327"/>
                      </a:cubicBezTo>
                      <a:cubicBezTo>
                        <a:pt x="916" y="326"/>
                        <a:pt x="913" y="328"/>
                        <a:pt x="912" y="327"/>
                      </a:cubicBezTo>
                      <a:cubicBezTo>
                        <a:pt x="910" y="326"/>
                        <a:pt x="907" y="325"/>
                        <a:pt x="906" y="323"/>
                      </a:cubicBezTo>
                      <a:cubicBezTo>
                        <a:pt x="905" y="322"/>
                        <a:pt x="908" y="321"/>
                        <a:pt x="907" y="320"/>
                      </a:cubicBezTo>
                      <a:cubicBezTo>
                        <a:pt x="906" y="319"/>
                        <a:pt x="903" y="319"/>
                        <a:pt x="901" y="317"/>
                      </a:cubicBezTo>
                      <a:cubicBezTo>
                        <a:pt x="900" y="317"/>
                        <a:pt x="898" y="316"/>
                        <a:pt x="899" y="315"/>
                      </a:cubicBezTo>
                      <a:cubicBezTo>
                        <a:pt x="899" y="314"/>
                        <a:pt x="904" y="314"/>
                        <a:pt x="903" y="313"/>
                      </a:cubicBezTo>
                      <a:cubicBezTo>
                        <a:pt x="901" y="310"/>
                        <a:pt x="897" y="312"/>
                        <a:pt x="895" y="310"/>
                      </a:cubicBezTo>
                      <a:cubicBezTo>
                        <a:pt x="894" y="310"/>
                        <a:pt x="895" y="308"/>
                        <a:pt x="895" y="308"/>
                      </a:cubicBezTo>
                      <a:cubicBezTo>
                        <a:pt x="898" y="307"/>
                        <a:pt x="901" y="308"/>
                        <a:pt x="904" y="308"/>
                      </a:cubicBezTo>
                      <a:cubicBezTo>
                        <a:pt x="905" y="308"/>
                        <a:pt x="907" y="307"/>
                        <a:pt x="908" y="305"/>
                      </a:cubicBezTo>
                      <a:cubicBezTo>
                        <a:pt x="908" y="304"/>
                        <a:pt x="909" y="302"/>
                        <a:pt x="908" y="301"/>
                      </a:cubicBezTo>
                      <a:cubicBezTo>
                        <a:pt x="906" y="300"/>
                        <a:pt x="904" y="302"/>
                        <a:pt x="903" y="301"/>
                      </a:cubicBezTo>
                      <a:cubicBezTo>
                        <a:pt x="902" y="300"/>
                        <a:pt x="903" y="298"/>
                        <a:pt x="902" y="298"/>
                      </a:cubicBezTo>
                      <a:cubicBezTo>
                        <a:pt x="901" y="296"/>
                        <a:pt x="896" y="298"/>
                        <a:pt x="896" y="295"/>
                      </a:cubicBezTo>
                      <a:cubicBezTo>
                        <a:pt x="896" y="293"/>
                        <a:pt x="902" y="295"/>
                        <a:pt x="903" y="292"/>
                      </a:cubicBezTo>
                      <a:cubicBezTo>
                        <a:pt x="904" y="291"/>
                        <a:pt x="902" y="288"/>
                        <a:pt x="901" y="287"/>
                      </a:cubicBezTo>
                      <a:cubicBezTo>
                        <a:pt x="900" y="286"/>
                        <a:pt x="896" y="288"/>
                        <a:pt x="896" y="287"/>
                      </a:cubicBezTo>
                      <a:cubicBezTo>
                        <a:pt x="895" y="285"/>
                        <a:pt x="900" y="285"/>
                        <a:pt x="900" y="283"/>
                      </a:cubicBezTo>
                      <a:cubicBezTo>
                        <a:pt x="900" y="282"/>
                        <a:pt x="897" y="283"/>
                        <a:pt x="896" y="281"/>
                      </a:cubicBezTo>
                      <a:cubicBezTo>
                        <a:pt x="896" y="280"/>
                        <a:pt x="898" y="277"/>
                        <a:pt x="897" y="276"/>
                      </a:cubicBezTo>
                      <a:cubicBezTo>
                        <a:pt x="894" y="275"/>
                        <a:pt x="891" y="278"/>
                        <a:pt x="888" y="277"/>
                      </a:cubicBezTo>
                      <a:cubicBezTo>
                        <a:pt x="887" y="277"/>
                        <a:pt x="887" y="275"/>
                        <a:pt x="888" y="275"/>
                      </a:cubicBezTo>
                      <a:cubicBezTo>
                        <a:pt x="890" y="274"/>
                        <a:pt x="893" y="275"/>
                        <a:pt x="894" y="273"/>
                      </a:cubicBezTo>
                      <a:cubicBezTo>
                        <a:pt x="895" y="273"/>
                        <a:pt x="895" y="271"/>
                        <a:pt x="894" y="270"/>
                      </a:cubicBezTo>
                      <a:cubicBezTo>
                        <a:pt x="893" y="270"/>
                        <a:pt x="891" y="271"/>
                        <a:pt x="890" y="270"/>
                      </a:cubicBezTo>
                      <a:cubicBezTo>
                        <a:pt x="889" y="269"/>
                        <a:pt x="892" y="266"/>
                        <a:pt x="890" y="265"/>
                      </a:cubicBezTo>
                      <a:cubicBezTo>
                        <a:pt x="889" y="264"/>
                        <a:pt x="885" y="268"/>
                        <a:pt x="884" y="266"/>
                      </a:cubicBezTo>
                      <a:cubicBezTo>
                        <a:pt x="883" y="264"/>
                        <a:pt x="888" y="263"/>
                        <a:pt x="888" y="261"/>
                      </a:cubicBezTo>
                      <a:cubicBezTo>
                        <a:pt x="889" y="260"/>
                        <a:pt x="886" y="259"/>
                        <a:pt x="885" y="258"/>
                      </a:cubicBezTo>
                      <a:cubicBezTo>
                        <a:pt x="884" y="256"/>
                        <a:pt x="885" y="254"/>
                        <a:pt x="884" y="252"/>
                      </a:cubicBezTo>
                      <a:cubicBezTo>
                        <a:pt x="884" y="250"/>
                        <a:pt x="881" y="249"/>
                        <a:pt x="881" y="247"/>
                      </a:cubicBezTo>
                      <a:cubicBezTo>
                        <a:pt x="880" y="245"/>
                        <a:pt x="881" y="243"/>
                        <a:pt x="881" y="240"/>
                      </a:cubicBezTo>
                      <a:cubicBezTo>
                        <a:pt x="880" y="237"/>
                        <a:pt x="878" y="240"/>
                        <a:pt x="877" y="240"/>
                      </a:cubicBezTo>
                      <a:cubicBezTo>
                        <a:pt x="875" y="244"/>
                        <a:pt x="873" y="248"/>
                        <a:pt x="871" y="252"/>
                      </a:cubicBezTo>
                      <a:cubicBezTo>
                        <a:pt x="870" y="254"/>
                        <a:pt x="869" y="256"/>
                        <a:pt x="868" y="258"/>
                      </a:cubicBezTo>
                      <a:cubicBezTo>
                        <a:pt x="868" y="260"/>
                        <a:pt x="867" y="261"/>
                        <a:pt x="866" y="263"/>
                      </a:cubicBezTo>
                      <a:cubicBezTo>
                        <a:pt x="866" y="264"/>
                        <a:pt x="867" y="265"/>
                        <a:pt x="866" y="266"/>
                      </a:cubicBezTo>
                      <a:cubicBezTo>
                        <a:pt x="865" y="268"/>
                        <a:pt x="861" y="267"/>
                        <a:pt x="860" y="269"/>
                      </a:cubicBezTo>
                      <a:cubicBezTo>
                        <a:pt x="858" y="272"/>
                        <a:pt x="860" y="276"/>
                        <a:pt x="858" y="279"/>
                      </a:cubicBezTo>
                      <a:cubicBezTo>
                        <a:pt x="857" y="280"/>
                        <a:pt x="858" y="275"/>
                        <a:pt x="857" y="274"/>
                      </a:cubicBezTo>
                      <a:cubicBezTo>
                        <a:pt x="856" y="272"/>
                        <a:pt x="855" y="270"/>
                        <a:pt x="854" y="270"/>
                      </a:cubicBezTo>
                      <a:cubicBezTo>
                        <a:pt x="851" y="271"/>
                        <a:pt x="852" y="275"/>
                        <a:pt x="850" y="277"/>
                      </a:cubicBezTo>
                      <a:cubicBezTo>
                        <a:pt x="848" y="278"/>
                        <a:pt x="845" y="278"/>
                        <a:pt x="844" y="279"/>
                      </a:cubicBezTo>
                      <a:cubicBezTo>
                        <a:pt x="841" y="280"/>
                        <a:pt x="840" y="286"/>
                        <a:pt x="837" y="285"/>
                      </a:cubicBezTo>
                      <a:cubicBezTo>
                        <a:pt x="834" y="284"/>
                        <a:pt x="838" y="277"/>
                        <a:pt x="835" y="276"/>
                      </a:cubicBezTo>
                      <a:cubicBezTo>
                        <a:pt x="832" y="276"/>
                        <a:pt x="834" y="284"/>
                        <a:pt x="831" y="284"/>
                      </a:cubicBezTo>
                      <a:cubicBezTo>
                        <a:pt x="828" y="284"/>
                        <a:pt x="832" y="278"/>
                        <a:pt x="831" y="276"/>
                      </a:cubicBezTo>
                      <a:cubicBezTo>
                        <a:pt x="831" y="273"/>
                        <a:pt x="831" y="270"/>
                        <a:pt x="828" y="269"/>
                      </a:cubicBezTo>
                      <a:cubicBezTo>
                        <a:pt x="825" y="268"/>
                        <a:pt x="821" y="269"/>
                        <a:pt x="818" y="270"/>
                      </a:cubicBezTo>
                      <a:cubicBezTo>
                        <a:pt x="816" y="271"/>
                        <a:pt x="816" y="274"/>
                        <a:pt x="814" y="274"/>
                      </a:cubicBezTo>
                      <a:cubicBezTo>
                        <a:pt x="812" y="274"/>
                        <a:pt x="812" y="272"/>
                        <a:pt x="813" y="270"/>
                      </a:cubicBezTo>
                      <a:cubicBezTo>
                        <a:pt x="813" y="269"/>
                        <a:pt x="815" y="268"/>
                        <a:pt x="816" y="267"/>
                      </a:cubicBezTo>
                      <a:cubicBezTo>
                        <a:pt x="817" y="266"/>
                        <a:pt x="819" y="265"/>
                        <a:pt x="820" y="263"/>
                      </a:cubicBezTo>
                      <a:cubicBezTo>
                        <a:pt x="821" y="262"/>
                        <a:pt x="820" y="260"/>
                        <a:pt x="819" y="259"/>
                      </a:cubicBezTo>
                      <a:cubicBezTo>
                        <a:pt x="818" y="258"/>
                        <a:pt x="816" y="260"/>
                        <a:pt x="816" y="259"/>
                      </a:cubicBezTo>
                      <a:cubicBezTo>
                        <a:pt x="815" y="258"/>
                        <a:pt x="815" y="256"/>
                        <a:pt x="816" y="254"/>
                      </a:cubicBezTo>
                      <a:cubicBezTo>
                        <a:pt x="816" y="253"/>
                        <a:pt x="818" y="254"/>
                        <a:pt x="818" y="253"/>
                      </a:cubicBezTo>
                      <a:cubicBezTo>
                        <a:pt x="819" y="252"/>
                        <a:pt x="820" y="249"/>
                        <a:pt x="818" y="248"/>
                      </a:cubicBezTo>
                      <a:cubicBezTo>
                        <a:pt x="816" y="247"/>
                        <a:pt x="808" y="250"/>
                        <a:pt x="809" y="248"/>
                      </a:cubicBezTo>
                      <a:cubicBezTo>
                        <a:pt x="811" y="244"/>
                        <a:pt x="817" y="247"/>
                        <a:pt x="820" y="245"/>
                      </a:cubicBezTo>
                      <a:cubicBezTo>
                        <a:pt x="821" y="244"/>
                        <a:pt x="819" y="241"/>
                        <a:pt x="820" y="239"/>
                      </a:cubicBezTo>
                      <a:cubicBezTo>
                        <a:pt x="820" y="237"/>
                        <a:pt x="820" y="236"/>
                        <a:pt x="821" y="234"/>
                      </a:cubicBezTo>
                      <a:cubicBezTo>
                        <a:pt x="822" y="233"/>
                        <a:pt x="825" y="233"/>
                        <a:pt x="826" y="231"/>
                      </a:cubicBezTo>
                      <a:cubicBezTo>
                        <a:pt x="826" y="230"/>
                        <a:pt x="826" y="228"/>
                        <a:pt x="825" y="228"/>
                      </a:cubicBezTo>
                      <a:cubicBezTo>
                        <a:pt x="823" y="228"/>
                        <a:pt x="822" y="230"/>
                        <a:pt x="820" y="230"/>
                      </a:cubicBezTo>
                      <a:cubicBezTo>
                        <a:pt x="819" y="230"/>
                        <a:pt x="818" y="227"/>
                        <a:pt x="817" y="226"/>
                      </a:cubicBezTo>
                      <a:cubicBezTo>
                        <a:pt x="812" y="226"/>
                        <a:pt x="808" y="227"/>
                        <a:pt x="803" y="226"/>
                      </a:cubicBezTo>
                      <a:cubicBezTo>
                        <a:pt x="802" y="226"/>
                        <a:pt x="800" y="224"/>
                        <a:pt x="800" y="223"/>
                      </a:cubicBezTo>
                      <a:cubicBezTo>
                        <a:pt x="799" y="221"/>
                        <a:pt x="801" y="219"/>
                        <a:pt x="800" y="218"/>
                      </a:cubicBezTo>
                      <a:cubicBezTo>
                        <a:pt x="799" y="217"/>
                        <a:pt x="797" y="218"/>
                        <a:pt x="796" y="217"/>
                      </a:cubicBezTo>
                      <a:cubicBezTo>
                        <a:pt x="796" y="216"/>
                        <a:pt x="797" y="215"/>
                        <a:pt x="796" y="214"/>
                      </a:cubicBezTo>
                      <a:cubicBezTo>
                        <a:pt x="795" y="212"/>
                        <a:pt x="792" y="212"/>
                        <a:pt x="790" y="210"/>
                      </a:cubicBezTo>
                      <a:cubicBezTo>
                        <a:pt x="790" y="209"/>
                        <a:pt x="790" y="208"/>
                        <a:pt x="790" y="207"/>
                      </a:cubicBezTo>
                      <a:cubicBezTo>
                        <a:pt x="787" y="205"/>
                        <a:pt x="784" y="203"/>
                        <a:pt x="782" y="201"/>
                      </a:cubicBezTo>
                      <a:cubicBezTo>
                        <a:pt x="781" y="201"/>
                        <a:pt x="780" y="200"/>
                        <a:pt x="780" y="200"/>
                      </a:cubicBezTo>
                      <a:cubicBezTo>
                        <a:pt x="777" y="202"/>
                        <a:pt x="775" y="204"/>
                        <a:pt x="772" y="205"/>
                      </a:cubicBezTo>
                      <a:cubicBezTo>
                        <a:pt x="771" y="206"/>
                        <a:pt x="770" y="204"/>
                        <a:pt x="769" y="205"/>
                      </a:cubicBezTo>
                      <a:cubicBezTo>
                        <a:pt x="769" y="205"/>
                        <a:pt x="769" y="208"/>
                        <a:pt x="768" y="207"/>
                      </a:cubicBezTo>
                      <a:cubicBezTo>
                        <a:pt x="765" y="207"/>
                        <a:pt x="764" y="203"/>
                        <a:pt x="761" y="203"/>
                      </a:cubicBezTo>
                      <a:cubicBezTo>
                        <a:pt x="760" y="202"/>
                        <a:pt x="759" y="204"/>
                        <a:pt x="758" y="204"/>
                      </a:cubicBezTo>
                      <a:cubicBezTo>
                        <a:pt x="757" y="204"/>
                        <a:pt x="758" y="202"/>
                        <a:pt x="757" y="201"/>
                      </a:cubicBezTo>
                      <a:cubicBezTo>
                        <a:pt x="755" y="201"/>
                        <a:pt x="753" y="202"/>
                        <a:pt x="752" y="201"/>
                      </a:cubicBezTo>
                      <a:cubicBezTo>
                        <a:pt x="749" y="200"/>
                        <a:pt x="747" y="199"/>
                        <a:pt x="745" y="198"/>
                      </a:cubicBezTo>
                      <a:cubicBezTo>
                        <a:pt x="743" y="198"/>
                        <a:pt x="742" y="197"/>
                        <a:pt x="740" y="197"/>
                      </a:cubicBezTo>
                      <a:cubicBezTo>
                        <a:pt x="738" y="197"/>
                        <a:pt x="736" y="199"/>
                        <a:pt x="734" y="201"/>
                      </a:cubicBezTo>
                      <a:cubicBezTo>
                        <a:pt x="733" y="202"/>
                        <a:pt x="731" y="202"/>
                        <a:pt x="730" y="203"/>
                      </a:cubicBezTo>
                      <a:cubicBezTo>
                        <a:pt x="729" y="205"/>
                        <a:pt x="729" y="207"/>
                        <a:pt x="729" y="209"/>
                      </a:cubicBezTo>
                      <a:cubicBezTo>
                        <a:pt x="729" y="211"/>
                        <a:pt x="728" y="213"/>
                        <a:pt x="729" y="215"/>
                      </a:cubicBezTo>
                      <a:cubicBezTo>
                        <a:pt x="730" y="216"/>
                        <a:pt x="734" y="216"/>
                        <a:pt x="734" y="217"/>
                      </a:cubicBezTo>
                      <a:cubicBezTo>
                        <a:pt x="734" y="219"/>
                        <a:pt x="731" y="220"/>
                        <a:pt x="730" y="221"/>
                      </a:cubicBezTo>
                      <a:cubicBezTo>
                        <a:pt x="729" y="223"/>
                        <a:pt x="729" y="226"/>
                        <a:pt x="728" y="228"/>
                      </a:cubicBezTo>
                      <a:cubicBezTo>
                        <a:pt x="726" y="231"/>
                        <a:pt x="719" y="230"/>
                        <a:pt x="720" y="234"/>
                      </a:cubicBezTo>
                      <a:cubicBezTo>
                        <a:pt x="720" y="237"/>
                        <a:pt x="726" y="232"/>
                        <a:pt x="729" y="234"/>
                      </a:cubicBezTo>
                      <a:cubicBezTo>
                        <a:pt x="731" y="234"/>
                        <a:pt x="727" y="236"/>
                        <a:pt x="728" y="237"/>
                      </a:cubicBezTo>
                      <a:cubicBezTo>
                        <a:pt x="728" y="238"/>
                        <a:pt x="730" y="237"/>
                        <a:pt x="731" y="238"/>
                      </a:cubicBezTo>
                      <a:cubicBezTo>
                        <a:pt x="731" y="239"/>
                        <a:pt x="728" y="239"/>
                        <a:pt x="728" y="240"/>
                      </a:cubicBezTo>
                      <a:cubicBezTo>
                        <a:pt x="727" y="242"/>
                        <a:pt x="728" y="244"/>
                        <a:pt x="728" y="245"/>
                      </a:cubicBezTo>
                      <a:cubicBezTo>
                        <a:pt x="729" y="247"/>
                        <a:pt x="732" y="247"/>
                        <a:pt x="732" y="248"/>
                      </a:cubicBezTo>
                      <a:cubicBezTo>
                        <a:pt x="732" y="251"/>
                        <a:pt x="730" y="253"/>
                        <a:pt x="728" y="255"/>
                      </a:cubicBezTo>
                      <a:cubicBezTo>
                        <a:pt x="727" y="255"/>
                        <a:pt x="726" y="255"/>
                        <a:pt x="726" y="255"/>
                      </a:cubicBezTo>
                      <a:cubicBezTo>
                        <a:pt x="725" y="257"/>
                        <a:pt x="726" y="259"/>
                        <a:pt x="725" y="261"/>
                      </a:cubicBezTo>
                      <a:cubicBezTo>
                        <a:pt x="723" y="263"/>
                        <a:pt x="720" y="265"/>
                        <a:pt x="718" y="267"/>
                      </a:cubicBezTo>
                      <a:cubicBezTo>
                        <a:pt x="717" y="268"/>
                        <a:pt x="715" y="270"/>
                        <a:pt x="715" y="272"/>
                      </a:cubicBezTo>
                      <a:cubicBezTo>
                        <a:pt x="714" y="273"/>
                        <a:pt x="714" y="276"/>
                        <a:pt x="715" y="277"/>
                      </a:cubicBezTo>
                      <a:cubicBezTo>
                        <a:pt x="717" y="280"/>
                        <a:pt x="721" y="281"/>
                        <a:pt x="723" y="284"/>
                      </a:cubicBezTo>
                      <a:cubicBezTo>
                        <a:pt x="725" y="286"/>
                        <a:pt x="727" y="288"/>
                        <a:pt x="728" y="291"/>
                      </a:cubicBezTo>
                      <a:cubicBezTo>
                        <a:pt x="729" y="294"/>
                        <a:pt x="730" y="298"/>
                        <a:pt x="729" y="301"/>
                      </a:cubicBezTo>
                      <a:cubicBezTo>
                        <a:pt x="729" y="306"/>
                        <a:pt x="729" y="311"/>
                        <a:pt x="728" y="315"/>
                      </a:cubicBezTo>
                      <a:cubicBezTo>
                        <a:pt x="727" y="319"/>
                        <a:pt x="725" y="323"/>
                        <a:pt x="722" y="326"/>
                      </a:cubicBezTo>
                      <a:cubicBezTo>
                        <a:pt x="720" y="329"/>
                        <a:pt x="717" y="331"/>
                        <a:pt x="714" y="334"/>
                      </a:cubicBezTo>
                      <a:cubicBezTo>
                        <a:pt x="710" y="336"/>
                        <a:pt x="707" y="339"/>
                        <a:pt x="704" y="341"/>
                      </a:cubicBezTo>
                      <a:cubicBezTo>
                        <a:pt x="701" y="343"/>
                        <a:pt x="698" y="344"/>
                        <a:pt x="695" y="345"/>
                      </a:cubicBezTo>
                      <a:cubicBezTo>
                        <a:pt x="693" y="346"/>
                        <a:pt x="689" y="345"/>
                        <a:pt x="688" y="347"/>
                      </a:cubicBezTo>
                      <a:cubicBezTo>
                        <a:pt x="686" y="350"/>
                        <a:pt x="688" y="353"/>
                        <a:pt x="689" y="356"/>
                      </a:cubicBezTo>
                      <a:cubicBezTo>
                        <a:pt x="690" y="358"/>
                        <a:pt x="693" y="357"/>
                        <a:pt x="694" y="359"/>
                      </a:cubicBezTo>
                      <a:cubicBezTo>
                        <a:pt x="695" y="361"/>
                        <a:pt x="692" y="364"/>
                        <a:pt x="692" y="366"/>
                      </a:cubicBezTo>
                      <a:cubicBezTo>
                        <a:pt x="692" y="367"/>
                        <a:pt x="693" y="369"/>
                        <a:pt x="693" y="370"/>
                      </a:cubicBezTo>
                      <a:cubicBezTo>
                        <a:pt x="693" y="373"/>
                        <a:pt x="693" y="376"/>
                        <a:pt x="694" y="378"/>
                      </a:cubicBezTo>
                      <a:cubicBezTo>
                        <a:pt x="694" y="382"/>
                        <a:pt x="696" y="386"/>
                        <a:pt x="695" y="389"/>
                      </a:cubicBezTo>
                      <a:cubicBezTo>
                        <a:pt x="694" y="393"/>
                        <a:pt x="690" y="395"/>
                        <a:pt x="689" y="399"/>
                      </a:cubicBezTo>
                      <a:cubicBezTo>
                        <a:pt x="689" y="401"/>
                        <a:pt x="691" y="402"/>
                        <a:pt x="691" y="404"/>
                      </a:cubicBezTo>
                      <a:cubicBezTo>
                        <a:pt x="691" y="406"/>
                        <a:pt x="691" y="409"/>
                        <a:pt x="689" y="410"/>
                      </a:cubicBezTo>
                      <a:cubicBezTo>
                        <a:pt x="688" y="410"/>
                        <a:pt x="687" y="407"/>
                        <a:pt x="686" y="406"/>
                      </a:cubicBezTo>
                      <a:cubicBezTo>
                        <a:pt x="685" y="405"/>
                        <a:pt x="683" y="404"/>
                        <a:pt x="683" y="405"/>
                      </a:cubicBezTo>
                      <a:cubicBezTo>
                        <a:pt x="681" y="406"/>
                        <a:pt x="681" y="409"/>
                        <a:pt x="680" y="410"/>
                      </a:cubicBezTo>
                      <a:cubicBezTo>
                        <a:pt x="679" y="411"/>
                        <a:pt x="677" y="410"/>
                        <a:pt x="676" y="410"/>
                      </a:cubicBezTo>
                      <a:cubicBezTo>
                        <a:pt x="674" y="410"/>
                        <a:pt x="672" y="409"/>
                        <a:pt x="671" y="408"/>
                      </a:cubicBezTo>
                      <a:cubicBezTo>
                        <a:pt x="669" y="408"/>
                        <a:pt x="667" y="410"/>
                        <a:pt x="666" y="409"/>
                      </a:cubicBezTo>
                      <a:cubicBezTo>
                        <a:pt x="666" y="407"/>
                        <a:pt x="670" y="406"/>
                        <a:pt x="670" y="404"/>
                      </a:cubicBezTo>
                      <a:cubicBezTo>
                        <a:pt x="670" y="402"/>
                        <a:pt x="668" y="400"/>
                        <a:pt x="667" y="398"/>
                      </a:cubicBezTo>
                      <a:cubicBezTo>
                        <a:pt x="666" y="396"/>
                        <a:pt x="664" y="394"/>
                        <a:pt x="662" y="392"/>
                      </a:cubicBezTo>
                      <a:cubicBezTo>
                        <a:pt x="661" y="391"/>
                        <a:pt x="658" y="393"/>
                        <a:pt x="657" y="392"/>
                      </a:cubicBezTo>
                      <a:cubicBezTo>
                        <a:pt x="656" y="390"/>
                        <a:pt x="660" y="389"/>
                        <a:pt x="660" y="388"/>
                      </a:cubicBezTo>
                      <a:cubicBezTo>
                        <a:pt x="658" y="384"/>
                        <a:pt x="654" y="382"/>
                        <a:pt x="653" y="379"/>
                      </a:cubicBezTo>
                      <a:cubicBezTo>
                        <a:pt x="652" y="377"/>
                        <a:pt x="653" y="376"/>
                        <a:pt x="653" y="374"/>
                      </a:cubicBezTo>
                      <a:cubicBezTo>
                        <a:pt x="654" y="372"/>
                        <a:pt x="654" y="370"/>
                        <a:pt x="655" y="368"/>
                      </a:cubicBezTo>
                      <a:cubicBezTo>
                        <a:pt x="656" y="366"/>
                        <a:pt x="657" y="364"/>
                        <a:pt x="657" y="362"/>
                      </a:cubicBezTo>
                      <a:cubicBezTo>
                        <a:pt x="656" y="359"/>
                        <a:pt x="654" y="355"/>
                        <a:pt x="655" y="352"/>
                      </a:cubicBezTo>
                      <a:cubicBezTo>
                        <a:pt x="655" y="349"/>
                        <a:pt x="657" y="348"/>
                        <a:pt x="658" y="345"/>
                      </a:cubicBezTo>
                      <a:cubicBezTo>
                        <a:pt x="659" y="344"/>
                        <a:pt x="659" y="341"/>
                        <a:pt x="658" y="340"/>
                      </a:cubicBezTo>
                      <a:cubicBezTo>
                        <a:pt x="656" y="338"/>
                        <a:pt x="652" y="338"/>
                        <a:pt x="649" y="338"/>
                      </a:cubicBezTo>
                      <a:cubicBezTo>
                        <a:pt x="645" y="337"/>
                        <a:pt x="640" y="337"/>
                        <a:pt x="636" y="337"/>
                      </a:cubicBezTo>
                      <a:cubicBezTo>
                        <a:pt x="634" y="337"/>
                        <a:pt x="632" y="339"/>
                        <a:pt x="630" y="339"/>
                      </a:cubicBezTo>
                      <a:cubicBezTo>
                        <a:pt x="628" y="340"/>
                        <a:pt x="626" y="339"/>
                        <a:pt x="624" y="338"/>
                      </a:cubicBezTo>
                      <a:cubicBezTo>
                        <a:pt x="622" y="337"/>
                        <a:pt x="622" y="333"/>
                        <a:pt x="620" y="332"/>
                      </a:cubicBezTo>
                      <a:cubicBezTo>
                        <a:pt x="618" y="330"/>
                        <a:pt x="615" y="329"/>
                        <a:pt x="612" y="328"/>
                      </a:cubicBezTo>
                      <a:cubicBezTo>
                        <a:pt x="610" y="327"/>
                        <a:pt x="607" y="326"/>
                        <a:pt x="604" y="325"/>
                      </a:cubicBezTo>
                      <a:cubicBezTo>
                        <a:pt x="602" y="325"/>
                        <a:pt x="600" y="324"/>
                        <a:pt x="598" y="323"/>
                      </a:cubicBezTo>
                      <a:cubicBezTo>
                        <a:pt x="596" y="321"/>
                        <a:pt x="594" y="318"/>
                        <a:pt x="592" y="316"/>
                      </a:cubicBezTo>
                      <a:cubicBezTo>
                        <a:pt x="590" y="314"/>
                        <a:pt x="588" y="311"/>
                        <a:pt x="585" y="309"/>
                      </a:cubicBezTo>
                      <a:cubicBezTo>
                        <a:pt x="583" y="308"/>
                        <a:pt x="581" y="307"/>
                        <a:pt x="578" y="306"/>
                      </a:cubicBezTo>
                      <a:cubicBezTo>
                        <a:pt x="576" y="306"/>
                        <a:pt x="574" y="305"/>
                        <a:pt x="572" y="304"/>
                      </a:cubicBezTo>
                      <a:cubicBezTo>
                        <a:pt x="570" y="303"/>
                        <a:pt x="570" y="300"/>
                        <a:pt x="567" y="300"/>
                      </a:cubicBezTo>
                      <a:cubicBezTo>
                        <a:pt x="565" y="299"/>
                        <a:pt x="562" y="300"/>
                        <a:pt x="560" y="301"/>
                      </a:cubicBezTo>
                      <a:cubicBezTo>
                        <a:pt x="556" y="302"/>
                        <a:pt x="552" y="304"/>
                        <a:pt x="548" y="305"/>
                      </a:cubicBezTo>
                      <a:cubicBezTo>
                        <a:pt x="546" y="306"/>
                        <a:pt x="542" y="309"/>
                        <a:pt x="543" y="307"/>
                      </a:cubicBezTo>
                      <a:cubicBezTo>
                        <a:pt x="543" y="304"/>
                        <a:pt x="547" y="304"/>
                        <a:pt x="549" y="302"/>
                      </a:cubicBezTo>
                      <a:cubicBezTo>
                        <a:pt x="549" y="300"/>
                        <a:pt x="549" y="299"/>
                        <a:pt x="549" y="297"/>
                      </a:cubicBezTo>
                      <a:cubicBezTo>
                        <a:pt x="548" y="294"/>
                        <a:pt x="547" y="292"/>
                        <a:pt x="547" y="290"/>
                      </a:cubicBezTo>
                      <a:cubicBezTo>
                        <a:pt x="546" y="287"/>
                        <a:pt x="547" y="285"/>
                        <a:pt x="547" y="282"/>
                      </a:cubicBezTo>
                      <a:cubicBezTo>
                        <a:pt x="546" y="279"/>
                        <a:pt x="546" y="274"/>
                        <a:pt x="544" y="272"/>
                      </a:cubicBezTo>
                      <a:cubicBezTo>
                        <a:pt x="542" y="270"/>
                        <a:pt x="538" y="271"/>
                        <a:pt x="536" y="272"/>
                      </a:cubicBezTo>
                      <a:cubicBezTo>
                        <a:pt x="533" y="273"/>
                        <a:pt x="533" y="278"/>
                        <a:pt x="530" y="278"/>
                      </a:cubicBezTo>
                      <a:cubicBezTo>
                        <a:pt x="528" y="278"/>
                        <a:pt x="531" y="274"/>
                        <a:pt x="530" y="272"/>
                      </a:cubicBezTo>
                      <a:cubicBezTo>
                        <a:pt x="530" y="270"/>
                        <a:pt x="526" y="270"/>
                        <a:pt x="526" y="268"/>
                      </a:cubicBezTo>
                      <a:cubicBezTo>
                        <a:pt x="526" y="267"/>
                        <a:pt x="528" y="266"/>
                        <a:pt x="529" y="265"/>
                      </a:cubicBezTo>
                      <a:cubicBezTo>
                        <a:pt x="529" y="262"/>
                        <a:pt x="528" y="258"/>
                        <a:pt x="529" y="254"/>
                      </a:cubicBezTo>
                      <a:cubicBezTo>
                        <a:pt x="530" y="250"/>
                        <a:pt x="532" y="247"/>
                        <a:pt x="534" y="243"/>
                      </a:cubicBezTo>
                      <a:cubicBezTo>
                        <a:pt x="535" y="240"/>
                        <a:pt x="536" y="237"/>
                        <a:pt x="538" y="234"/>
                      </a:cubicBezTo>
                      <a:cubicBezTo>
                        <a:pt x="540" y="230"/>
                        <a:pt x="543" y="227"/>
                        <a:pt x="546" y="224"/>
                      </a:cubicBezTo>
                      <a:cubicBezTo>
                        <a:pt x="549" y="221"/>
                        <a:pt x="553" y="219"/>
                        <a:pt x="555" y="215"/>
                      </a:cubicBezTo>
                      <a:cubicBezTo>
                        <a:pt x="556" y="214"/>
                        <a:pt x="553" y="213"/>
                        <a:pt x="553" y="211"/>
                      </a:cubicBezTo>
                      <a:cubicBezTo>
                        <a:pt x="554" y="209"/>
                        <a:pt x="557" y="209"/>
                        <a:pt x="558" y="208"/>
                      </a:cubicBezTo>
                      <a:cubicBezTo>
                        <a:pt x="560" y="207"/>
                        <a:pt x="561" y="205"/>
                        <a:pt x="563" y="204"/>
                      </a:cubicBezTo>
                      <a:cubicBezTo>
                        <a:pt x="564" y="203"/>
                        <a:pt x="566" y="201"/>
                        <a:pt x="567" y="200"/>
                      </a:cubicBezTo>
                      <a:cubicBezTo>
                        <a:pt x="569" y="199"/>
                        <a:pt x="571" y="200"/>
                        <a:pt x="573" y="198"/>
                      </a:cubicBezTo>
                      <a:cubicBezTo>
                        <a:pt x="573" y="197"/>
                        <a:pt x="571" y="195"/>
                        <a:pt x="572" y="195"/>
                      </a:cubicBezTo>
                      <a:cubicBezTo>
                        <a:pt x="575" y="194"/>
                        <a:pt x="578" y="196"/>
                        <a:pt x="581" y="195"/>
                      </a:cubicBezTo>
                      <a:cubicBezTo>
                        <a:pt x="585" y="194"/>
                        <a:pt x="588" y="192"/>
                        <a:pt x="590" y="189"/>
                      </a:cubicBezTo>
                      <a:cubicBezTo>
                        <a:pt x="591" y="187"/>
                        <a:pt x="590" y="184"/>
                        <a:pt x="589" y="182"/>
                      </a:cubicBezTo>
                      <a:cubicBezTo>
                        <a:pt x="588" y="181"/>
                        <a:pt x="587" y="181"/>
                        <a:pt x="586" y="180"/>
                      </a:cubicBezTo>
                      <a:cubicBezTo>
                        <a:pt x="584" y="179"/>
                        <a:pt x="583" y="177"/>
                        <a:pt x="581" y="177"/>
                      </a:cubicBezTo>
                      <a:cubicBezTo>
                        <a:pt x="578" y="176"/>
                        <a:pt x="575" y="177"/>
                        <a:pt x="572" y="176"/>
                      </a:cubicBezTo>
                      <a:cubicBezTo>
                        <a:pt x="571" y="175"/>
                        <a:pt x="566" y="174"/>
                        <a:pt x="567" y="173"/>
                      </a:cubicBezTo>
                      <a:cubicBezTo>
                        <a:pt x="570" y="171"/>
                        <a:pt x="573" y="174"/>
                        <a:pt x="575" y="174"/>
                      </a:cubicBezTo>
                      <a:cubicBezTo>
                        <a:pt x="579" y="175"/>
                        <a:pt x="582" y="175"/>
                        <a:pt x="585" y="175"/>
                      </a:cubicBezTo>
                      <a:cubicBezTo>
                        <a:pt x="587" y="176"/>
                        <a:pt x="589" y="178"/>
                        <a:pt x="591" y="178"/>
                      </a:cubicBezTo>
                      <a:cubicBezTo>
                        <a:pt x="594" y="177"/>
                        <a:pt x="596" y="176"/>
                        <a:pt x="598" y="175"/>
                      </a:cubicBezTo>
                      <a:cubicBezTo>
                        <a:pt x="600" y="174"/>
                        <a:pt x="600" y="172"/>
                        <a:pt x="601" y="171"/>
                      </a:cubicBezTo>
                      <a:cubicBezTo>
                        <a:pt x="602" y="169"/>
                        <a:pt x="601" y="166"/>
                        <a:pt x="603" y="165"/>
                      </a:cubicBezTo>
                      <a:cubicBezTo>
                        <a:pt x="605" y="165"/>
                        <a:pt x="607" y="168"/>
                        <a:pt x="609" y="169"/>
                      </a:cubicBezTo>
                      <a:cubicBezTo>
                        <a:pt x="611" y="170"/>
                        <a:pt x="615" y="171"/>
                        <a:pt x="617" y="170"/>
                      </a:cubicBezTo>
                      <a:cubicBezTo>
                        <a:pt x="621" y="169"/>
                        <a:pt x="623" y="165"/>
                        <a:pt x="626" y="162"/>
                      </a:cubicBezTo>
                      <a:cubicBezTo>
                        <a:pt x="630" y="159"/>
                        <a:pt x="633" y="156"/>
                        <a:pt x="636" y="153"/>
                      </a:cubicBezTo>
                      <a:cubicBezTo>
                        <a:pt x="638" y="151"/>
                        <a:pt x="641" y="147"/>
                        <a:pt x="639" y="145"/>
                      </a:cubicBezTo>
                      <a:cubicBezTo>
                        <a:pt x="636" y="142"/>
                        <a:pt x="630" y="143"/>
                        <a:pt x="625" y="142"/>
                      </a:cubicBezTo>
                      <a:cubicBezTo>
                        <a:pt x="622" y="142"/>
                        <a:pt x="618" y="142"/>
                        <a:pt x="615" y="140"/>
                      </a:cubicBezTo>
                      <a:cubicBezTo>
                        <a:pt x="612" y="138"/>
                        <a:pt x="606" y="134"/>
                        <a:pt x="608" y="130"/>
                      </a:cubicBezTo>
                      <a:cubicBezTo>
                        <a:pt x="611" y="127"/>
                        <a:pt x="616" y="133"/>
                        <a:pt x="620" y="134"/>
                      </a:cubicBezTo>
                      <a:cubicBezTo>
                        <a:pt x="624" y="136"/>
                        <a:pt x="627" y="139"/>
                        <a:pt x="631" y="140"/>
                      </a:cubicBezTo>
                      <a:cubicBezTo>
                        <a:pt x="633" y="141"/>
                        <a:pt x="636" y="142"/>
                        <a:pt x="639" y="141"/>
                      </a:cubicBezTo>
                      <a:cubicBezTo>
                        <a:pt x="644" y="138"/>
                        <a:pt x="649" y="133"/>
                        <a:pt x="653" y="129"/>
                      </a:cubicBezTo>
                      <a:cubicBezTo>
                        <a:pt x="654" y="128"/>
                        <a:pt x="656" y="127"/>
                        <a:pt x="656" y="126"/>
                      </a:cubicBezTo>
                      <a:cubicBezTo>
                        <a:pt x="655" y="123"/>
                        <a:pt x="651" y="122"/>
                        <a:pt x="649" y="119"/>
                      </a:cubicBezTo>
                      <a:cubicBezTo>
                        <a:pt x="649" y="118"/>
                        <a:pt x="651" y="117"/>
                        <a:pt x="652" y="117"/>
                      </a:cubicBezTo>
                      <a:cubicBezTo>
                        <a:pt x="656" y="117"/>
                        <a:pt x="659" y="118"/>
                        <a:pt x="662" y="119"/>
                      </a:cubicBezTo>
                      <a:cubicBezTo>
                        <a:pt x="664" y="119"/>
                        <a:pt x="665" y="121"/>
                        <a:pt x="666" y="122"/>
                      </a:cubicBezTo>
                      <a:cubicBezTo>
                        <a:pt x="668" y="123"/>
                        <a:pt x="669" y="125"/>
                        <a:pt x="671" y="125"/>
                      </a:cubicBezTo>
                      <a:cubicBezTo>
                        <a:pt x="672" y="125"/>
                        <a:pt x="671" y="123"/>
                        <a:pt x="672" y="123"/>
                      </a:cubicBezTo>
                      <a:cubicBezTo>
                        <a:pt x="674" y="123"/>
                        <a:pt x="677" y="126"/>
                        <a:pt x="680" y="125"/>
                      </a:cubicBezTo>
                      <a:cubicBezTo>
                        <a:pt x="681" y="124"/>
                        <a:pt x="680" y="121"/>
                        <a:pt x="679" y="120"/>
                      </a:cubicBezTo>
                      <a:cubicBezTo>
                        <a:pt x="678" y="117"/>
                        <a:pt x="675" y="115"/>
                        <a:pt x="673" y="112"/>
                      </a:cubicBezTo>
                      <a:cubicBezTo>
                        <a:pt x="672" y="112"/>
                        <a:pt x="669" y="111"/>
                        <a:pt x="670" y="110"/>
                      </a:cubicBezTo>
                      <a:cubicBezTo>
                        <a:pt x="672" y="109"/>
                        <a:pt x="674" y="109"/>
                        <a:pt x="676" y="110"/>
                      </a:cubicBezTo>
                      <a:cubicBezTo>
                        <a:pt x="678" y="111"/>
                        <a:pt x="679" y="114"/>
                        <a:pt x="680" y="115"/>
                      </a:cubicBezTo>
                      <a:cubicBezTo>
                        <a:pt x="682" y="117"/>
                        <a:pt x="682" y="121"/>
                        <a:pt x="684" y="121"/>
                      </a:cubicBezTo>
                      <a:cubicBezTo>
                        <a:pt x="689" y="120"/>
                        <a:pt x="693" y="115"/>
                        <a:pt x="697" y="113"/>
                      </a:cubicBezTo>
                      <a:cubicBezTo>
                        <a:pt x="701" y="111"/>
                        <a:pt x="705" y="111"/>
                        <a:pt x="708" y="108"/>
                      </a:cubicBezTo>
                      <a:cubicBezTo>
                        <a:pt x="710" y="107"/>
                        <a:pt x="710" y="104"/>
                        <a:pt x="711" y="102"/>
                      </a:cubicBezTo>
                      <a:cubicBezTo>
                        <a:pt x="711" y="101"/>
                        <a:pt x="712" y="100"/>
                        <a:pt x="712" y="98"/>
                      </a:cubicBezTo>
                      <a:cubicBezTo>
                        <a:pt x="712" y="96"/>
                        <a:pt x="709" y="94"/>
                        <a:pt x="708" y="91"/>
                      </a:cubicBezTo>
                      <a:cubicBezTo>
                        <a:pt x="707" y="89"/>
                        <a:pt x="707" y="87"/>
                        <a:pt x="706" y="86"/>
                      </a:cubicBezTo>
                      <a:cubicBezTo>
                        <a:pt x="705" y="84"/>
                        <a:pt x="703" y="82"/>
                        <a:pt x="704" y="80"/>
                      </a:cubicBezTo>
                      <a:cubicBezTo>
                        <a:pt x="705" y="78"/>
                        <a:pt x="708" y="79"/>
                        <a:pt x="710" y="79"/>
                      </a:cubicBezTo>
                      <a:cubicBezTo>
                        <a:pt x="711" y="77"/>
                        <a:pt x="716" y="76"/>
                        <a:pt x="719" y="75"/>
                      </a:cubicBezTo>
                      <a:cubicBezTo>
                        <a:pt x="720" y="74"/>
                        <a:pt x="720" y="72"/>
                        <a:pt x="719" y="71"/>
                      </a:cubicBezTo>
                      <a:cubicBezTo>
                        <a:pt x="717" y="70"/>
                        <a:pt x="715" y="70"/>
                        <a:pt x="712" y="71"/>
                      </a:cubicBezTo>
                      <a:cubicBezTo>
                        <a:pt x="711" y="71"/>
                        <a:pt x="710" y="74"/>
                        <a:pt x="708" y="74"/>
                      </a:cubicBezTo>
                      <a:cubicBezTo>
                        <a:pt x="706" y="75"/>
                        <a:pt x="702" y="75"/>
                        <a:pt x="703" y="74"/>
                      </a:cubicBezTo>
                      <a:cubicBezTo>
                        <a:pt x="704" y="71"/>
                        <a:pt x="708" y="70"/>
                        <a:pt x="711" y="68"/>
                      </a:cubicBezTo>
                      <a:cubicBezTo>
                        <a:pt x="713" y="67"/>
                        <a:pt x="715" y="65"/>
                        <a:pt x="717" y="64"/>
                      </a:cubicBezTo>
                      <a:cubicBezTo>
                        <a:pt x="718" y="64"/>
                        <a:pt x="722" y="64"/>
                        <a:pt x="721" y="63"/>
                      </a:cubicBezTo>
                      <a:cubicBezTo>
                        <a:pt x="718" y="61"/>
                        <a:pt x="715" y="61"/>
                        <a:pt x="712" y="59"/>
                      </a:cubicBezTo>
                      <a:cubicBezTo>
                        <a:pt x="709" y="58"/>
                        <a:pt x="706" y="57"/>
                        <a:pt x="705" y="54"/>
                      </a:cubicBezTo>
                      <a:cubicBezTo>
                        <a:pt x="704" y="53"/>
                        <a:pt x="708" y="53"/>
                        <a:pt x="708" y="52"/>
                      </a:cubicBezTo>
                      <a:cubicBezTo>
                        <a:pt x="707" y="51"/>
                        <a:pt x="705" y="51"/>
                        <a:pt x="703" y="50"/>
                      </a:cubicBezTo>
                      <a:cubicBezTo>
                        <a:pt x="702" y="50"/>
                        <a:pt x="701" y="51"/>
                        <a:pt x="699" y="51"/>
                      </a:cubicBezTo>
                      <a:cubicBezTo>
                        <a:pt x="696" y="50"/>
                        <a:pt x="694" y="48"/>
                        <a:pt x="691" y="48"/>
                      </a:cubicBezTo>
                      <a:cubicBezTo>
                        <a:pt x="688" y="48"/>
                        <a:pt x="686" y="49"/>
                        <a:pt x="683" y="49"/>
                      </a:cubicBezTo>
                      <a:cubicBezTo>
                        <a:pt x="682" y="49"/>
                        <a:pt x="680" y="47"/>
                        <a:pt x="680" y="48"/>
                      </a:cubicBezTo>
                      <a:cubicBezTo>
                        <a:pt x="677" y="52"/>
                        <a:pt x="676" y="56"/>
                        <a:pt x="676" y="60"/>
                      </a:cubicBezTo>
                      <a:cubicBezTo>
                        <a:pt x="677" y="63"/>
                        <a:pt x="682" y="65"/>
                        <a:pt x="682" y="68"/>
                      </a:cubicBezTo>
                      <a:cubicBezTo>
                        <a:pt x="683" y="69"/>
                        <a:pt x="679" y="67"/>
                        <a:pt x="678" y="68"/>
                      </a:cubicBezTo>
                      <a:cubicBezTo>
                        <a:pt x="677" y="69"/>
                        <a:pt x="679" y="70"/>
                        <a:pt x="678" y="71"/>
                      </a:cubicBezTo>
                      <a:cubicBezTo>
                        <a:pt x="676" y="72"/>
                        <a:pt x="672" y="69"/>
                        <a:pt x="672" y="73"/>
                      </a:cubicBezTo>
                      <a:cubicBezTo>
                        <a:pt x="670" y="73"/>
                        <a:pt x="669" y="75"/>
                        <a:pt x="668" y="76"/>
                      </a:cubicBezTo>
                      <a:cubicBezTo>
                        <a:pt x="665" y="81"/>
                        <a:pt x="662" y="86"/>
                        <a:pt x="659" y="92"/>
                      </a:cubicBezTo>
                      <a:cubicBezTo>
                        <a:pt x="658" y="94"/>
                        <a:pt x="659" y="97"/>
                        <a:pt x="658" y="98"/>
                      </a:cubicBezTo>
                      <a:cubicBezTo>
                        <a:pt x="656" y="100"/>
                        <a:pt x="653" y="100"/>
                        <a:pt x="651" y="101"/>
                      </a:cubicBezTo>
                      <a:cubicBezTo>
                        <a:pt x="649" y="103"/>
                        <a:pt x="647" y="105"/>
                        <a:pt x="644" y="105"/>
                      </a:cubicBezTo>
                      <a:cubicBezTo>
                        <a:pt x="643" y="105"/>
                        <a:pt x="645" y="102"/>
                        <a:pt x="644" y="101"/>
                      </a:cubicBezTo>
                      <a:cubicBezTo>
                        <a:pt x="643" y="97"/>
                        <a:pt x="639" y="93"/>
                        <a:pt x="639" y="89"/>
                      </a:cubicBezTo>
                      <a:cubicBezTo>
                        <a:pt x="639" y="87"/>
                        <a:pt x="641" y="86"/>
                        <a:pt x="641" y="84"/>
                      </a:cubicBezTo>
                      <a:cubicBezTo>
                        <a:pt x="642" y="83"/>
                        <a:pt x="641" y="81"/>
                        <a:pt x="641" y="80"/>
                      </a:cubicBezTo>
                      <a:cubicBezTo>
                        <a:pt x="642" y="79"/>
                        <a:pt x="644" y="80"/>
                        <a:pt x="644" y="79"/>
                      </a:cubicBezTo>
                      <a:cubicBezTo>
                        <a:pt x="646" y="76"/>
                        <a:pt x="646" y="73"/>
                        <a:pt x="645" y="70"/>
                      </a:cubicBezTo>
                      <a:cubicBezTo>
                        <a:pt x="645" y="68"/>
                        <a:pt x="642" y="67"/>
                        <a:pt x="641" y="65"/>
                      </a:cubicBezTo>
                      <a:cubicBezTo>
                        <a:pt x="639" y="63"/>
                        <a:pt x="638" y="59"/>
                        <a:pt x="635" y="57"/>
                      </a:cubicBezTo>
                      <a:cubicBezTo>
                        <a:pt x="634" y="57"/>
                        <a:pt x="633" y="60"/>
                        <a:pt x="631" y="62"/>
                      </a:cubicBezTo>
                      <a:cubicBezTo>
                        <a:pt x="630" y="64"/>
                        <a:pt x="628" y="66"/>
                        <a:pt x="627" y="68"/>
                      </a:cubicBezTo>
                      <a:cubicBezTo>
                        <a:pt x="625" y="70"/>
                        <a:pt x="625" y="74"/>
                        <a:pt x="623" y="76"/>
                      </a:cubicBezTo>
                      <a:cubicBezTo>
                        <a:pt x="622" y="79"/>
                        <a:pt x="621" y="82"/>
                        <a:pt x="619" y="82"/>
                      </a:cubicBezTo>
                      <a:cubicBezTo>
                        <a:pt x="617" y="83"/>
                        <a:pt x="617" y="80"/>
                        <a:pt x="617" y="79"/>
                      </a:cubicBezTo>
                      <a:cubicBezTo>
                        <a:pt x="617" y="75"/>
                        <a:pt x="618" y="72"/>
                        <a:pt x="618" y="69"/>
                      </a:cubicBezTo>
                      <a:cubicBezTo>
                        <a:pt x="618" y="67"/>
                        <a:pt x="617" y="64"/>
                        <a:pt x="616" y="62"/>
                      </a:cubicBezTo>
                      <a:cubicBezTo>
                        <a:pt x="615" y="60"/>
                        <a:pt x="612" y="58"/>
                        <a:pt x="613" y="56"/>
                      </a:cubicBezTo>
                      <a:cubicBezTo>
                        <a:pt x="613" y="54"/>
                        <a:pt x="617" y="55"/>
                        <a:pt x="617" y="53"/>
                      </a:cubicBezTo>
                      <a:cubicBezTo>
                        <a:pt x="618" y="52"/>
                        <a:pt x="616" y="50"/>
                        <a:pt x="615" y="50"/>
                      </a:cubicBezTo>
                      <a:cubicBezTo>
                        <a:pt x="612" y="51"/>
                        <a:pt x="612" y="54"/>
                        <a:pt x="609" y="54"/>
                      </a:cubicBezTo>
                      <a:cubicBezTo>
                        <a:pt x="608" y="55"/>
                        <a:pt x="607" y="53"/>
                        <a:pt x="605" y="53"/>
                      </a:cubicBezTo>
                      <a:cubicBezTo>
                        <a:pt x="604" y="54"/>
                        <a:pt x="603" y="56"/>
                        <a:pt x="601" y="56"/>
                      </a:cubicBezTo>
                      <a:cubicBezTo>
                        <a:pt x="600" y="55"/>
                        <a:pt x="603" y="52"/>
                        <a:pt x="602" y="51"/>
                      </a:cubicBezTo>
                      <a:cubicBezTo>
                        <a:pt x="602" y="50"/>
                        <a:pt x="599" y="50"/>
                        <a:pt x="600" y="50"/>
                      </a:cubicBezTo>
                      <a:cubicBezTo>
                        <a:pt x="601" y="47"/>
                        <a:pt x="606" y="47"/>
                        <a:pt x="607" y="44"/>
                      </a:cubicBezTo>
                      <a:cubicBezTo>
                        <a:pt x="607" y="42"/>
                        <a:pt x="603" y="43"/>
                        <a:pt x="602" y="41"/>
                      </a:cubicBezTo>
                      <a:cubicBezTo>
                        <a:pt x="602" y="40"/>
                        <a:pt x="603" y="39"/>
                        <a:pt x="604" y="39"/>
                      </a:cubicBezTo>
                      <a:cubicBezTo>
                        <a:pt x="605" y="39"/>
                        <a:pt x="607" y="40"/>
                        <a:pt x="608" y="40"/>
                      </a:cubicBezTo>
                      <a:cubicBezTo>
                        <a:pt x="609" y="40"/>
                        <a:pt x="611" y="40"/>
                        <a:pt x="612" y="39"/>
                      </a:cubicBezTo>
                      <a:cubicBezTo>
                        <a:pt x="612" y="37"/>
                        <a:pt x="611" y="36"/>
                        <a:pt x="610" y="35"/>
                      </a:cubicBezTo>
                      <a:cubicBezTo>
                        <a:pt x="609" y="34"/>
                        <a:pt x="608" y="33"/>
                        <a:pt x="607" y="32"/>
                      </a:cubicBezTo>
                      <a:cubicBezTo>
                        <a:pt x="605" y="30"/>
                        <a:pt x="601" y="28"/>
                        <a:pt x="600" y="25"/>
                      </a:cubicBezTo>
                      <a:cubicBezTo>
                        <a:pt x="600" y="22"/>
                        <a:pt x="603" y="20"/>
                        <a:pt x="604" y="17"/>
                      </a:cubicBezTo>
                      <a:cubicBezTo>
                        <a:pt x="604" y="15"/>
                        <a:pt x="604" y="12"/>
                        <a:pt x="603" y="10"/>
                      </a:cubicBezTo>
                      <a:cubicBezTo>
                        <a:pt x="602" y="9"/>
                        <a:pt x="599" y="9"/>
                        <a:pt x="598" y="8"/>
                      </a:cubicBezTo>
                      <a:cubicBezTo>
                        <a:pt x="597" y="8"/>
                        <a:pt x="597" y="7"/>
                        <a:pt x="596" y="6"/>
                      </a:cubicBezTo>
                      <a:cubicBezTo>
                        <a:pt x="594" y="5"/>
                        <a:pt x="592" y="5"/>
                        <a:pt x="590" y="4"/>
                      </a:cubicBezTo>
                      <a:cubicBezTo>
                        <a:pt x="589" y="3"/>
                        <a:pt x="589" y="1"/>
                        <a:pt x="588" y="1"/>
                      </a:cubicBezTo>
                      <a:cubicBezTo>
                        <a:pt x="586" y="0"/>
                        <a:pt x="584" y="1"/>
                        <a:pt x="582" y="2"/>
                      </a:cubicBezTo>
                      <a:cubicBezTo>
                        <a:pt x="580" y="3"/>
                        <a:pt x="578" y="5"/>
                        <a:pt x="576" y="6"/>
                      </a:cubicBezTo>
                      <a:cubicBezTo>
                        <a:pt x="575" y="7"/>
                        <a:pt x="573" y="9"/>
                        <a:pt x="574" y="10"/>
                      </a:cubicBezTo>
                      <a:cubicBezTo>
                        <a:pt x="574" y="11"/>
                        <a:pt x="578" y="10"/>
                        <a:pt x="578" y="12"/>
                      </a:cubicBezTo>
                      <a:cubicBezTo>
                        <a:pt x="578" y="13"/>
                        <a:pt x="576" y="15"/>
                        <a:pt x="574" y="15"/>
                      </a:cubicBezTo>
                      <a:cubicBezTo>
                        <a:pt x="573" y="15"/>
                        <a:pt x="572" y="12"/>
                        <a:pt x="570" y="12"/>
                      </a:cubicBezTo>
                      <a:cubicBezTo>
                        <a:pt x="567" y="14"/>
                        <a:pt x="566" y="18"/>
                        <a:pt x="565" y="21"/>
                      </a:cubicBezTo>
                      <a:cubicBezTo>
                        <a:pt x="564" y="22"/>
                        <a:pt x="564" y="24"/>
                        <a:pt x="564" y="25"/>
                      </a:cubicBezTo>
                      <a:cubicBezTo>
                        <a:pt x="565" y="27"/>
                        <a:pt x="567" y="27"/>
                        <a:pt x="568" y="29"/>
                      </a:cubicBezTo>
                      <a:cubicBezTo>
                        <a:pt x="568" y="30"/>
                        <a:pt x="569" y="31"/>
                        <a:pt x="568" y="31"/>
                      </a:cubicBezTo>
                      <a:cubicBezTo>
                        <a:pt x="566" y="32"/>
                        <a:pt x="564" y="31"/>
                        <a:pt x="562" y="32"/>
                      </a:cubicBezTo>
                      <a:cubicBezTo>
                        <a:pt x="560" y="33"/>
                        <a:pt x="558" y="36"/>
                        <a:pt x="557" y="39"/>
                      </a:cubicBezTo>
                      <a:cubicBezTo>
                        <a:pt x="556" y="41"/>
                        <a:pt x="557" y="44"/>
                        <a:pt x="559" y="46"/>
                      </a:cubicBezTo>
                      <a:cubicBezTo>
                        <a:pt x="560" y="47"/>
                        <a:pt x="563" y="47"/>
                        <a:pt x="565" y="48"/>
                      </a:cubicBezTo>
                      <a:cubicBezTo>
                        <a:pt x="568" y="49"/>
                        <a:pt x="571" y="52"/>
                        <a:pt x="575" y="52"/>
                      </a:cubicBezTo>
                      <a:cubicBezTo>
                        <a:pt x="576" y="52"/>
                        <a:pt x="577" y="49"/>
                        <a:pt x="578" y="50"/>
                      </a:cubicBezTo>
                      <a:cubicBezTo>
                        <a:pt x="580" y="50"/>
                        <a:pt x="580" y="54"/>
                        <a:pt x="582" y="54"/>
                      </a:cubicBezTo>
                      <a:cubicBezTo>
                        <a:pt x="585" y="55"/>
                        <a:pt x="588" y="53"/>
                        <a:pt x="591" y="53"/>
                      </a:cubicBezTo>
                      <a:cubicBezTo>
                        <a:pt x="592" y="53"/>
                        <a:pt x="595" y="53"/>
                        <a:pt x="595" y="54"/>
                      </a:cubicBezTo>
                      <a:cubicBezTo>
                        <a:pt x="595" y="57"/>
                        <a:pt x="593" y="58"/>
                        <a:pt x="591" y="59"/>
                      </a:cubicBezTo>
                      <a:cubicBezTo>
                        <a:pt x="590" y="60"/>
                        <a:pt x="588" y="61"/>
                        <a:pt x="586" y="60"/>
                      </a:cubicBezTo>
                      <a:cubicBezTo>
                        <a:pt x="585" y="60"/>
                        <a:pt x="585" y="58"/>
                        <a:pt x="584" y="57"/>
                      </a:cubicBezTo>
                      <a:cubicBezTo>
                        <a:pt x="582" y="57"/>
                        <a:pt x="580" y="56"/>
                        <a:pt x="579" y="57"/>
                      </a:cubicBezTo>
                      <a:cubicBezTo>
                        <a:pt x="577" y="59"/>
                        <a:pt x="578" y="62"/>
                        <a:pt x="577" y="63"/>
                      </a:cubicBezTo>
                      <a:cubicBezTo>
                        <a:pt x="575" y="65"/>
                        <a:pt x="572" y="66"/>
                        <a:pt x="570" y="69"/>
                      </a:cubicBezTo>
                      <a:cubicBezTo>
                        <a:pt x="570" y="70"/>
                        <a:pt x="569" y="73"/>
                        <a:pt x="570" y="73"/>
                      </a:cubicBezTo>
                      <a:cubicBezTo>
                        <a:pt x="572" y="74"/>
                        <a:pt x="575" y="72"/>
                        <a:pt x="577" y="71"/>
                      </a:cubicBezTo>
                      <a:cubicBezTo>
                        <a:pt x="578" y="70"/>
                        <a:pt x="579" y="69"/>
                        <a:pt x="580" y="68"/>
                      </a:cubicBezTo>
                      <a:cubicBezTo>
                        <a:pt x="580" y="67"/>
                        <a:pt x="579" y="65"/>
                        <a:pt x="580" y="66"/>
                      </a:cubicBezTo>
                      <a:cubicBezTo>
                        <a:pt x="581" y="67"/>
                        <a:pt x="582" y="69"/>
                        <a:pt x="583" y="71"/>
                      </a:cubicBezTo>
                      <a:cubicBezTo>
                        <a:pt x="583" y="73"/>
                        <a:pt x="584" y="74"/>
                        <a:pt x="583" y="76"/>
                      </a:cubicBezTo>
                      <a:cubicBezTo>
                        <a:pt x="580" y="78"/>
                        <a:pt x="577" y="80"/>
                        <a:pt x="574" y="81"/>
                      </a:cubicBezTo>
                      <a:cubicBezTo>
                        <a:pt x="571" y="83"/>
                        <a:pt x="568" y="85"/>
                        <a:pt x="565" y="86"/>
                      </a:cubicBezTo>
                      <a:cubicBezTo>
                        <a:pt x="563" y="87"/>
                        <a:pt x="561" y="85"/>
                        <a:pt x="560" y="86"/>
                      </a:cubicBezTo>
                      <a:cubicBezTo>
                        <a:pt x="557" y="87"/>
                        <a:pt x="554" y="89"/>
                        <a:pt x="553" y="92"/>
                      </a:cubicBezTo>
                      <a:cubicBezTo>
                        <a:pt x="553" y="94"/>
                        <a:pt x="558" y="95"/>
                        <a:pt x="558" y="97"/>
                      </a:cubicBezTo>
                      <a:cubicBezTo>
                        <a:pt x="559" y="100"/>
                        <a:pt x="559" y="103"/>
                        <a:pt x="558" y="105"/>
                      </a:cubicBezTo>
                      <a:cubicBezTo>
                        <a:pt x="558" y="107"/>
                        <a:pt x="559" y="110"/>
                        <a:pt x="557" y="111"/>
                      </a:cubicBezTo>
                      <a:cubicBezTo>
                        <a:pt x="554" y="112"/>
                        <a:pt x="550" y="111"/>
                        <a:pt x="547" y="111"/>
                      </a:cubicBezTo>
                      <a:cubicBezTo>
                        <a:pt x="546" y="110"/>
                        <a:pt x="543" y="108"/>
                        <a:pt x="544" y="107"/>
                      </a:cubicBezTo>
                      <a:cubicBezTo>
                        <a:pt x="548" y="106"/>
                        <a:pt x="552" y="110"/>
                        <a:pt x="555" y="108"/>
                      </a:cubicBezTo>
                      <a:cubicBezTo>
                        <a:pt x="557" y="107"/>
                        <a:pt x="556" y="103"/>
                        <a:pt x="555" y="102"/>
                      </a:cubicBezTo>
                      <a:cubicBezTo>
                        <a:pt x="553" y="100"/>
                        <a:pt x="550" y="103"/>
                        <a:pt x="548" y="102"/>
                      </a:cubicBezTo>
                      <a:cubicBezTo>
                        <a:pt x="546" y="101"/>
                        <a:pt x="545" y="99"/>
                        <a:pt x="545" y="97"/>
                      </a:cubicBezTo>
                      <a:cubicBezTo>
                        <a:pt x="546" y="95"/>
                        <a:pt x="548" y="93"/>
                        <a:pt x="549" y="91"/>
                      </a:cubicBezTo>
                      <a:cubicBezTo>
                        <a:pt x="551" y="88"/>
                        <a:pt x="554" y="85"/>
                        <a:pt x="553" y="82"/>
                      </a:cubicBezTo>
                      <a:cubicBezTo>
                        <a:pt x="553" y="80"/>
                        <a:pt x="550" y="82"/>
                        <a:pt x="548" y="82"/>
                      </a:cubicBezTo>
                      <a:cubicBezTo>
                        <a:pt x="546" y="82"/>
                        <a:pt x="544" y="81"/>
                        <a:pt x="542" y="81"/>
                      </a:cubicBezTo>
                      <a:cubicBezTo>
                        <a:pt x="539" y="80"/>
                        <a:pt x="537" y="77"/>
                        <a:pt x="534" y="77"/>
                      </a:cubicBezTo>
                      <a:cubicBezTo>
                        <a:pt x="531" y="77"/>
                        <a:pt x="528" y="79"/>
                        <a:pt x="527" y="81"/>
                      </a:cubicBezTo>
                      <a:cubicBezTo>
                        <a:pt x="527" y="83"/>
                        <a:pt x="528" y="86"/>
                        <a:pt x="530" y="87"/>
                      </a:cubicBezTo>
                      <a:cubicBezTo>
                        <a:pt x="532" y="89"/>
                        <a:pt x="535" y="89"/>
                        <a:pt x="538" y="91"/>
                      </a:cubicBezTo>
                      <a:cubicBezTo>
                        <a:pt x="539" y="92"/>
                        <a:pt x="539" y="94"/>
                        <a:pt x="538" y="95"/>
                      </a:cubicBezTo>
                      <a:cubicBezTo>
                        <a:pt x="537" y="96"/>
                        <a:pt x="535" y="97"/>
                        <a:pt x="533" y="96"/>
                      </a:cubicBezTo>
                      <a:cubicBezTo>
                        <a:pt x="531" y="95"/>
                        <a:pt x="530" y="92"/>
                        <a:pt x="527" y="91"/>
                      </a:cubicBezTo>
                      <a:cubicBezTo>
                        <a:pt x="524" y="91"/>
                        <a:pt x="521" y="92"/>
                        <a:pt x="518" y="92"/>
                      </a:cubicBezTo>
                      <a:cubicBezTo>
                        <a:pt x="516" y="92"/>
                        <a:pt x="514" y="91"/>
                        <a:pt x="513" y="90"/>
                      </a:cubicBezTo>
                      <a:cubicBezTo>
                        <a:pt x="506" y="90"/>
                        <a:pt x="500" y="91"/>
                        <a:pt x="494" y="91"/>
                      </a:cubicBezTo>
                      <a:cubicBezTo>
                        <a:pt x="490" y="91"/>
                        <a:pt x="486" y="92"/>
                        <a:pt x="483" y="91"/>
                      </a:cubicBezTo>
                      <a:cubicBezTo>
                        <a:pt x="480" y="91"/>
                        <a:pt x="478" y="90"/>
                        <a:pt x="476" y="89"/>
                      </a:cubicBezTo>
                      <a:cubicBezTo>
                        <a:pt x="474" y="88"/>
                        <a:pt x="472" y="86"/>
                        <a:pt x="470" y="86"/>
                      </a:cubicBezTo>
                      <a:cubicBezTo>
                        <a:pt x="467" y="85"/>
                        <a:pt x="463" y="87"/>
                        <a:pt x="460" y="86"/>
                      </a:cubicBezTo>
                      <a:cubicBezTo>
                        <a:pt x="458" y="85"/>
                        <a:pt x="457" y="83"/>
                        <a:pt x="456" y="82"/>
                      </a:cubicBezTo>
                      <a:cubicBezTo>
                        <a:pt x="454" y="81"/>
                        <a:pt x="452" y="80"/>
                        <a:pt x="451" y="78"/>
                      </a:cubicBezTo>
                      <a:cubicBezTo>
                        <a:pt x="450" y="76"/>
                        <a:pt x="452" y="73"/>
                        <a:pt x="451" y="71"/>
                      </a:cubicBezTo>
                      <a:cubicBezTo>
                        <a:pt x="450" y="69"/>
                        <a:pt x="446" y="66"/>
                        <a:pt x="444" y="68"/>
                      </a:cubicBezTo>
                      <a:cubicBezTo>
                        <a:pt x="436" y="72"/>
                        <a:pt x="428" y="74"/>
                        <a:pt x="421" y="75"/>
                      </a:cubicBezTo>
                      <a:cubicBezTo>
                        <a:pt x="419" y="76"/>
                        <a:pt x="414" y="80"/>
                        <a:pt x="414" y="82"/>
                      </a:cubicBezTo>
                      <a:cubicBezTo>
                        <a:pt x="415" y="85"/>
                        <a:pt x="420" y="83"/>
                        <a:pt x="424" y="83"/>
                      </a:cubicBezTo>
                      <a:cubicBezTo>
                        <a:pt x="424" y="79"/>
                        <a:pt x="428" y="80"/>
                        <a:pt x="431" y="79"/>
                      </a:cubicBezTo>
                      <a:cubicBezTo>
                        <a:pt x="436" y="79"/>
                        <a:pt x="441" y="77"/>
                        <a:pt x="445" y="74"/>
                      </a:cubicBezTo>
                      <a:cubicBezTo>
                        <a:pt x="446" y="73"/>
                        <a:pt x="448" y="73"/>
                        <a:pt x="448" y="75"/>
                      </a:cubicBezTo>
                      <a:cubicBezTo>
                        <a:pt x="448" y="76"/>
                        <a:pt x="447" y="78"/>
                        <a:pt x="445" y="79"/>
                      </a:cubicBezTo>
                      <a:cubicBezTo>
                        <a:pt x="441" y="81"/>
                        <a:pt x="437" y="84"/>
                        <a:pt x="433" y="85"/>
                      </a:cubicBezTo>
                      <a:cubicBezTo>
                        <a:pt x="430" y="86"/>
                        <a:pt x="426" y="85"/>
                        <a:pt x="423" y="87"/>
                      </a:cubicBezTo>
                      <a:cubicBezTo>
                        <a:pt x="421" y="87"/>
                        <a:pt x="419" y="89"/>
                        <a:pt x="418" y="91"/>
                      </a:cubicBezTo>
                      <a:cubicBezTo>
                        <a:pt x="418" y="94"/>
                        <a:pt x="420" y="97"/>
                        <a:pt x="421" y="100"/>
                      </a:cubicBezTo>
                      <a:cubicBezTo>
                        <a:pt x="421" y="104"/>
                        <a:pt x="422" y="108"/>
                        <a:pt x="421" y="111"/>
                      </a:cubicBezTo>
                      <a:cubicBezTo>
                        <a:pt x="421" y="114"/>
                        <a:pt x="420" y="108"/>
                        <a:pt x="418" y="110"/>
                      </a:cubicBezTo>
                      <a:cubicBezTo>
                        <a:pt x="417" y="110"/>
                        <a:pt x="418" y="117"/>
                        <a:pt x="417" y="117"/>
                      </a:cubicBezTo>
                      <a:cubicBezTo>
                        <a:pt x="415" y="117"/>
                        <a:pt x="413" y="114"/>
                        <a:pt x="411" y="112"/>
                      </a:cubicBezTo>
                      <a:cubicBezTo>
                        <a:pt x="411" y="110"/>
                        <a:pt x="410" y="107"/>
                        <a:pt x="411" y="106"/>
                      </a:cubicBezTo>
                      <a:cubicBezTo>
                        <a:pt x="412" y="104"/>
                        <a:pt x="416" y="106"/>
                        <a:pt x="416" y="104"/>
                      </a:cubicBezTo>
                      <a:cubicBezTo>
                        <a:pt x="417" y="101"/>
                        <a:pt x="415" y="96"/>
                        <a:pt x="412" y="95"/>
                      </a:cubicBezTo>
                      <a:cubicBezTo>
                        <a:pt x="410" y="94"/>
                        <a:pt x="409" y="100"/>
                        <a:pt x="407" y="100"/>
                      </a:cubicBezTo>
                      <a:cubicBezTo>
                        <a:pt x="405" y="100"/>
                        <a:pt x="408" y="96"/>
                        <a:pt x="407" y="94"/>
                      </a:cubicBezTo>
                      <a:cubicBezTo>
                        <a:pt x="406" y="93"/>
                        <a:pt x="404" y="91"/>
                        <a:pt x="402" y="91"/>
                      </a:cubicBezTo>
                      <a:cubicBezTo>
                        <a:pt x="400" y="91"/>
                        <a:pt x="399" y="94"/>
                        <a:pt x="398" y="93"/>
                      </a:cubicBezTo>
                      <a:cubicBezTo>
                        <a:pt x="396" y="92"/>
                        <a:pt x="399" y="87"/>
                        <a:pt x="397" y="87"/>
                      </a:cubicBezTo>
                      <a:cubicBezTo>
                        <a:pt x="391" y="87"/>
                        <a:pt x="387" y="92"/>
                        <a:pt x="381" y="93"/>
                      </a:cubicBezTo>
                      <a:cubicBezTo>
                        <a:pt x="377" y="94"/>
                        <a:pt x="374" y="92"/>
                        <a:pt x="370" y="92"/>
                      </a:cubicBezTo>
                      <a:cubicBezTo>
                        <a:pt x="366" y="92"/>
                        <a:pt x="361" y="94"/>
                        <a:pt x="356" y="93"/>
                      </a:cubicBezTo>
                      <a:cubicBezTo>
                        <a:pt x="352" y="93"/>
                        <a:pt x="348" y="91"/>
                        <a:pt x="344" y="90"/>
                      </a:cubicBezTo>
                      <a:cubicBezTo>
                        <a:pt x="341" y="90"/>
                        <a:pt x="338" y="92"/>
                        <a:pt x="336" y="90"/>
                      </a:cubicBezTo>
                      <a:cubicBezTo>
                        <a:pt x="335" y="88"/>
                        <a:pt x="337" y="85"/>
                        <a:pt x="339" y="84"/>
                      </a:cubicBezTo>
                      <a:cubicBezTo>
                        <a:pt x="341" y="82"/>
                        <a:pt x="344" y="81"/>
                        <a:pt x="346" y="81"/>
                      </a:cubicBezTo>
                      <a:cubicBezTo>
                        <a:pt x="348" y="80"/>
                        <a:pt x="351" y="82"/>
                        <a:pt x="352" y="81"/>
                      </a:cubicBezTo>
                      <a:cubicBezTo>
                        <a:pt x="353" y="80"/>
                        <a:pt x="353" y="78"/>
                        <a:pt x="353" y="76"/>
                      </a:cubicBezTo>
                      <a:cubicBezTo>
                        <a:pt x="351" y="74"/>
                        <a:pt x="349" y="71"/>
                        <a:pt x="347" y="69"/>
                      </a:cubicBezTo>
                      <a:cubicBezTo>
                        <a:pt x="344" y="67"/>
                        <a:pt x="341" y="65"/>
                        <a:pt x="338" y="65"/>
                      </a:cubicBezTo>
                      <a:cubicBezTo>
                        <a:pt x="335" y="65"/>
                        <a:pt x="334" y="68"/>
                        <a:pt x="331" y="68"/>
                      </a:cubicBezTo>
                      <a:cubicBezTo>
                        <a:pt x="328" y="69"/>
                        <a:pt x="324" y="68"/>
                        <a:pt x="320" y="67"/>
                      </a:cubicBezTo>
                      <a:cubicBezTo>
                        <a:pt x="317" y="67"/>
                        <a:pt x="314" y="65"/>
                        <a:pt x="311" y="64"/>
                      </a:cubicBezTo>
                      <a:cubicBezTo>
                        <a:pt x="308" y="62"/>
                        <a:pt x="307" y="59"/>
                        <a:pt x="305" y="59"/>
                      </a:cubicBezTo>
                      <a:cubicBezTo>
                        <a:pt x="301" y="57"/>
                        <a:pt x="297" y="58"/>
                        <a:pt x="293" y="57"/>
                      </a:cubicBezTo>
                      <a:cubicBezTo>
                        <a:pt x="290" y="57"/>
                        <a:pt x="286" y="57"/>
                        <a:pt x="284" y="56"/>
                      </a:cubicBezTo>
                      <a:cubicBezTo>
                        <a:pt x="282" y="54"/>
                        <a:pt x="282" y="50"/>
                        <a:pt x="279" y="50"/>
                      </a:cubicBezTo>
                      <a:cubicBezTo>
                        <a:pt x="274" y="48"/>
                        <a:pt x="268" y="46"/>
                        <a:pt x="262" y="48"/>
                      </a:cubicBezTo>
                      <a:cubicBezTo>
                        <a:pt x="259" y="48"/>
                        <a:pt x="260" y="53"/>
                        <a:pt x="258" y="55"/>
                      </a:cubicBezTo>
                      <a:cubicBezTo>
                        <a:pt x="255" y="58"/>
                        <a:pt x="252" y="59"/>
                        <a:pt x="248" y="59"/>
                      </a:cubicBezTo>
                      <a:cubicBezTo>
                        <a:pt x="246" y="60"/>
                        <a:pt x="242" y="61"/>
                        <a:pt x="242" y="59"/>
                      </a:cubicBezTo>
                      <a:cubicBezTo>
                        <a:pt x="241" y="56"/>
                        <a:pt x="246" y="54"/>
                        <a:pt x="247" y="51"/>
                      </a:cubicBezTo>
                      <a:cubicBezTo>
                        <a:pt x="247" y="49"/>
                        <a:pt x="246" y="47"/>
                        <a:pt x="246" y="46"/>
                      </a:cubicBezTo>
                      <a:cubicBezTo>
                        <a:pt x="246" y="45"/>
                        <a:pt x="248" y="42"/>
                        <a:pt x="246" y="42"/>
                      </a:cubicBezTo>
                      <a:cubicBezTo>
                        <a:pt x="244" y="42"/>
                        <a:pt x="241" y="44"/>
                        <a:pt x="240" y="46"/>
                      </a:cubicBezTo>
                      <a:cubicBezTo>
                        <a:pt x="237" y="49"/>
                        <a:pt x="237" y="54"/>
                        <a:pt x="235" y="57"/>
                      </a:cubicBezTo>
                      <a:cubicBezTo>
                        <a:pt x="234" y="58"/>
                        <a:pt x="231" y="59"/>
                        <a:pt x="230" y="58"/>
                      </a:cubicBezTo>
                      <a:cubicBezTo>
                        <a:pt x="227" y="57"/>
                        <a:pt x="224" y="55"/>
                        <a:pt x="222" y="53"/>
                      </a:cubicBezTo>
                      <a:cubicBezTo>
                        <a:pt x="220" y="51"/>
                        <a:pt x="220" y="49"/>
                        <a:pt x="219" y="46"/>
                      </a:cubicBezTo>
                      <a:cubicBezTo>
                        <a:pt x="218" y="44"/>
                        <a:pt x="218" y="41"/>
                        <a:pt x="217" y="39"/>
                      </a:cubicBezTo>
                      <a:cubicBezTo>
                        <a:pt x="216" y="36"/>
                        <a:pt x="215" y="33"/>
                        <a:pt x="212" y="31"/>
                      </a:cubicBezTo>
                      <a:cubicBezTo>
                        <a:pt x="211" y="31"/>
                        <a:pt x="210" y="33"/>
                        <a:pt x="209" y="34"/>
                      </a:cubicBezTo>
                      <a:cubicBezTo>
                        <a:pt x="211" y="37"/>
                        <a:pt x="210" y="39"/>
                        <a:pt x="205" y="39"/>
                      </a:cubicBezTo>
                      <a:cubicBezTo>
                        <a:pt x="204" y="46"/>
                        <a:pt x="197" y="49"/>
                        <a:pt x="194" y="49"/>
                      </a:cubicBezTo>
                      <a:cubicBezTo>
                        <a:pt x="196" y="47"/>
                        <a:pt x="197" y="45"/>
                        <a:pt x="195" y="45"/>
                      </a:cubicBezTo>
                      <a:cubicBezTo>
                        <a:pt x="193" y="45"/>
                        <a:pt x="183" y="50"/>
                        <a:pt x="180" y="51"/>
                      </a:cubicBezTo>
                      <a:cubicBezTo>
                        <a:pt x="176" y="53"/>
                        <a:pt x="174" y="58"/>
                        <a:pt x="170" y="60"/>
                      </a:cubicBezTo>
                      <a:cubicBezTo>
                        <a:pt x="169" y="60"/>
                        <a:pt x="170" y="56"/>
                        <a:pt x="169" y="56"/>
                      </a:cubicBezTo>
                      <a:cubicBezTo>
                        <a:pt x="166" y="56"/>
                        <a:pt x="163" y="58"/>
                        <a:pt x="160" y="59"/>
                      </a:cubicBezTo>
                      <a:cubicBezTo>
                        <a:pt x="158" y="60"/>
                        <a:pt x="155" y="61"/>
                        <a:pt x="152" y="63"/>
                      </a:cubicBezTo>
                      <a:cubicBezTo>
                        <a:pt x="151" y="64"/>
                        <a:pt x="151" y="67"/>
                        <a:pt x="149" y="68"/>
                      </a:cubicBezTo>
                      <a:cubicBezTo>
                        <a:pt x="147" y="69"/>
                        <a:pt x="143" y="70"/>
                        <a:pt x="143" y="68"/>
                      </a:cubicBezTo>
                      <a:cubicBezTo>
                        <a:pt x="144" y="65"/>
                        <a:pt x="147" y="63"/>
                        <a:pt x="150" y="60"/>
                      </a:cubicBezTo>
                      <a:cubicBezTo>
                        <a:pt x="152" y="58"/>
                        <a:pt x="155" y="56"/>
                        <a:pt x="158" y="55"/>
                      </a:cubicBezTo>
                      <a:cubicBezTo>
                        <a:pt x="163" y="53"/>
                        <a:pt x="168" y="53"/>
                        <a:pt x="172" y="52"/>
                      </a:cubicBezTo>
                      <a:cubicBezTo>
                        <a:pt x="179" y="49"/>
                        <a:pt x="187" y="47"/>
                        <a:pt x="192" y="42"/>
                      </a:cubicBezTo>
                      <a:cubicBezTo>
                        <a:pt x="194" y="41"/>
                        <a:pt x="191" y="39"/>
                        <a:pt x="189" y="39"/>
                      </a:cubicBezTo>
                      <a:cubicBezTo>
                        <a:pt x="187" y="41"/>
                        <a:pt x="184" y="40"/>
                        <a:pt x="181" y="41"/>
                      </a:cubicBezTo>
                      <a:cubicBezTo>
                        <a:pt x="178" y="42"/>
                        <a:pt x="176" y="45"/>
                        <a:pt x="173" y="46"/>
                      </a:cubicBezTo>
                      <a:cubicBezTo>
                        <a:pt x="168" y="47"/>
                        <a:pt x="163" y="48"/>
                        <a:pt x="158" y="50"/>
                      </a:cubicBezTo>
                      <a:cubicBezTo>
                        <a:pt x="155" y="51"/>
                        <a:pt x="153" y="52"/>
                        <a:pt x="150" y="54"/>
                      </a:cubicBezTo>
                      <a:cubicBezTo>
                        <a:pt x="149" y="54"/>
                        <a:pt x="148" y="55"/>
                        <a:pt x="146" y="56"/>
                      </a:cubicBezTo>
                      <a:cubicBezTo>
                        <a:pt x="145" y="57"/>
                        <a:pt x="142" y="57"/>
                        <a:pt x="141" y="57"/>
                      </a:cubicBezTo>
                      <a:cubicBezTo>
                        <a:pt x="137" y="60"/>
                        <a:pt x="133" y="62"/>
                        <a:pt x="130" y="65"/>
                      </a:cubicBezTo>
                      <a:cubicBezTo>
                        <a:pt x="129" y="66"/>
                        <a:pt x="128" y="68"/>
                        <a:pt x="127" y="68"/>
                      </a:cubicBezTo>
                      <a:cubicBezTo>
                        <a:pt x="125" y="69"/>
                        <a:pt x="122" y="68"/>
                        <a:pt x="119" y="68"/>
                      </a:cubicBezTo>
                      <a:cubicBezTo>
                        <a:pt x="116" y="68"/>
                        <a:pt x="112" y="68"/>
                        <a:pt x="109" y="68"/>
                      </a:cubicBezTo>
                      <a:cubicBezTo>
                        <a:pt x="106" y="68"/>
                        <a:pt x="102" y="68"/>
                        <a:pt x="99" y="67"/>
                      </a:cubicBezTo>
                      <a:cubicBezTo>
                        <a:pt x="95" y="66"/>
                        <a:pt x="92" y="64"/>
                        <a:pt x="89" y="62"/>
                      </a:cubicBezTo>
                      <a:cubicBezTo>
                        <a:pt x="87" y="60"/>
                        <a:pt x="85" y="57"/>
                        <a:pt x="82" y="55"/>
                      </a:cubicBezTo>
                      <a:cubicBezTo>
                        <a:pt x="83" y="54"/>
                        <a:pt x="85" y="53"/>
                        <a:pt x="83" y="52"/>
                      </a:cubicBezTo>
                      <a:cubicBezTo>
                        <a:pt x="83" y="51"/>
                        <a:pt x="79" y="54"/>
                        <a:pt x="79" y="53"/>
                      </a:cubicBezTo>
                      <a:cubicBezTo>
                        <a:pt x="77" y="52"/>
                        <a:pt x="75" y="52"/>
                        <a:pt x="74" y="51"/>
                      </a:cubicBezTo>
                      <a:cubicBezTo>
                        <a:pt x="70" y="51"/>
                        <a:pt x="65" y="52"/>
                        <a:pt x="62" y="53"/>
                      </a:cubicBezTo>
                      <a:lnTo>
                        <a:pt x="0" y="241"/>
                      </a:lnTo>
                      <a:lnTo>
                        <a:pt x="5" y="244"/>
                      </a:lnTo>
                      <a:cubicBezTo>
                        <a:pt x="7" y="245"/>
                        <a:pt x="7" y="247"/>
                        <a:pt x="9" y="246"/>
                      </a:cubicBezTo>
                      <a:cubicBezTo>
                        <a:pt x="11" y="245"/>
                        <a:pt x="12" y="238"/>
                        <a:pt x="15" y="239"/>
                      </a:cubicBezTo>
                      <a:lnTo>
                        <a:pt x="21" y="242"/>
                      </a:lnTo>
                      <a:cubicBezTo>
                        <a:pt x="24" y="243"/>
                        <a:pt x="22" y="248"/>
                        <a:pt x="23" y="251"/>
                      </a:cubicBezTo>
                      <a:cubicBezTo>
                        <a:pt x="25" y="256"/>
                        <a:pt x="28" y="260"/>
                        <a:pt x="30" y="264"/>
                      </a:cubicBezTo>
                      <a:cubicBezTo>
                        <a:pt x="31" y="266"/>
                        <a:pt x="31" y="268"/>
                        <a:pt x="33" y="268"/>
                      </a:cubicBezTo>
                      <a:cubicBezTo>
                        <a:pt x="36" y="269"/>
                        <a:pt x="36" y="266"/>
                        <a:pt x="38" y="265"/>
                      </a:cubicBezTo>
                      <a:cubicBezTo>
                        <a:pt x="40" y="264"/>
                        <a:pt x="44" y="267"/>
                        <a:pt x="45" y="265"/>
                      </a:cubicBezTo>
                      <a:cubicBezTo>
                        <a:pt x="45" y="262"/>
                        <a:pt x="47" y="260"/>
                        <a:pt x="50" y="259"/>
                      </a:cubicBezTo>
                      <a:cubicBezTo>
                        <a:pt x="51" y="259"/>
                        <a:pt x="50" y="257"/>
                        <a:pt x="50" y="256"/>
                      </a:cubicBezTo>
                      <a:cubicBezTo>
                        <a:pt x="53" y="254"/>
                        <a:pt x="57" y="252"/>
                        <a:pt x="60" y="253"/>
                      </a:cubicBezTo>
                      <a:cubicBezTo>
                        <a:pt x="62" y="253"/>
                        <a:pt x="63" y="256"/>
                        <a:pt x="64" y="259"/>
                      </a:cubicBezTo>
                      <a:cubicBezTo>
                        <a:pt x="65" y="261"/>
                        <a:pt x="62" y="263"/>
                        <a:pt x="63" y="265"/>
                      </a:cubicBezTo>
                      <a:cubicBezTo>
                        <a:pt x="64" y="267"/>
                        <a:pt x="67" y="266"/>
                        <a:pt x="69" y="268"/>
                      </a:cubicBezTo>
                      <a:cubicBezTo>
                        <a:pt x="70" y="270"/>
                        <a:pt x="70" y="274"/>
                        <a:pt x="72" y="276"/>
                      </a:cubicBezTo>
                      <a:cubicBezTo>
                        <a:pt x="74" y="280"/>
                        <a:pt x="79" y="282"/>
                        <a:pt x="81" y="286"/>
                      </a:cubicBezTo>
                      <a:cubicBezTo>
                        <a:pt x="82" y="289"/>
                        <a:pt x="79" y="294"/>
                        <a:pt x="81" y="298"/>
                      </a:cubicBezTo>
                      <a:cubicBezTo>
                        <a:pt x="83" y="302"/>
                        <a:pt x="84" y="307"/>
                        <a:pt x="87" y="311"/>
                      </a:cubicBezTo>
                      <a:cubicBezTo>
                        <a:pt x="89" y="315"/>
                        <a:pt x="94" y="314"/>
                        <a:pt x="97" y="317"/>
                      </a:cubicBezTo>
                      <a:cubicBezTo>
                        <a:pt x="98" y="317"/>
                        <a:pt x="97" y="319"/>
                        <a:pt x="98" y="320"/>
                      </a:cubicBezTo>
                      <a:cubicBezTo>
                        <a:pt x="99" y="322"/>
                        <a:pt x="101" y="322"/>
                        <a:pt x="103" y="322"/>
                      </a:cubicBezTo>
                      <a:cubicBezTo>
                        <a:pt x="102" y="324"/>
                        <a:pt x="101" y="326"/>
                        <a:pt x="101" y="328"/>
                      </a:cubicBezTo>
                      <a:cubicBezTo>
                        <a:pt x="101" y="330"/>
                        <a:pt x="100" y="333"/>
                        <a:pt x="101" y="335"/>
                      </a:cubicBezTo>
                      <a:cubicBezTo>
                        <a:pt x="102" y="336"/>
                        <a:pt x="104" y="330"/>
                        <a:pt x="104" y="332"/>
                      </a:cubicBezTo>
                      <a:cubicBezTo>
                        <a:pt x="104" y="334"/>
                        <a:pt x="99" y="337"/>
                        <a:pt x="101" y="339"/>
                      </a:cubicBezTo>
                      <a:cubicBezTo>
                        <a:pt x="103" y="341"/>
                        <a:pt x="111" y="336"/>
                        <a:pt x="109" y="338"/>
                      </a:cubicBezTo>
                      <a:cubicBezTo>
                        <a:pt x="107" y="341"/>
                        <a:pt x="102" y="340"/>
                        <a:pt x="99" y="342"/>
                      </a:cubicBezTo>
                      <a:cubicBezTo>
                        <a:pt x="97" y="343"/>
                        <a:pt x="96" y="345"/>
                        <a:pt x="96" y="347"/>
                      </a:cubicBezTo>
                      <a:cubicBezTo>
                        <a:pt x="96" y="349"/>
                        <a:pt x="96" y="351"/>
                        <a:pt x="98" y="351"/>
                      </a:cubicBezTo>
                      <a:cubicBezTo>
                        <a:pt x="101" y="352"/>
                        <a:pt x="105" y="348"/>
                        <a:pt x="109" y="350"/>
                      </a:cubicBezTo>
                      <a:cubicBezTo>
                        <a:pt x="111" y="351"/>
                        <a:pt x="106" y="354"/>
                        <a:pt x="103" y="354"/>
                      </a:cubicBezTo>
                      <a:cubicBezTo>
                        <a:pt x="100" y="355"/>
                        <a:pt x="97" y="354"/>
                        <a:pt x="94" y="354"/>
                      </a:cubicBezTo>
                      <a:cubicBezTo>
                        <a:pt x="93" y="355"/>
                        <a:pt x="93" y="356"/>
                        <a:pt x="93" y="357"/>
                      </a:cubicBezTo>
                      <a:cubicBezTo>
                        <a:pt x="93" y="359"/>
                        <a:pt x="93" y="361"/>
                        <a:pt x="94" y="362"/>
                      </a:cubicBezTo>
                      <a:cubicBezTo>
                        <a:pt x="95" y="364"/>
                        <a:pt x="96" y="365"/>
                        <a:pt x="98" y="366"/>
                      </a:cubicBezTo>
                      <a:cubicBezTo>
                        <a:pt x="100" y="366"/>
                        <a:pt x="103" y="366"/>
                        <a:pt x="104" y="365"/>
                      </a:cubicBezTo>
                      <a:cubicBezTo>
                        <a:pt x="107" y="364"/>
                        <a:pt x="108" y="359"/>
                        <a:pt x="110" y="360"/>
                      </a:cubicBezTo>
                      <a:cubicBezTo>
                        <a:pt x="112" y="361"/>
                        <a:pt x="108" y="364"/>
                        <a:pt x="107" y="366"/>
                      </a:cubicBezTo>
                      <a:cubicBezTo>
                        <a:pt x="106" y="368"/>
                        <a:pt x="105" y="369"/>
                        <a:pt x="104" y="371"/>
                      </a:cubicBezTo>
                      <a:cubicBezTo>
                        <a:pt x="103" y="373"/>
                        <a:pt x="101" y="374"/>
                        <a:pt x="101" y="376"/>
                      </a:cubicBezTo>
                      <a:cubicBezTo>
                        <a:pt x="101" y="378"/>
                        <a:pt x="103" y="380"/>
                        <a:pt x="104" y="380"/>
                      </a:cubicBezTo>
                      <a:cubicBezTo>
                        <a:pt x="106" y="380"/>
                        <a:pt x="105" y="377"/>
                        <a:pt x="107" y="376"/>
                      </a:cubicBezTo>
                      <a:cubicBezTo>
                        <a:pt x="109" y="376"/>
                        <a:pt x="112" y="377"/>
                        <a:pt x="112" y="378"/>
                      </a:cubicBezTo>
                      <a:cubicBezTo>
                        <a:pt x="114" y="381"/>
                        <a:pt x="112" y="385"/>
                        <a:pt x="112" y="388"/>
                      </a:cubicBezTo>
                      <a:cubicBezTo>
                        <a:pt x="113" y="390"/>
                        <a:pt x="115" y="390"/>
                        <a:pt x="115" y="392"/>
                      </a:cubicBezTo>
                      <a:cubicBezTo>
                        <a:pt x="114" y="394"/>
                        <a:pt x="111" y="394"/>
                        <a:pt x="111" y="396"/>
                      </a:cubicBezTo>
                      <a:cubicBezTo>
                        <a:pt x="110" y="398"/>
                        <a:pt x="113" y="398"/>
                        <a:pt x="114" y="400"/>
                      </a:cubicBezTo>
                      <a:cubicBezTo>
                        <a:pt x="114" y="401"/>
                        <a:pt x="111" y="401"/>
                        <a:pt x="111" y="401"/>
                      </a:cubicBezTo>
                      <a:cubicBezTo>
                        <a:pt x="112" y="403"/>
                        <a:pt x="115" y="402"/>
                        <a:pt x="115" y="403"/>
                      </a:cubicBezTo>
                      <a:cubicBezTo>
                        <a:pt x="116" y="405"/>
                        <a:pt x="114" y="408"/>
                        <a:pt x="115" y="409"/>
                      </a:cubicBezTo>
                      <a:cubicBezTo>
                        <a:pt x="117" y="411"/>
                        <a:pt x="120" y="411"/>
                        <a:pt x="122" y="412"/>
                      </a:cubicBezTo>
                      <a:cubicBezTo>
                        <a:pt x="124" y="413"/>
                        <a:pt x="125" y="415"/>
                        <a:pt x="127" y="417"/>
                      </a:cubicBezTo>
                      <a:cubicBezTo>
                        <a:pt x="129" y="418"/>
                        <a:pt x="131" y="420"/>
                        <a:pt x="133" y="421"/>
                      </a:cubicBezTo>
                      <a:cubicBezTo>
                        <a:pt x="134" y="422"/>
                        <a:pt x="136" y="420"/>
                        <a:pt x="137" y="420"/>
                      </a:cubicBezTo>
                      <a:cubicBezTo>
                        <a:pt x="139" y="420"/>
                        <a:pt x="141" y="419"/>
                        <a:pt x="142" y="421"/>
                      </a:cubicBezTo>
                      <a:cubicBezTo>
                        <a:pt x="143" y="422"/>
                        <a:pt x="140" y="424"/>
                        <a:pt x="140" y="425"/>
                      </a:cubicBezTo>
                      <a:cubicBezTo>
                        <a:pt x="139" y="428"/>
                        <a:pt x="139" y="431"/>
                        <a:pt x="139" y="434"/>
                      </a:cubicBezTo>
                      <a:cubicBezTo>
                        <a:pt x="139" y="435"/>
                        <a:pt x="139" y="437"/>
                        <a:pt x="141" y="437"/>
                      </a:cubicBezTo>
                      <a:cubicBezTo>
                        <a:pt x="142" y="438"/>
                        <a:pt x="141" y="435"/>
                        <a:pt x="141" y="435"/>
                      </a:cubicBezTo>
                      <a:cubicBezTo>
                        <a:pt x="144" y="434"/>
                        <a:pt x="147" y="432"/>
                        <a:pt x="149" y="433"/>
                      </a:cubicBezTo>
                      <a:cubicBezTo>
                        <a:pt x="151" y="435"/>
                        <a:pt x="147" y="439"/>
                        <a:pt x="149" y="441"/>
                      </a:cubicBezTo>
                      <a:cubicBezTo>
                        <a:pt x="151" y="442"/>
                        <a:pt x="153" y="438"/>
                        <a:pt x="155" y="438"/>
                      </a:cubicBezTo>
                      <a:cubicBezTo>
                        <a:pt x="156" y="438"/>
                        <a:pt x="155" y="441"/>
                        <a:pt x="155" y="442"/>
                      </a:cubicBezTo>
                      <a:cubicBezTo>
                        <a:pt x="156" y="444"/>
                        <a:pt x="157" y="446"/>
                        <a:pt x="158" y="448"/>
                      </a:cubicBezTo>
                      <a:cubicBezTo>
                        <a:pt x="167" y="448"/>
                        <a:pt x="176" y="449"/>
                        <a:pt x="184" y="449"/>
                      </a:cubicBezTo>
                      <a:cubicBezTo>
                        <a:pt x="226" y="449"/>
                        <a:pt x="268" y="449"/>
                        <a:pt x="310" y="449"/>
                      </a:cubicBezTo>
                      <a:cubicBezTo>
                        <a:pt x="345" y="449"/>
                        <a:pt x="380" y="450"/>
                        <a:pt x="415" y="450"/>
                      </a:cubicBezTo>
                      <a:cubicBezTo>
                        <a:pt x="432" y="450"/>
                        <a:pt x="450" y="450"/>
                        <a:pt x="467" y="449"/>
                      </a:cubicBezTo>
                      <a:cubicBezTo>
                        <a:pt x="474" y="449"/>
                        <a:pt x="481" y="448"/>
                        <a:pt x="488" y="448"/>
                      </a:cubicBezTo>
                      <a:cubicBezTo>
                        <a:pt x="490" y="448"/>
                        <a:pt x="492" y="449"/>
                        <a:pt x="495" y="450"/>
                      </a:cubicBezTo>
                      <a:cubicBezTo>
                        <a:pt x="498" y="451"/>
                        <a:pt x="500" y="453"/>
                        <a:pt x="503" y="454"/>
                      </a:cubicBezTo>
                      <a:cubicBezTo>
                        <a:pt x="506" y="455"/>
                        <a:pt x="510" y="454"/>
                        <a:pt x="513" y="455"/>
                      </a:cubicBezTo>
                      <a:cubicBezTo>
                        <a:pt x="515" y="456"/>
                        <a:pt x="517" y="458"/>
                        <a:pt x="519" y="459"/>
                      </a:cubicBezTo>
                      <a:cubicBezTo>
                        <a:pt x="523" y="461"/>
                        <a:pt x="526" y="463"/>
                        <a:pt x="530" y="463"/>
                      </a:cubicBezTo>
                      <a:cubicBezTo>
                        <a:pt x="532" y="464"/>
                        <a:pt x="535" y="463"/>
                        <a:pt x="538" y="463"/>
                      </a:cubicBezTo>
                      <a:cubicBezTo>
                        <a:pt x="542" y="464"/>
                        <a:pt x="546" y="466"/>
                        <a:pt x="549" y="466"/>
                      </a:cubicBezTo>
                      <a:cubicBezTo>
                        <a:pt x="551" y="465"/>
                        <a:pt x="552" y="464"/>
                        <a:pt x="554" y="463"/>
                      </a:cubicBezTo>
                      <a:cubicBezTo>
                        <a:pt x="555" y="462"/>
                        <a:pt x="556" y="460"/>
                        <a:pt x="557" y="459"/>
                      </a:cubicBezTo>
                      <a:cubicBezTo>
                        <a:pt x="559" y="458"/>
                        <a:pt x="560" y="456"/>
                        <a:pt x="562" y="456"/>
                      </a:cubicBezTo>
                      <a:cubicBezTo>
                        <a:pt x="562" y="456"/>
                        <a:pt x="561" y="459"/>
                        <a:pt x="562" y="458"/>
                      </a:cubicBezTo>
                      <a:cubicBezTo>
                        <a:pt x="564" y="457"/>
                        <a:pt x="564" y="454"/>
                        <a:pt x="565" y="452"/>
                      </a:cubicBezTo>
                      <a:cubicBezTo>
                        <a:pt x="566" y="452"/>
                        <a:pt x="567" y="452"/>
                        <a:pt x="567" y="453"/>
                      </a:cubicBezTo>
                      <a:cubicBezTo>
                        <a:pt x="567" y="454"/>
                        <a:pt x="564" y="457"/>
                        <a:pt x="566" y="457"/>
                      </a:cubicBezTo>
                      <a:cubicBezTo>
                        <a:pt x="567" y="458"/>
                        <a:pt x="569" y="455"/>
                        <a:pt x="570" y="454"/>
                      </a:cubicBezTo>
                      <a:cubicBezTo>
                        <a:pt x="571" y="452"/>
                        <a:pt x="570" y="450"/>
                        <a:pt x="572" y="449"/>
                      </a:cubicBezTo>
                      <a:cubicBezTo>
                        <a:pt x="573" y="449"/>
                        <a:pt x="575" y="451"/>
                        <a:pt x="577" y="451"/>
                      </a:cubicBezTo>
                      <a:cubicBezTo>
                        <a:pt x="580" y="452"/>
                        <a:pt x="583" y="452"/>
                        <a:pt x="586" y="452"/>
                      </a:cubicBezTo>
                      <a:cubicBezTo>
                        <a:pt x="588" y="452"/>
                        <a:pt x="591" y="452"/>
                        <a:pt x="593" y="453"/>
                      </a:cubicBezTo>
                      <a:cubicBezTo>
                        <a:pt x="594" y="455"/>
                        <a:pt x="593" y="458"/>
                        <a:pt x="594" y="460"/>
                      </a:cubicBezTo>
                      <a:cubicBezTo>
                        <a:pt x="595" y="462"/>
                        <a:pt x="595" y="465"/>
                        <a:pt x="597" y="466"/>
                      </a:cubicBezTo>
                      <a:cubicBezTo>
                        <a:pt x="598" y="468"/>
                        <a:pt x="599" y="468"/>
                        <a:pt x="601" y="469"/>
                      </a:cubicBezTo>
                      <a:cubicBezTo>
                        <a:pt x="603" y="469"/>
                        <a:pt x="605" y="467"/>
                        <a:pt x="607" y="467"/>
                      </a:cubicBezTo>
                      <a:cubicBezTo>
                        <a:pt x="608" y="468"/>
                        <a:pt x="606" y="470"/>
                        <a:pt x="606" y="471"/>
                      </a:cubicBezTo>
                      <a:cubicBezTo>
                        <a:pt x="606" y="472"/>
                        <a:pt x="604" y="472"/>
                        <a:pt x="604" y="473"/>
                      </a:cubicBezTo>
                      <a:cubicBezTo>
                        <a:pt x="605" y="476"/>
                        <a:pt x="607" y="477"/>
                        <a:pt x="608" y="479"/>
                      </a:cubicBezTo>
                      <a:cubicBezTo>
                        <a:pt x="608" y="481"/>
                        <a:pt x="606" y="482"/>
                        <a:pt x="607" y="484"/>
                      </a:cubicBezTo>
                      <a:cubicBezTo>
                        <a:pt x="608" y="486"/>
                        <a:pt x="611" y="486"/>
                        <a:pt x="612" y="487"/>
                      </a:cubicBezTo>
                      <a:cubicBezTo>
                        <a:pt x="612" y="489"/>
                        <a:pt x="609" y="489"/>
                        <a:pt x="609" y="490"/>
                      </a:cubicBezTo>
                      <a:cubicBezTo>
                        <a:pt x="609" y="491"/>
                        <a:pt x="610" y="493"/>
                        <a:pt x="611" y="493"/>
                      </a:cubicBezTo>
                      <a:cubicBezTo>
                        <a:pt x="612" y="494"/>
                        <a:pt x="614" y="494"/>
                        <a:pt x="616" y="494"/>
                      </a:cubicBezTo>
                      <a:cubicBezTo>
                        <a:pt x="618" y="495"/>
                        <a:pt x="621" y="494"/>
                        <a:pt x="624" y="495"/>
                      </a:cubicBezTo>
                      <a:cubicBezTo>
                        <a:pt x="628" y="496"/>
                        <a:pt x="632" y="497"/>
                        <a:pt x="636" y="498"/>
                      </a:cubicBezTo>
                      <a:cubicBezTo>
                        <a:pt x="638" y="498"/>
                        <a:pt x="640" y="499"/>
                        <a:pt x="642" y="499"/>
                      </a:cubicBezTo>
                      <a:cubicBezTo>
                        <a:pt x="645" y="500"/>
                        <a:pt x="648" y="500"/>
                        <a:pt x="651" y="502"/>
                      </a:cubicBezTo>
                      <a:cubicBezTo>
                        <a:pt x="653" y="504"/>
                        <a:pt x="656" y="506"/>
                        <a:pt x="658" y="509"/>
                      </a:cubicBezTo>
                      <a:cubicBezTo>
                        <a:pt x="659" y="510"/>
                        <a:pt x="659" y="513"/>
                        <a:pt x="660" y="515"/>
                      </a:cubicBezTo>
                      <a:cubicBezTo>
                        <a:pt x="660" y="517"/>
                        <a:pt x="662" y="519"/>
                        <a:pt x="660" y="521"/>
                      </a:cubicBezTo>
                      <a:cubicBezTo>
                        <a:pt x="659" y="522"/>
                        <a:pt x="658" y="517"/>
                        <a:pt x="657" y="518"/>
                      </a:cubicBezTo>
                      <a:cubicBezTo>
                        <a:pt x="656" y="520"/>
                        <a:pt x="659" y="522"/>
                        <a:pt x="658" y="524"/>
                      </a:cubicBezTo>
                      <a:cubicBezTo>
                        <a:pt x="657" y="525"/>
                        <a:pt x="654" y="524"/>
                        <a:pt x="653" y="523"/>
                      </a:cubicBezTo>
                      <a:cubicBezTo>
                        <a:pt x="652" y="523"/>
                        <a:pt x="652" y="521"/>
                        <a:pt x="651" y="521"/>
                      </a:cubicBezTo>
                      <a:cubicBezTo>
                        <a:pt x="650" y="521"/>
                        <a:pt x="649" y="523"/>
                        <a:pt x="648" y="522"/>
                      </a:cubicBezTo>
                      <a:cubicBezTo>
                        <a:pt x="647" y="520"/>
                        <a:pt x="648" y="517"/>
                        <a:pt x="647" y="515"/>
                      </a:cubicBezTo>
                      <a:cubicBezTo>
                        <a:pt x="646" y="514"/>
                        <a:pt x="646" y="518"/>
                        <a:pt x="646" y="517"/>
                      </a:cubicBezTo>
                      <a:cubicBezTo>
                        <a:pt x="644" y="516"/>
                        <a:pt x="644" y="513"/>
                        <a:pt x="642" y="512"/>
                      </a:cubicBezTo>
                      <a:cubicBezTo>
                        <a:pt x="641" y="512"/>
                        <a:pt x="639" y="511"/>
                        <a:pt x="639" y="512"/>
                      </a:cubicBezTo>
                      <a:cubicBezTo>
                        <a:pt x="639" y="515"/>
                        <a:pt x="642" y="518"/>
                        <a:pt x="642" y="521"/>
                      </a:cubicBezTo>
                      <a:cubicBezTo>
                        <a:pt x="642" y="524"/>
                        <a:pt x="639" y="526"/>
                        <a:pt x="638" y="529"/>
                      </a:cubicBezTo>
                      <a:cubicBezTo>
                        <a:pt x="637" y="531"/>
                        <a:pt x="636" y="532"/>
                        <a:pt x="636" y="534"/>
                      </a:cubicBezTo>
                      <a:cubicBezTo>
                        <a:pt x="636" y="536"/>
                        <a:pt x="637" y="538"/>
                        <a:pt x="637" y="540"/>
                      </a:cubicBezTo>
                      <a:cubicBezTo>
                        <a:pt x="637" y="542"/>
                        <a:pt x="636" y="543"/>
                        <a:pt x="634" y="545"/>
                      </a:cubicBezTo>
                      <a:cubicBezTo>
                        <a:pt x="632" y="547"/>
                        <a:pt x="629" y="548"/>
                        <a:pt x="627" y="550"/>
                      </a:cubicBezTo>
                      <a:cubicBezTo>
                        <a:pt x="626" y="552"/>
                        <a:pt x="626" y="554"/>
                        <a:pt x="625" y="555"/>
                      </a:cubicBezTo>
                      <a:cubicBezTo>
                        <a:pt x="625" y="556"/>
                        <a:pt x="627" y="557"/>
                        <a:pt x="627" y="558"/>
                      </a:cubicBezTo>
                      <a:cubicBezTo>
                        <a:pt x="627" y="559"/>
                        <a:pt x="626" y="560"/>
                        <a:pt x="625" y="560"/>
                      </a:cubicBezTo>
                      <a:cubicBezTo>
                        <a:pt x="622" y="561"/>
                        <a:pt x="620" y="559"/>
                        <a:pt x="617" y="559"/>
                      </a:cubicBezTo>
                      <a:cubicBezTo>
                        <a:pt x="617" y="560"/>
                        <a:pt x="616" y="562"/>
                        <a:pt x="615" y="563"/>
                      </a:cubicBezTo>
                      <a:cubicBezTo>
                        <a:pt x="618" y="564"/>
                        <a:pt x="620" y="565"/>
                        <a:pt x="623" y="564"/>
                      </a:cubicBezTo>
                      <a:cubicBezTo>
                        <a:pt x="626" y="564"/>
                        <a:pt x="630" y="562"/>
                        <a:pt x="633" y="560"/>
                      </a:cubicBezTo>
                      <a:cubicBezTo>
                        <a:pt x="635" y="559"/>
                        <a:pt x="636" y="556"/>
                        <a:pt x="638" y="555"/>
                      </a:cubicBezTo>
                      <a:cubicBezTo>
                        <a:pt x="640" y="554"/>
                        <a:pt x="643" y="554"/>
                        <a:pt x="645" y="554"/>
                      </a:cubicBezTo>
                      <a:cubicBezTo>
                        <a:pt x="648" y="554"/>
                        <a:pt x="650" y="556"/>
                        <a:pt x="652" y="555"/>
                      </a:cubicBezTo>
                      <a:cubicBezTo>
                        <a:pt x="652" y="555"/>
                        <a:pt x="650" y="553"/>
                        <a:pt x="651" y="553"/>
                      </a:cubicBezTo>
                      <a:cubicBezTo>
                        <a:pt x="652" y="552"/>
                        <a:pt x="655" y="552"/>
                        <a:pt x="657" y="552"/>
                      </a:cubicBezTo>
                      <a:cubicBezTo>
                        <a:pt x="659" y="552"/>
                        <a:pt x="661" y="552"/>
                        <a:pt x="663" y="552"/>
                      </a:cubicBezTo>
                      <a:cubicBezTo>
                        <a:pt x="665" y="552"/>
                        <a:pt x="667" y="552"/>
                        <a:pt x="669" y="552"/>
                      </a:cubicBezTo>
                      <a:cubicBezTo>
                        <a:pt x="668" y="551"/>
                        <a:pt x="668" y="550"/>
                        <a:pt x="668" y="549"/>
                      </a:cubicBezTo>
                      <a:cubicBezTo>
                        <a:pt x="668" y="547"/>
                        <a:pt x="668" y="546"/>
                        <a:pt x="668" y="545"/>
                      </a:cubicBezTo>
                      <a:cubicBezTo>
                        <a:pt x="667" y="545"/>
                        <a:pt x="666" y="545"/>
                        <a:pt x="664" y="545"/>
                      </a:cubicBezTo>
                      <a:cubicBezTo>
                        <a:pt x="663" y="545"/>
                        <a:pt x="660" y="547"/>
                        <a:pt x="660" y="545"/>
                      </a:cubicBezTo>
                      <a:cubicBezTo>
                        <a:pt x="659" y="544"/>
                        <a:pt x="661" y="542"/>
                        <a:pt x="662" y="541"/>
                      </a:cubicBezTo>
                      <a:cubicBezTo>
                        <a:pt x="663" y="539"/>
                        <a:pt x="664" y="537"/>
                        <a:pt x="666" y="536"/>
                      </a:cubicBezTo>
                      <a:cubicBezTo>
                        <a:pt x="668" y="535"/>
                        <a:pt x="671" y="535"/>
                        <a:pt x="673" y="535"/>
                      </a:cubicBezTo>
                      <a:cubicBezTo>
                        <a:pt x="676" y="535"/>
                        <a:pt x="679" y="534"/>
                        <a:pt x="681" y="533"/>
                      </a:cubicBezTo>
                      <a:cubicBezTo>
                        <a:pt x="684" y="532"/>
                        <a:pt x="686" y="531"/>
                        <a:pt x="689" y="531"/>
                      </a:cubicBezTo>
                      <a:cubicBezTo>
                        <a:pt x="690" y="530"/>
                        <a:pt x="691" y="530"/>
                        <a:pt x="693" y="530"/>
                      </a:cubicBezTo>
                      <a:cubicBezTo>
                        <a:pt x="696" y="529"/>
                        <a:pt x="699" y="530"/>
                        <a:pt x="702" y="529"/>
                      </a:cubicBezTo>
                      <a:cubicBezTo>
                        <a:pt x="703" y="529"/>
                        <a:pt x="706" y="529"/>
                        <a:pt x="707" y="528"/>
                      </a:cubicBezTo>
                      <a:cubicBezTo>
                        <a:pt x="709" y="527"/>
                        <a:pt x="710" y="523"/>
                        <a:pt x="711" y="522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grpSp>
              <p:nvGrpSpPr>
                <p:cNvPr id="1969" name="Gruppo 1121"/>
                <p:cNvGrpSpPr/>
                <p:nvPr/>
              </p:nvGrpSpPr>
              <p:grpSpPr>
                <a:xfrm>
                  <a:off x="1493465" y="1683488"/>
                  <a:ext cx="5963713" cy="2343309"/>
                  <a:chOff x="1493465" y="1683488"/>
                  <a:chExt cx="5963713" cy="2343309"/>
                </a:xfrm>
                <a:grpFill/>
              </p:grpSpPr>
              <p:sp>
                <p:nvSpPr>
                  <p:cNvPr id="1970" name="Freeform 2652"/>
                  <p:cNvSpPr>
                    <a:spLocks noChangeAspect="1"/>
                  </p:cNvSpPr>
                  <p:nvPr/>
                </p:nvSpPr>
                <p:spPr bwMode="auto">
                  <a:xfrm>
                    <a:off x="4628514" y="2357158"/>
                    <a:ext cx="61517" cy="32397"/>
                  </a:xfrm>
                  <a:custGeom>
                    <a:avLst/>
                    <a:gdLst>
                      <a:gd name="T0" fmla="*/ 0 w 46"/>
                      <a:gd name="T1" fmla="*/ 8 h 33"/>
                      <a:gd name="T2" fmla="*/ 6 w 46"/>
                      <a:gd name="T3" fmla="*/ 4 h 33"/>
                      <a:gd name="T4" fmla="*/ 11 w 46"/>
                      <a:gd name="T5" fmla="*/ 2 h 33"/>
                      <a:gd name="T6" fmla="*/ 16 w 46"/>
                      <a:gd name="T7" fmla="*/ 5 h 33"/>
                      <a:gd name="T8" fmla="*/ 20 w 46"/>
                      <a:gd name="T9" fmla="*/ 5 h 33"/>
                      <a:gd name="T10" fmla="*/ 22 w 46"/>
                      <a:gd name="T11" fmla="*/ 4 h 33"/>
                      <a:gd name="T12" fmla="*/ 25 w 46"/>
                      <a:gd name="T13" fmla="*/ 1 h 33"/>
                      <a:gd name="T14" fmla="*/ 28 w 46"/>
                      <a:gd name="T15" fmla="*/ 0 h 33"/>
                      <a:gd name="T16" fmla="*/ 33 w 46"/>
                      <a:gd name="T17" fmla="*/ 0 h 33"/>
                      <a:gd name="T18" fmla="*/ 37 w 46"/>
                      <a:gd name="T19" fmla="*/ 2 h 33"/>
                      <a:gd name="T20" fmla="*/ 38 w 46"/>
                      <a:gd name="T21" fmla="*/ 5 h 33"/>
                      <a:gd name="T22" fmla="*/ 42 w 46"/>
                      <a:gd name="T23" fmla="*/ 5 h 33"/>
                      <a:gd name="T24" fmla="*/ 45 w 46"/>
                      <a:gd name="T25" fmla="*/ 7 h 33"/>
                      <a:gd name="T26" fmla="*/ 44 w 46"/>
                      <a:gd name="T27" fmla="*/ 13 h 33"/>
                      <a:gd name="T28" fmla="*/ 49 w 46"/>
                      <a:gd name="T29" fmla="*/ 13 h 33"/>
                      <a:gd name="T30" fmla="*/ 53 w 46"/>
                      <a:gd name="T31" fmla="*/ 17 h 33"/>
                      <a:gd name="T32" fmla="*/ 51 w 46"/>
                      <a:gd name="T33" fmla="*/ 19 h 33"/>
                      <a:gd name="T34" fmla="*/ 54 w 46"/>
                      <a:gd name="T35" fmla="*/ 19 h 33"/>
                      <a:gd name="T36" fmla="*/ 55 w 46"/>
                      <a:gd name="T37" fmla="*/ 22 h 33"/>
                      <a:gd name="T38" fmla="*/ 50 w 46"/>
                      <a:gd name="T39" fmla="*/ 26 h 33"/>
                      <a:gd name="T40" fmla="*/ 48 w 46"/>
                      <a:gd name="T41" fmla="*/ 27 h 33"/>
                      <a:gd name="T42" fmla="*/ 45 w 46"/>
                      <a:gd name="T43" fmla="*/ 31 h 33"/>
                      <a:gd name="T44" fmla="*/ 47 w 46"/>
                      <a:gd name="T45" fmla="*/ 34 h 33"/>
                      <a:gd name="T46" fmla="*/ 48 w 46"/>
                      <a:gd name="T47" fmla="*/ 39 h 33"/>
                      <a:gd name="T48" fmla="*/ 44 w 46"/>
                      <a:gd name="T49" fmla="*/ 39 h 33"/>
                      <a:gd name="T50" fmla="*/ 39 w 46"/>
                      <a:gd name="T51" fmla="*/ 37 h 33"/>
                      <a:gd name="T52" fmla="*/ 35 w 46"/>
                      <a:gd name="T53" fmla="*/ 33 h 33"/>
                      <a:gd name="T54" fmla="*/ 32 w 46"/>
                      <a:gd name="T55" fmla="*/ 30 h 33"/>
                      <a:gd name="T56" fmla="*/ 30 w 46"/>
                      <a:gd name="T57" fmla="*/ 30 h 33"/>
                      <a:gd name="T58" fmla="*/ 25 w 46"/>
                      <a:gd name="T59" fmla="*/ 30 h 33"/>
                      <a:gd name="T60" fmla="*/ 24 w 46"/>
                      <a:gd name="T61" fmla="*/ 26 h 33"/>
                      <a:gd name="T62" fmla="*/ 22 w 46"/>
                      <a:gd name="T63" fmla="*/ 22 h 33"/>
                      <a:gd name="T64" fmla="*/ 17 w 46"/>
                      <a:gd name="T65" fmla="*/ 22 h 33"/>
                      <a:gd name="T66" fmla="*/ 16 w 46"/>
                      <a:gd name="T67" fmla="*/ 20 h 33"/>
                      <a:gd name="T68" fmla="*/ 11 w 46"/>
                      <a:gd name="T69" fmla="*/ 19 h 33"/>
                      <a:gd name="T70" fmla="*/ 8 w 46"/>
                      <a:gd name="T71" fmla="*/ 15 h 33"/>
                      <a:gd name="T72" fmla="*/ 5 w 46"/>
                      <a:gd name="T73" fmla="*/ 14 h 33"/>
                      <a:gd name="T74" fmla="*/ 2 w 46"/>
                      <a:gd name="T75" fmla="*/ 13 h 33"/>
                      <a:gd name="T76" fmla="*/ 0 w 46"/>
                      <a:gd name="T77" fmla="*/ 8 h 33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w 46"/>
                      <a:gd name="T118" fmla="*/ 0 h 33"/>
                      <a:gd name="T119" fmla="*/ 46 w 46"/>
                      <a:gd name="T120" fmla="*/ 33 h 33"/>
                    </a:gdLst>
                    <a:ahLst/>
                    <a:cxnLst>
                      <a:cxn ang="T78">
                        <a:pos x="T0" y="T1"/>
                      </a:cxn>
                      <a:cxn ang="T79">
                        <a:pos x="T2" y="T3"/>
                      </a:cxn>
                      <a:cxn ang="T80">
                        <a:pos x="T4" y="T5"/>
                      </a:cxn>
                      <a:cxn ang="T81">
                        <a:pos x="T6" y="T7"/>
                      </a:cxn>
                      <a:cxn ang="T82">
                        <a:pos x="T8" y="T9"/>
                      </a:cxn>
                      <a:cxn ang="T83">
                        <a:pos x="T10" y="T11"/>
                      </a:cxn>
                      <a:cxn ang="T84">
                        <a:pos x="T12" y="T13"/>
                      </a:cxn>
                      <a:cxn ang="T85">
                        <a:pos x="T14" y="T15"/>
                      </a:cxn>
                      <a:cxn ang="T86">
                        <a:pos x="T16" y="T17"/>
                      </a:cxn>
                      <a:cxn ang="T87">
                        <a:pos x="T18" y="T19"/>
                      </a:cxn>
                      <a:cxn ang="T88">
                        <a:pos x="T20" y="T21"/>
                      </a:cxn>
                      <a:cxn ang="T89">
                        <a:pos x="T22" y="T23"/>
                      </a:cxn>
                      <a:cxn ang="T90">
                        <a:pos x="T24" y="T25"/>
                      </a:cxn>
                      <a:cxn ang="T91">
                        <a:pos x="T26" y="T27"/>
                      </a:cxn>
                      <a:cxn ang="T92">
                        <a:pos x="T28" y="T29"/>
                      </a:cxn>
                      <a:cxn ang="T93">
                        <a:pos x="T30" y="T31"/>
                      </a:cxn>
                      <a:cxn ang="T94">
                        <a:pos x="T32" y="T33"/>
                      </a:cxn>
                      <a:cxn ang="T95">
                        <a:pos x="T34" y="T35"/>
                      </a:cxn>
                      <a:cxn ang="T96">
                        <a:pos x="T36" y="T37"/>
                      </a:cxn>
                      <a:cxn ang="T97">
                        <a:pos x="T38" y="T39"/>
                      </a:cxn>
                      <a:cxn ang="T98">
                        <a:pos x="T40" y="T41"/>
                      </a:cxn>
                      <a:cxn ang="T99">
                        <a:pos x="T42" y="T43"/>
                      </a:cxn>
                      <a:cxn ang="T100">
                        <a:pos x="T44" y="T45"/>
                      </a:cxn>
                      <a:cxn ang="T101">
                        <a:pos x="T46" y="T47"/>
                      </a:cxn>
                      <a:cxn ang="T102">
                        <a:pos x="T48" y="T49"/>
                      </a:cxn>
                      <a:cxn ang="T103">
                        <a:pos x="T50" y="T51"/>
                      </a:cxn>
                      <a:cxn ang="T104">
                        <a:pos x="T52" y="T53"/>
                      </a:cxn>
                      <a:cxn ang="T105">
                        <a:pos x="T54" y="T55"/>
                      </a:cxn>
                      <a:cxn ang="T106">
                        <a:pos x="T56" y="T57"/>
                      </a:cxn>
                      <a:cxn ang="T107">
                        <a:pos x="T58" y="T59"/>
                      </a:cxn>
                      <a:cxn ang="T108">
                        <a:pos x="T60" y="T61"/>
                      </a:cxn>
                      <a:cxn ang="T109">
                        <a:pos x="T62" y="T63"/>
                      </a:cxn>
                      <a:cxn ang="T110">
                        <a:pos x="T64" y="T65"/>
                      </a:cxn>
                      <a:cxn ang="T111">
                        <a:pos x="T66" y="T67"/>
                      </a:cxn>
                      <a:cxn ang="T112">
                        <a:pos x="T68" y="T69"/>
                      </a:cxn>
                      <a:cxn ang="T113">
                        <a:pos x="T70" y="T71"/>
                      </a:cxn>
                      <a:cxn ang="T114">
                        <a:pos x="T72" y="T73"/>
                      </a:cxn>
                      <a:cxn ang="T115">
                        <a:pos x="T74" y="T75"/>
                      </a:cxn>
                      <a:cxn ang="T116">
                        <a:pos x="T76" y="T77"/>
                      </a:cxn>
                    </a:cxnLst>
                    <a:rect l="T117" t="T118" r="T119" b="T120"/>
                    <a:pathLst>
                      <a:path w="46" h="33">
                        <a:moveTo>
                          <a:pt x="0" y="7"/>
                        </a:moveTo>
                        <a:cubicBezTo>
                          <a:pt x="1" y="6"/>
                          <a:pt x="3" y="4"/>
                          <a:pt x="5" y="3"/>
                        </a:cubicBezTo>
                        <a:cubicBezTo>
                          <a:pt x="6" y="3"/>
                          <a:pt x="7" y="2"/>
                          <a:pt x="9" y="2"/>
                        </a:cubicBezTo>
                        <a:cubicBezTo>
                          <a:pt x="10" y="2"/>
                          <a:pt x="12" y="3"/>
                          <a:pt x="13" y="4"/>
                        </a:cubicBezTo>
                        <a:cubicBezTo>
                          <a:pt x="15" y="4"/>
                          <a:pt x="16" y="4"/>
                          <a:pt x="17" y="4"/>
                        </a:cubicBezTo>
                        <a:cubicBezTo>
                          <a:pt x="17" y="4"/>
                          <a:pt x="18" y="3"/>
                          <a:pt x="18" y="3"/>
                        </a:cubicBezTo>
                        <a:cubicBezTo>
                          <a:pt x="19" y="2"/>
                          <a:pt x="20" y="2"/>
                          <a:pt x="21" y="1"/>
                        </a:cubicBezTo>
                        <a:cubicBezTo>
                          <a:pt x="21" y="1"/>
                          <a:pt x="22" y="0"/>
                          <a:pt x="23" y="0"/>
                        </a:cubicBezTo>
                        <a:cubicBezTo>
                          <a:pt x="25" y="0"/>
                          <a:pt x="26" y="0"/>
                          <a:pt x="28" y="0"/>
                        </a:cubicBezTo>
                        <a:cubicBezTo>
                          <a:pt x="29" y="0"/>
                          <a:pt x="31" y="1"/>
                          <a:pt x="31" y="2"/>
                        </a:cubicBezTo>
                        <a:cubicBezTo>
                          <a:pt x="32" y="2"/>
                          <a:pt x="31" y="4"/>
                          <a:pt x="32" y="4"/>
                        </a:cubicBezTo>
                        <a:cubicBezTo>
                          <a:pt x="33" y="5"/>
                          <a:pt x="34" y="3"/>
                          <a:pt x="35" y="4"/>
                        </a:cubicBezTo>
                        <a:cubicBezTo>
                          <a:pt x="36" y="4"/>
                          <a:pt x="38" y="5"/>
                          <a:pt x="38" y="6"/>
                        </a:cubicBezTo>
                        <a:cubicBezTo>
                          <a:pt x="39" y="7"/>
                          <a:pt x="37" y="9"/>
                          <a:pt x="37" y="11"/>
                        </a:cubicBezTo>
                        <a:cubicBezTo>
                          <a:pt x="38" y="12"/>
                          <a:pt x="40" y="11"/>
                          <a:pt x="41" y="11"/>
                        </a:cubicBezTo>
                        <a:cubicBezTo>
                          <a:pt x="42" y="12"/>
                          <a:pt x="43" y="13"/>
                          <a:pt x="44" y="14"/>
                        </a:cubicBezTo>
                        <a:cubicBezTo>
                          <a:pt x="44" y="14"/>
                          <a:pt x="43" y="15"/>
                          <a:pt x="43" y="16"/>
                        </a:cubicBezTo>
                        <a:cubicBezTo>
                          <a:pt x="44" y="16"/>
                          <a:pt x="45" y="16"/>
                          <a:pt x="45" y="16"/>
                        </a:cubicBezTo>
                        <a:cubicBezTo>
                          <a:pt x="46" y="17"/>
                          <a:pt x="46" y="18"/>
                          <a:pt x="46" y="19"/>
                        </a:cubicBezTo>
                        <a:cubicBezTo>
                          <a:pt x="45" y="21"/>
                          <a:pt x="43" y="21"/>
                          <a:pt x="42" y="22"/>
                        </a:cubicBezTo>
                        <a:cubicBezTo>
                          <a:pt x="41" y="22"/>
                          <a:pt x="40" y="22"/>
                          <a:pt x="40" y="23"/>
                        </a:cubicBezTo>
                        <a:cubicBezTo>
                          <a:pt x="39" y="24"/>
                          <a:pt x="38" y="25"/>
                          <a:pt x="38" y="26"/>
                        </a:cubicBezTo>
                        <a:cubicBezTo>
                          <a:pt x="38" y="27"/>
                          <a:pt x="39" y="28"/>
                          <a:pt x="39" y="29"/>
                        </a:cubicBezTo>
                        <a:cubicBezTo>
                          <a:pt x="39" y="30"/>
                          <a:pt x="40" y="32"/>
                          <a:pt x="40" y="33"/>
                        </a:cubicBezTo>
                        <a:cubicBezTo>
                          <a:pt x="39" y="33"/>
                          <a:pt x="38" y="33"/>
                          <a:pt x="37" y="33"/>
                        </a:cubicBezTo>
                        <a:cubicBezTo>
                          <a:pt x="36" y="32"/>
                          <a:pt x="34" y="32"/>
                          <a:pt x="33" y="31"/>
                        </a:cubicBezTo>
                        <a:cubicBezTo>
                          <a:pt x="32" y="30"/>
                          <a:pt x="30" y="29"/>
                          <a:pt x="29" y="28"/>
                        </a:cubicBezTo>
                        <a:cubicBezTo>
                          <a:pt x="28" y="27"/>
                          <a:pt x="28" y="25"/>
                          <a:pt x="27" y="25"/>
                        </a:cubicBezTo>
                        <a:cubicBezTo>
                          <a:pt x="26" y="24"/>
                          <a:pt x="25" y="25"/>
                          <a:pt x="25" y="25"/>
                        </a:cubicBezTo>
                        <a:cubicBezTo>
                          <a:pt x="23" y="25"/>
                          <a:pt x="22" y="26"/>
                          <a:pt x="21" y="25"/>
                        </a:cubicBezTo>
                        <a:cubicBezTo>
                          <a:pt x="20" y="25"/>
                          <a:pt x="21" y="23"/>
                          <a:pt x="20" y="22"/>
                        </a:cubicBezTo>
                        <a:cubicBezTo>
                          <a:pt x="20" y="21"/>
                          <a:pt x="20" y="19"/>
                          <a:pt x="18" y="19"/>
                        </a:cubicBezTo>
                        <a:cubicBezTo>
                          <a:pt x="17" y="18"/>
                          <a:pt x="16" y="19"/>
                          <a:pt x="14" y="19"/>
                        </a:cubicBezTo>
                        <a:cubicBezTo>
                          <a:pt x="14" y="18"/>
                          <a:pt x="13" y="17"/>
                          <a:pt x="13" y="17"/>
                        </a:cubicBezTo>
                        <a:cubicBezTo>
                          <a:pt x="12" y="16"/>
                          <a:pt x="10" y="17"/>
                          <a:pt x="9" y="16"/>
                        </a:cubicBezTo>
                        <a:cubicBezTo>
                          <a:pt x="8" y="15"/>
                          <a:pt x="8" y="13"/>
                          <a:pt x="7" y="13"/>
                        </a:cubicBezTo>
                        <a:cubicBezTo>
                          <a:pt x="6" y="12"/>
                          <a:pt x="5" y="12"/>
                          <a:pt x="4" y="12"/>
                        </a:cubicBezTo>
                        <a:cubicBezTo>
                          <a:pt x="3" y="12"/>
                          <a:pt x="2" y="12"/>
                          <a:pt x="2" y="11"/>
                        </a:cubicBezTo>
                        <a:cubicBezTo>
                          <a:pt x="1" y="10"/>
                          <a:pt x="0" y="8"/>
                          <a:pt x="0" y="7"/>
                        </a:cubicBezTo>
                        <a:close/>
                      </a:path>
                    </a:pathLst>
                  </a:custGeom>
                  <a:grpFill/>
                  <a:ln w="3175" cap="rnd">
                    <a:solidFill>
                      <a:schemeClr val="bg1">
                        <a:lumMod val="75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685800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it-IT">
                      <a:solidFill>
                        <a:srgbClr val="133B9C"/>
                      </a:solidFill>
                      <a:latin typeface="Arial" charset="0"/>
                      <a:cs typeface="Arial" charset="0"/>
                    </a:endParaRPr>
                  </a:p>
                </p:txBody>
              </p:sp>
              <p:sp>
                <p:nvSpPr>
                  <p:cNvPr id="1971" name="Freeform 2657"/>
                  <p:cNvSpPr>
                    <a:spLocks noChangeAspect="1"/>
                  </p:cNvSpPr>
                  <p:nvPr/>
                </p:nvSpPr>
                <p:spPr bwMode="auto">
                  <a:xfrm>
                    <a:off x="3185743" y="2390385"/>
                    <a:ext cx="239357" cy="103003"/>
                  </a:xfrm>
                  <a:custGeom>
                    <a:avLst/>
                    <a:gdLst>
                      <a:gd name="T0" fmla="*/ 130 w 178"/>
                      <a:gd name="T1" fmla="*/ 90 h 103"/>
                      <a:gd name="T2" fmla="*/ 137 w 178"/>
                      <a:gd name="T3" fmla="*/ 84 h 103"/>
                      <a:gd name="T4" fmla="*/ 143 w 178"/>
                      <a:gd name="T5" fmla="*/ 83 h 103"/>
                      <a:gd name="T6" fmla="*/ 147 w 178"/>
                      <a:gd name="T7" fmla="*/ 88 h 103"/>
                      <a:gd name="T8" fmla="*/ 165 w 178"/>
                      <a:gd name="T9" fmla="*/ 77 h 103"/>
                      <a:gd name="T10" fmla="*/ 160 w 178"/>
                      <a:gd name="T11" fmla="*/ 84 h 103"/>
                      <a:gd name="T12" fmla="*/ 179 w 178"/>
                      <a:gd name="T13" fmla="*/ 87 h 103"/>
                      <a:gd name="T14" fmla="*/ 165 w 178"/>
                      <a:gd name="T15" fmla="*/ 93 h 103"/>
                      <a:gd name="T16" fmla="*/ 150 w 178"/>
                      <a:gd name="T17" fmla="*/ 91 h 103"/>
                      <a:gd name="T18" fmla="*/ 136 w 178"/>
                      <a:gd name="T19" fmla="*/ 110 h 103"/>
                      <a:gd name="T20" fmla="*/ 142 w 178"/>
                      <a:gd name="T21" fmla="*/ 123 h 103"/>
                      <a:gd name="T22" fmla="*/ 157 w 178"/>
                      <a:gd name="T23" fmla="*/ 110 h 103"/>
                      <a:gd name="T24" fmla="*/ 170 w 178"/>
                      <a:gd name="T25" fmla="*/ 102 h 103"/>
                      <a:gd name="T26" fmla="*/ 200 w 178"/>
                      <a:gd name="T27" fmla="*/ 91 h 103"/>
                      <a:gd name="T28" fmla="*/ 208 w 178"/>
                      <a:gd name="T29" fmla="*/ 81 h 103"/>
                      <a:gd name="T30" fmla="*/ 201 w 178"/>
                      <a:gd name="T31" fmla="*/ 75 h 103"/>
                      <a:gd name="T32" fmla="*/ 189 w 178"/>
                      <a:gd name="T33" fmla="*/ 76 h 103"/>
                      <a:gd name="T34" fmla="*/ 171 w 178"/>
                      <a:gd name="T35" fmla="*/ 71 h 103"/>
                      <a:gd name="T36" fmla="*/ 171 w 178"/>
                      <a:gd name="T37" fmla="*/ 67 h 103"/>
                      <a:gd name="T38" fmla="*/ 159 w 178"/>
                      <a:gd name="T39" fmla="*/ 59 h 103"/>
                      <a:gd name="T40" fmla="*/ 157 w 178"/>
                      <a:gd name="T41" fmla="*/ 49 h 103"/>
                      <a:gd name="T42" fmla="*/ 160 w 178"/>
                      <a:gd name="T43" fmla="*/ 43 h 103"/>
                      <a:gd name="T44" fmla="*/ 160 w 178"/>
                      <a:gd name="T45" fmla="*/ 34 h 103"/>
                      <a:gd name="T46" fmla="*/ 148 w 178"/>
                      <a:gd name="T47" fmla="*/ 35 h 103"/>
                      <a:gd name="T48" fmla="*/ 133 w 178"/>
                      <a:gd name="T49" fmla="*/ 28 h 103"/>
                      <a:gd name="T50" fmla="*/ 157 w 178"/>
                      <a:gd name="T51" fmla="*/ 26 h 103"/>
                      <a:gd name="T52" fmla="*/ 172 w 178"/>
                      <a:gd name="T53" fmla="*/ 12 h 103"/>
                      <a:gd name="T54" fmla="*/ 160 w 178"/>
                      <a:gd name="T55" fmla="*/ 1 h 103"/>
                      <a:gd name="T56" fmla="*/ 133 w 178"/>
                      <a:gd name="T57" fmla="*/ 10 h 103"/>
                      <a:gd name="T58" fmla="*/ 112 w 178"/>
                      <a:gd name="T59" fmla="*/ 19 h 103"/>
                      <a:gd name="T60" fmla="*/ 90 w 178"/>
                      <a:gd name="T61" fmla="*/ 39 h 103"/>
                      <a:gd name="T62" fmla="*/ 75 w 178"/>
                      <a:gd name="T63" fmla="*/ 53 h 103"/>
                      <a:gd name="T64" fmla="*/ 57 w 178"/>
                      <a:gd name="T65" fmla="*/ 60 h 103"/>
                      <a:gd name="T66" fmla="*/ 40 w 178"/>
                      <a:gd name="T67" fmla="*/ 71 h 103"/>
                      <a:gd name="T68" fmla="*/ 23 w 178"/>
                      <a:gd name="T69" fmla="*/ 87 h 103"/>
                      <a:gd name="T70" fmla="*/ 7 w 178"/>
                      <a:gd name="T71" fmla="*/ 93 h 103"/>
                      <a:gd name="T72" fmla="*/ 7 w 178"/>
                      <a:gd name="T73" fmla="*/ 93 h 103"/>
                      <a:gd name="T74" fmla="*/ 60 w 178"/>
                      <a:gd name="T75" fmla="*/ 93 h 103"/>
                      <a:gd name="T76" fmla="*/ 65 w 178"/>
                      <a:gd name="T77" fmla="*/ 85 h 103"/>
                      <a:gd name="T78" fmla="*/ 75 w 178"/>
                      <a:gd name="T79" fmla="*/ 79 h 103"/>
                      <a:gd name="T80" fmla="*/ 81 w 178"/>
                      <a:gd name="T81" fmla="*/ 69 h 103"/>
                      <a:gd name="T82" fmla="*/ 87 w 178"/>
                      <a:gd name="T83" fmla="*/ 58 h 103"/>
                      <a:gd name="T84" fmla="*/ 101 w 178"/>
                      <a:gd name="T85" fmla="*/ 41 h 103"/>
                      <a:gd name="T86" fmla="*/ 111 w 178"/>
                      <a:gd name="T87" fmla="*/ 43 h 103"/>
                      <a:gd name="T88" fmla="*/ 120 w 178"/>
                      <a:gd name="T89" fmla="*/ 47 h 103"/>
                      <a:gd name="T90" fmla="*/ 120 w 178"/>
                      <a:gd name="T91" fmla="*/ 73 h 103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w 178"/>
                      <a:gd name="T139" fmla="*/ 0 h 103"/>
                      <a:gd name="T140" fmla="*/ 178 w 178"/>
                      <a:gd name="T141" fmla="*/ 103 h 103"/>
                    </a:gdLst>
                    <a:ahLst/>
                    <a:cxnLst>
                      <a:cxn ang="T92">
                        <a:pos x="T0" y="T1"/>
                      </a:cxn>
                      <a:cxn ang="T93">
                        <a:pos x="T2" y="T3"/>
                      </a:cxn>
                      <a:cxn ang="T94">
                        <a:pos x="T4" y="T5"/>
                      </a:cxn>
                      <a:cxn ang="T95">
                        <a:pos x="T6" y="T7"/>
                      </a:cxn>
                      <a:cxn ang="T96">
                        <a:pos x="T8" y="T9"/>
                      </a:cxn>
                      <a:cxn ang="T97">
                        <a:pos x="T10" y="T11"/>
                      </a:cxn>
                      <a:cxn ang="T98">
                        <a:pos x="T12" y="T13"/>
                      </a:cxn>
                      <a:cxn ang="T99">
                        <a:pos x="T14" y="T15"/>
                      </a:cxn>
                      <a:cxn ang="T100">
                        <a:pos x="T16" y="T17"/>
                      </a:cxn>
                      <a:cxn ang="T101">
                        <a:pos x="T18" y="T19"/>
                      </a:cxn>
                      <a:cxn ang="T102">
                        <a:pos x="T20" y="T21"/>
                      </a:cxn>
                      <a:cxn ang="T103">
                        <a:pos x="T22" y="T23"/>
                      </a:cxn>
                      <a:cxn ang="T104">
                        <a:pos x="T24" y="T25"/>
                      </a:cxn>
                      <a:cxn ang="T105">
                        <a:pos x="T26" y="T27"/>
                      </a:cxn>
                      <a:cxn ang="T106">
                        <a:pos x="T28" y="T29"/>
                      </a:cxn>
                      <a:cxn ang="T107">
                        <a:pos x="T30" y="T31"/>
                      </a:cxn>
                      <a:cxn ang="T108">
                        <a:pos x="T32" y="T33"/>
                      </a:cxn>
                      <a:cxn ang="T109">
                        <a:pos x="T34" y="T35"/>
                      </a:cxn>
                      <a:cxn ang="T110">
                        <a:pos x="T36" y="T37"/>
                      </a:cxn>
                      <a:cxn ang="T111">
                        <a:pos x="T38" y="T39"/>
                      </a:cxn>
                      <a:cxn ang="T112">
                        <a:pos x="T40" y="T41"/>
                      </a:cxn>
                      <a:cxn ang="T113">
                        <a:pos x="T42" y="T43"/>
                      </a:cxn>
                      <a:cxn ang="T114">
                        <a:pos x="T44" y="T45"/>
                      </a:cxn>
                      <a:cxn ang="T115">
                        <a:pos x="T46" y="T47"/>
                      </a:cxn>
                      <a:cxn ang="T116">
                        <a:pos x="T48" y="T49"/>
                      </a:cxn>
                      <a:cxn ang="T117">
                        <a:pos x="T50" y="T51"/>
                      </a:cxn>
                      <a:cxn ang="T118">
                        <a:pos x="T52" y="T53"/>
                      </a:cxn>
                      <a:cxn ang="T119">
                        <a:pos x="T54" y="T55"/>
                      </a:cxn>
                      <a:cxn ang="T120">
                        <a:pos x="T56" y="T57"/>
                      </a:cxn>
                      <a:cxn ang="T121">
                        <a:pos x="T58" y="T59"/>
                      </a:cxn>
                      <a:cxn ang="T122">
                        <a:pos x="T60" y="T61"/>
                      </a:cxn>
                      <a:cxn ang="T123">
                        <a:pos x="T62" y="T63"/>
                      </a:cxn>
                      <a:cxn ang="T124">
                        <a:pos x="T64" y="T65"/>
                      </a:cxn>
                      <a:cxn ang="T125">
                        <a:pos x="T66" y="T67"/>
                      </a:cxn>
                      <a:cxn ang="T126">
                        <a:pos x="T68" y="T69"/>
                      </a:cxn>
                      <a:cxn ang="T127">
                        <a:pos x="T70" y="T71"/>
                      </a:cxn>
                      <a:cxn ang="T128">
                        <a:pos x="T72" y="T73"/>
                      </a:cxn>
                      <a:cxn ang="T129">
                        <a:pos x="T74" y="T75"/>
                      </a:cxn>
                      <a:cxn ang="T130">
                        <a:pos x="T76" y="T77"/>
                      </a:cxn>
                      <a:cxn ang="T131">
                        <a:pos x="T78" y="T79"/>
                      </a:cxn>
                      <a:cxn ang="T132">
                        <a:pos x="T80" y="T81"/>
                      </a:cxn>
                      <a:cxn ang="T133">
                        <a:pos x="T82" y="T83"/>
                      </a:cxn>
                      <a:cxn ang="T134">
                        <a:pos x="T84" y="T85"/>
                      </a:cxn>
                      <a:cxn ang="T135">
                        <a:pos x="T86" y="T87"/>
                      </a:cxn>
                      <a:cxn ang="T136">
                        <a:pos x="T88" y="T89"/>
                      </a:cxn>
                      <a:cxn ang="T137">
                        <a:pos x="T90" y="T91"/>
                      </a:cxn>
                    </a:cxnLst>
                    <a:rect l="T138" t="T139" r="T140" b="T141"/>
                    <a:pathLst>
                      <a:path w="178" h="103">
                        <a:moveTo>
                          <a:pt x="100" y="75"/>
                        </a:moveTo>
                        <a:cubicBezTo>
                          <a:pt x="103" y="75"/>
                          <a:pt x="106" y="75"/>
                          <a:pt x="108" y="75"/>
                        </a:cubicBezTo>
                        <a:cubicBezTo>
                          <a:pt x="110" y="75"/>
                          <a:pt x="113" y="76"/>
                          <a:pt x="114" y="75"/>
                        </a:cubicBezTo>
                        <a:cubicBezTo>
                          <a:pt x="115" y="74"/>
                          <a:pt x="113" y="71"/>
                          <a:pt x="114" y="70"/>
                        </a:cubicBezTo>
                        <a:cubicBezTo>
                          <a:pt x="114" y="68"/>
                          <a:pt x="115" y="64"/>
                          <a:pt x="118" y="64"/>
                        </a:cubicBezTo>
                        <a:cubicBezTo>
                          <a:pt x="119" y="64"/>
                          <a:pt x="118" y="67"/>
                          <a:pt x="119" y="69"/>
                        </a:cubicBezTo>
                        <a:cubicBezTo>
                          <a:pt x="119" y="70"/>
                          <a:pt x="118" y="72"/>
                          <a:pt x="119" y="73"/>
                        </a:cubicBezTo>
                        <a:cubicBezTo>
                          <a:pt x="119" y="74"/>
                          <a:pt x="121" y="74"/>
                          <a:pt x="122" y="73"/>
                        </a:cubicBezTo>
                        <a:cubicBezTo>
                          <a:pt x="126" y="72"/>
                          <a:pt x="128" y="69"/>
                          <a:pt x="131" y="67"/>
                        </a:cubicBezTo>
                        <a:cubicBezTo>
                          <a:pt x="133" y="66"/>
                          <a:pt x="135" y="63"/>
                          <a:pt x="137" y="64"/>
                        </a:cubicBezTo>
                        <a:cubicBezTo>
                          <a:pt x="139" y="65"/>
                          <a:pt x="135" y="66"/>
                          <a:pt x="134" y="68"/>
                        </a:cubicBezTo>
                        <a:cubicBezTo>
                          <a:pt x="133" y="69"/>
                          <a:pt x="132" y="70"/>
                          <a:pt x="133" y="70"/>
                        </a:cubicBezTo>
                        <a:cubicBezTo>
                          <a:pt x="135" y="71"/>
                          <a:pt x="137" y="70"/>
                          <a:pt x="139" y="70"/>
                        </a:cubicBezTo>
                        <a:cubicBezTo>
                          <a:pt x="143" y="71"/>
                          <a:pt x="149" y="69"/>
                          <a:pt x="149" y="72"/>
                        </a:cubicBezTo>
                        <a:cubicBezTo>
                          <a:pt x="149" y="75"/>
                          <a:pt x="142" y="72"/>
                          <a:pt x="139" y="74"/>
                        </a:cubicBezTo>
                        <a:cubicBezTo>
                          <a:pt x="138" y="74"/>
                          <a:pt x="138" y="76"/>
                          <a:pt x="137" y="77"/>
                        </a:cubicBezTo>
                        <a:cubicBezTo>
                          <a:pt x="136" y="77"/>
                          <a:pt x="136" y="74"/>
                          <a:pt x="135" y="74"/>
                        </a:cubicBezTo>
                        <a:cubicBezTo>
                          <a:pt x="132" y="74"/>
                          <a:pt x="128" y="75"/>
                          <a:pt x="125" y="76"/>
                        </a:cubicBezTo>
                        <a:cubicBezTo>
                          <a:pt x="122" y="78"/>
                          <a:pt x="118" y="80"/>
                          <a:pt x="116" y="83"/>
                        </a:cubicBezTo>
                        <a:cubicBezTo>
                          <a:pt x="114" y="85"/>
                          <a:pt x="113" y="88"/>
                          <a:pt x="113" y="91"/>
                        </a:cubicBezTo>
                        <a:cubicBezTo>
                          <a:pt x="112" y="93"/>
                          <a:pt x="113" y="95"/>
                          <a:pt x="114" y="96"/>
                        </a:cubicBezTo>
                        <a:cubicBezTo>
                          <a:pt x="115" y="98"/>
                          <a:pt x="116" y="102"/>
                          <a:pt x="118" y="102"/>
                        </a:cubicBezTo>
                        <a:cubicBezTo>
                          <a:pt x="120" y="103"/>
                          <a:pt x="123" y="100"/>
                          <a:pt x="125" y="98"/>
                        </a:cubicBezTo>
                        <a:cubicBezTo>
                          <a:pt x="127" y="96"/>
                          <a:pt x="129" y="94"/>
                          <a:pt x="131" y="91"/>
                        </a:cubicBezTo>
                        <a:cubicBezTo>
                          <a:pt x="133" y="89"/>
                          <a:pt x="133" y="85"/>
                          <a:pt x="136" y="83"/>
                        </a:cubicBezTo>
                        <a:cubicBezTo>
                          <a:pt x="137" y="82"/>
                          <a:pt x="139" y="85"/>
                          <a:pt x="141" y="85"/>
                        </a:cubicBezTo>
                        <a:cubicBezTo>
                          <a:pt x="144" y="85"/>
                          <a:pt x="146" y="85"/>
                          <a:pt x="148" y="84"/>
                        </a:cubicBezTo>
                        <a:cubicBezTo>
                          <a:pt x="154" y="82"/>
                          <a:pt x="160" y="78"/>
                          <a:pt x="166" y="76"/>
                        </a:cubicBezTo>
                        <a:cubicBezTo>
                          <a:pt x="170" y="75"/>
                          <a:pt x="174" y="76"/>
                          <a:pt x="176" y="73"/>
                        </a:cubicBezTo>
                        <a:cubicBezTo>
                          <a:pt x="178" y="71"/>
                          <a:pt x="175" y="68"/>
                          <a:pt x="173" y="67"/>
                        </a:cubicBezTo>
                        <a:cubicBezTo>
                          <a:pt x="171" y="66"/>
                          <a:pt x="168" y="67"/>
                          <a:pt x="167" y="66"/>
                        </a:cubicBezTo>
                        <a:cubicBezTo>
                          <a:pt x="166" y="65"/>
                          <a:pt x="168" y="62"/>
                          <a:pt x="167" y="62"/>
                        </a:cubicBezTo>
                        <a:cubicBezTo>
                          <a:pt x="163" y="62"/>
                          <a:pt x="161" y="66"/>
                          <a:pt x="157" y="67"/>
                        </a:cubicBezTo>
                        <a:cubicBezTo>
                          <a:pt x="156" y="67"/>
                          <a:pt x="158" y="64"/>
                          <a:pt x="157" y="63"/>
                        </a:cubicBezTo>
                        <a:cubicBezTo>
                          <a:pt x="154" y="62"/>
                          <a:pt x="150" y="63"/>
                          <a:pt x="146" y="62"/>
                        </a:cubicBezTo>
                        <a:cubicBezTo>
                          <a:pt x="144" y="61"/>
                          <a:pt x="143" y="60"/>
                          <a:pt x="142" y="59"/>
                        </a:cubicBezTo>
                        <a:cubicBezTo>
                          <a:pt x="141" y="58"/>
                          <a:pt x="144" y="58"/>
                          <a:pt x="144" y="57"/>
                        </a:cubicBezTo>
                        <a:cubicBezTo>
                          <a:pt x="144" y="56"/>
                          <a:pt x="143" y="56"/>
                          <a:pt x="142" y="56"/>
                        </a:cubicBezTo>
                        <a:cubicBezTo>
                          <a:pt x="140" y="55"/>
                          <a:pt x="138" y="56"/>
                          <a:pt x="136" y="55"/>
                        </a:cubicBezTo>
                        <a:cubicBezTo>
                          <a:pt x="134" y="53"/>
                          <a:pt x="133" y="51"/>
                          <a:pt x="132" y="49"/>
                        </a:cubicBezTo>
                        <a:cubicBezTo>
                          <a:pt x="132" y="46"/>
                          <a:pt x="135" y="44"/>
                          <a:pt x="134" y="41"/>
                        </a:cubicBezTo>
                        <a:cubicBezTo>
                          <a:pt x="134" y="40"/>
                          <a:pt x="132" y="41"/>
                          <a:pt x="131" y="41"/>
                        </a:cubicBezTo>
                        <a:cubicBezTo>
                          <a:pt x="129" y="41"/>
                          <a:pt x="126" y="42"/>
                          <a:pt x="127" y="41"/>
                        </a:cubicBezTo>
                        <a:cubicBezTo>
                          <a:pt x="128" y="38"/>
                          <a:pt x="132" y="38"/>
                          <a:pt x="133" y="36"/>
                        </a:cubicBezTo>
                        <a:cubicBezTo>
                          <a:pt x="135" y="34"/>
                          <a:pt x="137" y="31"/>
                          <a:pt x="137" y="28"/>
                        </a:cubicBezTo>
                        <a:cubicBezTo>
                          <a:pt x="137" y="27"/>
                          <a:pt x="134" y="28"/>
                          <a:pt x="133" y="28"/>
                        </a:cubicBezTo>
                        <a:cubicBezTo>
                          <a:pt x="131" y="28"/>
                          <a:pt x="129" y="29"/>
                          <a:pt x="127" y="30"/>
                        </a:cubicBezTo>
                        <a:cubicBezTo>
                          <a:pt x="125" y="30"/>
                          <a:pt x="124" y="30"/>
                          <a:pt x="123" y="29"/>
                        </a:cubicBezTo>
                        <a:cubicBezTo>
                          <a:pt x="123" y="28"/>
                          <a:pt x="124" y="27"/>
                          <a:pt x="123" y="26"/>
                        </a:cubicBezTo>
                        <a:cubicBezTo>
                          <a:pt x="120" y="24"/>
                          <a:pt x="111" y="27"/>
                          <a:pt x="111" y="23"/>
                        </a:cubicBezTo>
                        <a:cubicBezTo>
                          <a:pt x="111" y="19"/>
                          <a:pt x="119" y="20"/>
                          <a:pt x="123" y="20"/>
                        </a:cubicBezTo>
                        <a:cubicBezTo>
                          <a:pt x="126" y="20"/>
                          <a:pt x="128" y="23"/>
                          <a:pt x="131" y="22"/>
                        </a:cubicBezTo>
                        <a:cubicBezTo>
                          <a:pt x="136" y="20"/>
                          <a:pt x="141" y="17"/>
                          <a:pt x="145" y="13"/>
                        </a:cubicBezTo>
                        <a:cubicBezTo>
                          <a:pt x="146" y="12"/>
                          <a:pt x="143" y="11"/>
                          <a:pt x="143" y="10"/>
                        </a:cubicBezTo>
                        <a:cubicBezTo>
                          <a:pt x="143" y="9"/>
                          <a:pt x="147" y="8"/>
                          <a:pt x="146" y="7"/>
                        </a:cubicBezTo>
                        <a:cubicBezTo>
                          <a:pt x="143" y="4"/>
                          <a:pt x="138" y="2"/>
                          <a:pt x="133" y="1"/>
                        </a:cubicBezTo>
                        <a:cubicBezTo>
                          <a:pt x="130" y="0"/>
                          <a:pt x="127" y="0"/>
                          <a:pt x="124" y="1"/>
                        </a:cubicBezTo>
                        <a:cubicBezTo>
                          <a:pt x="119" y="3"/>
                          <a:pt x="116" y="6"/>
                          <a:pt x="111" y="8"/>
                        </a:cubicBezTo>
                        <a:cubicBezTo>
                          <a:pt x="109" y="9"/>
                          <a:pt x="107" y="7"/>
                          <a:pt x="105" y="8"/>
                        </a:cubicBezTo>
                        <a:cubicBezTo>
                          <a:pt x="101" y="10"/>
                          <a:pt x="97" y="13"/>
                          <a:pt x="93" y="16"/>
                        </a:cubicBezTo>
                        <a:cubicBezTo>
                          <a:pt x="90" y="18"/>
                          <a:pt x="87" y="20"/>
                          <a:pt x="84" y="22"/>
                        </a:cubicBezTo>
                        <a:cubicBezTo>
                          <a:pt x="81" y="25"/>
                          <a:pt x="78" y="29"/>
                          <a:pt x="75" y="32"/>
                        </a:cubicBezTo>
                        <a:cubicBezTo>
                          <a:pt x="73" y="35"/>
                          <a:pt x="71" y="37"/>
                          <a:pt x="69" y="39"/>
                        </a:cubicBezTo>
                        <a:cubicBezTo>
                          <a:pt x="67" y="41"/>
                          <a:pt x="65" y="43"/>
                          <a:pt x="62" y="44"/>
                        </a:cubicBezTo>
                        <a:cubicBezTo>
                          <a:pt x="60" y="45"/>
                          <a:pt x="57" y="46"/>
                          <a:pt x="54" y="47"/>
                        </a:cubicBezTo>
                        <a:cubicBezTo>
                          <a:pt x="51" y="48"/>
                          <a:pt x="49" y="49"/>
                          <a:pt x="47" y="50"/>
                        </a:cubicBezTo>
                        <a:cubicBezTo>
                          <a:pt x="44" y="52"/>
                          <a:pt x="42" y="55"/>
                          <a:pt x="39" y="57"/>
                        </a:cubicBezTo>
                        <a:cubicBezTo>
                          <a:pt x="37" y="58"/>
                          <a:pt x="35" y="57"/>
                          <a:pt x="33" y="59"/>
                        </a:cubicBezTo>
                        <a:cubicBezTo>
                          <a:pt x="31" y="61"/>
                          <a:pt x="29" y="64"/>
                          <a:pt x="27" y="66"/>
                        </a:cubicBezTo>
                        <a:cubicBezTo>
                          <a:pt x="25" y="68"/>
                          <a:pt x="22" y="71"/>
                          <a:pt x="19" y="72"/>
                        </a:cubicBezTo>
                        <a:cubicBezTo>
                          <a:pt x="17" y="74"/>
                          <a:pt x="14" y="74"/>
                          <a:pt x="12" y="75"/>
                        </a:cubicBezTo>
                        <a:cubicBezTo>
                          <a:pt x="10" y="76"/>
                          <a:pt x="8" y="76"/>
                          <a:pt x="6" y="77"/>
                        </a:cubicBezTo>
                        <a:cubicBezTo>
                          <a:pt x="4" y="78"/>
                          <a:pt x="2" y="81"/>
                          <a:pt x="0" y="83"/>
                        </a:cubicBezTo>
                        <a:cubicBezTo>
                          <a:pt x="3" y="81"/>
                          <a:pt x="4" y="79"/>
                          <a:pt x="6" y="77"/>
                        </a:cubicBezTo>
                        <a:cubicBezTo>
                          <a:pt x="12" y="77"/>
                          <a:pt x="19" y="77"/>
                          <a:pt x="25" y="77"/>
                        </a:cubicBezTo>
                        <a:cubicBezTo>
                          <a:pt x="33" y="77"/>
                          <a:pt x="42" y="77"/>
                          <a:pt x="50" y="77"/>
                        </a:cubicBezTo>
                        <a:cubicBezTo>
                          <a:pt x="50" y="76"/>
                          <a:pt x="49" y="74"/>
                          <a:pt x="50" y="73"/>
                        </a:cubicBezTo>
                        <a:cubicBezTo>
                          <a:pt x="51" y="72"/>
                          <a:pt x="52" y="71"/>
                          <a:pt x="54" y="71"/>
                        </a:cubicBezTo>
                        <a:cubicBezTo>
                          <a:pt x="56" y="70"/>
                          <a:pt x="59" y="72"/>
                          <a:pt x="60" y="71"/>
                        </a:cubicBezTo>
                        <a:cubicBezTo>
                          <a:pt x="62" y="70"/>
                          <a:pt x="61" y="68"/>
                          <a:pt x="62" y="66"/>
                        </a:cubicBezTo>
                        <a:cubicBezTo>
                          <a:pt x="63" y="65"/>
                          <a:pt x="65" y="65"/>
                          <a:pt x="66" y="63"/>
                        </a:cubicBezTo>
                        <a:cubicBezTo>
                          <a:pt x="67" y="61"/>
                          <a:pt x="66" y="59"/>
                          <a:pt x="67" y="57"/>
                        </a:cubicBezTo>
                        <a:cubicBezTo>
                          <a:pt x="68" y="55"/>
                          <a:pt x="71" y="53"/>
                          <a:pt x="73" y="51"/>
                        </a:cubicBezTo>
                        <a:cubicBezTo>
                          <a:pt x="73" y="50"/>
                          <a:pt x="71" y="49"/>
                          <a:pt x="72" y="48"/>
                        </a:cubicBezTo>
                        <a:cubicBezTo>
                          <a:pt x="73" y="45"/>
                          <a:pt x="76" y="42"/>
                          <a:pt x="78" y="39"/>
                        </a:cubicBezTo>
                        <a:cubicBezTo>
                          <a:pt x="79" y="37"/>
                          <a:pt x="81" y="34"/>
                          <a:pt x="84" y="34"/>
                        </a:cubicBezTo>
                        <a:cubicBezTo>
                          <a:pt x="86" y="34"/>
                          <a:pt x="85" y="39"/>
                          <a:pt x="87" y="39"/>
                        </a:cubicBezTo>
                        <a:cubicBezTo>
                          <a:pt x="89" y="40"/>
                          <a:pt x="90" y="36"/>
                          <a:pt x="92" y="36"/>
                        </a:cubicBezTo>
                        <a:cubicBezTo>
                          <a:pt x="94" y="36"/>
                          <a:pt x="96" y="37"/>
                          <a:pt x="98" y="38"/>
                        </a:cubicBezTo>
                        <a:cubicBezTo>
                          <a:pt x="98" y="38"/>
                          <a:pt x="99" y="39"/>
                          <a:pt x="100" y="39"/>
                        </a:cubicBezTo>
                        <a:cubicBezTo>
                          <a:pt x="99" y="46"/>
                          <a:pt x="98" y="53"/>
                          <a:pt x="98" y="61"/>
                        </a:cubicBezTo>
                        <a:cubicBezTo>
                          <a:pt x="98" y="61"/>
                          <a:pt x="99" y="61"/>
                          <a:pt x="100" y="61"/>
                        </a:cubicBezTo>
                        <a:cubicBezTo>
                          <a:pt x="100" y="65"/>
                          <a:pt x="100" y="70"/>
                          <a:pt x="100" y="75"/>
                        </a:cubicBezTo>
                        <a:close/>
                      </a:path>
                    </a:pathLst>
                  </a:custGeom>
                  <a:grpFill/>
                  <a:ln w="3175" cap="rnd">
                    <a:solidFill>
                      <a:schemeClr val="bg1">
                        <a:lumMod val="75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685800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it-IT">
                      <a:solidFill>
                        <a:srgbClr val="133B9C"/>
                      </a:solidFill>
                      <a:latin typeface="Arial" charset="0"/>
                      <a:cs typeface="Arial" charset="0"/>
                    </a:endParaRPr>
                  </a:p>
                </p:txBody>
              </p:sp>
              <p:sp>
                <p:nvSpPr>
                  <p:cNvPr id="1972" name="Freeform 3521"/>
                  <p:cNvSpPr>
                    <a:spLocks noChangeAspect="1"/>
                  </p:cNvSpPr>
                  <p:nvPr/>
                </p:nvSpPr>
                <p:spPr bwMode="auto">
                  <a:xfrm>
                    <a:off x="3154425" y="2481758"/>
                    <a:ext cx="8948" cy="4984"/>
                  </a:xfrm>
                  <a:custGeom>
                    <a:avLst/>
                    <a:gdLst>
                      <a:gd name="T0" fmla="*/ 7 w 7"/>
                      <a:gd name="T1" fmla="*/ 1 h 5"/>
                      <a:gd name="T2" fmla="*/ 7 w 7"/>
                      <a:gd name="T3" fmla="*/ 4 h 5"/>
                      <a:gd name="T4" fmla="*/ 3 w 7"/>
                      <a:gd name="T5" fmla="*/ 5 h 5"/>
                      <a:gd name="T6" fmla="*/ 0 w 7"/>
                      <a:gd name="T7" fmla="*/ 2 h 5"/>
                      <a:gd name="T8" fmla="*/ 2 w 7"/>
                      <a:gd name="T9" fmla="*/ 0 h 5"/>
                      <a:gd name="T10" fmla="*/ 7 w 7"/>
                      <a:gd name="T11" fmla="*/ 1 h 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7"/>
                      <a:gd name="T19" fmla="*/ 0 h 5"/>
                      <a:gd name="T20" fmla="*/ 7 w 7"/>
                      <a:gd name="T21" fmla="*/ 5 h 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7" h="5">
                        <a:moveTo>
                          <a:pt x="6" y="1"/>
                        </a:moveTo>
                        <a:cubicBezTo>
                          <a:pt x="7" y="1"/>
                          <a:pt x="7" y="3"/>
                          <a:pt x="6" y="3"/>
                        </a:cubicBezTo>
                        <a:cubicBezTo>
                          <a:pt x="5" y="4"/>
                          <a:pt x="4" y="5"/>
                          <a:pt x="3" y="4"/>
                        </a:cubicBezTo>
                        <a:cubicBezTo>
                          <a:pt x="2" y="4"/>
                          <a:pt x="0" y="3"/>
                          <a:pt x="0" y="2"/>
                        </a:cubicBezTo>
                        <a:cubicBezTo>
                          <a:pt x="0" y="1"/>
                          <a:pt x="1" y="0"/>
                          <a:pt x="2" y="0"/>
                        </a:cubicBezTo>
                        <a:cubicBezTo>
                          <a:pt x="3" y="0"/>
                          <a:pt x="5" y="0"/>
                          <a:pt x="6" y="1"/>
                        </a:cubicBezTo>
                        <a:close/>
                      </a:path>
                    </a:pathLst>
                  </a:custGeom>
                  <a:grpFill/>
                  <a:ln w="3175" cap="rnd">
                    <a:solidFill>
                      <a:schemeClr val="bg1">
                        <a:lumMod val="75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685800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it-IT">
                      <a:solidFill>
                        <a:srgbClr val="133B9C"/>
                      </a:solidFill>
                      <a:latin typeface="Arial" charset="0"/>
                      <a:cs typeface="Arial" charset="0"/>
                    </a:endParaRPr>
                  </a:p>
                </p:txBody>
              </p:sp>
              <p:sp>
                <p:nvSpPr>
                  <p:cNvPr id="1973" name="Freeform 3532"/>
                  <p:cNvSpPr>
                    <a:spLocks noChangeAspect="1"/>
                  </p:cNvSpPr>
                  <p:nvPr/>
                </p:nvSpPr>
                <p:spPr bwMode="auto">
                  <a:xfrm>
                    <a:off x="3203639" y="2529936"/>
                    <a:ext cx="33555" cy="9968"/>
                  </a:xfrm>
                  <a:custGeom>
                    <a:avLst/>
                    <a:gdLst>
                      <a:gd name="T0" fmla="*/ 1 w 25"/>
                      <a:gd name="T1" fmla="*/ 8 h 10"/>
                      <a:gd name="T2" fmla="*/ 1 w 25"/>
                      <a:gd name="T3" fmla="*/ 11 h 10"/>
                      <a:gd name="T4" fmla="*/ 7 w 25"/>
                      <a:gd name="T5" fmla="*/ 11 h 10"/>
                      <a:gd name="T6" fmla="*/ 22 w 25"/>
                      <a:gd name="T7" fmla="*/ 6 h 10"/>
                      <a:gd name="T8" fmla="*/ 29 w 25"/>
                      <a:gd name="T9" fmla="*/ 4 h 10"/>
                      <a:gd name="T10" fmla="*/ 26 w 25"/>
                      <a:gd name="T11" fmla="*/ 4 h 10"/>
                      <a:gd name="T12" fmla="*/ 20 w 25"/>
                      <a:gd name="T13" fmla="*/ 4 h 10"/>
                      <a:gd name="T14" fmla="*/ 24 w 25"/>
                      <a:gd name="T15" fmla="*/ 1 h 10"/>
                      <a:gd name="T16" fmla="*/ 20 w 25"/>
                      <a:gd name="T17" fmla="*/ 1 h 10"/>
                      <a:gd name="T18" fmla="*/ 11 w 25"/>
                      <a:gd name="T19" fmla="*/ 4 h 10"/>
                      <a:gd name="T20" fmla="*/ 6 w 25"/>
                      <a:gd name="T21" fmla="*/ 5 h 10"/>
                      <a:gd name="T22" fmla="*/ 1 w 25"/>
                      <a:gd name="T23" fmla="*/ 8 h 10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w 25"/>
                      <a:gd name="T37" fmla="*/ 0 h 10"/>
                      <a:gd name="T38" fmla="*/ 25 w 25"/>
                      <a:gd name="T39" fmla="*/ 10 h 10"/>
                    </a:gdLst>
                    <a:ahLst/>
                    <a:cxnLst>
                      <a:cxn ang="T24">
                        <a:pos x="T0" y="T1"/>
                      </a:cxn>
                      <a:cxn ang="T25">
                        <a:pos x="T2" y="T3"/>
                      </a:cxn>
                      <a:cxn ang="T26">
                        <a:pos x="T4" y="T5"/>
                      </a:cxn>
                      <a:cxn ang="T27">
                        <a:pos x="T6" y="T7"/>
                      </a:cxn>
                      <a:cxn ang="T28">
                        <a:pos x="T8" y="T9"/>
                      </a:cxn>
                      <a:cxn ang="T29">
                        <a:pos x="T10" y="T11"/>
                      </a:cxn>
                      <a:cxn ang="T30">
                        <a:pos x="T12" y="T13"/>
                      </a:cxn>
                      <a:cxn ang="T31">
                        <a:pos x="T14" y="T15"/>
                      </a:cxn>
                      <a:cxn ang="T32">
                        <a:pos x="T16" y="T17"/>
                      </a:cxn>
                      <a:cxn ang="T33">
                        <a:pos x="T18" y="T19"/>
                      </a:cxn>
                      <a:cxn ang="T34">
                        <a:pos x="T20" y="T21"/>
                      </a:cxn>
                      <a:cxn ang="T35">
                        <a:pos x="T22" y="T23"/>
                      </a:cxn>
                    </a:cxnLst>
                    <a:rect l="T36" t="T37" r="T38" b="T39"/>
                    <a:pathLst>
                      <a:path w="25" h="10">
                        <a:moveTo>
                          <a:pt x="1" y="7"/>
                        </a:moveTo>
                        <a:cubicBezTo>
                          <a:pt x="1" y="7"/>
                          <a:pt x="0" y="8"/>
                          <a:pt x="1" y="9"/>
                        </a:cubicBezTo>
                        <a:cubicBezTo>
                          <a:pt x="2" y="10"/>
                          <a:pt x="4" y="10"/>
                          <a:pt x="6" y="9"/>
                        </a:cubicBezTo>
                        <a:cubicBezTo>
                          <a:pt x="10" y="8"/>
                          <a:pt x="14" y="7"/>
                          <a:pt x="18" y="5"/>
                        </a:cubicBezTo>
                        <a:cubicBezTo>
                          <a:pt x="20" y="5"/>
                          <a:pt x="22" y="4"/>
                          <a:pt x="24" y="3"/>
                        </a:cubicBezTo>
                        <a:cubicBezTo>
                          <a:pt x="25" y="3"/>
                          <a:pt x="22" y="3"/>
                          <a:pt x="22" y="3"/>
                        </a:cubicBezTo>
                        <a:cubicBezTo>
                          <a:pt x="20" y="3"/>
                          <a:pt x="18" y="4"/>
                          <a:pt x="17" y="3"/>
                        </a:cubicBezTo>
                        <a:cubicBezTo>
                          <a:pt x="17" y="2"/>
                          <a:pt x="21" y="2"/>
                          <a:pt x="20" y="1"/>
                        </a:cubicBezTo>
                        <a:cubicBezTo>
                          <a:pt x="20" y="0"/>
                          <a:pt x="18" y="1"/>
                          <a:pt x="17" y="1"/>
                        </a:cubicBezTo>
                        <a:cubicBezTo>
                          <a:pt x="14" y="2"/>
                          <a:pt x="12" y="2"/>
                          <a:pt x="9" y="3"/>
                        </a:cubicBezTo>
                        <a:cubicBezTo>
                          <a:pt x="8" y="3"/>
                          <a:pt x="6" y="3"/>
                          <a:pt x="5" y="4"/>
                        </a:cubicBezTo>
                        <a:cubicBezTo>
                          <a:pt x="4" y="5"/>
                          <a:pt x="2" y="5"/>
                          <a:pt x="1" y="7"/>
                        </a:cubicBezTo>
                        <a:close/>
                      </a:path>
                    </a:pathLst>
                  </a:custGeom>
                  <a:grpFill/>
                  <a:ln w="3175" cap="rnd">
                    <a:solidFill>
                      <a:schemeClr val="bg1">
                        <a:lumMod val="75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685800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it-IT">
                      <a:solidFill>
                        <a:srgbClr val="133B9C"/>
                      </a:solidFill>
                      <a:latin typeface="Arial" charset="0"/>
                      <a:cs typeface="Arial" charset="0"/>
                    </a:endParaRPr>
                  </a:p>
                </p:txBody>
              </p:sp>
              <p:grpSp>
                <p:nvGrpSpPr>
                  <p:cNvPr id="1974" name="Gruppo 1122"/>
                  <p:cNvGrpSpPr/>
                  <p:nvPr/>
                </p:nvGrpSpPr>
                <p:grpSpPr>
                  <a:xfrm>
                    <a:off x="1493465" y="1683488"/>
                    <a:ext cx="2328699" cy="2343309"/>
                    <a:chOff x="1342651" y="1459265"/>
                    <a:chExt cx="2328699" cy="2343309"/>
                  </a:xfrm>
                  <a:grpFill/>
                </p:grpSpPr>
                <p:sp>
                  <p:nvSpPr>
                    <p:cNvPr id="2048" name="Freeform 2538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701618" y="2670376"/>
                      <a:ext cx="70466" cy="57316"/>
                    </a:xfrm>
                    <a:custGeom>
                      <a:avLst/>
                      <a:gdLst>
                        <a:gd name="T0" fmla="*/ 48 w 53"/>
                        <a:gd name="T1" fmla="*/ 56 h 58"/>
                        <a:gd name="T2" fmla="*/ 48 w 53"/>
                        <a:gd name="T3" fmla="*/ 49 h 58"/>
                        <a:gd name="T4" fmla="*/ 53 w 53"/>
                        <a:gd name="T5" fmla="*/ 45 h 58"/>
                        <a:gd name="T6" fmla="*/ 62 w 53"/>
                        <a:gd name="T7" fmla="*/ 39 h 58"/>
                        <a:gd name="T8" fmla="*/ 63 w 53"/>
                        <a:gd name="T9" fmla="*/ 36 h 58"/>
                        <a:gd name="T10" fmla="*/ 58 w 53"/>
                        <a:gd name="T11" fmla="*/ 33 h 58"/>
                        <a:gd name="T12" fmla="*/ 53 w 53"/>
                        <a:gd name="T13" fmla="*/ 31 h 58"/>
                        <a:gd name="T14" fmla="*/ 48 w 53"/>
                        <a:gd name="T15" fmla="*/ 31 h 58"/>
                        <a:gd name="T16" fmla="*/ 51 w 53"/>
                        <a:gd name="T17" fmla="*/ 12 h 58"/>
                        <a:gd name="T18" fmla="*/ 50 w 53"/>
                        <a:gd name="T19" fmla="*/ 0 h 58"/>
                        <a:gd name="T20" fmla="*/ 21 w 53"/>
                        <a:gd name="T21" fmla="*/ 1 h 58"/>
                        <a:gd name="T22" fmla="*/ 20 w 53"/>
                        <a:gd name="T23" fmla="*/ 11 h 58"/>
                        <a:gd name="T24" fmla="*/ 14 w 53"/>
                        <a:gd name="T25" fmla="*/ 12 h 58"/>
                        <a:gd name="T26" fmla="*/ 20 w 53"/>
                        <a:gd name="T27" fmla="*/ 18 h 58"/>
                        <a:gd name="T28" fmla="*/ 25 w 53"/>
                        <a:gd name="T29" fmla="*/ 19 h 58"/>
                        <a:gd name="T30" fmla="*/ 26 w 53"/>
                        <a:gd name="T31" fmla="*/ 23 h 58"/>
                        <a:gd name="T32" fmla="*/ 27 w 53"/>
                        <a:gd name="T33" fmla="*/ 31 h 58"/>
                        <a:gd name="T34" fmla="*/ 8 w 53"/>
                        <a:gd name="T35" fmla="*/ 30 h 58"/>
                        <a:gd name="T36" fmla="*/ 1 w 53"/>
                        <a:gd name="T37" fmla="*/ 45 h 58"/>
                        <a:gd name="T38" fmla="*/ 2 w 53"/>
                        <a:gd name="T39" fmla="*/ 51 h 58"/>
                        <a:gd name="T40" fmla="*/ 0 w 53"/>
                        <a:gd name="T41" fmla="*/ 56 h 58"/>
                        <a:gd name="T42" fmla="*/ 5 w 53"/>
                        <a:gd name="T43" fmla="*/ 61 h 58"/>
                        <a:gd name="T44" fmla="*/ 12 w 53"/>
                        <a:gd name="T45" fmla="*/ 65 h 58"/>
                        <a:gd name="T46" fmla="*/ 23 w 53"/>
                        <a:gd name="T47" fmla="*/ 68 h 58"/>
                        <a:gd name="T48" fmla="*/ 30 w 53"/>
                        <a:gd name="T49" fmla="*/ 69 h 58"/>
                        <a:gd name="T50" fmla="*/ 34 w 53"/>
                        <a:gd name="T51" fmla="*/ 65 h 58"/>
                        <a:gd name="T52" fmla="*/ 38 w 53"/>
                        <a:gd name="T53" fmla="*/ 65 h 58"/>
                        <a:gd name="T54" fmla="*/ 40 w 53"/>
                        <a:gd name="T55" fmla="*/ 57 h 58"/>
                        <a:gd name="T56" fmla="*/ 45 w 53"/>
                        <a:gd name="T57" fmla="*/ 56 h 58"/>
                        <a:gd name="T58" fmla="*/ 48 w 53"/>
                        <a:gd name="T59" fmla="*/ 56 h 58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w 53"/>
                        <a:gd name="T91" fmla="*/ 0 h 58"/>
                        <a:gd name="T92" fmla="*/ 53 w 53"/>
                        <a:gd name="T93" fmla="*/ 58 h 58"/>
                      </a:gdLst>
                      <a:ahLst/>
                      <a:cxnLst>
                        <a:cxn ang="T60">
                          <a:pos x="T0" y="T1"/>
                        </a:cxn>
                        <a:cxn ang="T61">
                          <a:pos x="T2" y="T3"/>
                        </a:cxn>
                        <a:cxn ang="T62">
                          <a:pos x="T4" y="T5"/>
                        </a:cxn>
                        <a:cxn ang="T63">
                          <a:pos x="T6" y="T7"/>
                        </a:cxn>
                        <a:cxn ang="T64">
                          <a:pos x="T8" y="T9"/>
                        </a:cxn>
                        <a:cxn ang="T65">
                          <a:pos x="T10" y="T11"/>
                        </a:cxn>
                        <a:cxn ang="T66">
                          <a:pos x="T12" y="T13"/>
                        </a:cxn>
                        <a:cxn ang="T67">
                          <a:pos x="T14" y="T15"/>
                        </a:cxn>
                        <a:cxn ang="T68">
                          <a:pos x="T16" y="T17"/>
                        </a:cxn>
                        <a:cxn ang="T69">
                          <a:pos x="T18" y="T19"/>
                        </a:cxn>
                        <a:cxn ang="T70">
                          <a:pos x="T20" y="T21"/>
                        </a:cxn>
                        <a:cxn ang="T71">
                          <a:pos x="T22" y="T23"/>
                        </a:cxn>
                        <a:cxn ang="T72">
                          <a:pos x="T24" y="T25"/>
                        </a:cxn>
                        <a:cxn ang="T73">
                          <a:pos x="T26" y="T27"/>
                        </a:cxn>
                        <a:cxn ang="T74">
                          <a:pos x="T28" y="T29"/>
                        </a:cxn>
                        <a:cxn ang="T75">
                          <a:pos x="T30" y="T31"/>
                        </a:cxn>
                        <a:cxn ang="T76">
                          <a:pos x="T32" y="T33"/>
                        </a:cxn>
                        <a:cxn ang="T77">
                          <a:pos x="T34" y="T35"/>
                        </a:cxn>
                        <a:cxn ang="T78">
                          <a:pos x="T36" y="T37"/>
                        </a:cxn>
                        <a:cxn ang="T79">
                          <a:pos x="T38" y="T39"/>
                        </a:cxn>
                        <a:cxn ang="T80">
                          <a:pos x="T40" y="T41"/>
                        </a:cxn>
                        <a:cxn ang="T81">
                          <a:pos x="T42" y="T43"/>
                        </a:cxn>
                        <a:cxn ang="T82">
                          <a:pos x="T44" y="T45"/>
                        </a:cxn>
                        <a:cxn ang="T83">
                          <a:pos x="T46" y="T47"/>
                        </a:cxn>
                        <a:cxn ang="T84">
                          <a:pos x="T48" y="T49"/>
                        </a:cxn>
                        <a:cxn ang="T85">
                          <a:pos x="T50" y="T51"/>
                        </a:cxn>
                        <a:cxn ang="T86">
                          <a:pos x="T52" y="T53"/>
                        </a:cxn>
                        <a:cxn ang="T87">
                          <a:pos x="T54" y="T55"/>
                        </a:cxn>
                        <a:cxn ang="T88">
                          <a:pos x="T56" y="T57"/>
                        </a:cxn>
                        <a:cxn ang="T89">
                          <a:pos x="T58" y="T59"/>
                        </a:cxn>
                      </a:cxnLst>
                      <a:rect l="T90" t="T91" r="T92" b="T93"/>
                      <a:pathLst>
                        <a:path w="53" h="58">
                          <a:moveTo>
                            <a:pt x="40" y="47"/>
                          </a:moveTo>
                          <a:cubicBezTo>
                            <a:pt x="40" y="45"/>
                            <a:pt x="40" y="43"/>
                            <a:pt x="40" y="41"/>
                          </a:cubicBezTo>
                          <a:cubicBezTo>
                            <a:pt x="41" y="40"/>
                            <a:pt x="43" y="39"/>
                            <a:pt x="45" y="38"/>
                          </a:cubicBezTo>
                          <a:cubicBezTo>
                            <a:pt x="47" y="36"/>
                            <a:pt x="50" y="35"/>
                            <a:pt x="52" y="33"/>
                          </a:cubicBezTo>
                          <a:cubicBezTo>
                            <a:pt x="53" y="33"/>
                            <a:pt x="52" y="31"/>
                            <a:pt x="53" y="30"/>
                          </a:cubicBezTo>
                          <a:cubicBezTo>
                            <a:pt x="51" y="30"/>
                            <a:pt x="50" y="29"/>
                            <a:pt x="49" y="28"/>
                          </a:cubicBezTo>
                          <a:cubicBezTo>
                            <a:pt x="47" y="28"/>
                            <a:pt x="46" y="27"/>
                            <a:pt x="45" y="26"/>
                          </a:cubicBezTo>
                          <a:cubicBezTo>
                            <a:pt x="43" y="26"/>
                            <a:pt x="42" y="26"/>
                            <a:pt x="40" y="26"/>
                          </a:cubicBezTo>
                          <a:cubicBezTo>
                            <a:pt x="41" y="21"/>
                            <a:pt x="42" y="15"/>
                            <a:pt x="43" y="10"/>
                          </a:cubicBezTo>
                          <a:cubicBezTo>
                            <a:pt x="42" y="6"/>
                            <a:pt x="42" y="4"/>
                            <a:pt x="42" y="0"/>
                          </a:cubicBezTo>
                          <a:cubicBezTo>
                            <a:pt x="34" y="1"/>
                            <a:pt x="26" y="0"/>
                            <a:pt x="18" y="1"/>
                          </a:cubicBezTo>
                          <a:cubicBezTo>
                            <a:pt x="18" y="4"/>
                            <a:pt x="19" y="7"/>
                            <a:pt x="17" y="9"/>
                          </a:cubicBezTo>
                          <a:cubicBezTo>
                            <a:pt x="16" y="11"/>
                            <a:pt x="12" y="9"/>
                            <a:pt x="12" y="10"/>
                          </a:cubicBezTo>
                          <a:cubicBezTo>
                            <a:pt x="12" y="12"/>
                            <a:pt x="15" y="14"/>
                            <a:pt x="17" y="15"/>
                          </a:cubicBezTo>
                          <a:cubicBezTo>
                            <a:pt x="18" y="16"/>
                            <a:pt x="20" y="15"/>
                            <a:pt x="21" y="16"/>
                          </a:cubicBezTo>
                          <a:cubicBezTo>
                            <a:pt x="22" y="17"/>
                            <a:pt x="21" y="19"/>
                            <a:pt x="22" y="19"/>
                          </a:cubicBezTo>
                          <a:cubicBezTo>
                            <a:pt x="24" y="21"/>
                            <a:pt x="23" y="24"/>
                            <a:pt x="23" y="26"/>
                          </a:cubicBezTo>
                          <a:cubicBezTo>
                            <a:pt x="18" y="26"/>
                            <a:pt x="12" y="25"/>
                            <a:pt x="7" y="25"/>
                          </a:cubicBezTo>
                          <a:cubicBezTo>
                            <a:pt x="5" y="30"/>
                            <a:pt x="3" y="34"/>
                            <a:pt x="1" y="38"/>
                          </a:cubicBezTo>
                          <a:cubicBezTo>
                            <a:pt x="1" y="40"/>
                            <a:pt x="2" y="41"/>
                            <a:pt x="2" y="43"/>
                          </a:cubicBezTo>
                          <a:cubicBezTo>
                            <a:pt x="1" y="44"/>
                            <a:pt x="0" y="46"/>
                            <a:pt x="0" y="47"/>
                          </a:cubicBezTo>
                          <a:cubicBezTo>
                            <a:pt x="1" y="48"/>
                            <a:pt x="2" y="50"/>
                            <a:pt x="4" y="51"/>
                          </a:cubicBezTo>
                          <a:cubicBezTo>
                            <a:pt x="6" y="53"/>
                            <a:pt x="8" y="54"/>
                            <a:pt x="10" y="55"/>
                          </a:cubicBezTo>
                          <a:cubicBezTo>
                            <a:pt x="13" y="56"/>
                            <a:pt x="16" y="57"/>
                            <a:pt x="19" y="57"/>
                          </a:cubicBezTo>
                          <a:cubicBezTo>
                            <a:pt x="21" y="58"/>
                            <a:pt x="23" y="58"/>
                            <a:pt x="25" y="58"/>
                          </a:cubicBezTo>
                          <a:cubicBezTo>
                            <a:pt x="27" y="57"/>
                            <a:pt x="28" y="56"/>
                            <a:pt x="29" y="55"/>
                          </a:cubicBezTo>
                          <a:cubicBezTo>
                            <a:pt x="30" y="55"/>
                            <a:pt x="31" y="56"/>
                            <a:pt x="32" y="55"/>
                          </a:cubicBezTo>
                          <a:cubicBezTo>
                            <a:pt x="33" y="53"/>
                            <a:pt x="32" y="50"/>
                            <a:pt x="34" y="48"/>
                          </a:cubicBezTo>
                          <a:cubicBezTo>
                            <a:pt x="34" y="47"/>
                            <a:pt x="36" y="47"/>
                            <a:pt x="38" y="47"/>
                          </a:cubicBezTo>
                          <a:cubicBezTo>
                            <a:pt x="38" y="47"/>
                            <a:pt x="39" y="47"/>
                            <a:pt x="40" y="47"/>
                          </a:cubicBezTo>
                          <a:close/>
                        </a:path>
                      </a:pathLst>
                    </a:custGeom>
                    <a:grpFill/>
                    <a:ln w="3175" cap="rnd">
                      <a:solidFill>
                        <a:schemeClr val="bg1">
                          <a:lumMod val="75000"/>
                        </a:schemeClr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it-IT">
                        <a:solidFill>
                          <a:srgbClr val="133B9C"/>
                        </a:solidFill>
                        <a:latin typeface="Arial" charset="0"/>
                        <a:cs typeface="Arial" charset="0"/>
                      </a:endParaRPr>
                    </a:p>
                  </p:txBody>
                </p:sp>
                <p:sp>
                  <p:nvSpPr>
                    <p:cNvPr id="2049" name="Freeform 2542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855970" y="2788331"/>
                      <a:ext cx="93953" cy="36550"/>
                    </a:xfrm>
                    <a:custGeom>
                      <a:avLst/>
                      <a:gdLst>
                        <a:gd name="T0" fmla="*/ 76 w 70"/>
                        <a:gd name="T1" fmla="*/ 40 h 36"/>
                        <a:gd name="T2" fmla="*/ 79 w 70"/>
                        <a:gd name="T3" fmla="*/ 35 h 36"/>
                        <a:gd name="T4" fmla="*/ 83 w 70"/>
                        <a:gd name="T5" fmla="*/ 35 h 36"/>
                        <a:gd name="T6" fmla="*/ 84 w 70"/>
                        <a:gd name="T7" fmla="*/ 27 h 36"/>
                        <a:gd name="T8" fmla="*/ 82 w 70"/>
                        <a:gd name="T9" fmla="*/ 22 h 36"/>
                        <a:gd name="T10" fmla="*/ 84 w 70"/>
                        <a:gd name="T11" fmla="*/ 18 h 36"/>
                        <a:gd name="T12" fmla="*/ 77 w 70"/>
                        <a:gd name="T13" fmla="*/ 10 h 36"/>
                        <a:gd name="T14" fmla="*/ 65 w 70"/>
                        <a:gd name="T15" fmla="*/ 6 h 36"/>
                        <a:gd name="T16" fmla="*/ 56 w 70"/>
                        <a:gd name="T17" fmla="*/ 1 h 36"/>
                        <a:gd name="T18" fmla="*/ 50 w 70"/>
                        <a:gd name="T19" fmla="*/ 5 h 36"/>
                        <a:gd name="T20" fmla="*/ 40 w 70"/>
                        <a:gd name="T21" fmla="*/ 7 h 36"/>
                        <a:gd name="T22" fmla="*/ 26 w 70"/>
                        <a:gd name="T23" fmla="*/ 15 h 36"/>
                        <a:gd name="T24" fmla="*/ 19 w 70"/>
                        <a:gd name="T25" fmla="*/ 12 h 36"/>
                        <a:gd name="T26" fmla="*/ 13 w 70"/>
                        <a:gd name="T27" fmla="*/ 12 h 36"/>
                        <a:gd name="T28" fmla="*/ 10 w 70"/>
                        <a:gd name="T29" fmla="*/ 5 h 36"/>
                        <a:gd name="T30" fmla="*/ 4 w 70"/>
                        <a:gd name="T31" fmla="*/ 1 h 36"/>
                        <a:gd name="T32" fmla="*/ 2 w 70"/>
                        <a:gd name="T33" fmla="*/ 9 h 36"/>
                        <a:gd name="T34" fmla="*/ 6 w 70"/>
                        <a:gd name="T35" fmla="*/ 13 h 36"/>
                        <a:gd name="T36" fmla="*/ 2 w 70"/>
                        <a:gd name="T37" fmla="*/ 17 h 36"/>
                        <a:gd name="T38" fmla="*/ 2 w 70"/>
                        <a:gd name="T39" fmla="*/ 22 h 36"/>
                        <a:gd name="T40" fmla="*/ 0 w 70"/>
                        <a:gd name="T41" fmla="*/ 26 h 36"/>
                        <a:gd name="T42" fmla="*/ 11 w 70"/>
                        <a:gd name="T43" fmla="*/ 26 h 36"/>
                        <a:gd name="T44" fmla="*/ 19 w 70"/>
                        <a:gd name="T45" fmla="*/ 26 h 36"/>
                        <a:gd name="T46" fmla="*/ 22 w 70"/>
                        <a:gd name="T47" fmla="*/ 33 h 36"/>
                        <a:gd name="T48" fmla="*/ 24 w 70"/>
                        <a:gd name="T49" fmla="*/ 37 h 36"/>
                        <a:gd name="T50" fmla="*/ 28 w 70"/>
                        <a:gd name="T51" fmla="*/ 31 h 36"/>
                        <a:gd name="T52" fmla="*/ 30 w 70"/>
                        <a:gd name="T53" fmla="*/ 38 h 36"/>
                        <a:gd name="T54" fmla="*/ 35 w 70"/>
                        <a:gd name="T55" fmla="*/ 43 h 36"/>
                        <a:gd name="T56" fmla="*/ 44 w 70"/>
                        <a:gd name="T57" fmla="*/ 39 h 36"/>
                        <a:gd name="T58" fmla="*/ 41 w 70"/>
                        <a:gd name="T59" fmla="*/ 32 h 36"/>
                        <a:gd name="T60" fmla="*/ 37 w 70"/>
                        <a:gd name="T61" fmla="*/ 26 h 36"/>
                        <a:gd name="T62" fmla="*/ 42 w 70"/>
                        <a:gd name="T63" fmla="*/ 23 h 36"/>
                        <a:gd name="T64" fmla="*/ 47 w 70"/>
                        <a:gd name="T65" fmla="*/ 20 h 36"/>
                        <a:gd name="T66" fmla="*/ 47 w 70"/>
                        <a:gd name="T67" fmla="*/ 13 h 36"/>
                        <a:gd name="T68" fmla="*/ 56 w 70"/>
                        <a:gd name="T69" fmla="*/ 10 h 36"/>
                        <a:gd name="T70" fmla="*/ 65 w 70"/>
                        <a:gd name="T71" fmla="*/ 16 h 36"/>
                        <a:gd name="T72" fmla="*/ 70 w 70"/>
                        <a:gd name="T73" fmla="*/ 18 h 36"/>
                        <a:gd name="T74" fmla="*/ 72 w 70"/>
                        <a:gd name="T75" fmla="*/ 27 h 36"/>
                        <a:gd name="T76" fmla="*/ 68 w 70"/>
                        <a:gd name="T77" fmla="*/ 28 h 36"/>
                        <a:gd name="T78" fmla="*/ 71 w 70"/>
                        <a:gd name="T79" fmla="*/ 35 h 36"/>
                        <a:gd name="T80" fmla="*/ 76 w 70"/>
                        <a:gd name="T81" fmla="*/ 40 h 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w 70"/>
                        <a:gd name="T124" fmla="*/ 0 h 36"/>
                        <a:gd name="T125" fmla="*/ 70 w 70"/>
                        <a:gd name="T126" fmla="*/ 36 h 36"/>
                      </a:gdLst>
                      <a:ahLst/>
                      <a:cxnLst>
                        <a:cxn ang="T82">
                          <a:pos x="T0" y="T1"/>
                        </a:cxn>
                        <a:cxn ang="T83">
                          <a:pos x="T2" y="T3"/>
                        </a:cxn>
                        <a:cxn ang="T84">
                          <a:pos x="T4" y="T5"/>
                        </a:cxn>
                        <a:cxn ang="T85">
                          <a:pos x="T6" y="T7"/>
                        </a:cxn>
                        <a:cxn ang="T86">
                          <a:pos x="T8" y="T9"/>
                        </a:cxn>
                        <a:cxn ang="T87">
                          <a:pos x="T10" y="T11"/>
                        </a:cxn>
                        <a:cxn ang="T88">
                          <a:pos x="T12" y="T13"/>
                        </a:cxn>
                        <a:cxn ang="T89">
                          <a:pos x="T14" y="T15"/>
                        </a:cxn>
                        <a:cxn ang="T90">
                          <a:pos x="T16" y="T17"/>
                        </a:cxn>
                        <a:cxn ang="T91">
                          <a:pos x="T18" y="T19"/>
                        </a:cxn>
                        <a:cxn ang="T92">
                          <a:pos x="T20" y="T21"/>
                        </a:cxn>
                        <a:cxn ang="T93">
                          <a:pos x="T22" y="T23"/>
                        </a:cxn>
                        <a:cxn ang="T94">
                          <a:pos x="T24" y="T25"/>
                        </a:cxn>
                        <a:cxn ang="T95">
                          <a:pos x="T26" y="T27"/>
                        </a:cxn>
                        <a:cxn ang="T96">
                          <a:pos x="T28" y="T29"/>
                        </a:cxn>
                        <a:cxn ang="T97">
                          <a:pos x="T30" y="T31"/>
                        </a:cxn>
                        <a:cxn ang="T98">
                          <a:pos x="T32" y="T33"/>
                        </a:cxn>
                        <a:cxn ang="T99">
                          <a:pos x="T34" y="T35"/>
                        </a:cxn>
                        <a:cxn ang="T100">
                          <a:pos x="T36" y="T37"/>
                        </a:cxn>
                        <a:cxn ang="T101">
                          <a:pos x="T38" y="T39"/>
                        </a:cxn>
                        <a:cxn ang="T102">
                          <a:pos x="T40" y="T41"/>
                        </a:cxn>
                        <a:cxn ang="T103">
                          <a:pos x="T42" y="T43"/>
                        </a:cxn>
                        <a:cxn ang="T104">
                          <a:pos x="T44" y="T45"/>
                        </a:cxn>
                        <a:cxn ang="T105">
                          <a:pos x="T46" y="T47"/>
                        </a:cxn>
                        <a:cxn ang="T106">
                          <a:pos x="T48" y="T49"/>
                        </a:cxn>
                        <a:cxn ang="T107">
                          <a:pos x="T50" y="T51"/>
                        </a:cxn>
                        <a:cxn ang="T108">
                          <a:pos x="T52" y="T53"/>
                        </a:cxn>
                        <a:cxn ang="T109">
                          <a:pos x="T54" y="T55"/>
                        </a:cxn>
                        <a:cxn ang="T110">
                          <a:pos x="T56" y="T57"/>
                        </a:cxn>
                        <a:cxn ang="T111">
                          <a:pos x="T58" y="T59"/>
                        </a:cxn>
                        <a:cxn ang="T112">
                          <a:pos x="T60" y="T61"/>
                        </a:cxn>
                        <a:cxn ang="T113">
                          <a:pos x="T62" y="T63"/>
                        </a:cxn>
                        <a:cxn ang="T114">
                          <a:pos x="T64" y="T65"/>
                        </a:cxn>
                        <a:cxn ang="T115">
                          <a:pos x="T66" y="T67"/>
                        </a:cxn>
                        <a:cxn ang="T116">
                          <a:pos x="T68" y="T69"/>
                        </a:cxn>
                        <a:cxn ang="T117">
                          <a:pos x="T70" y="T71"/>
                        </a:cxn>
                        <a:cxn ang="T118">
                          <a:pos x="T72" y="T73"/>
                        </a:cxn>
                        <a:cxn ang="T119">
                          <a:pos x="T74" y="T75"/>
                        </a:cxn>
                        <a:cxn ang="T120">
                          <a:pos x="T76" y="T77"/>
                        </a:cxn>
                        <a:cxn ang="T121">
                          <a:pos x="T78" y="T79"/>
                        </a:cxn>
                        <a:cxn ang="T122">
                          <a:pos x="T80" y="T81"/>
                        </a:cxn>
                      </a:cxnLst>
                      <a:rect l="T123" t="T124" r="T125" b="T126"/>
                      <a:pathLst>
                        <a:path w="70" h="36">
                          <a:moveTo>
                            <a:pt x="63" y="33"/>
                          </a:moveTo>
                          <a:cubicBezTo>
                            <a:pt x="64" y="32"/>
                            <a:pt x="65" y="30"/>
                            <a:pt x="66" y="29"/>
                          </a:cubicBezTo>
                          <a:cubicBezTo>
                            <a:pt x="67" y="28"/>
                            <a:pt x="69" y="30"/>
                            <a:pt x="69" y="29"/>
                          </a:cubicBezTo>
                          <a:cubicBezTo>
                            <a:pt x="70" y="27"/>
                            <a:pt x="70" y="25"/>
                            <a:pt x="70" y="22"/>
                          </a:cubicBezTo>
                          <a:cubicBezTo>
                            <a:pt x="70" y="21"/>
                            <a:pt x="68" y="19"/>
                            <a:pt x="68" y="18"/>
                          </a:cubicBezTo>
                          <a:cubicBezTo>
                            <a:pt x="68" y="16"/>
                            <a:pt x="69" y="16"/>
                            <a:pt x="70" y="15"/>
                          </a:cubicBezTo>
                          <a:cubicBezTo>
                            <a:pt x="68" y="12"/>
                            <a:pt x="67" y="10"/>
                            <a:pt x="64" y="8"/>
                          </a:cubicBezTo>
                          <a:cubicBezTo>
                            <a:pt x="61" y="6"/>
                            <a:pt x="58" y="7"/>
                            <a:pt x="54" y="5"/>
                          </a:cubicBezTo>
                          <a:cubicBezTo>
                            <a:pt x="52" y="4"/>
                            <a:pt x="50" y="1"/>
                            <a:pt x="47" y="1"/>
                          </a:cubicBezTo>
                          <a:cubicBezTo>
                            <a:pt x="45" y="0"/>
                            <a:pt x="44" y="4"/>
                            <a:pt x="42" y="4"/>
                          </a:cubicBezTo>
                          <a:cubicBezTo>
                            <a:pt x="39" y="5"/>
                            <a:pt x="35" y="5"/>
                            <a:pt x="33" y="6"/>
                          </a:cubicBezTo>
                          <a:cubicBezTo>
                            <a:pt x="29" y="7"/>
                            <a:pt x="26" y="11"/>
                            <a:pt x="22" y="12"/>
                          </a:cubicBezTo>
                          <a:cubicBezTo>
                            <a:pt x="20" y="13"/>
                            <a:pt x="18" y="10"/>
                            <a:pt x="16" y="10"/>
                          </a:cubicBezTo>
                          <a:cubicBezTo>
                            <a:pt x="14" y="10"/>
                            <a:pt x="12" y="11"/>
                            <a:pt x="11" y="10"/>
                          </a:cubicBezTo>
                          <a:cubicBezTo>
                            <a:pt x="9" y="9"/>
                            <a:pt x="9" y="6"/>
                            <a:pt x="8" y="4"/>
                          </a:cubicBezTo>
                          <a:cubicBezTo>
                            <a:pt x="7" y="3"/>
                            <a:pt x="4" y="2"/>
                            <a:pt x="3" y="1"/>
                          </a:cubicBezTo>
                          <a:cubicBezTo>
                            <a:pt x="3" y="3"/>
                            <a:pt x="1" y="5"/>
                            <a:pt x="2" y="7"/>
                          </a:cubicBezTo>
                          <a:cubicBezTo>
                            <a:pt x="2" y="9"/>
                            <a:pt x="5" y="9"/>
                            <a:pt x="5" y="11"/>
                          </a:cubicBezTo>
                          <a:cubicBezTo>
                            <a:pt x="5" y="12"/>
                            <a:pt x="2" y="12"/>
                            <a:pt x="2" y="14"/>
                          </a:cubicBezTo>
                          <a:cubicBezTo>
                            <a:pt x="1" y="15"/>
                            <a:pt x="2" y="16"/>
                            <a:pt x="2" y="18"/>
                          </a:cubicBezTo>
                          <a:cubicBezTo>
                            <a:pt x="2" y="19"/>
                            <a:pt x="1" y="20"/>
                            <a:pt x="0" y="21"/>
                          </a:cubicBezTo>
                          <a:cubicBezTo>
                            <a:pt x="3" y="21"/>
                            <a:pt x="6" y="21"/>
                            <a:pt x="9" y="21"/>
                          </a:cubicBezTo>
                          <a:cubicBezTo>
                            <a:pt x="11" y="21"/>
                            <a:pt x="14" y="20"/>
                            <a:pt x="16" y="21"/>
                          </a:cubicBezTo>
                          <a:cubicBezTo>
                            <a:pt x="17" y="22"/>
                            <a:pt x="17" y="25"/>
                            <a:pt x="18" y="27"/>
                          </a:cubicBezTo>
                          <a:cubicBezTo>
                            <a:pt x="18" y="28"/>
                            <a:pt x="18" y="31"/>
                            <a:pt x="20" y="30"/>
                          </a:cubicBezTo>
                          <a:cubicBezTo>
                            <a:pt x="22" y="30"/>
                            <a:pt x="21" y="25"/>
                            <a:pt x="23" y="25"/>
                          </a:cubicBezTo>
                          <a:cubicBezTo>
                            <a:pt x="25" y="25"/>
                            <a:pt x="24" y="29"/>
                            <a:pt x="25" y="31"/>
                          </a:cubicBezTo>
                          <a:cubicBezTo>
                            <a:pt x="26" y="33"/>
                            <a:pt x="27" y="35"/>
                            <a:pt x="29" y="35"/>
                          </a:cubicBezTo>
                          <a:cubicBezTo>
                            <a:pt x="32" y="36"/>
                            <a:pt x="36" y="35"/>
                            <a:pt x="37" y="32"/>
                          </a:cubicBezTo>
                          <a:cubicBezTo>
                            <a:pt x="38" y="30"/>
                            <a:pt x="35" y="28"/>
                            <a:pt x="34" y="26"/>
                          </a:cubicBezTo>
                          <a:cubicBezTo>
                            <a:pt x="33" y="24"/>
                            <a:pt x="30" y="23"/>
                            <a:pt x="31" y="21"/>
                          </a:cubicBezTo>
                          <a:cubicBezTo>
                            <a:pt x="31" y="19"/>
                            <a:pt x="33" y="19"/>
                            <a:pt x="35" y="19"/>
                          </a:cubicBezTo>
                          <a:cubicBezTo>
                            <a:pt x="36" y="18"/>
                            <a:pt x="38" y="17"/>
                            <a:pt x="39" y="16"/>
                          </a:cubicBezTo>
                          <a:cubicBezTo>
                            <a:pt x="40" y="14"/>
                            <a:pt x="38" y="12"/>
                            <a:pt x="39" y="11"/>
                          </a:cubicBezTo>
                          <a:cubicBezTo>
                            <a:pt x="41" y="9"/>
                            <a:pt x="45" y="8"/>
                            <a:pt x="47" y="8"/>
                          </a:cubicBezTo>
                          <a:cubicBezTo>
                            <a:pt x="50" y="9"/>
                            <a:pt x="52" y="12"/>
                            <a:pt x="54" y="13"/>
                          </a:cubicBezTo>
                          <a:cubicBezTo>
                            <a:pt x="55" y="14"/>
                            <a:pt x="57" y="14"/>
                            <a:pt x="58" y="15"/>
                          </a:cubicBezTo>
                          <a:cubicBezTo>
                            <a:pt x="59" y="17"/>
                            <a:pt x="60" y="20"/>
                            <a:pt x="60" y="22"/>
                          </a:cubicBezTo>
                          <a:cubicBezTo>
                            <a:pt x="60" y="23"/>
                            <a:pt x="58" y="22"/>
                            <a:pt x="57" y="23"/>
                          </a:cubicBezTo>
                          <a:cubicBezTo>
                            <a:pt x="57" y="25"/>
                            <a:pt x="58" y="27"/>
                            <a:pt x="59" y="29"/>
                          </a:cubicBezTo>
                          <a:cubicBezTo>
                            <a:pt x="60" y="30"/>
                            <a:pt x="62" y="32"/>
                            <a:pt x="63" y="33"/>
                          </a:cubicBezTo>
                          <a:close/>
                        </a:path>
                      </a:pathLst>
                    </a:custGeom>
                    <a:grpFill/>
                    <a:ln w="3175" cap="rnd">
                      <a:solidFill>
                        <a:schemeClr val="bg1">
                          <a:lumMod val="75000"/>
                        </a:schemeClr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it-IT">
                        <a:solidFill>
                          <a:srgbClr val="133B9C"/>
                        </a:solidFill>
                        <a:latin typeface="Arial" charset="0"/>
                        <a:cs typeface="Arial" charset="0"/>
                      </a:endParaRPr>
                    </a:p>
                  </p:txBody>
                </p:sp>
                <p:sp>
                  <p:nvSpPr>
                    <p:cNvPr id="2050" name="Freeform 2543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805638" y="2765902"/>
                      <a:ext cx="57044" cy="46518"/>
                    </a:xfrm>
                    <a:custGeom>
                      <a:avLst/>
                      <a:gdLst>
                        <a:gd name="T0" fmla="*/ 49 w 42"/>
                        <a:gd name="T1" fmla="*/ 29 h 47"/>
                        <a:gd name="T2" fmla="*/ 47 w 42"/>
                        <a:gd name="T3" fmla="*/ 26 h 47"/>
                        <a:gd name="T4" fmla="*/ 44 w 42"/>
                        <a:gd name="T5" fmla="*/ 23 h 47"/>
                        <a:gd name="T6" fmla="*/ 36 w 42"/>
                        <a:gd name="T7" fmla="*/ 15 h 47"/>
                        <a:gd name="T8" fmla="*/ 36 w 42"/>
                        <a:gd name="T9" fmla="*/ 8 h 47"/>
                        <a:gd name="T10" fmla="*/ 35 w 42"/>
                        <a:gd name="T11" fmla="*/ 5 h 47"/>
                        <a:gd name="T12" fmla="*/ 34 w 42"/>
                        <a:gd name="T13" fmla="*/ 8 h 47"/>
                        <a:gd name="T14" fmla="*/ 25 w 42"/>
                        <a:gd name="T15" fmla="*/ 8 h 47"/>
                        <a:gd name="T16" fmla="*/ 21 w 42"/>
                        <a:gd name="T17" fmla="*/ 5 h 47"/>
                        <a:gd name="T18" fmla="*/ 16 w 42"/>
                        <a:gd name="T19" fmla="*/ 5 h 47"/>
                        <a:gd name="T20" fmla="*/ 5 w 42"/>
                        <a:gd name="T21" fmla="*/ 0 h 47"/>
                        <a:gd name="T22" fmla="*/ 4 w 42"/>
                        <a:gd name="T23" fmla="*/ 0 h 47"/>
                        <a:gd name="T24" fmla="*/ 1 w 42"/>
                        <a:gd name="T25" fmla="*/ 1 h 47"/>
                        <a:gd name="T26" fmla="*/ 0 w 42"/>
                        <a:gd name="T27" fmla="*/ 5 h 47"/>
                        <a:gd name="T28" fmla="*/ 1 w 42"/>
                        <a:gd name="T29" fmla="*/ 8 h 47"/>
                        <a:gd name="T30" fmla="*/ 1 w 42"/>
                        <a:gd name="T31" fmla="*/ 12 h 47"/>
                        <a:gd name="T32" fmla="*/ 0 w 42"/>
                        <a:gd name="T33" fmla="*/ 19 h 47"/>
                        <a:gd name="T34" fmla="*/ 1 w 42"/>
                        <a:gd name="T35" fmla="*/ 23 h 47"/>
                        <a:gd name="T36" fmla="*/ 7 w 42"/>
                        <a:gd name="T37" fmla="*/ 26 h 47"/>
                        <a:gd name="T38" fmla="*/ 12 w 42"/>
                        <a:gd name="T39" fmla="*/ 27 h 47"/>
                        <a:gd name="T40" fmla="*/ 12 w 42"/>
                        <a:gd name="T41" fmla="*/ 25 h 47"/>
                        <a:gd name="T42" fmla="*/ 10 w 42"/>
                        <a:gd name="T43" fmla="*/ 19 h 47"/>
                        <a:gd name="T44" fmla="*/ 11 w 42"/>
                        <a:gd name="T45" fmla="*/ 18 h 47"/>
                        <a:gd name="T46" fmla="*/ 16 w 42"/>
                        <a:gd name="T47" fmla="*/ 23 h 47"/>
                        <a:gd name="T48" fmla="*/ 18 w 42"/>
                        <a:gd name="T49" fmla="*/ 29 h 47"/>
                        <a:gd name="T50" fmla="*/ 28 w 42"/>
                        <a:gd name="T51" fmla="*/ 32 h 47"/>
                        <a:gd name="T52" fmla="*/ 34 w 42"/>
                        <a:gd name="T53" fmla="*/ 38 h 47"/>
                        <a:gd name="T54" fmla="*/ 34 w 42"/>
                        <a:gd name="T55" fmla="*/ 46 h 47"/>
                        <a:gd name="T56" fmla="*/ 39 w 42"/>
                        <a:gd name="T57" fmla="*/ 50 h 47"/>
                        <a:gd name="T58" fmla="*/ 36 w 42"/>
                        <a:gd name="T59" fmla="*/ 46 h 47"/>
                        <a:gd name="T60" fmla="*/ 36 w 42"/>
                        <a:gd name="T61" fmla="*/ 43 h 47"/>
                        <a:gd name="T62" fmla="*/ 40 w 42"/>
                        <a:gd name="T63" fmla="*/ 46 h 47"/>
                        <a:gd name="T64" fmla="*/ 45 w 42"/>
                        <a:gd name="T65" fmla="*/ 55 h 47"/>
                        <a:gd name="T66" fmla="*/ 45 w 42"/>
                        <a:gd name="T67" fmla="*/ 52 h 47"/>
                        <a:gd name="T68" fmla="*/ 47 w 42"/>
                        <a:gd name="T69" fmla="*/ 49 h 47"/>
                        <a:gd name="T70" fmla="*/ 47 w 42"/>
                        <a:gd name="T71" fmla="*/ 44 h 47"/>
                        <a:gd name="T72" fmla="*/ 51 w 42"/>
                        <a:gd name="T73" fmla="*/ 41 h 47"/>
                        <a:gd name="T74" fmla="*/ 47 w 42"/>
                        <a:gd name="T75" fmla="*/ 36 h 47"/>
                        <a:gd name="T76" fmla="*/ 49 w 42"/>
                        <a:gd name="T77" fmla="*/ 29 h 47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w 42"/>
                        <a:gd name="T118" fmla="*/ 0 h 47"/>
                        <a:gd name="T119" fmla="*/ 42 w 42"/>
                        <a:gd name="T120" fmla="*/ 47 h 47"/>
                      </a:gdLst>
                      <a:ahLst/>
                      <a:cxnLst>
                        <a:cxn ang="T78">
                          <a:pos x="T0" y="T1"/>
                        </a:cxn>
                        <a:cxn ang="T79">
                          <a:pos x="T2" y="T3"/>
                        </a:cxn>
                        <a:cxn ang="T80">
                          <a:pos x="T4" y="T5"/>
                        </a:cxn>
                        <a:cxn ang="T81">
                          <a:pos x="T6" y="T7"/>
                        </a:cxn>
                        <a:cxn ang="T82">
                          <a:pos x="T8" y="T9"/>
                        </a:cxn>
                        <a:cxn ang="T83">
                          <a:pos x="T10" y="T11"/>
                        </a:cxn>
                        <a:cxn ang="T84">
                          <a:pos x="T12" y="T13"/>
                        </a:cxn>
                        <a:cxn ang="T85">
                          <a:pos x="T14" y="T15"/>
                        </a:cxn>
                        <a:cxn ang="T86">
                          <a:pos x="T16" y="T17"/>
                        </a:cxn>
                        <a:cxn ang="T87">
                          <a:pos x="T18" y="T19"/>
                        </a:cxn>
                        <a:cxn ang="T88">
                          <a:pos x="T20" y="T21"/>
                        </a:cxn>
                        <a:cxn ang="T89">
                          <a:pos x="T22" y="T23"/>
                        </a:cxn>
                        <a:cxn ang="T90">
                          <a:pos x="T24" y="T25"/>
                        </a:cxn>
                        <a:cxn ang="T91">
                          <a:pos x="T26" y="T27"/>
                        </a:cxn>
                        <a:cxn ang="T92">
                          <a:pos x="T28" y="T29"/>
                        </a:cxn>
                        <a:cxn ang="T93">
                          <a:pos x="T30" y="T31"/>
                        </a:cxn>
                        <a:cxn ang="T94">
                          <a:pos x="T32" y="T33"/>
                        </a:cxn>
                        <a:cxn ang="T95">
                          <a:pos x="T34" y="T35"/>
                        </a:cxn>
                        <a:cxn ang="T96">
                          <a:pos x="T36" y="T37"/>
                        </a:cxn>
                        <a:cxn ang="T97">
                          <a:pos x="T38" y="T39"/>
                        </a:cxn>
                        <a:cxn ang="T98">
                          <a:pos x="T40" y="T41"/>
                        </a:cxn>
                        <a:cxn ang="T99">
                          <a:pos x="T42" y="T43"/>
                        </a:cxn>
                        <a:cxn ang="T100">
                          <a:pos x="T44" y="T45"/>
                        </a:cxn>
                        <a:cxn ang="T101">
                          <a:pos x="T46" y="T47"/>
                        </a:cxn>
                        <a:cxn ang="T102">
                          <a:pos x="T48" y="T49"/>
                        </a:cxn>
                        <a:cxn ang="T103">
                          <a:pos x="T50" y="T51"/>
                        </a:cxn>
                        <a:cxn ang="T104">
                          <a:pos x="T52" y="T53"/>
                        </a:cxn>
                        <a:cxn ang="T105">
                          <a:pos x="T54" y="T55"/>
                        </a:cxn>
                        <a:cxn ang="T106">
                          <a:pos x="T56" y="T57"/>
                        </a:cxn>
                        <a:cxn ang="T107">
                          <a:pos x="T58" y="T59"/>
                        </a:cxn>
                        <a:cxn ang="T108">
                          <a:pos x="T60" y="T61"/>
                        </a:cxn>
                        <a:cxn ang="T109">
                          <a:pos x="T62" y="T63"/>
                        </a:cxn>
                        <a:cxn ang="T110">
                          <a:pos x="T64" y="T65"/>
                        </a:cxn>
                        <a:cxn ang="T111">
                          <a:pos x="T66" y="T67"/>
                        </a:cxn>
                        <a:cxn ang="T112">
                          <a:pos x="T68" y="T69"/>
                        </a:cxn>
                        <a:cxn ang="T113">
                          <a:pos x="T70" y="T71"/>
                        </a:cxn>
                        <a:cxn ang="T114">
                          <a:pos x="T72" y="T73"/>
                        </a:cxn>
                        <a:cxn ang="T115">
                          <a:pos x="T74" y="T75"/>
                        </a:cxn>
                        <a:cxn ang="T116">
                          <a:pos x="T76" y="T77"/>
                        </a:cxn>
                      </a:cxnLst>
                      <a:rect l="T117" t="T118" r="T119" b="T120"/>
                      <a:pathLst>
                        <a:path w="42" h="47">
                          <a:moveTo>
                            <a:pt x="40" y="24"/>
                          </a:moveTo>
                          <a:cubicBezTo>
                            <a:pt x="40" y="23"/>
                            <a:pt x="40" y="23"/>
                            <a:pt x="39" y="22"/>
                          </a:cubicBezTo>
                          <a:cubicBezTo>
                            <a:pt x="38" y="21"/>
                            <a:pt x="37" y="20"/>
                            <a:pt x="36" y="19"/>
                          </a:cubicBezTo>
                          <a:cubicBezTo>
                            <a:pt x="34" y="17"/>
                            <a:pt x="31" y="15"/>
                            <a:pt x="30" y="13"/>
                          </a:cubicBezTo>
                          <a:cubicBezTo>
                            <a:pt x="29" y="11"/>
                            <a:pt x="30" y="9"/>
                            <a:pt x="30" y="7"/>
                          </a:cubicBezTo>
                          <a:cubicBezTo>
                            <a:pt x="30" y="6"/>
                            <a:pt x="29" y="5"/>
                            <a:pt x="29" y="4"/>
                          </a:cubicBezTo>
                          <a:cubicBezTo>
                            <a:pt x="29" y="5"/>
                            <a:pt x="29" y="7"/>
                            <a:pt x="28" y="7"/>
                          </a:cubicBezTo>
                          <a:cubicBezTo>
                            <a:pt x="26" y="8"/>
                            <a:pt x="23" y="8"/>
                            <a:pt x="21" y="7"/>
                          </a:cubicBezTo>
                          <a:cubicBezTo>
                            <a:pt x="19" y="7"/>
                            <a:pt x="19" y="4"/>
                            <a:pt x="17" y="4"/>
                          </a:cubicBezTo>
                          <a:cubicBezTo>
                            <a:pt x="16" y="3"/>
                            <a:pt x="14" y="4"/>
                            <a:pt x="13" y="4"/>
                          </a:cubicBezTo>
                          <a:cubicBezTo>
                            <a:pt x="9" y="3"/>
                            <a:pt x="8" y="0"/>
                            <a:pt x="4" y="0"/>
                          </a:cubicBezTo>
                          <a:lnTo>
                            <a:pt x="3" y="0"/>
                          </a:lnTo>
                          <a:cubicBezTo>
                            <a:pt x="2" y="0"/>
                            <a:pt x="2" y="1"/>
                            <a:pt x="1" y="1"/>
                          </a:cubicBezTo>
                          <a:cubicBezTo>
                            <a:pt x="1" y="2"/>
                            <a:pt x="0" y="3"/>
                            <a:pt x="0" y="4"/>
                          </a:cubicBezTo>
                          <a:cubicBezTo>
                            <a:pt x="0" y="5"/>
                            <a:pt x="1" y="6"/>
                            <a:pt x="1" y="7"/>
                          </a:cubicBezTo>
                          <a:cubicBezTo>
                            <a:pt x="1" y="8"/>
                            <a:pt x="1" y="9"/>
                            <a:pt x="1" y="10"/>
                          </a:cubicBezTo>
                          <a:cubicBezTo>
                            <a:pt x="1" y="12"/>
                            <a:pt x="0" y="14"/>
                            <a:pt x="0" y="16"/>
                          </a:cubicBezTo>
                          <a:cubicBezTo>
                            <a:pt x="0" y="17"/>
                            <a:pt x="0" y="18"/>
                            <a:pt x="1" y="19"/>
                          </a:cubicBezTo>
                          <a:cubicBezTo>
                            <a:pt x="3" y="20"/>
                            <a:pt x="4" y="21"/>
                            <a:pt x="6" y="22"/>
                          </a:cubicBezTo>
                          <a:cubicBezTo>
                            <a:pt x="7" y="23"/>
                            <a:pt x="9" y="24"/>
                            <a:pt x="10" y="23"/>
                          </a:cubicBezTo>
                          <a:cubicBezTo>
                            <a:pt x="11" y="23"/>
                            <a:pt x="10" y="22"/>
                            <a:pt x="10" y="21"/>
                          </a:cubicBezTo>
                          <a:cubicBezTo>
                            <a:pt x="10" y="19"/>
                            <a:pt x="8" y="18"/>
                            <a:pt x="8" y="16"/>
                          </a:cubicBezTo>
                          <a:cubicBezTo>
                            <a:pt x="8" y="15"/>
                            <a:pt x="9" y="15"/>
                            <a:pt x="9" y="15"/>
                          </a:cubicBezTo>
                          <a:cubicBezTo>
                            <a:pt x="11" y="16"/>
                            <a:pt x="12" y="18"/>
                            <a:pt x="13" y="19"/>
                          </a:cubicBezTo>
                          <a:cubicBezTo>
                            <a:pt x="14" y="21"/>
                            <a:pt x="13" y="23"/>
                            <a:pt x="15" y="24"/>
                          </a:cubicBezTo>
                          <a:cubicBezTo>
                            <a:pt x="17" y="26"/>
                            <a:pt x="21" y="25"/>
                            <a:pt x="23" y="27"/>
                          </a:cubicBezTo>
                          <a:cubicBezTo>
                            <a:pt x="25" y="28"/>
                            <a:pt x="27" y="30"/>
                            <a:pt x="28" y="32"/>
                          </a:cubicBezTo>
                          <a:cubicBezTo>
                            <a:pt x="28" y="34"/>
                            <a:pt x="27" y="37"/>
                            <a:pt x="28" y="39"/>
                          </a:cubicBezTo>
                          <a:cubicBezTo>
                            <a:pt x="28" y="41"/>
                            <a:pt x="31" y="42"/>
                            <a:pt x="32" y="42"/>
                          </a:cubicBezTo>
                          <a:cubicBezTo>
                            <a:pt x="34" y="42"/>
                            <a:pt x="31" y="40"/>
                            <a:pt x="30" y="39"/>
                          </a:cubicBezTo>
                          <a:cubicBezTo>
                            <a:pt x="30" y="38"/>
                            <a:pt x="29" y="36"/>
                            <a:pt x="30" y="36"/>
                          </a:cubicBezTo>
                          <a:cubicBezTo>
                            <a:pt x="32" y="36"/>
                            <a:pt x="32" y="38"/>
                            <a:pt x="33" y="39"/>
                          </a:cubicBezTo>
                          <a:cubicBezTo>
                            <a:pt x="35" y="41"/>
                            <a:pt x="35" y="44"/>
                            <a:pt x="37" y="46"/>
                          </a:cubicBezTo>
                          <a:cubicBezTo>
                            <a:pt x="37" y="47"/>
                            <a:pt x="37" y="44"/>
                            <a:pt x="37" y="44"/>
                          </a:cubicBezTo>
                          <a:cubicBezTo>
                            <a:pt x="38" y="43"/>
                            <a:pt x="39" y="42"/>
                            <a:pt x="39" y="41"/>
                          </a:cubicBezTo>
                          <a:cubicBezTo>
                            <a:pt x="39" y="39"/>
                            <a:pt x="38" y="38"/>
                            <a:pt x="39" y="37"/>
                          </a:cubicBezTo>
                          <a:cubicBezTo>
                            <a:pt x="39" y="35"/>
                            <a:pt x="42" y="35"/>
                            <a:pt x="42" y="34"/>
                          </a:cubicBezTo>
                          <a:cubicBezTo>
                            <a:pt x="42" y="32"/>
                            <a:pt x="39" y="32"/>
                            <a:pt x="39" y="30"/>
                          </a:cubicBezTo>
                          <a:cubicBezTo>
                            <a:pt x="38" y="28"/>
                            <a:pt x="40" y="26"/>
                            <a:pt x="40" y="24"/>
                          </a:cubicBezTo>
                          <a:close/>
                        </a:path>
                      </a:pathLst>
                    </a:custGeom>
                    <a:grpFill/>
                    <a:ln w="3175" cap="rnd">
                      <a:solidFill>
                        <a:schemeClr val="bg1">
                          <a:lumMod val="75000"/>
                        </a:schemeClr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it-IT">
                        <a:solidFill>
                          <a:srgbClr val="133B9C"/>
                        </a:solidFill>
                        <a:latin typeface="Arial" charset="0"/>
                        <a:cs typeface="Arial" charset="0"/>
                      </a:endParaRPr>
                    </a:p>
                  </p:txBody>
                </p:sp>
                <p:grpSp>
                  <p:nvGrpSpPr>
                    <p:cNvPr id="2051" name="Gruppo 1117"/>
                    <p:cNvGrpSpPr/>
                    <p:nvPr/>
                  </p:nvGrpSpPr>
                  <p:grpSpPr>
                    <a:xfrm>
                      <a:off x="1342651" y="1459265"/>
                      <a:ext cx="2328699" cy="2343309"/>
                      <a:chOff x="1342651" y="1459265"/>
                      <a:chExt cx="2328699" cy="2343309"/>
                    </a:xfrm>
                    <a:grpFill/>
                  </p:grpSpPr>
                  <p:sp>
                    <p:nvSpPr>
                      <p:cNvPr id="2052" name="Freeform 3154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1989140" y="1963479"/>
                        <a:ext cx="11185" cy="6646"/>
                      </a:xfrm>
                      <a:custGeom>
                        <a:avLst/>
                        <a:gdLst>
                          <a:gd name="T0" fmla="*/ 6 w 8"/>
                          <a:gd name="T1" fmla="*/ 6 h 7"/>
                          <a:gd name="T2" fmla="*/ 1 w 8"/>
                          <a:gd name="T3" fmla="*/ 7 h 7"/>
                          <a:gd name="T4" fmla="*/ 3 w 8"/>
                          <a:gd name="T5" fmla="*/ 3 h 7"/>
                          <a:gd name="T6" fmla="*/ 9 w 8"/>
                          <a:gd name="T7" fmla="*/ 1 h 7"/>
                          <a:gd name="T8" fmla="*/ 6 w 8"/>
                          <a:gd name="T9" fmla="*/ 6 h 7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8"/>
                          <a:gd name="T16" fmla="*/ 0 h 7"/>
                          <a:gd name="T17" fmla="*/ 8 w 8"/>
                          <a:gd name="T18" fmla="*/ 7 h 7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8" h="7">
                            <a:moveTo>
                              <a:pt x="5" y="5"/>
                            </a:moveTo>
                            <a:cubicBezTo>
                              <a:pt x="4" y="6"/>
                              <a:pt x="2" y="7"/>
                              <a:pt x="1" y="6"/>
                            </a:cubicBezTo>
                            <a:cubicBezTo>
                              <a:pt x="0" y="5"/>
                              <a:pt x="1" y="4"/>
                              <a:pt x="2" y="3"/>
                            </a:cubicBezTo>
                            <a:cubicBezTo>
                              <a:pt x="4" y="2"/>
                              <a:pt x="6" y="0"/>
                              <a:pt x="7" y="1"/>
                            </a:cubicBezTo>
                            <a:cubicBezTo>
                              <a:pt x="8" y="2"/>
                              <a:pt x="6" y="4"/>
                              <a:pt x="5" y="5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53" name="Freeform 3166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1750901" y="1998367"/>
                        <a:ext cx="10067" cy="5815"/>
                      </a:xfrm>
                      <a:custGeom>
                        <a:avLst/>
                        <a:gdLst>
                          <a:gd name="T0" fmla="*/ 3 w 8"/>
                          <a:gd name="T1" fmla="*/ 5 h 6"/>
                          <a:gd name="T2" fmla="*/ 0 w 8"/>
                          <a:gd name="T3" fmla="*/ 6 h 6"/>
                          <a:gd name="T4" fmla="*/ 3 w 8"/>
                          <a:gd name="T5" fmla="*/ 4 h 6"/>
                          <a:gd name="T6" fmla="*/ 9 w 8"/>
                          <a:gd name="T7" fmla="*/ 1 h 6"/>
                          <a:gd name="T8" fmla="*/ 3 w 8"/>
                          <a:gd name="T9" fmla="*/ 5 h 6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8"/>
                          <a:gd name="T16" fmla="*/ 0 h 6"/>
                          <a:gd name="T17" fmla="*/ 8 w 8"/>
                          <a:gd name="T18" fmla="*/ 6 h 6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8" h="6">
                            <a:moveTo>
                              <a:pt x="3" y="4"/>
                            </a:moveTo>
                            <a:cubicBezTo>
                              <a:pt x="3" y="5"/>
                              <a:pt x="1" y="6"/>
                              <a:pt x="0" y="5"/>
                            </a:cubicBezTo>
                            <a:cubicBezTo>
                              <a:pt x="0" y="5"/>
                              <a:pt x="2" y="3"/>
                              <a:pt x="3" y="3"/>
                            </a:cubicBezTo>
                            <a:cubicBezTo>
                              <a:pt x="4" y="2"/>
                              <a:pt x="7" y="0"/>
                              <a:pt x="8" y="1"/>
                            </a:cubicBezTo>
                            <a:cubicBezTo>
                              <a:pt x="8" y="2"/>
                              <a:pt x="4" y="4"/>
                              <a:pt x="3" y="4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54" name="Freeform 3168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1498123" y="2115491"/>
                        <a:ext cx="14540" cy="3322"/>
                      </a:xfrm>
                      <a:custGeom>
                        <a:avLst/>
                        <a:gdLst>
                          <a:gd name="T0" fmla="*/ 5 w 11"/>
                          <a:gd name="T1" fmla="*/ 4 h 3"/>
                          <a:gd name="T2" fmla="*/ 1 w 11"/>
                          <a:gd name="T3" fmla="*/ 4 h 3"/>
                          <a:gd name="T4" fmla="*/ 6 w 11"/>
                          <a:gd name="T5" fmla="*/ 1 h 3"/>
                          <a:gd name="T6" fmla="*/ 13 w 11"/>
                          <a:gd name="T7" fmla="*/ 1 h 3"/>
                          <a:gd name="T8" fmla="*/ 5 w 11"/>
                          <a:gd name="T9" fmla="*/ 4 h 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11"/>
                          <a:gd name="T16" fmla="*/ 0 h 3"/>
                          <a:gd name="T17" fmla="*/ 11 w 11"/>
                          <a:gd name="T18" fmla="*/ 3 h 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11" h="3">
                            <a:moveTo>
                              <a:pt x="4" y="3"/>
                            </a:moveTo>
                            <a:cubicBezTo>
                              <a:pt x="3" y="3"/>
                              <a:pt x="0" y="3"/>
                              <a:pt x="1" y="3"/>
                            </a:cubicBezTo>
                            <a:cubicBezTo>
                              <a:pt x="1" y="2"/>
                              <a:pt x="3" y="2"/>
                              <a:pt x="5" y="1"/>
                            </a:cubicBezTo>
                            <a:cubicBezTo>
                              <a:pt x="7" y="1"/>
                              <a:pt x="11" y="0"/>
                              <a:pt x="11" y="1"/>
                            </a:cubicBezTo>
                            <a:cubicBezTo>
                              <a:pt x="10" y="2"/>
                              <a:pt x="7" y="2"/>
                              <a:pt x="4" y="3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55" name="Freeform 3169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1736360" y="2061498"/>
                        <a:ext cx="4474" cy="4984"/>
                      </a:xfrm>
                      <a:custGeom>
                        <a:avLst/>
                        <a:gdLst>
                          <a:gd name="T0" fmla="*/ 2 w 4"/>
                          <a:gd name="T1" fmla="*/ 4 h 5"/>
                          <a:gd name="T2" fmla="*/ 0 w 4"/>
                          <a:gd name="T3" fmla="*/ 5 h 5"/>
                          <a:gd name="T4" fmla="*/ 1 w 4"/>
                          <a:gd name="T5" fmla="*/ 2 h 5"/>
                          <a:gd name="T6" fmla="*/ 3 w 4"/>
                          <a:gd name="T7" fmla="*/ 1 h 5"/>
                          <a:gd name="T8" fmla="*/ 2 w 4"/>
                          <a:gd name="T9" fmla="*/ 4 h 5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4"/>
                          <a:gd name="T16" fmla="*/ 0 h 5"/>
                          <a:gd name="T17" fmla="*/ 4 w 4"/>
                          <a:gd name="T18" fmla="*/ 5 h 5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4" h="5">
                            <a:moveTo>
                              <a:pt x="2" y="3"/>
                            </a:moveTo>
                            <a:cubicBezTo>
                              <a:pt x="2" y="4"/>
                              <a:pt x="1" y="5"/>
                              <a:pt x="0" y="4"/>
                            </a:cubicBezTo>
                            <a:cubicBezTo>
                              <a:pt x="0" y="4"/>
                              <a:pt x="1" y="3"/>
                              <a:pt x="1" y="2"/>
                            </a:cubicBezTo>
                            <a:cubicBezTo>
                              <a:pt x="2" y="1"/>
                              <a:pt x="3" y="0"/>
                              <a:pt x="3" y="1"/>
                            </a:cubicBezTo>
                            <a:cubicBezTo>
                              <a:pt x="4" y="1"/>
                              <a:pt x="3" y="3"/>
                              <a:pt x="2" y="3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56" name="Freeform 3170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1830314" y="2040731"/>
                        <a:ext cx="6712" cy="3322"/>
                      </a:xfrm>
                      <a:custGeom>
                        <a:avLst/>
                        <a:gdLst>
                          <a:gd name="T0" fmla="*/ 2 w 5"/>
                          <a:gd name="T1" fmla="*/ 3 h 3"/>
                          <a:gd name="T2" fmla="*/ 1 w 5"/>
                          <a:gd name="T3" fmla="*/ 4 h 3"/>
                          <a:gd name="T4" fmla="*/ 2 w 5"/>
                          <a:gd name="T5" fmla="*/ 1 h 3"/>
                          <a:gd name="T6" fmla="*/ 5 w 5"/>
                          <a:gd name="T7" fmla="*/ 0 h 3"/>
                          <a:gd name="T8" fmla="*/ 2 w 5"/>
                          <a:gd name="T9" fmla="*/ 3 h 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5"/>
                          <a:gd name="T16" fmla="*/ 0 h 3"/>
                          <a:gd name="T17" fmla="*/ 5 w 5"/>
                          <a:gd name="T18" fmla="*/ 3 h 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5" h="3">
                            <a:moveTo>
                              <a:pt x="2" y="2"/>
                            </a:moveTo>
                            <a:cubicBezTo>
                              <a:pt x="2" y="3"/>
                              <a:pt x="1" y="3"/>
                              <a:pt x="1" y="3"/>
                            </a:cubicBezTo>
                            <a:cubicBezTo>
                              <a:pt x="0" y="2"/>
                              <a:pt x="1" y="1"/>
                              <a:pt x="2" y="1"/>
                            </a:cubicBezTo>
                            <a:cubicBezTo>
                              <a:pt x="3" y="0"/>
                              <a:pt x="4" y="0"/>
                              <a:pt x="4" y="0"/>
                            </a:cubicBezTo>
                            <a:cubicBezTo>
                              <a:pt x="5" y="1"/>
                              <a:pt x="3" y="2"/>
                              <a:pt x="2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57" name="Freeform 3171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019339" y="1975108"/>
                        <a:ext cx="3356" cy="4154"/>
                      </a:xfrm>
                      <a:custGeom>
                        <a:avLst/>
                        <a:gdLst>
                          <a:gd name="T0" fmla="*/ 1 w 3"/>
                          <a:gd name="T1" fmla="*/ 4 h 4"/>
                          <a:gd name="T2" fmla="*/ 0 w 3"/>
                          <a:gd name="T3" fmla="*/ 5 h 4"/>
                          <a:gd name="T4" fmla="*/ 1 w 3"/>
                          <a:gd name="T5" fmla="*/ 3 h 4"/>
                          <a:gd name="T6" fmla="*/ 3 w 3"/>
                          <a:gd name="T7" fmla="*/ 0 h 4"/>
                          <a:gd name="T8" fmla="*/ 1 w 3"/>
                          <a:gd name="T9" fmla="*/ 4 h 4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3"/>
                          <a:gd name="T16" fmla="*/ 0 h 4"/>
                          <a:gd name="T17" fmla="*/ 3 w 3"/>
                          <a:gd name="T18" fmla="*/ 4 h 4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3" h="4">
                            <a:moveTo>
                              <a:pt x="1" y="3"/>
                            </a:moveTo>
                            <a:cubicBezTo>
                              <a:pt x="1" y="4"/>
                              <a:pt x="0" y="4"/>
                              <a:pt x="0" y="4"/>
                            </a:cubicBezTo>
                            <a:cubicBezTo>
                              <a:pt x="0" y="4"/>
                              <a:pt x="0" y="3"/>
                              <a:pt x="1" y="2"/>
                            </a:cubicBezTo>
                            <a:cubicBezTo>
                              <a:pt x="1" y="1"/>
                              <a:pt x="2" y="0"/>
                              <a:pt x="3" y="0"/>
                            </a:cubicBezTo>
                            <a:cubicBezTo>
                              <a:pt x="3" y="1"/>
                              <a:pt x="2" y="2"/>
                              <a:pt x="1" y="3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58" name="Freeform 3172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1973481" y="1964310"/>
                        <a:ext cx="4474" cy="4984"/>
                      </a:xfrm>
                      <a:custGeom>
                        <a:avLst/>
                        <a:gdLst>
                          <a:gd name="T0" fmla="*/ 3 w 3"/>
                          <a:gd name="T1" fmla="*/ 5 h 5"/>
                          <a:gd name="T2" fmla="*/ 0 w 3"/>
                          <a:gd name="T3" fmla="*/ 6 h 5"/>
                          <a:gd name="T4" fmla="*/ 1 w 3"/>
                          <a:gd name="T5" fmla="*/ 2 h 5"/>
                          <a:gd name="T6" fmla="*/ 4 w 3"/>
                          <a:gd name="T7" fmla="*/ 1 h 5"/>
                          <a:gd name="T8" fmla="*/ 3 w 3"/>
                          <a:gd name="T9" fmla="*/ 5 h 5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3"/>
                          <a:gd name="T16" fmla="*/ 0 h 5"/>
                          <a:gd name="T17" fmla="*/ 3 w 3"/>
                          <a:gd name="T18" fmla="*/ 5 h 5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3" h="5">
                            <a:moveTo>
                              <a:pt x="2" y="4"/>
                            </a:moveTo>
                            <a:cubicBezTo>
                              <a:pt x="2" y="4"/>
                              <a:pt x="1" y="5"/>
                              <a:pt x="0" y="5"/>
                            </a:cubicBezTo>
                            <a:cubicBezTo>
                              <a:pt x="0" y="4"/>
                              <a:pt x="0" y="3"/>
                              <a:pt x="1" y="2"/>
                            </a:cubicBezTo>
                            <a:cubicBezTo>
                              <a:pt x="1" y="2"/>
                              <a:pt x="2" y="0"/>
                              <a:pt x="3" y="1"/>
                            </a:cubicBezTo>
                            <a:cubicBezTo>
                              <a:pt x="3" y="1"/>
                              <a:pt x="2" y="3"/>
                              <a:pt x="2" y="4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59" name="Freeform 3173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160269" y="2063990"/>
                        <a:ext cx="6712" cy="5815"/>
                      </a:xfrm>
                      <a:custGeom>
                        <a:avLst/>
                        <a:gdLst>
                          <a:gd name="T0" fmla="*/ 5 w 5"/>
                          <a:gd name="T1" fmla="*/ 5 h 6"/>
                          <a:gd name="T2" fmla="*/ 5 w 5"/>
                          <a:gd name="T3" fmla="*/ 7 h 6"/>
                          <a:gd name="T4" fmla="*/ 2 w 5"/>
                          <a:gd name="T5" fmla="*/ 5 h 6"/>
                          <a:gd name="T6" fmla="*/ 0 w 5"/>
                          <a:gd name="T7" fmla="*/ 0 h 6"/>
                          <a:gd name="T8" fmla="*/ 5 w 5"/>
                          <a:gd name="T9" fmla="*/ 5 h 6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5"/>
                          <a:gd name="T16" fmla="*/ 0 h 6"/>
                          <a:gd name="T17" fmla="*/ 5 w 5"/>
                          <a:gd name="T18" fmla="*/ 6 h 6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5" h="6">
                            <a:moveTo>
                              <a:pt x="4" y="4"/>
                            </a:moveTo>
                            <a:cubicBezTo>
                              <a:pt x="4" y="4"/>
                              <a:pt x="5" y="6"/>
                              <a:pt x="4" y="6"/>
                            </a:cubicBezTo>
                            <a:cubicBezTo>
                              <a:pt x="4" y="6"/>
                              <a:pt x="3" y="5"/>
                              <a:pt x="2" y="4"/>
                            </a:cubicBezTo>
                            <a:cubicBezTo>
                              <a:pt x="1" y="3"/>
                              <a:pt x="0" y="0"/>
                              <a:pt x="0" y="0"/>
                            </a:cubicBezTo>
                            <a:cubicBezTo>
                              <a:pt x="1" y="0"/>
                              <a:pt x="3" y="2"/>
                              <a:pt x="4" y="4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60" name="Freeform 3174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133425" y="2028271"/>
                        <a:ext cx="2237" cy="4984"/>
                      </a:xfrm>
                      <a:custGeom>
                        <a:avLst/>
                        <a:gdLst>
                          <a:gd name="T0" fmla="*/ 1 w 2"/>
                          <a:gd name="T1" fmla="*/ 5 h 5"/>
                          <a:gd name="T2" fmla="*/ 0 w 2"/>
                          <a:gd name="T3" fmla="*/ 6 h 5"/>
                          <a:gd name="T4" fmla="*/ 0 w 2"/>
                          <a:gd name="T5" fmla="*/ 4 h 5"/>
                          <a:gd name="T6" fmla="*/ 1 w 2"/>
                          <a:gd name="T7" fmla="*/ 1 h 5"/>
                          <a:gd name="T8" fmla="*/ 1 w 2"/>
                          <a:gd name="T9" fmla="*/ 5 h 5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"/>
                          <a:gd name="T16" fmla="*/ 0 h 5"/>
                          <a:gd name="T17" fmla="*/ 2 w 2"/>
                          <a:gd name="T18" fmla="*/ 5 h 5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" h="5">
                            <a:moveTo>
                              <a:pt x="1" y="4"/>
                            </a:moveTo>
                            <a:cubicBezTo>
                              <a:pt x="1" y="4"/>
                              <a:pt x="1" y="5"/>
                              <a:pt x="0" y="5"/>
                            </a:cubicBezTo>
                            <a:cubicBezTo>
                              <a:pt x="0" y="5"/>
                              <a:pt x="0" y="4"/>
                              <a:pt x="0" y="3"/>
                            </a:cubicBezTo>
                            <a:cubicBezTo>
                              <a:pt x="0" y="2"/>
                              <a:pt x="0" y="0"/>
                              <a:pt x="1" y="1"/>
                            </a:cubicBezTo>
                            <a:cubicBezTo>
                              <a:pt x="2" y="1"/>
                              <a:pt x="1" y="3"/>
                              <a:pt x="1" y="4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61" name="Freeform 3175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180402" y="2041562"/>
                        <a:ext cx="5593" cy="4154"/>
                      </a:xfrm>
                      <a:custGeom>
                        <a:avLst/>
                        <a:gdLst>
                          <a:gd name="T0" fmla="*/ 4 w 4"/>
                          <a:gd name="T1" fmla="*/ 3 h 4"/>
                          <a:gd name="T2" fmla="*/ 4 w 4"/>
                          <a:gd name="T3" fmla="*/ 5 h 4"/>
                          <a:gd name="T4" fmla="*/ 1 w 4"/>
                          <a:gd name="T5" fmla="*/ 4 h 4"/>
                          <a:gd name="T6" fmla="*/ 0 w 4"/>
                          <a:gd name="T7" fmla="*/ 1 h 4"/>
                          <a:gd name="T8" fmla="*/ 4 w 4"/>
                          <a:gd name="T9" fmla="*/ 3 h 4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4"/>
                          <a:gd name="T16" fmla="*/ 0 h 4"/>
                          <a:gd name="T17" fmla="*/ 4 w 4"/>
                          <a:gd name="T18" fmla="*/ 4 h 4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4" h="4">
                            <a:moveTo>
                              <a:pt x="3" y="2"/>
                            </a:moveTo>
                            <a:cubicBezTo>
                              <a:pt x="3" y="3"/>
                              <a:pt x="4" y="4"/>
                              <a:pt x="3" y="4"/>
                            </a:cubicBezTo>
                            <a:cubicBezTo>
                              <a:pt x="3" y="4"/>
                              <a:pt x="2" y="3"/>
                              <a:pt x="1" y="3"/>
                            </a:cubicBezTo>
                            <a:cubicBezTo>
                              <a:pt x="1" y="2"/>
                              <a:pt x="0" y="1"/>
                              <a:pt x="0" y="1"/>
                            </a:cubicBezTo>
                            <a:cubicBezTo>
                              <a:pt x="1" y="0"/>
                              <a:pt x="2" y="1"/>
                              <a:pt x="3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62" name="Freeform 3176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197179" y="2090571"/>
                        <a:ext cx="6712" cy="5815"/>
                      </a:xfrm>
                      <a:custGeom>
                        <a:avLst/>
                        <a:gdLst>
                          <a:gd name="T0" fmla="*/ 5 w 5"/>
                          <a:gd name="T1" fmla="*/ 4 h 6"/>
                          <a:gd name="T2" fmla="*/ 5 w 5"/>
                          <a:gd name="T3" fmla="*/ 7 h 6"/>
                          <a:gd name="T4" fmla="*/ 2 w 5"/>
                          <a:gd name="T5" fmla="*/ 5 h 6"/>
                          <a:gd name="T6" fmla="*/ 1 w 5"/>
                          <a:gd name="T7" fmla="*/ 0 h 6"/>
                          <a:gd name="T8" fmla="*/ 5 w 5"/>
                          <a:gd name="T9" fmla="*/ 4 h 6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5"/>
                          <a:gd name="T16" fmla="*/ 0 h 6"/>
                          <a:gd name="T17" fmla="*/ 5 w 5"/>
                          <a:gd name="T18" fmla="*/ 6 h 6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5" h="6">
                            <a:moveTo>
                              <a:pt x="4" y="3"/>
                            </a:moveTo>
                            <a:cubicBezTo>
                              <a:pt x="4" y="4"/>
                              <a:pt x="5" y="5"/>
                              <a:pt x="4" y="6"/>
                            </a:cubicBezTo>
                            <a:cubicBezTo>
                              <a:pt x="3" y="6"/>
                              <a:pt x="2" y="4"/>
                              <a:pt x="2" y="4"/>
                            </a:cubicBezTo>
                            <a:cubicBezTo>
                              <a:pt x="1" y="2"/>
                              <a:pt x="0" y="0"/>
                              <a:pt x="1" y="0"/>
                            </a:cubicBezTo>
                            <a:cubicBezTo>
                              <a:pt x="2" y="0"/>
                              <a:pt x="3" y="2"/>
                              <a:pt x="4" y="3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63" name="Freeform 3177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209483" y="2105523"/>
                        <a:ext cx="4474" cy="4984"/>
                      </a:xfrm>
                      <a:custGeom>
                        <a:avLst/>
                        <a:gdLst>
                          <a:gd name="T0" fmla="*/ 4 w 3"/>
                          <a:gd name="T1" fmla="*/ 4 h 5"/>
                          <a:gd name="T2" fmla="*/ 4 w 3"/>
                          <a:gd name="T3" fmla="*/ 6 h 5"/>
                          <a:gd name="T4" fmla="*/ 1 w 3"/>
                          <a:gd name="T5" fmla="*/ 4 h 5"/>
                          <a:gd name="T6" fmla="*/ 1 w 3"/>
                          <a:gd name="T7" fmla="*/ 1 h 5"/>
                          <a:gd name="T8" fmla="*/ 4 w 3"/>
                          <a:gd name="T9" fmla="*/ 4 h 5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3"/>
                          <a:gd name="T16" fmla="*/ 0 h 5"/>
                          <a:gd name="T17" fmla="*/ 3 w 3"/>
                          <a:gd name="T18" fmla="*/ 5 h 5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3" h="5">
                            <a:moveTo>
                              <a:pt x="3" y="3"/>
                            </a:moveTo>
                            <a:cubicBezTo>
                              <a:pt x="3" y="4"/>
                              <a:pt x="3" y="5"/>
                              <a:pt x="3" y="5"/>
                            </a:cubicBezTo>
                            <a:cubicBezTo>
                              <a:pt x="2" y="5"/>
                              <a:pt x="1" y="4"/>
                              <a:pt x="1" y="3"/>
                            </a:cubicBezTo>
                            <a:cubicBezTo>
                              <a:pt x="1" y="2"/>
                              <a:pt x="0" y="1"/>
                              <a:pt x="1" y="1"/>
                            </a:cubicBezTo>
                            <a:cubicBezTo>
                              <a:pt x="2" y="0"/>
                              <a:pt x="2" y="2"/>
                              <a:pt x="3" y="3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64" name="Freeform 3178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287777" y="2183606"/>
                        <a:ext cx="2237" cy="6646"/>
                      </a:xfrm>
                      <a:custGeom>
                        <a:avLst/>
                        <a:gdLst>
                          <a:gd name="T0" fmla="*/ 2 w 2"/>
                          <a:gd name="T1" fmla="*/ 5 h 7"/>
                          <a:gd name="T2" fmla="*/ 2 w 2"/>
                          <a:gd name="T3" fmla="*/ 7 h 7"/>
                          <a:gd name="T4" fmla="*/ 0 w 2"/>
                          <a:gd name="T5" fmla="*/ 5 h 7"/>
                          <a:gd name="T6" fmla="*/ 0 w 2"/>
                          <a:gd name="T7" fmla="*/ 0 h 7"/>
                          <a:gd name="T8" fmla="*/ 2 w 2"/>
                          <a:gd name="T9" fmla="*/ 5 h 7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"/>
                          <a:gd name="T16" fmla="*/ 0 h 7"/>
                          <a:gd name="T17" fmla="*/ 2 w 2"/>
                          <a:gd name="T18" fmla="*/ 7 h 7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" h="7">
                            <a:moveTo>
                              <a:pt x="2" y="4"/>
                            </a:moveTo>
                            <a:cubicBezTo>
                              <a:pt x="2" y="5"/>
                              <a:pt x="2" y="7"/>
                              <a:pt x="2" y="6"/>
                            </a:cubicBezTo>
                            <a:cubicBezTo>
                              <a:pt x="1" y="6"/>
                              <a:pt x="1" y="5"/>
                              <a:pt x="0" y="4"/>
                            </a:cubicBezTo>
                            <a:cubicBezTo>
                              <a:pt x="0" y="3"/>
                              <a:pt x="0" y="0"/>
                              <a:pt x="0" y="0"/>
                            </a:cubicBezTo>
                            <a:cubicBezTo>
                              <a:pt x="1" y="0"/>
                              <a:pt x="2" y="3"/>
                              <a:pt x="2" y="4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65" name="Freeform 3184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836955" y="1670254"/>
                        <a:ext cx="6712" cy="3322"/>
                      </a:xfrm>
                      <a:custGeom>
                        <a:avLst/>
                        <a:gdLst>
                          <a:gd name="T0" fmla="*/ 2 w 5"/>
                          <a:gd name="T1" fmla="*/ 3 h 4"/>
                          <a:gd name="T2" fmla="*/ 1 w 5"/>
                          <a:gd name="T3" fmla="*/ 4 h 4"/>
                          <a:gd name="T4" fmla="*/ 2 w 5"/>
                          <a:gd name="T5" fmla="*/ 2 h 4"/>
                          <a:gd name="T6" fmla="*/ 5 w 5"/>
                          <a:gd name="T7" fmla="*/ 1 h 4"/>
                          <a:gd name="T8" fmla="*/ 2 w 5"/>
                          <a:gd name="T9" fmla="*/ 3 h 4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5"/>
                          <a:gd name="T16" fmla="*/ 0 h 4"/>
                          <a:gd name="T17" fmla="*/ 5 w 5"/>
                          <a:gd name="T18" fmla="*/ 4 h 4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5" h="4">
                            <a:moveTo>
                              <a:pt x="2" y="3"/>
                            </a:moveTo>
                            <a:cubicBezTo>
                              <a:pt x="2" y="4"/>
                              <a:pt x="1" y="4"/>
                              <a:pt x="1" y="4"/>
                            </a:cubicBezTo>
                            <a:cubicBezTo>
                              <a:pt x="0" y="3"/>
                              <a:pt x="1" y="2"/>
                              <a:pt x="2" y="2"/>
                            </a:cubicBezTo>
                            <a:cubicBezTo>
                              <a:pt x="3" y="1"/>
                              <a:pt x="4" y="0"/>
                              <a:pt x="4" y="1"/>
                            </a:cubicBezTo>
                            <a:cubicBezTo>
                              <a:pt x="5" y="2"/>
                              <a:pt x="3" y="3"/>
                              <a:pt x="2" y="3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66" name="Freeform 3185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843667" y="1620414"/>
                        <a:ext cx="6712" cy="1661"/>
                      </a:xfrm>
                      <a:custGeom>
                        <a:avLst/>
                        <a:gdLst>
                          <a:gd name="T0" fmla="*/ 2 w 5"/>
                          <a:gd name="T1" fmla="*/ 2 h 2"/>
                          <a:gd name="T2" fmla="*/ 0 w 5"/>
                          <a:gd name="T3" fmla="*/ 1 h 2"/>
                          <a:gd name="T4" fmla="*/ 2 w 5"/>
                          <a:gd name="T5" fmla="*/ 0 h 2"/>
                          <a:gd name="T6" fmla="*/ 5 w 5"/>
                          <a:gd name="T7" fmla="*/ 1 h 2"/>
                          <a:gd name="T8" fmla="*/ 2 w 5"/>
                          <a:gd name="T9" fmla="*/ 2 h 2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5"/>
                          <a:gd name="T16" fmla="*/ 0 h 2"/>
                          <a:gd name="T17" fmla="*/ 5 w 5"/>
                          <a:gd name="T18" fmla="*/ 2 h 2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5" h="2">
                            <a:moveTo>
                              <a:pt x="2" y="2"/>
                            </a:moveTo>
                            <a:cubicBezTo>
                              <a:pt x="1" y="2"/>
                              <a:pt x="0" y="2"/>
                              <a:pt x="0" y="1"/>
                            </a:cubicBezTo>
                            <a:cubicBezTo>
                              <a:pt x="0" y="1"/>
                              <a:pt x="1" y="0"/>
                              <a:pt x="2" y="0"/>
                            </a:cubicBezTo>
                            <a:cubicBezTo>
                              <a:pt x="3" y="0"/>
                              <a:pt x="5" y="0"/>
                              <a:pt x="4" y="1"/>
                            </a:cubicBezTo>
                            <a:cubicBezTo>
                              <a:pt x="4" y="2"/>
                              <a:pt x="3" y="2"/>
                              <a:pt x="2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67" name="Freeform 3186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3114341" y="1920285"/>
                        <a:ext cx="11185" cy="3322"/>
                      </a:xfrm>
                      <a:custGeom>
                        <a:avLst/>
                        <a:gdLst>
                          <a:gd name="T0" fmla="*/ 7 w 8"/>
                          <a:gd name="T1" fmla="*/ 1 h 3"/>
                          <a:gd name="T2" fmla="*/ 10 w 8"/>
                          <a:gd name="T3" fmla="*/ 3 h 3"/>
                          <a:gd name="T4" fmla="*/ 5 w 8"/>
                          <a:gd name="T5" fmla="*/ 4 h 3"/>
                          <a:gd name="T6" fmla="*/ 1 w 8"/>
                          <a:gd name="T7" fmla="*/ 1 h 3"/>
                          <a:gd name="T8" fmla="*/ 7 w 8"/>
                          <a:gd name="T9" fmla="*/ 1 h 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8"/>
                          <a:gd name="T16" fmla="*/ 0 h 3"/>
                          <a:gd name="T17" fmla="*/ 8 w 8"/>
                          <a:gd name="T18" fmla="*/ 3 h 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8" h="3">
                            <a:moveTo>
                              <a:pt x="6" y="1"/>
                            </a:moveTo>
                            <a:cubicBezTo>
                              <a:pt x="7" y="1"/>
                              <a:pt x="8" y="2"/>
                              <a:pt x="8" y="2"/>
                            </a:cubicBezTo>
                            <a:cubicBezTo>
                              <a:pt x="8" y="3"/>
                              <a:pt x="6" y="3"/>
                              <a:pt x="4" y="3"/>
                            </a:cubicBezTo>
                            <a:cubicBezTo>
                              <a:pt x="3" y="2"/>
                              <a:pt x="0" y="2"/>
                              <a:pt x="1" y="1"/>
                            </a:cubicBezTo>
                            <a:cubicBezTo>
                              <a:pt x="2" y="0"/>
                              <a:pt x="4" y="1"/>
                              <a:pt x="6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68" name="Freeform 3187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972293" y="1856323"/>
                        <a:ext cx="5593" cy="9137"/>
                      </a:xfrm>
                      <a:custGeom>
                        <a:avLst/>
                        <a:gdLst>
                          <a:gd name="T0" fmla="*/ 4 w 4"/>
                          <a:gd name="T1" fmla="*/ 6 h 9"/>
                          <a:gd name="T2" fmla="*/ 3 w 4"/>
                          <a:gd name="T3" fmla="*/ 11 h 9"/>
                          <a:gd name="T4" fmla="*/ 0 w 4"/>
                          <a:gd name="T5" fmla="*/ 6 h 9"/>
                          <a:gd name="T6" fmla="*/ 1 w 4"/>
                          <a:gd name="T7" fmla="*/ 0 h 9"/>
                          <a:gd name="T8" fmla="*/ 4 w 4"/>
                          <a:gd name="T9" fmla="*/ 6 h 9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4"/>
                          <a:gd name="T16" fmla="*/ 0 h 9"/>
                          <a:gd name="T17" fmla="*/ 4 w 4"/>
                          <a:gd name="T18" fmla="*/ 9 h 9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4" h="9">
                            <a:moveTo>
                              <a:pt x="3" y="5"/>
                            </a:moveTo>
                            <a:cubicBezTo>
                              <a:pt x="4" y="7"/>
                              <a:pt x="3" y="9"/>
                              <a:pt x="2" y="9"/>
                            </a:cubicBezTo>
                            <a:cubicBezTo>
                              <a:pt x="1" y="8"/>
                              <a:pt x="1" y="6"/>
                              <a:pt x="0" y="5"/>
                            </a:cubicBezTo>
                            <a:cubicBezTo>
                              <a:pt x="0" y="3"/>
                              <a:pt x="0" y="0"/>
                              <a:pt x="1" y="0"/>
                            </a:cubicBezTo>
                            <a:cubicBezTo>
                              <a:pt x="3" y="0"/>
                              <a:pt x="3" y="4"/>
                              <a:pt x="3" y="5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69" name="Freeform 3188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782149" y="1812297"/>
                        <a:ext cx="6712" cy="4984"/>
                      </a:xfrm>
                      <a:custGeom>
                        <a:avLst/>
                        <a:gdLst>
                          <a:gd name="T0" fmla="*/ 5 w 5"/>
                          <a:gd name="T1" fmla="*/ 4 h 5"/>
                          <a:gd name="T2" fmla="*/ 5 w 5"/>
                          <a:gd name="T3" fmla="*/ 6 h 5"/>
                          <a:gd name="T4" fmla="*/ 2 w 5"/>
                          <a:gd name="T5" fmla="*/ 4 h 5"/>
                          <a:gd name="T6" fmla="*/ 1 w 5"/>
                          <a:gd name="T7" fmla="*/ 0 h 5"/>
                          <a:gd name="T8" fmla="*/ 5 w 5"/>
                          <a:gd name="T9" fmla="*/ 4 h 5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5"/>
                          <a:gd name="T16" fmla="*/ 0 h 5"/>
                          <a:gd name="T17" fmla="*/ 5 w 5"/>
                          <a:gd name="T18" fmla="*/ 5 h 5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5" h="5">
                            <a:moveTo>
                              <a:pt x="4" y="3"/>
                            </a:moveTo>
                            <a:cubicBezTo>
                              <a:pt x="4" y="3"/>
                              <a:pt x="5" y="4"/>
                              <a:pt x="4" y="5"/>
                            </a:cubicBezTo>
                            <a:cubicBezTo>
                              <a:pt x="3" y="5"/>
                              <a:pt x="2" y="4"/>
                              <a:pt x="2" y="3"/>
                            </a:cubicBezTo>
                            <a:cubicBezTo>
                              <a:pt x="1" y="2"/>
                              <a:pt x="0" y="1"/>
                              <a:pt x="1" y="0"/>
                            </a:cubicBezTo>
                            <a:cubicBezTo>
                              <a:pt x="2" y="0"/>
                              <a:pt x="3" y="2"/>
                              <a:pt x="4" y="3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70" name="Freeform 3239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1729650" y="2060667"/>
                        <a:ext cx="3356" cy="3322"/>
                      </a:xfrm>
                      <a:custGeom>
                        <a:avLst/>
                        <a:gdLst>
                          <a:gd name="T0" fmla="*/ 3 w 3"/>
                          <a:gd name="T1" fmla="*/ 3 h 3"/>
                          <a:gd name="T2" fmla="*/ 1 w 3"/>
                          <a:gd name="T3" fmla="*/ 4 h 3"/>
                          <a:gd name="T4" fmla="*/ 0 w 3"/>
                          <a:gd name="T5" fmla="*/ 1 h 3"/>
                          <a:gd name="T6" fmla="*/ 2 w 3"/>
                          <a:gd name="T7" fmla="*/ 0 h 3"/>
                          <a:gd name="T8" fmla="*/ 3 w 3"/>
                          <a:gd name="T9" fmla="*/ 3 h 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3"/>
                          <a:gd name="T16" fmla="*/ 0 h 3"/>
                          <a:gd name="T17" fmla="*/ 3 w 3"/>
                          <a:gd name="T18" fmla="*/ 3 h 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3" h="3">
                            <a:moveTo>
                              <a:pt x="3" y="2"/>
                            </a:moveTo>
                            <a:cubicBezTo>
                              <a:pt x="3" y="2"/>
                              <a:pt x="2" y="3"/>
                              <a:pt x="1" y="3"/>
                            </a:cubicBezTo>
                            <a:cubicBezTo>
                              <a:pt x="0" y="3"/>
                              <a:pt x="0" y="2"/>
                              <a:pt x="0" y="1"/>
                            </a:cubicBezTo>
                            <a:cubicBezTo>
                              <a:pt x="0" y="1"/>
                              <a:pt x="0" y="0"/>
                              <a:pt x="2" y="0"/>
                            </a:cubicBezTo>
                            <a:cubicBezTo>
                              <a:pt x="3" y="0"/>
                              <a:pt x="3" y="1"/>
                              <a:pt x="3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71" name="Freeform 3240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194941" y="2081434"/>
                        <a:ext cx="2237" cy="4154"/>
                      </a:xfrm>
                      <a:custGeom>
                        <a:avLst/>
                        <a:gdLst>
                          <a:gd name="T0" fmla="*/ 2 w 2"/>
                          <a:gd name="T1" fmla="*/ 4 h 4"/>
                          <a:gd name="T2" fmla="*/ 1 w 2"/>
                          <a:gd name="T3" fmla="*/ 5 h 4"/>
                          <a:gd name="T4" fmla="*/ 0 w 2"/>
                          <a:gd name="T5" fmla="*/ 3 h 4"/>
                          <a:gd name="T6" fmla="*/ 1 w 2"/>
                          <a:gd name="T7" fmla="*/ 0 h 4"/>
                          <a:gd name="T8" fmla="*/ 2 w 2"/>
                          <a:gd name="T9" fmla="*/ 4 h 4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"/>
                          <a:gd name="T16" fmla="*/ 0 h 4"/>
                          <a:gd name="T17" fmla="*/ 2 w 2"/>
                          <a:gd name="T18" fmla="*/ 4 h 4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" h="4">
                            <a:moveTo>
                              <a:pt x="2" y="3"/>
                            </a:moveTo>
                            <a:cubicBezTo>
                              <a:pt x="2" y="3"/>
                              <a:pt x="2" y="4"/>
                              <a:pt x="1" y="4"/>
                            </a:cubicBezTo>
                            <a:cubicBezTo>
                              <a:pt x="0" y="4"/>
                              <a:pt x="0" y="3"/>
                              <a:pt x="0" y="2"/>
                            </a:cubicBezTo>
                            <a:cubicBezTo>
                              <a:pt x="0" y="2"/>
                              <a:pt x="0" y="0"/>
                              <a:pt x="1" y="0"/>
                            </a:cubicBezTo>
                            <a:cubicBezTo>
                              <a:pt x="2" y="1"/>
                              <a:pt x="2" y="2"/>
                              <a:pt x="2" y="3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72" name="Freeform 3241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172572" y="2041562"/>
                        <a:ext cx="3356" cy="3322"/>
                      </a:xfrm>
                      <a:custGeom>
                        <a:avLst/>
                        <a:gdLst>
                          <a:gd name="T0" fmla="*/ 2 w 3"/>
                          <a:gd name="T1" fmla="*/ 3 h 3"/>
                          <a:gd name="T2" fmla="*/ 0 w 3"/>
                          <a:gd name="T3" fmla="*/ 4 h 3"/>
                          <a:gd name="T4" fmla="*/ 0 w 3"/>
                          <a:gd name="T5" fmla="*/ 1 h 3"/>
                          <a:gd name="T6" fmla="*/ 2 w 3"/>
                          <a:gd name="T7" fmla="*/ 0 h 3"/>
                          <a:gd name="T8" fmla="*/ 2 w 3"/>
                          <a:gd name="T9" fmla="*/ 3 h 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3"/>
                          <a:gd name="T16" fmla="*/ 0 h 3"/>
                          <a:gd name="T17" fmla="*/ 3 w 3"/>
                          <a:gd name="T18" fmla="*/ 3 h 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3" h="3">
                            <a:moveTo>
                              <a:pt x="2" y="2"/>
                            </a:moveTo>
                            <a:cubicBezTo>
                              <a:pt x="1" y="3"/>
                              <a:pt x="1" y="3"/>
                              <a:pt x="0" y="3"/>
                            </a:cubicBezTo>
                            <a:cubicBezTo>
                              <a:pt x="0" y="2"/>
                              <a:pt x="0" y="2"/>
                              <a:pt x="0" y="1"/>
                            </a:cubicBezTo>
                            <a:cubicBezTo>
                              <a:pt x="0" y="1"/>
                              <a:pt x="1" y="0"/>
                              <a:pt x="2" y="0"/>
                            </a:cubicBezTo>
                            <a:cubicBezTo>
                              <a:pt x="3" y="1"/>
                              <a:pt x="2" y="2"/>
                              <a:pt x="2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73" name="Freeform 3251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736292" y="1754151"/>
                        <a:ext cx="5593" cy="3322"/>
                      </a:xfrm>
                      <a:custGeom>
                        <a:avLst/>
                        <a:gdLst>
                          <a:gd name="T0" fmla="*/ 4 w 4"/>
                          <a:gd name="T1" fmla="*/ 2 h 4"/>
                          <a:gd name="T2" fmla="*/ 4 w 4"/>
                          <a:gd name="T3" fmla="*/ 3 h 4"/>
                          <a:gd name="T4" fmla="*/ 3 w 4"/>
                          <a:gd name="T5" fmla="*/ 3 h 4"/>
                          <a:gd name="T6" fmla="*/ 1 w 4"/>
                          <a:gd name="T7" fmla="*/ 1 h 4"/>
                          <a:gd name="T8" fmla="*/ 4 w 4"/>
                          <a:gd name="T9" fmla="*/ 2 h 4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4"/>
                          <a:gd name="T16" fmla="*/ 0 h 4"/>
                          <a:gd name="T17" fmla="*/ 4 w 4"/>
                          <a:gd name="T18" fmla="*/ 4 h 4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4" h="4">
                            <a:moveTo>
                              <a:pt x="3" y="2"/>
                            </a:moveTo>
                            <a:cubicBezTo>
                              <a:pt x="3" y="2"/>
                              <a:pt x="4" y="3"/>
                              <a:pt x="3" y="3"/>
                            </a:cubicBezTo>
                            <a:cubicBezTo>
                              <a:pt x="3" y="4"/>
                              <a:pt x="2" y="3"/>
                              <a:pt x="2" y="3"/>
                            </a:cubicBezTo>
                            <a:cubicBezTo>
                              <a:pt x="1" y="2"/>
                              <a:pt x="0" y="1"/>
                              <a:pt x="1" y="1"/>
                            </a:cubicBezTo>
                            <a:cubicBezTo>
                              <a:pt x="2" y="0"/>
                              <a:pt x="3" y="1"/>
                              <a:pt x="3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74" name="Freeform 3252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773202" y="1756643"/>
                        <a:ext cx="4474" cy="4984"/>
                      </a:xfrm>
                      <a:custGeom>
                        <a:avLst/>
                        <a:gdLst>
                          <a:gd name="T0" fmla="*/ 3 w 3"/>
                          <a:gd name="T1" fmla="*/ 4 h 5"/>
                          <a:gd name="T2" fmla="*/ 1 w 3"/>
                          <a:gd name="T3" fmla="*/ 5 h 5"/>
                          <a:gd name="T4" fmla="*/ 0 w 3"/>
                          <a:gd name="T5" fmla="*/ 2 h 5"/>
                          <a:gd name="T6" fmla="*/ 3 w 3"/>
                          <a:gd name="T7" fmla="*/ 0 h 5"/>
                          <a:gd name="T8" fmla="*/ 3 w 3"/>
                          <a:gd name="T9" fmla="*/ 4 h 5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3"/>
                          <a:gd name="T16" fmla="*/ 0 h 5"/>
                          <a:gd name="T17" fmla="*/ 3 w 3"/>
                          <a:gd name="T18" fmla="*/ 5 h 5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3" h="5">
                            <a:moveTo>
                              <a:pt x="2" y="3"/>
                            </a:moveTo>
                            <a:cubicBezTo>
                              <a:pt x="2" y="4"/>
                              <a:pt x="2" y="5"/>
                              <a:pt x="1" y="4"/>
                            </a:cubicBezTo>
                            <a:cubicBezTo>
                              <a:pt x="0" y="4"/>
                              <a:pt x="0" y="3"/>
                              <a:pt x="0" y="2"/>
                            </a:cubicBezTo>
                            <a:cubicBezTo>
                              <a:pt x="0" y="2"/>
                              <a:pt x="1" y="0"/>
                              <a:pt x="2" y="0"/>
                            </a:cubicBezTo>
                            <a:cubicBezTo>
                              <a:pt x="3" y="1"/>
                              <a:pt x="3" y="2"/>
                              <a:pt x="2" y="3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75" name="Freeform 3253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869392" y="1670254"/>
                        <a:ext cx="4474" cy="2493"/>
                      </a:xfrm>
                      <a:custGeom>
                        <a:avLst/>
                        <a:gdLst>
                          <a:gd name="T0" fmla="*/ 3 w 4"/>
                          <a:gd name="T1" fmla="*/ 1 h 3"/>
                          <a:gd name="T2" fmla="*/ 3 w 4"/>
                          <a:gd name="T3" fmla="*/ 3 h 3"/>
                          <a:gd name="T4" fmla="*/ 2 w 4"/>
                          <a:gd name="T5" fmla="*/ 2 h 3"/>
                          <a:gd name="T6" fmla="*/ 1 w 4"/>
                          <a:gd name="T7" fmla="*/ 1 h 3"/>
                          <a:gd name="T8" fmla="*/ 3 w 4"/>
                          <a:gd name="T9" fmla="*/ 1 h 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4"/>
                          <a:gd name="T16" fmla="*/ 0 h 3"/>
                          <a:gd name="T17" fmla="*/ 4 w 4"/>
                          <a:gd name="T18" fmla="*/ 3 h 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4" h="3">
                            <a:moveTo>
                              <a:pt x="3" y="1"/>
                            </a:moveTo>
                            <a:cubicBezTo>
                              <a:pt x="3" y="2"/>
                              <a:pt x="4" y="2"/>
                              <a:pt x="3" y="3"/>
                            </a:cubicBezTo>
                            <a:cubicBezTo>
                              <a:pt x="3" y="3"/>
                              <a:pt x="2" y="3"/>
                              <a:pt x="2" y="2"/>
                            </a:cubicBezTo>
                            <a:cubicBezTo>
                              <a:pt x="1" y="2"/>
                              <a:pt x="0" y="1"/>
                              <a:pt x="1" y="1"/>
                            </a:cubicBezTo>
                            <a:cubicBezTo>
                              <a:pt x="2" y="0"/>
                              <a:pt x="3" y="1"/>
                              <a:pt x="3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76" name="Freeform 3254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3180333" y="1736708"/>
                        <a:ext cx="2237" cy="3322"/>
                      </a:xfrm>
                      <a:custGeom>
                        <a:avLst/>
                        <a:gdLst>
                          <a:gd name="T0" fmla="*/ 2 w 2"/>
                          <a:gd name="T1" fmla="*/ 3 h 3"/>
                          <a:gd name="T2" fmla="*/ 1 w 2"/>
                          <a:gd name="T3" fmla="*/ 4 h 3"/>
                          <a:gd name="T4" fmla="*/ 0 w 2"/>
                          <a:gd name="T5" fmla="*/ 3 h 3"/>
                          <a:gd name="T6" fmla="*/ 1 w 2"/>
                          <a:gd name="T7" fmla="*/ 0 h 3"/>
                          <a:gd name="T8" fmla="*/ 2 w 2"/>
                          <a:gd name="T9" fmla="*/ 3 h 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"/>
                          <a:gd name="T16" fmla="*/ 0 h 3"/>
                          <a:gd name="T17" fmla="*/ 2 w 2"/>
                          <a:gd name="T18" fmla="*/ 3 h 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" h="3">
                            <a:moveTo>
                              <a:pt x="2" y="2"/>
                            </a:moveTo>
                            <a:cubicBezTo>
                              <a:pt x="2" y="3"/>
                              <a:pt x="1" y="3"/>
                              <a:pt x="1" y="3"/>
                            </a:cubicBezTo>
                            <a:cubicBezTo>
                              <a:pt x="0" y="3"/>
                              <a:pt x="0" y="2"/>
                              <a:pt x="0" y="2"/>
                            </a:cubicBezTo>
                            <a:cubicBezTo>
                              <a:pt x="0" y="1"/>
                              <a:pt x="1" y="0"/>
                              <a:pt x="1" y="0"/>
                            </a:cubicBezTo>
                            <a:cubicBezTo>
                              <a:pt x="2" y="0"/>
                              <a:pt x="2" y="1"/>
                              <a:pt x="2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77" name="Freeform 3255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3079668" y="1801500"/>
                        <a:ext cx="4474" cy="3322"/>
                      </a:xfrm>
                      <a:custGeom>
                        <a:avLst/>
                        <a:gdLst>
                          <a:gd name="T0" fmla="*/ 3 w 3"/>
                          <a:gd name="T1" fmla="*/ 3 h 3"/>
                          <a:gd name="T2" fmla="*/ 0 w 3"/>
                          <a:gd name="T3" fmla="*/ 4 h 3"/>
                          <a:gd name="T4" fmla="*/ 0 w 3"/>
                          <a:gd name="T5" fmla="*/ 1 h 3"/>
                          <a:gd name="T6" fmla="*/ 3 w 3"/>
                          <a:gd name="T7" fmla="*/ 0 h 3"/>
                          <a:gd name="T8" fmla="*/ 3 w 3"/>
                          <a:gd name="T9" fmla="*/ 3 h 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3"/>
                          <a:gd name="T16" fmla="*/ 0 h 3"/>
                          <a:gd name="T17" fmla="*/ 3 w 3"/>
                          <a:gd name="T18" fmla="*/ 3 h 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3" h="3">
                            <a:moveTo>
                              <a:pt x="2" y="2"/>
                            </a:moveTo>
                            <a:cubicBezTo>
                              <a:pt x="2" y="3"/>
                              <a:pt x="1" y="3"/>
                              <a:pt x="0" y="3"/>
                            </a:cubicBezTo>
                            <a:cubicBezTo>
                              <a:pt x="0" y="3"/>
                              <a:pt x="0" y="2"/>
                              <a:pt x="0" y="1"/>
                            </a:cubicBezTo>
                            <a:cubicBezTo>
                              <a:pt x="0" y="1"/>
                              <a:pt x="1" y="0"/>
                              <a:pt x="2" y="0"/>
                            </a:cubicBezTo>
                            <a:cubicBezTo>
                              <a:pt x="3" y="1"/>
                              <a:pt x="2" y="2"/>
                              <a:pt x="2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78" name="Freeform 3284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1593194" y="2024117"/>
                        <a:ext cx="7830" cy="2493"/>
                      </a:xfrm>
                      <a:custGeom>
                        <a:avLst/>
                        <a:gdLst>
                          <a:gd name="T0" fmla="*/ 4 w 6"/>
                          <a:gd name="T1" fmla="*/ 2 h 3"/>
                          <a:gd name="T2" fmla="*/ 1 w 6"/>
                          <a:gd name="T3" fmla="*/ 3 h 3"/>
                          <a:gd name="T4" fmla="*/ 2 w 6"/>
                          <a:gd name="T5" fmla="*/ 1 h 3"/>
                          <a:gd name="T6" fmla="*/ 6 w 6"/>
                          <a:gd name="T7" fmla="*/ 0 h 3"/>
                          <a:gd name="T8" fmla="*/ 4 w 6"/>
                          <a:gd name="T9" fmla="*/ 2 h 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6"/>
                          <a:gd name="T16" fmla="*/ 0 h 3"/>
                          <a:gd name="T17" fmla="*/ 6 w 6"/>
                          <a:gd name="T18" fmla="*/ 3 h 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6" h="3">
                            <a:moveTo>
                              <a:pt x="3" y="2"/>
                            </a:moveTo>
                            <a:cubicBezTo>
                              <a:pt x="3" y="3"/>
                              <a:pt x="1" y="3"/>
                              <a:pt x="1" y="3"/>
                            </a:cubicBezTo>
                            <a:cubicBezTo>
                              <a:pt x="0" y="2"/>
                              <a:pt x="2" y="1"/>
                              <a:pt x="2" y="1"/>
                            </a:cubicBezTo>
                            <a:cubicBezTo>
                              <a:pt x="4" y="0"/>
                              <a:pt x="5" y="0"/>
                              <a:pt x="5" y="0"/>
                            </a:cubicBezTo>
                            <a:cubicBezTo>
                              <a:pt x="6" y="1"/>
                              <a:pt x="5" y="2"/>
                              <a:pt x="3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79" name="Oval 3285"/>
                      <p:cNvSpPr>
                        <a:spLocks noChangeAspect="1" noChangeArrowheads="1"/>
                      </p:cNvSpPr>
                      <p:nvPr/>
                    </p:nvSpPr>
                    <p:spPr bwMode="auto">
                      <a:xfrm>
                        <a:off x="1598786" y="2035748"/>
                        <a:ext cx="4474" cy="831"/>
                      </a:xfrm>
                      <a:prstGeom prst="ellipse">
                        <a:avLst/>
                      </a:pr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80" name="Freeform 3287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1385155" y="2116322"/>
                        <a:ext cx="4474" cy="4154"/>
                      </a:xfrm>
                      <a:custGeom>
                        <a:avLst/>
                        <a:gdLst>
                          <a:gd name="T0" fmla="*/ 3 w 3"/>
                          <a:gd name="T1" fmla="*/ 4 h 4"/>
                          <a:gd name="T2" fmla="*/ 0 w 3"/>
                          <a:gd name="T3" fmla="*/ 4 h 4"/>
                          <a:gd name="T4" fmla="*/ 0 w 3"/>
                          <a:gd name="T5" fmla="*/ 3 h 4"/>
                          <a:gd name="T6" fmla="*/ 3 w 3"/>
                          <a:gd name="T7" fmla="*/ 1 h 4"/>
                          <a:gd name="T8" fmla="*/ 3 w 3"/>
                          <a:gd name="T9" fmla="*/ 4 h 4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3"/>
                          <a:gd name="T16" fmla="*/ 0 h 4"/>
                          <a:gd name="T17" fmla="*/ 3 w 3"/>
                          <a:gd name="T18" fmla="*/ 4 h 4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3" h="4">
                            <a:moveTo>
                              <a:pt x="2" y="3"/>
                            </a:moveTo>
                            <a:cubicBezTo>
                              <a:pt x="1" y="3"/>
                              <a:pt x="1" y="4"/>
                              <a:pt x="0" y="3"/>
                            </a:cubicBezTo>
                            <a:cubicBezTo>
                              <a:pt x="0" y="3"/>
                              <a:pt x="0" y="2"/>
                              <a:pt x="0" y="2"/>
                            </a:cubicBezTo>
                            <a:cubicBezTo>
                              <a:pt x="1" y="1"/>
                              <a:pt x="2" y="0"/>
                              <a:pt x="2" y="1"/>
                            </a:cubicBezTo>
                            <a:cubicBezTo>
                              <a:pt x="3" y="1"/>
                              <a:pt x="2" y="2"/>
                              <a:pt x="2" y="3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81" name="Freeform 3288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1640170" y="2079772"/>
                        <a:ext cx="3356" cy="831"/>
                      </a:xfrm>
                      <a:custGeom>
                        <a:avLst/>
                        <a:gdLst>
                          <a:gd name="T0" fmla="*/ 0 w 2"/>
                          <a:gd name="T1" fmla="*/ 1 h 1"/>
                          <a:gd name="T2" fmla="*/ 0 w 2"/>
                          <a:gd name="T3" fmla="*/ 1 h 1"/>
                          <a:gd name="T4" fmla="*/ 2 w 2"/>
                          <a:gd name="T5" fmla="*/ 0 h 1"/>
                          <a:gd name="T6" fmla="*/ 3 w 2"/>
                          <a:gd name="T7" fmla="*/ 1 h 1"/>
                          <a:gd name="T8" fmla="*/ 0 w 2"/>
                          <a:gd name="T9" fmla="*/ 1 h 1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"/>
                          <a:gd name="T16" fmla="*/ 0 h 1"/>
                          <a:gd name="T17" fmla="*/ 2 w 2"/>
                          <a:gd name="T18" fmla="*/ 1 h 1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" h="1">
                            <a:moveTo>
                              <a:pt x="0" y="1"/>
                            </a:moveTo>
                            <a:cubicBezTo>
                              <a:pt x="0" y="1"/>
                              <a:pt x="0" y="1"/>
                              <a:pt x="0" y="1"/>
                            </a:cubicBezTo>
                            <a:cubicBezTo>
                              <a:pt x="0" y="0"/>
                              <a:pt x="0" y="0"/>
                              <a:pt x="1" y="0"/>
                            </a:cubicBezTo>
                            <a:cubicBezTo>
                              <a:pt x="1" y="0"/>
                              <a:pt x="2" y="0"/>
                              <a:pt x="2" y="1"/>
                            </a:cubicBezTo>
                            <a:cubicBezTo>
                              <a:pt x="2" y="1"/>
                              <a:pt x="1" y="1"/>
                              <a:pt x="0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82" name="Freeform 3289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1566349" y="2105523"/>
                        <a:ext cx="3356" cy="2493"/>
                      </a:xfrm>
                      <a:custGeom>
                        <a:avLst/>
                        <a:gdLst>
                          <a:gd name="T0" fmla="*/ 2 w 2"/>
                          <a:gd name="T1" fmla="*/ 3 h 2"/>
                          <a:gd name="T2" fmla="*/ 0 w 2"/>
                          <a:gd name="T3" fmla="*/ 2 h 2"/>
                          <a:gd name="T4" fmla="*/ 2 w 2"/>
                          <a:gd name="T5" fmla="*/ 0 h 2"/>
                          <a:gd name="T6" fmla="*/ 3 w 2"/>
                          <a:gd name="T7" fmla="*/ 2 h 2"/>
                          <a:gd name="T8" fmla="*/ 2 w 2"/>
                          <a:gd name="T9" fmla="*/ 3 h 2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"/>
                          <a:gd name="T16" fmla="*/ 0 h 2"/>
                          <a:gd name="T17" fmla="*/ 2 w 2"/>
                          <a:gd name="T18" fmla="*/ 2 h 2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" h="2">
                            <a:moveTo>
                              <a:pt x="1" y="2"/>
                            </a:moveTo>
                            <a:cubicBezTo>
                              <a:pt x="0" y="2"/>
                              <a:pt x="0" y="2"/>
                              <a:pt x="0" y="1"/>
                            </a:cubicBezTo>
                            <a:cubicBezTo>
                              <a:pt x="0" y="1"/>
                              <a:pt x="0" y="0"/>
                              <a:pt x="1" y="0"/>
                            </a:cubicBezTo>
                            <a:cubicBezTo>
                              <a:pt x="1" y="0"/>
                              <a:pt x="2" y="0"/>
                              <a:pt x="2" y="1"/>
                            </a:cubicBezTo>
                            <a:cubicBezTo>
                              <a:pt x="2" y="2"/>
                              <a:pt x="1" y="2"/>
                              <a:pt x="1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83" name="Freeform 3290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1814654" y="2050699"/>
                        <a:ext cx="3356" cy="3322"/>
                      </a:xfrm>
                      <a:custGeom>
                        <a:avLst/>
                        <a:gdLst>
                          <a:gd name="T0" fmla="*/ 3 w 2"/>
                          <a:gd name="T1" fmla="*/ 3 h 3"/>
                          <a:gd name="T2" fmla="*/ 2 w 2"/>
                          <a:gd name="T3" fmla="*/ 4 h 3"/>
                          <a:gd name="T4" fmla="*/ 2 w 2"/>
                          <a:gd name="T5" fmla="*/ 3 h 3"/>
                          <a:gd name="T6" fmla="*/ 3 w 2"/>
                          <a:gd name="T7" fmla="*/ 1 h 3"/>
                          <a:gd name="T8" fmla="*/ 3 w 2"/>
                          <a:gd name="T9" fmla="*/ 3 h 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"/>
                          <a:gd name="T16" fmla="*/ 0 h 3"/>
                          <a:gd name="T17" fmla="*/ 2 w 2"/>
                          <a:gd name="T18" fmla="*/ 3 h 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" h="3">
                            <a:moveTo>
                              <a:pt x="2" y="2"/>
                            </a:moveTo>
                            <a:cubicBezTo>
                              <a:pt x="2" y="3"/>
                              <a:pt x="1" y="3"/>
                              <a:pt x="1" y="3"/>
                            </a:cubicBezTo>
                            <a:cubicBezTo>
                              <a:pt x="0" y="3"/>
                              <a:pt x="0" y="2"/>
                              <a:pt x="1" y="2"/>
                            </a:cubicBezTo>
                            <a:cubicBezTo>
                              <a:pt x="1" y="1"/>
                              <a:pt x="1" y="0"/>
                              <a:pt x="2" y="1"/>
                            </a:cubicBezTo>
                            <a:cubicBezTo>
                              <a:pt x="2" y="1"/>
                              <a:pt x="2" y="2"/>
                              <a:pt x="2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84" name="Freeform 3291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196061" y="2073127"/>
                        <a:ext cx="1118" cy="2493"/>
                      </a:xfrm>
                      <a:custGeom>
                        <a:avLst/>
                        <a:gdLst>
                          <a:gd name="T0" fmla="*/ 1 w 1"/>
                          <a:gd name="T1" fmla="*/ 2 h 3"/>
                          <a:gd name="T2" fmla="*/ 0 w 1"/>
                          <a:gd name="T3" fmla="*/ 2 h 3"/>
                          <a:gd name="T4" fmla="*/ 0 w 1"/>
                          <a:gd name="T5" fmla="*/ 1 h 3"/>
                          <a:gd name="T6" fmla="*/ 0 w 1"/>
                          <a:gd name="T7" fmla="*/ 0 h 3"/>
                          <a:gd name="T8" fmla="*/ 1 w 1"/>
                          <a:gd name="T9" fmla="*/ 2 h 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1"/>
                          <a:gd name="T16" fmla="*/ 0 h 3"/>
                          <a:gd name="T17" fmla="*/ 1 w 1"/>
                          <a:gd name="T18" fmla="*/ 3 h 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1" h="3">
                            <a:moveTo>
                              <a:pt x="1" y="2"/>
                            </a:moveTo>
                            <a:cubicBezTo>
                              <a:pt x="1" y="2"/>
                              <a:pt x="1" y="3"/>
                              <a:pt x="0" y="2"/>
                            </a:cubicBezTo>
                            <a:cubicBezTo>
                              <a:pt x="0" y="2"/>
                              <a:pt x="0" y="2"/>
                              <a:pt x="0" y="1"/>
                            </a:cubicBezTo>
                            <a:cubicBezTo>
                              <a:pt x="0" y="1"/>
                              <a:pt x="0" y="0"/>
                              <a:pt x="0" y="0"/>
                            </a:cubicBezTo>
                            <a:cubicBezTo>
                              <a:pt x="1" y="0"/>
                              <a:pt x="1" y="1"/>
                              <a:pt x="1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85" name="Oval 3292"/>
                      <p:cNvSpPr>
                        <a:spLocks noChangeAspect="1" noChangeArrowheads="1"/>
                      </p:cNvSpPr>
                      <p:nvPr/>
                    </p:nvSpPr>
                    <p:spPr bwMode="auto">
                      <a:xfrm>
                        <a:off x="2188231" y="2063990"/>
                        <a:ext cx="2237" cy="2493"/>
                      </a:xfrm>
                      <a:prstGeom prst="ellipse">
                        <a:avLst/>
                      </a:pr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86" name="Freeform 3293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183757" y="2061498"/>
                        <a:ext cx="3356" cy="3322"/>
                      </a:xfrm>
                      <a:custGeom>
                        <a:avLst/>
                        <a:gdLst>
                          <a:gd name="T0" fmla="*/ 3 w 2"/>
                          <a:gd name="T1" fmla="*/ 3 h 3"/>
                          <a:gd name="T2" fmla="*/ 2 w 2"/>
                          <a:gd name="T3" fmla="*/ 3 h 3"/>
                          <a:gd name="T4" fmla="*/ 0 w 2"/>
                          <a:gd name="T5" fmla="*/ 1 h 3"/>
                          <a:gd name="T6" fmla="*/ 2 w 2"/>
                          <a:gd name="T7" fmla="*/ 0 h 3"/>
                          <a:gd name="T8" fmla="*/ 3 w 2"/>
                          <a:gd name="T9" fmla="*/ 3 h 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"/>
                          <a:gd name="T16" fmla="*/ 0 h 3"/>
                          <a:gd name="T17" fmla="*/ 2 w 2"/>
                          <a:gd name="T18" fmla="*/ 3 h 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" h="3">
                            <a:moveTo>
                              <a:pt x="2" y="2"/>
                            </a:moveTo>
                            <a:cubicBezTo>
                              <a:pt x="2" y="2"/>
                              <a:pt x="1" y="3"/>
                              <a:pt x="1" y="2"/>
                            </a:cubicBezTo>
                            <a:cubicBezTo>
                              <a:pt x="0" y="2"/>
                              <a:pt x="0" y="2"/>
                              <a:pt x="0" y="1"/>
                            </a:cubicBezTo>
                            <a:cubicBezTo>
                              <a:pt x="0" y="1"/>
                              <a:pt x="0" y="0"/>
                              <a:pt x="1" y="0"/>
                            </a:cubicBezTo>
                            <a:cubicBezTo>
                              <a:pt x="2" y="0"/>
                              <a:pt x="2" y="1"/>
                              <a:pt x="2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87" name="Freeform 3294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220668" y="2126290"/>
                        <a:ext cx="2237" cy="3322"/>
                      </a:xfrm>
                      <a:custGeom>
                        <a:avLst/>
                        <a:gdLst>
                          <a:gd name="T0" fmla="*/ 2 w 2"/>
                          <a:gd name="T1" fmla="*/ 3 h 3"/>
                          <a:gd name="T2" fmla="*/ 1 w 2"/>
                          <a:gd name="T3" fmla="*/ 4 h 3"/>
                          <a:gd name="T4" fmla="*/ 0 w 2"/>
                          <a:gd name="T5" fmla="*/ 1 h 3"/>
                          <a:gd name="T6" fmla="*/ 1 w 2"/>
                          <a:gd name="T7" fmla="*/ 0 h 3"/>
                          <a:gd name="T8" fmla="*/ 2 w 2"/>
                          <a:gd name="T9" fmla="*/ 3 h 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"/>
                          <a:gd name="T16" fmla="*/ 0 h 3"/>
                          <a:gd name="T17" fmla="*/ 2 w 2"/>
                          <a:gd name="T18" fmla="*/ 3 h 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" h="3">
                            <a:moveTo>
                              <a:pt x="2" y="2"/>
                            </a:moveTo>
                            <a:cubicBezTo>
                              <a:pt x="2" y="2"/>
                              <a:pt x="2" y="3"/>
                              <a:pt x="1" y="3"/>
                            </a:cubicBezTo>
                            <a:cubicBezTo>
                              <a:pt x="0" y="3"/>
                              <a:pt x="0" y="2"/>
                              <a:pt x="0" y="1"/>
                            </a:cubicBezTo>
                            <a:cubicBezTo>
                              <a:pt x="0" y="1"/>
                              <a:pt x="0" y="0"/>
                              <a:pt x="1" y="0"/>
                            </a:cubicBezTo>
                            <a:cubicBezTo>
                              <a:pt x="2" y="0"/>
                              <a:pt x="2" y="1"/>
                              <a:pt x="2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88" name="Freeform 3295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283302" y="2180283"/>
                        <a:ext cx="1118" cy="2493"/>
                      </a:xfrm>
                      <a:custGeom>
                        <a:avLst/>
                        <a:gdLst>
                          <a:gd name="T0" fmla="*/ 1 w 1"/>
                          <a:gd name="T1" fmla="*/ 2 h 2"/>
                          <a:gd name="T2" fmla="*/ 1 w 1"/>
                          <a:gd name="T3" fmla="*/ 3 h 2"/>
                          <a:gd name="T4" fmla="*/ 0 w 1"/>
                          <a:gd name="T5" fmla="*/ 2 h 2"/>
                          <a:gd name="T6" fmla="*/ 0 w 1"/>
                          <a:gd name="T7" fmla="*/ 0 h 2"/>
                          <a:gd name="T8" fmla="*/ 1 w 1"/>
                          <a:gd name="T9" fmla="*/ 2 h 2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1"/>
                          <a:gd name="T16" fmla="*/ 0 h 2"/>
                          <a:gd name="T17" fmla="*/ 1 w 1"/>
                          <a:gd name="T18" fmla="*/ 2 h 2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1" h="2">
                            <a:moveTo>
                              <a:pt x="1" y="1"/>
                            </a:moveTo>
                            <a:cubicBezTo>
                              <a:pt x="1" y="1"/>
                              <a:pt x="1" y="2"/>
                              <a:pt x="1" y="2"/>
                            </a:cubicBezTo>
                            <a:cubicBezTo>
                              <a:pt x="0" y="2"/>
                              <a:pt x="0" y="2"/>
                              <a:pt x="0" y="1"/>
                            </a:cubicBezTo>
                            <a:cubicBezTo>
                              <a:pt x="0" y="1"/>
                              <a:pt x="0" y="0"/>
                              <a:pt x="0" y="0"/>
                            </a:cubicBezTo>
                            <a:cubicBezTo>
                              <a:pt x="1" y="0"/>
                              <a:pt x="1" y="1"/>
                              <a:pt x="1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89" name="Freeform 3309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631154" y="1610446"/>
                        <a:ext cx="4474" cy="1661"/>
                      </a:xfrm>
                      <a:custGeom>
                        <a:avLst/>
                        <a:gdLst>
                          <a:gd name="T0" fmla="*/ 3 w 3"/>
                          <a:gd name="T1" fmla="*/ 1 h 2"/>
                          <a:gd name="T2" fmla="*/ 3 w 3"/>
                          <a:gd name="T3" fmla="*/ 2 h 2"/>
                          <a:gd name="T4" fmla="*/ 1 w 3"/>
                          <a:gd name="T5" fmla="*/ 2 h 2"/>
                          <a:gd name="T6" fmla="*/ 0 w 3"/>
                          <a:gd name="T7" fmla="*/ 1 h 2"/>
                          <a:gd name="T8" fmla="*/ 3 w 3"/>
                          <a:gd name="T9" fmla="*/ 1 h 2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3"/>
                          <a:gd name="T16" fmla="*/ 0 h 2"/>
                          <a:gd name="T17" fmla="*/ 3 w 3"/>
                          <a:gd name="T18" fmla="*/ 2 h 2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3" h="2">
                            <a:moveTo>
                              <a:pt x="2" y="1"/>
                            </a:moveTo>
                            <a:cubicBezTo>
                              <a:pt x="2" y="1"/>
                              <a:pt x="3" y="1"/>
                              <a:pt x="2" y="2"/>
                            </a:cubicBezTo>
                            <a:cubicBezTo>
                              <a:pt x="2" y="2"/>
                              <a:pt x="2" y="2"/>
                              <a:pt x="1" y="2"/>
                            </a:cubicBezTo>
                            <a:cubicBezTo>
                              <a:pt x="1" y="2"/>
                              <a:pt x="0" y="2"/>
                              <a:pt x="0" y="1"/>
                            </a:cubicBezTo>
                            <a:cubicBezTo>
                              <a:pt x="0" y="0"/>
                              <a:pt x="1" y="1"/>
                              <a:pt x="2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90" name="Freeform 3310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770965" y="1611277"/>
                        <a:ext cx="2237" cy="1661"/>
                      </a:xfrm>
                      <a:custGeom>
                        <a:avLst/>
                        <a:gdLst>
                          <a:gd name="T0" fmla="*/ 1 w 2"/>
                          <a:gd name="T1" fmla="*/ 0 h 2"/>
                          <a:gd name="T2" fmla="*/ 2 w 2"/>
                          <a:gd name="T3" fmla="*/ 0 h 2"/>
                          <a:gd name="T4" fmla="*/ 2 w 2"/>
                          <a:gd name="T5" fmla="*/ 2 h 2"/>
                          <a:gd name="T6" fmla="*/ 0 w 2"/>
                          <a:gd name="T7" fmla="*/ 1 h 2"/>
                          <a:gd name="T8" fmla="*/ 1 w 2"/>
                          <a:gd name="T9" fmla="*/ 0 h 2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"/>
                          <a:gd name="T16" fmla="*/ 0 h 2"/>
                          <a:gd name="T17" fmla="*/ 2 w 2"/>
                          <a:gd name="T18" fmla="*/ 2 h 2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" h="2">
                            <a:moveTo>
                              <a:pt x="1" y="0"/>
                            </a:moveTo>
                            <a:cubicBezTo>
                              <a:pt x="1" y="0"/>
                              <a:pt x="2" y="0"/>
                              <a:pt x="2" y="0"/>
                            </a:cubicBezTo>
                            <a:cubicBezTo>
                              <a:pt x="2" y="1"/>
                              <a:pt x="2" y="1"/>
                              <a:pt x="2" y="2"/>
                            </a:cubicBezTo>
                            <a:cubicBezTo>
                              <a:pt x="1" y="2"/>
                              <a:pt x="0" y="2"/>
                              <a:pt x="0" y="1"/>
                            </a:cubicBezTo>
                            <a:cubicBezTo>
                              <a:pt x="0" y="1"/>
                              <a:pt x="1" y="0"/>
                              <a:pt x="1" y="0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91" name="Freeform 3311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860444" y="1615430"/>
                        <a:ext cx="3356" cy="1661"/>
                      </a:xfrm>
                      <a:custGeom>
                        <a:avLst/>
                        <a:gdLst>
                          <a:gd name="T0" fmla="*/ 2 w 2"/>
                          <a:gd name="T1" fmla="*/ 0 h 2"/>
                          <a:gd name="T2" fmla="*/ 3 w 2"/>
                          <a:gd name="T3" fmla="*/ 0 h 2"/>
                          <a:gd name="T4" fmla="*/ 3 w 2"/>
                          <a:gd name="T5" fmla="*/ 1 h 2"/>
                          <a:gd name="T6" fmla="*/ 0 w 2"/>
                          <a:gd name="T7" fmla="*/ 1 h 2"/>
                          <a:gd name="T8" fmla="*/ 2 w 2"/>
                          <a:gd name="T9" fmla="*/ 0 h 2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"/>
                          <a:gd name="T16" fmla="*/ 0 h 2"/>
                          <a:gd name="T17" fmla="*/ 2 w 2"/>
                          <a:gd name="T18" fmla="*/ 2 h 2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" h="2">
                            <a:moveTo>
                              <a:pt x="1" y="0"/>
                            </a:moveTo>
                            <a:cubicBezTo>
                              <a:pt x="1" y="0"/>
                              <a:pt x="2" y="0"/>
                              <a:pt x="2" y="0"/>
                            </a:cubicBezTo>
                            <a:cubicBezTo>
                              <a:pt x="2" y="1"/>
                              <a:pt x="2" y="1"/>
                              <a:pt x="2" y="1"/>
                            </a:cubicBezTo>
                            <a:cubicBezTo>
                              <a:pt x="1" y="2"/>
                              <a:pt x="0" y="2"/>
                              <a:pt x="0" y="1"/>
                            </a:cubicBezTo>
                            <a:cubicBezTo>
                              <a:pt x="0" y="0"/>
                              <a:pt x="1" y="0"/>
                              <a:pt x="1" y="0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92" name="Freeform 3312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878340" y="1637857"/>
                        <a:ext cx="2237" cy="2493"/>
                      </a:xfrm>
                      <a:custGeom>
                        <a:avLst/>
                        <a:gdLst>
                          <a:gd name="T0" fmla="*/ 0 w 2"/>
                          <a:gd name="T1" fmla="*/ 2 h 2"/>
                          <a:gd name="T2" fmla="*/ 1 w 2"/>
                          <a:gd name="T3" fmla="*/ 0 h 2"/>
                          <a:gd name="T4" fmla="*/ 2 w 2"/>
                          <a:gd name="T5" fmla="*/ 2 h 2"/>
                          <a:gd name="T6" fmla="*/ 1 w 2"/>
                          <a:gd name="T7" fmla="*/ 3 h 2"/>
                          <a:gd name="T8" fmla="*/ 0 w 2"/>
                          <a:gd name="T9" fmla="*/ 2 h 2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"/>
                          <a:gd name="T16" fmla="*/ 0 h 2"/>
                          <a:gd name="T17" fmla="*/ 2 w 2"/>
                          <a:gd name="T18" fmla="*/ 2 h 2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" h="2">
                            <a:moveTo>
                              <a:pt x="0" y="1"/>
                            </a:moveTo>
                            <a:cubicBezTo>
                              <a:pt x="0" y="1"/>
                              <a:pt x="0" y="0"/>
                              <a:pt x="1" y="0"/>
                            </a:cubicBezTo>
                            <a:cubicBezTo>
                              <a:pt x="1" y="0"/>
                              <a:pt x="2" y="0"/>
                              <a:pt x="2" y="1"/>
                            </a:cubicBezTo>
                            <a:cubicBezTo>
                              <a:pt x="2" y="1"/>
                              <a:pt x="2" y="2"/>
                              <a:pt x="1" y="2"/>
                            </a:cubicBezTo>
                            <a:cubicBezTo>
                              <a:pt x="0" y="2"/>
                              <a:pt x="0" y="1"/>
                              <a:pt x="0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93" name="Freeform 3313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914131" y="1583865"/>
                        <a:ext cx="3356" cy="3322"/>
                      </a:xfrm>
                      <a:custGeom>
                        <a:avLst/>
                        <a:gdLst>
                          <a:gd name="T0" fmla="*/ 0 w 2"/>
                          <a:gd name="T1" fmla="*/ 3 h 3"/>
                          <a:gd name="T2" fmla="*/ 0 w 2"/>
                          <a:gd name="T3" fmla="*/ 1 h 3"/>
                          <a:gd name="T4" fmla="*/ 3 w 2"/>
                          <a:gd name="T5" fmla="*/ 1 h 3"/>
                          <a:gd name="T6" fmla="*/ 3 w 2"/>
                          <a:gd name="T7" fmla="*/ 4 h 3"/>
                          <a:gd name="T8" fmla="*/ 0 w 2"/>
                          <a:gd name="T9" fmla="*/ 3 h 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"/>
                          <a:gd name="T16" fmla="*/ 0 h 3"/>
                          <a:gd name="T17" fmla="*/ 2 w 2"/>
                          <a:gd name="T18" fmla="*/ 3 h 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" h="3">
                            <a:moveTo>
                              <a:pt x="0" y="2"/>
                            </a:moveTo>
                            <a:cubicBezTo>
                              <a:pt x="0" y="2"/>
                              <a:pt x="0" y="1"/>
                              <a:pt x="0" y="1"/>
                            </a:cubicBezTo>
                            <a:cubicBezTo>
                              <a:pt x="1" y="0"/>
                              <a:pt x="1" y="1"/>
                              <a:pt x="2" y="1"/>
                            </a:cubicBezTo>
                            <a:cubicBezTo>
                              <a:pt x="2" y="2"/>
                              <a:pt x="2" y="3"/>
                              <a:pt x="2" y="3"/>
                            </a:cubicBezTo>
                            <a:cubicBezTo>
                              <a:pt x="1" y="3"/>
                              <a:pt x="0" y="2"/>
                              <a:pt x="0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94" name="Freeform 3314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911894" y="1532364"/>
                        <a:ext cx="7830" cy="4984"/>
                      </a:xfrm>
                      <a:custGeom>
                        <a:avLst/>
                        <a:gdLst>
                          <a:gd name="T0" fmla="*/ 2 w 6"/>
                          <a:gd name="T1" fmla="*/ 5 h 5"/>
                          <a:gd name="T2" fmla="*/ 1 w 6"/>
                          <a:gd name="T3" fmla="*/ 1 h 5"/>
                          <a:gd name="T4" fmla="*/ 4 w 6"/>
                          <a:gd name="T5" fmla="*/ 1 h 5"/>
                          <a:gd name="T6" fmla="*/ 6 w 6"/>
                          <a:gd name="T7" fmla="*/ 5 h 5"/>
                          <a:gd name="T8" fmla="*/ 2 w 6"/>
                          <a:gd name="T9" fmla="*/ 5 h 5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6"/>
                          <a:gd name="T16" fmla="*/ 0 h 5"/>
                          <a:gd name="T17" fmla="*/ 6 w 6"/>
                          <a:gd name="T18" fmla="*/ 5 h 5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6" h="5">
                            <a:moveTo>
                              <a:pt x="2" y="4"/>
                            </a:moveTo>
                            <a:cubicBezTo>
                              <a:pt x="1" y="3"/>
                              <a:pt x="0" y="2"/>
                              <a:pt x="1" y="1"/>
                            </a:cubicBezTo>
                            <a:cubicBezTo>
                              <a:pt x="1" y="0"/>
                              <a:pt x="3" y="0"/>
                              <a:pt x="3" y="1"/>
                            </a:cubicBezTo>
                            <a:cubicBezTo>
                              <a:pt x="4" y="1"/>
                              <a:pt x="6" y="2"/>
                              <a:pt x="5" y="4"/>
                            </a:cubicBezTo>
                            <a:cubicBezTo>
                              <a:pt x="5" y="5"/>
                              <a:pt x="3" y="4"/>
                              <a:pt x="2" y="4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95" name="Freeform 3315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3201583" y="1572236"/>
                        <a:ext cx="5593" cy="3322"/>
                      </a:xfrm>
                      <a:custGeom>
                        <a:avLst/>
                        <a:gdLst>
                          <a:gd name="T0" fmla="*/ 1 w 4"/>
                          <a:gd name="T1" fmla="*/ 3 h 3"/>
                          <a:gd name="T2" fmla="*/ 1 w 4"/>
                          <a:gd name="T3" fmla="*/ 0 h 3"/>
                          <a:gd name="T4" fmla="*/ 3 w 4"/>
                          <a:gd name="T5" fmla="*/ 0 h 3"/>
                          <a:gd name="T6" fmla="*/ 4 w 4"/>
                          <a:gd name="T7" fmla="*/ 3 h 3"/>
                          <a:gd name="T8" fmla="*/ 1 w 4"/>
                          <a:gd name="T9" fmla="*/ 3 h 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4"/>
                          <a:gd name="T16" fmla="*/ 0 h 3"/>
                          <a:gd name="T17" fmla="*/ 4 w 4"/>
                          <a:gd name="T18" fmla="*/ 3 h 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4" h="3">
                            <a:moveTo>
                              <a:pt x="1" y="2"/>
                            </a:moveTo>
                            <a:cubicBezTo>
                              <a:pt x="1" y="1"/>
                              <a:pt x="0" y="1"/>
                              <a:pt x="1" y="0"/>
                            </a:cubicBezTo>
                            <a:cubicBezTo>
                              <a:pt x="1" y="0"/>
                              <a:pt x="2" y="0"/>
                              <a:pt x="2" y="0"/>
                            </a:cubicBezTo>
                            <a:cubicBezTo>
                              <a:pt x="3" y="1"/>
                              <a:pt x="4" y="1"/>
                              <a:pt x="3" y="2"/>
                            </a:cubicBezTo>
                            <a:cubicBezTo>
                              <a:pt x="3" y="3"/>
                              <a:pt x="2" y="2"/>
                              <a:pt x="1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96" name="Freeform 3316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3039403" y="1602139"/>
                        <a:ext cx="5593" cy="4154"/>
                      </a:xfrm>
                      <a:custGeom>
                        <a:avLst/>
                        <a:gdLst>
                          <a:gd name="T0" fmla="*/ 1 w 4"/>
                          <a:gd name="T1" fmla="*/ 4 h 4"/>
                          <a:gd name="T2" fmla="*/ 0 w 4"/>
                          <a:gd name="T3" fmla="*/ 1 h 4"/>
                          <a:gd name="T4" fmla="*/ 3 w 4"/>
                          <a:gd name="T5" fmla="*/ 1 h 4"/>
                          <a:gd name="T6" fmla="*/ 5 w 4"/>
                          <a:gd name="T7" fmla="*/ 4 h 4"/>
                          <a:gd name="T8" fmla="*/ 1 w 4"/>
                          <a:gd name="T9" fmla="*/ 4 h 4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4"/>
                          <a:gd name="T16" fmla="*/ 0 h 4"/>
                          <a:gd name="T17" fmla="*/ 4 w 4"/>
                          <a:gd name="T18" fmla="*/ 4 h 4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4" h="4">
                            <a:moveTo>
                              <a:pt x="1" y="3"/>
                            </a:moveTo>
                            <a:cubicBezTo>
                              <a:pt x="1" y="2"/>
                              <a:pt x="0" y="1"/>
                              <a:pt x="0" y="1"/>
                            </a:cubicBezTo>
                            <a:cubicBezTo>
                              <a:pt x="0" y="0"/>
                              <a:pt x="1" y="0"/>
                              <a:pt x="2" y="1"/>
                            </a:cubicBezTo>
                            <a:cubicBezTo>
                              <a:pt x="3" y="1"/>
                              <a:pt x="4" y="2"/>
                              <a:pt x="4" y="3"/>
                            </a:cubicBezTo>
                            <a:cubicBezTo>
                              <a:pt x="4" y="4"/>
                              <a:pt x="2" y="3"/>
                              <a:pt x="1" y="3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97" name="Freeform 3317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795571" y="1585526"/>
                        <a:ext cx="3356" cy="3322"/>
                      </a:xfrm>
                      <a:custGeom>
                        <a:avLst/>
                        <a:gdLst>
                          <a:gd name="T0" fmla="*/ 1 w 3"/>
                          <a:gd name="T1" fmla="*/ 1 h 4"/>
                          <a:gd name="T2" fmla="*/ 3 w 3"/>
                          <a:gd name="T3" fmla="*/ 0 h 4"/>
                          <a:gd name="T4" fmla="*/ 2 w 3"/>
                          <a:gd name="T5" fmla="*/ 2 h 4"/>
                          <a:gd name="T6" fmla="*/ 1 w 3"/>
                          <a:gd name="T7" fmla="*/ 3 h 4"/>
                          <a:gd name="T8" fmla="*/ 1 w 3"/>
                          <a:gd name="T9" fmla="*/ 1 h 4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3"/>
                          <a:gd name="T16" fmla="*/ 0 h 4"/>
                          <a:gd name="T17" fmla="*/ 3 w 3"/>
                          <a:gd name="T18" fmla="*/ 4 h 4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3" h="4">
                            <a:moveTo>
                              <a:pt x="1" y="1"/>
                            </a:moveTo>
                            <a:cubicBezTo>
                              <a:pt x="1" y="0"/>
                              <a:pt x="2" y="0"/>
                              <a:pt x="3" y="0"/>
                            </a:cubicBezTo>
                            <a:cubicBezTo>
                              <a:pt x="3" y="1"/>
                              <a:pt x="3" y="2"/>
                              <a:pt x="2" y="2"/>
                            </a:cubicBezTo>
                            <a:cubicBezTo>
                              <a:pt x="2" y="3"/>
                              <a:pt x="1" y="4"/>
                              <a:pt x="1" y="3"/>
                            </a:cubicBezTo>
                            <a:cubicBezTo>
                              <a:pt x="0" y="2"/>
                              <a:pt x="1" y="1"/>
                              <a:pt x="1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98" name="Freeform 3318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638984" y="1611277"/>
                        <a:ext cx="4474" cy="1661"/>
                      </a:xfrm>
                      <a:custGeom>
                        <a:avLst/>
                        <a:gdLst>
                          <a:gd name="T0" fmla="*/ 3 w 3"/>
                          <a:gd name="T1" fmla="*/ 0 h 2"/>
                          <a:gd name="T2" fmla="*/ 4 w 3"/>
                          <a:gd name="T3" fmla="*/ 1 h 2"/>
                          <a:gd name="T4" fmla="*/ 1 w 3"/>
                          <a:gd name="T5" fmla="*/ 2 h 2"/>
                          <a:gd name="T6" fmla="*/ 0 w 3"/>
                          <a:gd name="T7" fmla="*/ 1 h 2"/>
                          <a:gd name="T8" fmla="*/ 3 w 3"/>
                          <a:gd name="T9" fmla="*/ 0 h 2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3"/>
                          <a:gd name="T16" fmla="*/ 0 h 2"/>
                          <a:gd name="T17" fmla="*/ 3 w 3"/>
                          <a:gd name="T18" fmla="*/ 2 h 2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3" h="2">
                            <a:moveTo>
                              <a:pt x="2" y="0"/>
                            </a:moveTo>
                            <a:cubicBezTo>
                              <a:pt x="2" y="0"/>
                              <a:pt x="3" y="1"/>
                              <a:pt x="3" y="1"/>
                            </a:cubicBezTo>
                            <a:cubicBezTo>
                              <a:pt x="2" y="2"/>
                              <a:pt x="2" y="2"/>
                              <a:pt x="1" y="2"/>
                            </a:cubicBezTo>
                            <a:cubicBezTo>
                              <a:pt x="1" y="2"/>
                              <a:pt x="0" y="1"/>
                              <a:pt x="0" y="1"/>
                            </a:cubicBezTo>
                            <a:cubicBezTo>
                              <a:pt x="0" y="0"/>
                              <a:pt x="1" y="0"/>
                              <a:pt x="2" y="0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99" name="Freeform 3319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549504" y="1815621"/>
                        <a:ext cx="4474" cy="1661"/>
                      </a:xfrm>
                      <a:custGeom>
                        <a:avLst/>
                        <a:gdLst>
                          <a:gd name="T0" fmla="*/ 1 w 3"/>
                          <a:gd name="T1" fmla="*/ 2 h 2"/>
                          <a:gd name="T2" fmla="*/ 0 w 3"/>
                          <a:gd name="T3" fmla="*/ 1 h 2"/>
                          <a:gd name="T4" fmla="*/ 1 w 3"/>
                          <a:gd name="T5" fmla="*/ 0 h 2"/>
                          <a:gd name="T6" fmla="*/ 4 w 3"/>
                          <a:gd name="T7" fmla="*/ 1 h 2"/>
                          <a:gd name="T8" fmla="*/ 1 w 3"/>
                          <a:gd name="T9" fmla="*/ 2 h 2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3"/>
                          <a:gd name="T16" fmla="*/ 0 h 2"/>
                          <a:gd name="T17" fmla="*/ 3 w 3"/>
                          <a:gd name="T18" fmla="*/ 2 h 2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3" h="2">
                            <a:moveTo>
                              <a:pt x="1" y="2"/>
                            </a:moveTo>
                            <a:cubicBezTo>
                              <a:pt x="1" y="2"/>
                              <a:pt x="0" y="1"/>
                              <a:pt x="0" y="1"/>
                            </a:cubicBezTo>
                            <a:cubicBezTo>
                              <a:pt x="0" y="0"/>
                              <a:pt x="1" y="0"/>
                              <a:pt x="1" y="0"/>
                            </a:cubicBezTo>
                            <a:cubicBezTo>
                              <a:pt x="2" y="0"/>
                              <a:pt x="3" y="0"/>
                              <a:pt x="3" y="1"/>
                            </a:cubicBezTo>
                            <a:cubicBezTo>
                              <a:pt x="2" y="2"/>
                              <a:pt x="2" y="2"/>
                              <a:pt x="1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00" name="Freeform 3320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583058" y="1809806"/>
                        <a:ext cx="2237" cy="1661"/>
                      </a:xfrm>
                      <a:custGeom>
                        <a:avLst/>
                        <a:gdLst>
                          <a:gd name="T0" fmla="*/ 1 w 2"/>
                          <a:gd name="T1" fmla="*/ 2 h 2"/>
                          <a:gd name="T2" fmla="*/ 0 w 2"/>
                          <a:gd name="T3" fmla="*/ 2 h 2"/>
                          <a:gd name="T4" fmla="*/ 1 w 2"/>
                          <a:gd name="T5" fmla="*/ 1 h 2"/>
                          <a:gd name="T6" fmla="*/ 2 w 2"/>
                          <a:gd name="T7" fmla="*/ 1 h 2"/>
                          <a:gd name="T8" fmla="*/ 1 w 2"/>
                          <a:gd name="T9" fmla="*/ 2 h 2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"/>
                          <a:gd name="T16" fmla="*/ 0 h 2"/>
                          <a:gd name="T17" fmla="*/ 2 w 2"/>
                          <a:gd name="T18" fmla="*/ 2 h 2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" h="2">
                            <a:moveTo>
                              <a:pt x="1" y="2"/>
                            </a:moveTo>
                            <a:cubicBezTo>
                              <a:pt x="1" y="2"/>
                              <a:pt x="0" y="2"/>
                              <a:pt x="0" y="2"/>
                            </a:cubicBezTo>
                            <a:cubicBezTo>
                              <a:pt x="0" y="1"/>
                              <a:pt x="0" y="1"/>
                              <a:pt x="1" y="1"/>
                            </a:cubicBezTo>
                            <a:cubicBezTo>
                              <a:pt x="1" y="0"/>
                              <a:pt x="2" y="0"/>
                              <a:pt x="2" y="1"/>
                            </a:cubicBezTo>
                            <a:cubicBezTo>
                              <a:pt x="2" y="1"/>
                              <a:pt x="2" y="2"/>
                              <a:pt x="1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01" name="Freeform 3321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557333" y="1815621"/>
                        <a:ext cx="4474" cy="1661"/>
                      </a:xfrm>
                      <a:custGeom>
                        <a:avLst/>
                        <a:gdLst>
                          <a:gd name="T0" fmla="*/ 1 w 3"/>
                          <a:gd name="T1" fmla="*/ 2 h 2"/>
                          <a:gd name="T2" fmla="*/ 0 w 3"/>
                          <a:gd name="T3" fmla="*/ 1 h 2"/>
                          <a:gd name="T4" fmla="*/ 1 w 3"/>
                          <a:gd name="T5" fmla="*/ 0 h 2"/>
                          <a:gd name="T6" fmla="*/ 4 w 3"/>
                          <a:gd name="T7" fmla="*/ 1 h 2"/>
                          <a:gd name="T8" fmla="*/ 1 w 3"/>
                          <a:gd name="T9" fmla="*/ 2 h 2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3"/>
                          <a:gd name="T16" fmla="*/ 0 h 2"/>
                          <a:gd name="T17" fmla="*/ 3 w 3"/>
                          <a:gd name="T18" fmla="*/ 2 h 2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3" h="2">
                            <a:moveTo>
                              <a:pt x="1" y="2"/>
                            </a:moveTo>
                            <a:cubicBezTo>
                              <a:pt x="1" y="2"/>
                              <a:pt x="0" y="1"/>
                              <a:pt x="0" y="1"/>
                            </a:cubicBezTo>
                            <a:cubicBezTo>
                              <a:pt x="0" y="0"/>
                              <a:pt x="1" y="0"/>
                              <a:pt x="1" y="0"/>
                            </a:cubicBezTo>
                            <a:cubicBezTo>
                              <a:pt x="2" y="0"/>
                              <a:pt x="3" y="0"/>
                              <a:pt x="3" y="1"/>
                            </a:cubicBezTo>
                            <a:cubicBezTo>
                              <a:pt x="3" y="2"/>
                              <a:pt x="2" y="2"/>
                              <a:pt x="1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02" name="Freeform 3322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764254" y="1789870"/>
                        <a:ext cx="2237" cy="4984"/>
                      </a:xfrm>
                      <a:custGeom>
                        <a:avLst/>
                        <a:gdLst>
                          <a:gd name="T0" fmla="*/ 2 w 2"/>
                          <a:gd name="T1" fmla="*/ 4 h 5"/>
                          <a:gd name="T2" fmla="*/ 1 w 2"/>
                          <a:gd name="T3" fmla="*/ 5 h 5"/>
                          <a:gd name="T4" fmla="*/ 0 w 2"/>
                          <a:gd name="T5" fmla="*/ 2 h 5"/>
                          <a:gd name="T6" fmla="*/ 1 w 2"/>
                          <a:gd name="T7" fmla="*/ 0 h 5"/>
                          <a:gd name="T8" fmla="*/ 2 w 2"/>
                          <a:gd name="T9" fmla="*/ 4 h 5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"/>
                          <a:gd name="T16" fmla="*/ 0 h 5"/>
                          <a:gd name="T17" fmla="*/ 2 w 2"/>
                          <a:gd name="T18" fmla="*/ 5 h 5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" h="5">
                            <a:moveTo>
                              <a:pt x="2" y="3"/>
                            </a:moveTo>
                            <a:cubicBezTo>
                              <a:pt x="2" y="3"/>
                              <a:pt x="2" y="5"/>
                              <a:pt x="1" y="4"/>
                            </a:cubicBezTo>
                            <a:cubicBezTo>
                              <a:pt x="0" y="4"/>
                              <a:pt x="0" y="3"/>
                              <a:pt x="0" y="2"/>
                            </a:cubicBezTo>
                            <a:cubicBezTo>
                              <a:pt x="0" y="2"/>
                              <a:pt x="0" y="0"/>
                              <a:pt x="1" y="0"/>
                            </a:cubicBezTo>
                            <a:cubicBezTo>
                              <a:pt x="2" y="0"/>
                              <a:pt x="2" y="2"/>
                              <a:pt x="2" y="3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03" name="Freeform 3323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669182" y="1725078"/>
                        <a:ext cx="1118" cy="2493"/>
                      </a:xfrm>
                      <a:custGeom>
                        <a:avLst/>
                        <a:gdLst>
                          <a:gd name="T0" fmla="*/ 1 w 1"/>
                          <a:gd name="T1" fmla="*/ 2 h 3"/>
                          <a:gd name="T2" fmla="*/ 0 w 1"/>
                          <a:gd name="T3" fmla="*/ 3 h 3"/>
                          <a:gd name="T4" fmla="*/ 0 w 1"/>
                          <a:gd name="T5" fmla="*/ 2 h 3"/>
                          <a:gd name="T6" fmla="*/ 0 w 1"/>
                          <a:gd name="T7" fmla="*/ 1 h 3"/>
                          <a:gd name="T8" fmla="*/ 1 w 1"/>
                          <a:gd name="T9" fmla="*/ 2 h 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1"/>
                          <a:gd name="T16" fmla="*/ 0 h 3"/>
                          <a:gd name="T17" fmla="*/ 1 w 1"/>
                          <a:gd name="T18" fmla="*/ 3 h 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1" h="3">
                            <a:moveTo>
                              <a:pt x="1" y="2"/>
                            </a:moveTo>
                            <a:cubicBezTo>
                              <a:pt x="1" y="3"/>
                              <a:pt x="1" y="3"/>
                              <a:pt x="0" y="3"/>
                            </a:cubicBezTo>
                            <a:cubicBezTo>
                              <a:pt x="0" y="3"/>
                              <a:pt x="0" y="2"/>
                              <a:pt x="0" y="2"/>
                            </a:cubicBezTo>
                            <a:cubicBezTo>
                              <a:pt x="0" y="1"/>
                              <a:pt x="0" y="0"/>
                              <a:pt x="0" y="1"/>
                            </a:cubicBezTo>
                            <a:cubicBezTo>
                              <a:pt x="1" y="1"/>
                              <a:pt x="1" y="2"/>
                              <a:pt x="1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04" name="Freeform 3324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683723" y="1691851"/>
                        <a:ext cx="4474" cy="1661"/>
                      </a:xfrm>
                      <a:custGeom>
                        <a:avLst/>
                        <a:gdLst>
                          <a:gd name="T0" fmla="*/ 3 w 3"/>
                          <a:gd name="T1" fmla="*/ 2 h 2"/>
                          <a:gd name="T2" fmla="*/ 1 w 3"/>
                          <a:gd name="T3" fmla="*/ 2 h 2"/>
                          <a:gd name="T4" fmla="*/ 1 w 3"/>
                          <a:gd name="T5" fmla="*/ 1 h 2"/>
                          <a:gd name="T6" fmla="*/ 4 w 3"/>
                          <a:gd name="T7" fmla="*/ 1 h 2"/>
                          <a:gd name="T8" fmla="*/ 3 w 3"/>
                          <a:gd name="T9" fmla="*/ 2 h 2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3"/>
                          <a:gd name="T16" fmla="*/ 0 h 2"/>
                          <a:gd name="T17" fmla="*/ 3 w 3"/>
                          <a:gd name="T18" fmla="*/ 2 h 2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3" h="2">
                            <a:moveTo>
                              <a:pt x="2" y="2"/>
                            </a:moveTo>
                            <a:cubicBezTo>
                              <a:pt x="1" y="2"/>
                              <a:pt x="1" y="2"/>
                              <a:pt x="1" y="2"/>
                            </a:cubicBezTo>
                            <a:cubicBezTo>
                              <a:pt x="0" y="1"/>
                              <a:pt x="1" y="1"/>
                              <a:pt x="1" y="1"/>
                            </a:cubicBezTo>
                            <a:cubicBezTo>
                              <a:pt x="2" y="1"/>
                              <a:pt x="3" y="0"/>
                              <a:pt x="3" y="1"/>
                            </a:cubicBezTo>
                            <a:cubicBezTo>
                              <a:pt x="3" y="2"/>
                              <a:pt x="2" y="2"/>
                              <a:pt x="2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05" name="Freeform 3325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515949" y="1642011"/>
                        <a:ext cx="4474" cy="1661"/>
                      </a:xfrm>
                      <a:custGeom>
                        <a:avLst/>
                        <a:gdLst>
                          <a:gd name="T0" fmla="*/ 3 w 3"/>
                          <a:gd name="T1" fmla="*/ 2 h 2"/>
                          <a:gd name="T2" fmla="*/ 1 w 3"/>
                          <a:gd name="T3" fmla="*/ 2 h 2"/>
                          <a:gd name="T4" fmla="*/ 1 w 3"/>
                          <a:gd name="T5" fmla="*/ 1 h 2"/>
                          <a:gd name="T6" fmla="*/ 4 w 3"/>
                          <a:gd name="T7" fmla="*/ 0 h 2"/>
                          <a:gd name="T8" fmla="*/ 3 w 3"/>
                          <a:gd name="T9" fmla="*/ 2 h 2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3"/>
                          <a:gd name="T16" fmla="*/ 0 h 2"/>
                          <a:gd name="T17" fmla="*/ 3 w 3"/>
                          <a:gd name="T18" fmla="*/ 2 h 2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3" h="2">
                            <a:moveTo>
                              <a:pt x="2" y="2"/>
                            </a:moveTo>
                            <a:cubicBezTo>
                              <a:pt x="1" y="2"/>
                              <a:pt x="1" y="2"/>
                              <a:pt x="1" y="2"/>
                            </a:cubicBezTo>
                            <a:cubicBezTo>
                              <a:pt x="0" y="1"/>
                              <a:pt x="1" y="1"/>
                              <a:pt x="1" y="1"/>
                            </a:cubicBezTo>
                            <a:cubicBezTo>
                              <a:pt x="1" y="0"/>
                              <a:pt x="2" y="0"/>
                              <a:pt x="3" y="0"/>
                            </a:cubicBezTo>
                            <a:cubicBezTo>
                              <a:pt x="3" y="1"/>
                              <a:pt x="2" y="2"/>
                              <a:pt x="2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06" name="Freeform 3326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764254" y="1764119"/>
                        <a:ext cx="2237" cy="1661"/>
                      </a:xfrm>
                      <a:custGeom>
                        <a:avLst/>
                        <a:gdLst>
                          <a:gd name="T0" fmla="*/ 2 w 2"/>
                          <a:gd name="T1" fmla="*/ 1 h 2"/>
                          <a:gd name="T2" fmla="*/ 2 w 2"/>
                          <a:gd name="T3" fmla="*/ 2 h 2"/>
                          <a:gd name="T4" fmla="*/ 1 w 2"/>
                          <a:gd name="T5" fmla="*/ 1 h 2"/>
                          <a:gd name="T6" fmla="*/ 1 w 2"/>
                          <a:gd name="T7" fmla="*/ 0 h 2"/>
                          <a:gd name="T8" fmla="*/ 2 w 2"/>
                          <a:gd name="T9" fmla="*/ 1 h 2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"/>
                          <a:gd name="T16" fmla="*/ 0 h 2"/>
                          <a:gd name="T17" fmla="*/ 2 w 2"/>
                          <a:gd name="T18" fmla="*/ 2 h 2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" h="2">
                            <a:moveTo>
                              <a:pt x="2" y="1"/>
                            </a:moveTo>
                            <a:cubicBezTo>
                              <a:pt x="2" y="2"/>
                              <a:pt x="2" y="2"/>
                              <a:pt x="2" y="2"/>
                            </a:cubicBezTo>
                            <a:cubicBezTo>
                              <a:pt x="1" y="2"/>
                              <a:pt x="1" y="2"/>
                              <a:pt x="1" y="1"/>
                            </a:cubicBezTo>
                            <a:cubicBezTo>
                              <a:pt x="1" y="1"/>
                              <a:pt x="0" y="0"/>
                              <a:pt x="1" y="0"/>
                            </a:cubicBezTo>
                            <a:cubicBezTo>
                              <a:pt x="2" y="0"/>
                              <a:pt x="2" y="1"/>
                              <a:pt x="2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07" name="Freeform 3327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802283" y="1685207"/>
                        <a:ext cx="3356" cy="1661"/>
                      </a:xfrm>
                      <a:custGeom>
                        <a:avLst/>
                        <a:gdLst>
                          <a:gd name="T0" fmla="*/ 1 w 3"/>
                          <a:gd name="T1" fmla="*/ 2 h 2"/>
                          <a:gd name="T2" fmla="*/ 0 w 3"/>
                          <a:gd name="T3" fmla="*/ 2 h 2"/>
                          <a:gd name="T4" fmla="*/ 1 w 3"/>
                          <a:gd name="T5" fmla="*/ 0 h 2"/>
                          <a:gd name="T6" fmla="*/ 3 w 3"/>
                          <a:gd name="T7" fmla="*/ 1 h 2"/>
                          <a:gd name="T8" fmla="*/ 1 w 3"/>
                          <a:gd name="T9" fmla="*/ 2 h 2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3"/>
                          <a:gd name="T16" fmla="*/ 0 h 2"/>
                          <a:gd name="T17" fmla="*/ 3 w 3"/>
                          <a:gd name="T18" fmla="*/ 2 h 2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3" h="2">
                            <a:moveTo>
                              <a:pt x="1" y="2"/>
                            </a:moveTo>
                            <a:cubicBezTo>
                              <a:pt x="1" y="2"/>
                              <a:pt x="0" y="2"/>
                              <a:pt x="0" y="2"/>
                            </a:cubicBezTo>
                            <a:cubicBezTo>
                              <a:pt x="0" y="1"/>
                              <a:pt x="1" y="1"/>
                              <a:pt x="1" y="0"/>
                            </a:cubicBezTo>
                            <a:cubicBezTo>
                              <a:pt x="1" y="0"/>
                              <a:pt x="2" y="0"/>
                              <a:pt x="3" y="1"/>
                            </a:cubicBezTo>
                            <a:cubicBezTo>
                              <a:pt x="3" y="1"/>
                              <a:pt x="2" y="2"/>
                              <a:pt x="1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08" name="Freeform 3328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840312" y="1709295"/>
                        <a:ext cx="4474" cy="2493"/>
                      </a:xfrm>
                      <a:custGeom>
                        <a:avLst/>
                        <a:gdLst>
                          <a:gd name="T0" fmla="*/ 3 w 3"/>
                          <a:gd name="T1" fmla="*/ 2 h 3"/>
                          <a:gd name="T2" fmla="*/ 1 w 3"/>
                          <a:gd name="T3" fmla="*/ 3 h 3"/>
                          <a:gd name="T4" fmla="*/ 0 w 3"/>
                          <a:gd name="T5" fmla="*/ 1 h 3"/>
                          <a:gd name="T6" fmla="*/ 1 w 3"/>
                          <a:gd name="T7" fmla="*/ 0 h 3"/>
                          <a:gd name="T8" fmla="*/ 3 w 3"/>
                          <a:gd name="T9" fmla="*/ 2 h 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3"/>
                          <a:gd name="T16" fmla="*/ 0 h 3"/>
                          <a:gd name="T17" fmla="*/ 3 w 3"/>
                          <a:gd name="T18" fmla="*/ 3 h 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3" h="3">
                            <a:moveTo>
                              <a:pt x="2" y="2"/>
                            </a:moveTo>
                            <a:cubicBezTo>
                              <a:pt x="2" y="2"/>
                              <a:pt x="2" y="3"/>
                              <a:pt x="1" y="3"/>
                            </a:cubicBezTo>
                            <a:cubicBezTo>
                              <a:pt x="0" y="2"/>
                              <a:pt x="0" y="2"/>
                              <a:pt x="0" y="1"/>
                            </a:cubicBezTo>
                            <a:cubicBezTo>
                              <a:pt x="0" y="1"/>
                              <a:pt x="0" y="0"/>
                              <a:pt x="1" y="0"/>
                            </a:cubicBezTo>
                            <a:cubicBezTo>
                              <a:pt x="3" y="0"/>
                              <a:pt x="3" y="1"/>
                              <a:pt x="2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09" name="Freeform 3329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947686" y="1681053"/>
                        <a:ext cx="4474" cy="831"/>
                      </a:xfrm>
                      <a:custGeom>
                        <a:avLst/>
                        <a:gdLst>
                          <a:gd name="T0" fmla="*/ 3 w 3"/>
                          <a:gd name="T1" fmla="*/ 0 h 1"/>
                          <a:gd name="T2" fmla="*/ 4 w 3"/>
                          <a:gd name="T3" fmla="*/ 1 h 1"/>
                          <a:gd name="T4" fmla="*/ 1 w 3"/>
                          <a:gd name="T5" fmla="*/ 1 h 1"/>
                          <a:gd name="T6" fmla="*/ 0 w 3"/>
                          <a:gd name="T7" fmla="*/ 1 h 1"/>
                          <a:gd name="T8" fmla="*/ 3 w 3"/>
                          <a:gd name="T9" fmla="*/ 0 h 1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3"/>
                          <a:gd name="T16" fmla="*/ 0 h 1"/>
                          <a:gd name="T17" fmla="*/ 3 w 3"/>
                          <a:gd name="T18" fmla="*/ 1 h 1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3" h="1">
                            <a:moveTo>
                              <a:pt x="2" y="0"/>
                            </a:moveTo>
                            <a:cubicBezTo>
                              <a:pt x="2" y="0"/>
                              <a:pt x="3" y="0"/>
                              <a:pt x="3" y="1"/>
                            </a:cubicBezTo>
                            <a:cubicBezTo>
                              <a:pt x="2" y="1"/>
                              <a:pt x="2" y="1"/>
                              <a:pt x="1" y="1"/>
                            </a:cubicBezTo>
                            <a:cubicBezTo>
                              <a:pt x="1" y="1"/>
                              <a:pt x="0" y="1"/>
                              <a:pt x="0" y="1"/>
                            </a:cubicBezTo>
                            <a:cubicBezTo>
                              <a:pt x="0" y="0"/>
                              <a:pt x="1" y="0"/>
                              <a:pt x="2" y="0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10" name="Freeform 3330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3097564" y="1717602"/>
                        <a:ext cx="3356" cy="2493"/>
                      </a:xfrm>
                      <a:custGeom>
                        <a:avLst/>
                        <a:gdLst>
                          <a:gd name="T0" fmla="*/ 1 w 3"/>
                          <a:gd name="T1" fmla="*/ 3 h 2"/>
                          <a:gd name="T2" fmla="*/ 0 w 3"/>
                          <a:gd name="T3" fmla="*/ 2 h 2"/>
                          <a:gd name="T4" fmla="*/ 2 w 3"/>
                          <a:gd name="T5" fmla="*/ 2 h 2"/>
                          <a:gd name="T6" fmla="*/ 3 w 3"/>
                          <a:gd name="T7" fmla="*/ 2 h 2"/>
                          <a:gd name="T8" fmla="*/ 1 w 3"/>
                          <a:gd name="T9" fmla="*/ 3 h 2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3"/>
                          <a:gd name="T16" fmla="*/ 0 h 2"/>
                          <a:gd name="T17" fmla="*/ 3 w 3"/>
                          <a:gd name="T18" fmla="*/ 2 h 2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3" h="2">
                            <a:moveTo>
                              <a:pt x="1" y="2"/>
                            </a:moveTo>
                            <a:cubicBezTo>
                              <a:pt x="1" y="2"/>
                              <a:pt x="0" y="2"/>
                              <a:pt x="0" y="1"/>
                            </a:cubicBezTo>
                            <a:cubicBezTo>
                              <a:pt x="1" y="1"/>
                              <a:pt x="1" y="1"/>
                              <a:pt x="2" y="1"/>
                            </a:cubicBezTo>
                            <a:cubicBezTo>
                              <a:pt x="2" y="0"/>
                              <a:pt x="3" y="1"/>
                              <a:pt x="3" y="1"/>
                            </a:cubicBezTo>
                            <a:cubicBezTo>
                              <a:pt x="3" y="2"/>
                              <a:pt x="2" y="2"/>
                              <a:pt x="1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11" name="Freeform 3338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3025981" y="1775749"/>
                        <a:ext cx="4474" cy="1661"/>
                      </a:xfrm>
                      <a:custGeom>
                        <a:avLst/>
                        <a:gdLst>
                          <a:gd name="T0" fmla="*/ 3 w 3"/>
                          <a:gd name="T1" fmla="*/ 0 h 2"/>
                          <a:gd name="T2" fmla="*/ 4 w 3"/>
                          <a:gd name="T3" fmla="*/ 1 h 2"/>
                          <a:gd name="T4" fmla="*/ 3 w 3"/>
                          <a:gd name="T5" fmla="*/ 2 h 2"/>
                          <a:gd name="T6" fmla="*/ 1 w 3"/>
                          <a:gd name="T7" fmla="*/ 0 h 2"/>
                          <a:gd name="T8" fmla="*/ 3 w 3"/>
                          <a:gd name="T9" fmla="*/ 0 h 2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3"/>
                          <a:gd name="T16" fmla="*/ 0 h 2"/>
                          <a:gd name="T17" fmla="*/ 3 w 3"/>
                          <a:gd name="T18" fmla="*/ 2 h 2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3" h="2">
                            <a:moveTo>
                              <a:pt x="2" y="0"/>
                            </a:moveTo>
                            <a:cubicBezTo>
                              <a:pt x="3" y="1"/>
                              <a:pt x="3" y="1"/>
                              <a:pt x="3" y="1"/>
                            </a:cubicBezTo>
                            <a:cubicBezTo>
                              <a:pt x="3" y="2"/>
                              <a:pt x="2" y="2"/>
                              <a:pt x="2" y="2"/>
                            </a:cubicBezTo>
                            <a:cubicBezTo>
                              <a:pt x="1" y="1"/>
                              <a:pt x="0" y="1"/>
                              <a:pt x="1" y="0"/>
                            </a:cubicBezTo>
                            <a:cubicBezTo>
                              <a:pt x="1" y="0"/>
                              <a:pt x="2" y="0"/>
                              <a:pt x="2" y="0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12" name="Freeform 3339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3038284" y="1784055"/>
                        <a:ext cx="6712" cy="1661"/>
                      </a:xfrm>
                      <a:custGeom>
                        <a:avLst/>
                        <a:gdLst>
                          <a:gd name="T0" fmla="*/ 4 w 5"/>
                          <a:gd name="T1" fmla="*/ 1 h 2"/>
                          <a:gd name="T2" fmla="*/ 6 w 5"/>
                          <a:gd name="T3" fmla="*/ 2 h 2"/>
                          <a:gd name="T4" fmla="*/ 4 w 5"/>
                          <a:gd name="T5" fmla="*/ 2 h 2"/>
                          <a:gd name="T6" fmla="*/ 1 w 5"/>
                          <a:gd name="T7" fmla="*/ 1 h 2"/>
                          <a:gd name="T8" fmla="*/ 4 w 5"/>
                          <a:gd name="T9" fmla="*/ 1 h 2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5"/>
                          <a:gd name="T16" fmla="*/ 0 h 2"/>
                          <a:gd name="T17" fmla="*/ 5 w 5"/>
                          <a:gd name="T18" fmla="*/ 2 h 2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5" h="2">
                            <a:moveTo>
                              <a:pt x="3" y="1"/>
                            </a:moveTo>
                            <a:cubicBezTo>
                              <a:pt x="4" y="1"/>
                              <a:pt x="5" y="1"/>
                              <a:pt x="5" y="2"/>
                            </a:cubicBezTo>
                            <a:cubicBezTo>
                              <a:pt x="4" y="2"/>
                              <a:pt x="3" y="2"/>
                              <a:pt x="3" y="2"/>
                            </a:cubicBezTo>
                            <a:cubicBezTo>
                              <a:pt x="2" y="2"/>
                              <a:pt x="0" y="2"/>
                              <a:pt x="1" y="1"/>
                            </a:cubicBezTo>
                            <a:cubicBezTo>
                              <a:pt x="1" y="0"/>
                              <a:pt x="3" y="1"/>
                              <a:pt x="3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13" name="Freeform 3341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3071838" y="1896195"/>
                        <a:ext cx="2237" cy="3322"/>
                      </a:xfrm>
                      <a:custGeom>
                        <a:avLst/>
                        <a:gdLst>
                          <a:gd name="T0" fmla="*/ 2 w 2"/>
                          <a:gd name="T1" fmla="*/ 3 h 3"/>
                          <a:gd name="T2" fmla="*/ 1 w 2"/>
                          <a:gd name="T3" fmla="*/ 4 h 3"/>
                          <a:gd name="T4" fmla="*/ 0 w 2"/>
                          <a:gd name="T5" fmla="*/ 1 h 3"/>
                          <a:gd name="T6" fmla="*/ 1 w 2"/>
                          <a:gd name="T7" fmla="*/ 0 h 3"/>
                          <a:gd name="T8" fmla="*/ 2 w 2"/>
                          <a:gd name="T9" fmla="*/ 3 h 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"/>
                          <a:gd name="T16" fmla="*/ 0 h 3"/>
                          <a:gd name="T17" fmla="*/ 2 w 2"/>
                          <a:gd name="T18" fmla="*/ 3 h 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" h="3">
                            <a:moveTo>
                              <a:pt x="2" y="2"/>
                            </a:moveTo>
                            <a:cubicBezTo>
                              <a:pt x="2" y="2"/>
                              <a:pt x="1" y="3"/>
                              <a:pt x="1" y="3"/>
                            </a:cubicBezTo>
                            <a:cubicBezTo>
                              <a:pt x="0" y="2"/>
                              <a:pt x="0" y="2"/>
                              <a:pt x="0" y="1"/>
                            </a:cubicBezTo>
                            <a:cubicBezTo>
                              <a:pt x="0" y="1"/>
                              <a:pt x="0" y="0"/>
                              <a:pt x="1" y="0"/>
                            </a:cubicBezTo>
                            <a:cubicBezTo>
                              <a:pt x="2" y="0"/>
                              <a:pt x="2" y="1"/>
                              <a:pt x="2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14" name="Freeform 3343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3021507" y="2043223"/>
                        <a:ext cx="3356" cy="4984"/>
                      </a:xfrm>
                      <a:custGeom>
                        <a:avLst/>
                        <a:gdLst>
                          <a:gd name="T0" fmla="*/ 3 w 2"/>
                          <a:gd name="T1" fmla="*/ 4 h 5"/>
                          <a:gd name="T2" fmla="*/ 2 w 2"/>
                          <a:gd name="T3" fmla="*/ 6 h 5"/>
                          <a:gd name="T4" fmla="*/ 2 w 2"/>
                          <a:gd name="T5" fmla="*/ 2 h 5"/>
                          <a:gd name="T6" fmla="*/ 3 w 2"/>
                          <a:gd name="T7" fmla="*/ 0 h 5"/>
                          <a:gd name="T8" fmla="*/ 3 w 2"/>
                          <a:gd name="T9" fmla="*/ 4 h 5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"/>
                          <a:gd name="T16" fmla="*/ 0 h 5"/>
                          <a:gd name="T17" fmla="*/ 2 w 2"/>
                          <a:gd name="T18" fmla="*/ 5 h 5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" h="5">
                            <a:moveTo>
                              <a:pt x="2" y="3"/>
                            </a:moveTo>
                            <a:cubicBezTo>
                              <a:pt x="2" y="4"/>
                              <a:pt x="1" y="5"/>
                              <a:pt x="1" y="5"/>
                            </a:cubicBezTo>
                            <a:cubicBezTo>
                              <a:pt x="0" y="4"/>
                              <a:pt x="0" y="3"/>
                              <a:pt x="1" y="2"/>
                            </a:cubicBezTo>
                            <a:cubicBezTo>
                              <a:pt x="1" y="1"/>
                              <a:pt x="1" y="0"/>
                              <a:pt x="2" y="0"/>
                            </a:cubicBezTo>
                            <a:cubicBezTo>
                              <a:pt x="2" y="1"/>
                              <a:pt x="2" y="2"/>
                              <a:pt x="2" y="3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15" name="Freeform 3344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991307" y="2120475"/>
                        <a:ext cx="6712" cy="3322"/>
                      </a:xfrm>
                      <a:custGeom>
                        <a:avLst/>
                        <a:gdLst>
                          <a:gd name="T0" fmla="*/ 2 w 5"/>
                          <a:gd name="T1" fmla="*/ 4 h 3"/>
                          <a:gd name="T2" fmla="*/ 1 w 5"/>
                          <a:gd name="T3" fmla="*/ 4 h 3"/>
                          <a:gd name="T4" fmla="*/ 4 w 5"/>
                          <a:gd name="T5" fmla="*/ 1 h 3"/>
                          <a:gd name="T6" fmla="*/ 6 w 5"/>
                          <a:gd name="T7" fmla="*/ 1 h 3"/>
                          <a:gd name="T8" fmla="*/ 2 w 5"/>
                          <a:gd name="T9" fmla="*/ 4 h 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5"/>
                          <a:gd name="T16" fmla="*/ 0 h 3"/>
                          <a:gd name="T17" fmla="*/ 5 w 5"/>
                          <a:gd name="T18" fmla="*/ 3 h 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5" h="3">
                            <a:moveTo>
                              <a:pt x="2" y="3"/>
                            </a:moveTo>
                            <a:cubicBezTo>
                              <a:pt x="2" y="3"/>
                              <a:pt x="0" y="3"/>
                              <a:pt x="1" y="3"/>
                            </a:cubicBezTo>
                            <a:cubicBezTo>
                              <a:pt x="1" y="2"/>
                              <a:pt x="2" y="1"/>
                              <a:pt x="3" y="1"/>
                            </a:cubicBezTo>
                            <a:cubicBezTo>
                              <a:pt x="3" y="1"/>
                              <a:pt x="5" y="0"/>
                              <a:pt x="5" y="1"/>
                            </a:cubicBezTo>
                            <a:cubicBezTo>
                              <a:pt x="5" y="2"/>
                              <a:pt x="3" y="3"/>
                              <a:pt x="2" y="3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16" name="Freeform 3345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3001374" y="2041562"/>
                        <a:ext cx="5593" cy="4154"/>
                      </a:xfrm>
                      <a:custGeom>
                        <a:avLst/>
                        <a:gdLst>
                          <a:gd name="T0" fmla="*/ 3 w 4"/>
                          <a:gd name="T1" fmla="*/ 4 h 4"/>
                          <a:gd name="T2" fmla="*/ 0 w 4"/>
                          <a:gd name="T3" fmla="*/ 4 h 4"/>
                          <a:gd name="T4" fmla="*/ 1 w 4"/>
                          <a:gd name="T5" fmla="*/ 1 h 4"/>
                          <a:gd name="T6" fmla="*/ 5 w 4"/>
                          <a:gd name="T7" fmla="*/ 0 h 4"/>
                          <a:gd name="T8" fmla="*/ 3 w 4"/>
                          <a:gd name="T9" fmla="*/ 4 h 4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4"/>
                          <a:gd name="T16" fmla="*/ 0 h 4"/>
                          <a:gd name="T17" fmla="*/ 4 w 4"/>
                          <a:gd name="T18" fmla="*/ 4 h 4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4" h="4">
                            <a:moveTo>
                              <a:pt x="2" y="3"/>
                            </a:moveTo>
                            <a:cubicBezTo>
                              <a:pt x="1" y="3"/>
                              <a:pt x="0" y="4"/>
                              <a:pt x="0" y="3"/>
                            </a:cubicBezTo>
                            <a:cubicBezTo>
                              <a:pt x="0" y="3"/>
                              <a:pt x="1" y="2"/>
                              <a:pt x="1" y="1"/>
                            </a:cubicBezTo>
                            <a:cubicBezTo>
                              <a:pt x="2" y="1"/>
                              <a:pt x="3" y="0"/>
                              <a:pt x="4" y="0"/>
                            </a:cubicBezTo>
                            <a:cubicBezTo>
                              <a:pt x="4" y="1"/>
                              <a:pt x="2" y="2"/>
                              <a:pt x="2" y="3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17" name="Oval 3346"/>
                      <p:cNvSpPr>
                        <a:spLocks noChangeAspect="1" noChangeArrowheads="1"/>
                      </p:cNvSpPr>
                      <p:nvPr/>
                    </p:nvSpPr>
                    <p:spPr bwMode="auto">
                      <a:xfrm>
                        <a:off x="3349224" y="2208525"/>
                        <a:ext cx="1118" cy="1661"/>
                      </a:xfrm>
                      <a:prstGeom prst="ellipse">
                        <a:avLst/>
                      </a:pr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18" name="Freeform 3347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3390609" y="2158686"/>
                        <a:ext cx="4474" cy="2493"/>
                      </a:xfrm>
                      <a:custGeom>
                        <a:avLst/>
                        <a:gdLst>
                          <a:gd name="T0" fmla="*/ 1 w 3"/>
                          <a:gd name="T1" fmla="*/ 2 h 3"/>
                          <a:gd name="T2" fmla="*/ 0 w 3"/>
                          <a:gd name="T3" fmla="*/ 2 h 3"/>
                          <a:gd name="T4" fmla="*/ 1 w 3"/>
                          <a:gd name="T5" fmla="*/ 1 h 3"/>
                          <a:gd name="T6" fmla="*/ 3 w 3"/>
                          <a:gd name="T7" fmla="*/ 1 h 3"/>
                          <a:gd name="T8" fmla="*/ 1 w 3"/>
                          <a:gd name="T9" fmla="*/ 2 h 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3"/>
                          <a:gd name="T16" fmla="*/ 0 h 3"/>
                          <a:gd name="T17" fmla="*/ 3 w 3"/>
                          <a:gd name="T18" fmla="*/ 3 h 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3" h="3">
                            <a:moveTo>
                              <a:pt x="1" y="2"/>
                            </a:moveTo>
                            <a:cubicBezTo>
                              <a:pt x="1" y="3"/>
                              <a:pt x="0" y="3"/>
                              <a:pt x="0" y="2"/>
                            </a:cubicBezTo>
                            <a:cubicBezTo>
                              <a:pt x="0" y="2"/>
                              <a:pt x="0" y="1"/>
                              <a:pt x="1" y="1"/>
                            </a:cubicBezTo>
                            <a:cubicBezTo>
                              <a:pt x="1" y="1"/>
                              <a:pt x="2" y="0"/>
                              <a:pt x="2" y="1"/>
                            </a:cubicBezTo>
                            <a:cubicBezTo>
                              <a:pt x="3" y="1"/>
                              <a:pt x="2" y="2"/>
                              <a:pt x="1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19" name="Freeform 3522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914131" y="2225970"/>
                        <a:ext cx="25725" cy="6646"/>
                      </a:xfrm>
                      <a:custGeom>
                        <a:avLst/>
                        <a:gdLst>
                          <a:gd name="T0" fmla="*/ 23 w 19"/>
                          <a:gd name="T1" fmla="*/ 4 h 6"/>
                          <a:gd name="T2" fmla="*/ 18 w 19"/>
                          <a:gd name="T3" fmla="*/ 8 h 6"/>
                          <a:gd name="T4" fmla="*/ 13 w 19"/>
                          <a:gd name="T5" fmla="*/ 7 h 6"/>
                          <a:gd name="T6" fmla="*/ 5 w 19"/>
                          <a:gd name="T7" fmla="*/ 4 h 6"/>
                          <a:gd name="T8" fmla="*/ 0 w 19"/>
                          <a:gd name="T9" fmla="*/ 1 h 6"/>
                          <a:gd name="T10" fmla="*/ 5 w 19"/>
                          <a:gd name="T11" fmla="*/ 1 h 6"/>
                          <a:gd name="T12" fmla="*/ 8 w 19"/>
                          <a:gd name="T13" fmla="*/ 3 h 6"/>
                          <a:gd name="T14" fmla="*/ 11 w 19"/>
                          <a:gd name="T15" fmla="*/ 1 h 6"/>
                          <a:gd name="T16" fmla="*/ 18 w 19"/>
                          <a:gd name="T17" fmla="*/ 3 h 6"/>
                          <a:gd name="T18" fmla="*/ 23 w 19"/>
                          <a:gd name="T19" fmla="*/ 4 h 6"/>
                          <a:gd name="T20" fmla="*/ 0 60000 65536"/>
                          <a:gd name="T21" fmla="*/ 0 60000 65536"/>
                          <a:gd name="T22" fmla="*/ 0 60000 65536"/>
                          <a:gd name="T23" fmla="*/ 0 60000 65536"/>
                          <a:gd name="T24" fmla="*/ 0 60000 65536"/>
                          <a:gd name="T25" fmla="*/ 0 60000 65536"/>
                          <a:gd name="T26" fmla="*/ 0 60000 65536"/>
                          <a:gd name="T27" fmla="*/ 0 60000 65536"/>
                          <a:gd name="T28" fmla="*/ 0 60000 65536"/>
                          <a:gd name="T29" fmla="*/ 0 60000 65536"/>
                          <a:gd name="T30" fmla="*/ 0 w 19"/>
                          <a:gd name="T31" fmla="*/ 0 h 6"/>
                          <a:gd name="T32" fmla="*/ 19 w 19"/>
                          <a:gd name="T33" fmla="*/ 6 h 6"/>
                        </a:gdLst>
                        <a:ahLst/>
                        <a:cxnLst>
                          <a:cxn ang="T20">
                            <a:pos x="T0" y="T1"/>
                          </a:cxn>
                          <a:cxn ang="T21">
                            <a:pos x="T2" y="T3"/>
                          </a:cxn>
                          <a:cxn ang="T22">
                            <a:pos x="T4" y="T5"/>
                          </a:cxn>
                          <a:cxn ang="T23">
                            <a:pos x="T6" y="T7"/>
                          </a:cxn>
                          <a:cxn ang="T24">
                            <a:pos x="T8" y="T9"/>
                          </a:cxn>
                          <a:cxn ang="T25">
                            <a:pos x="T10" y="T11"/>
                          </a:cxn>
                          <a:cxn ang="T26">
                            <a:pos x="T12" y="T13"/>
                          </a:cxn>
                          <a:cxn ang="T27">
                            <a:pos x="T14" y="T15"/>
                          </a:cxn>
                          <a:cxn ang="T28">
                            <a:pos x="T16" y="T17"/>
                          </a:cxn>
                          <a:cxn ang="T29">
                            <a:pos x="T18" y="T19"/>
                          </a:cxn>
                        </a:cxnLst>
                        <a:rect l="T30" t="T31" r="T32" b="T33"/>
                        <a:pathLst>
                          <a:path w="19" h="6">
                            <a:moveTo>
                              <a:pt x="19" y="3"/>
                            </a:moveTo>
                            <a:cubicBezTo>
                              <a:pt x="19" y="5"/>
                              <a:pt x="17" y="6"/>
                              <a:pt x="15" y="6"/>
                            </a:cubicBezTo>
                            <a:cubicBezTo>
                              <a:pt x="14" y="6"/>
                              <a:pt x="12" y="5"/>
                              <a:pt x="11" y="5"/>
                            </a:cubicBezTo>
                            <a:cubicBezTo>
                              <a:pt x="8" y="4"/>
                              <a:pt x="6" y="4"/>
                              <a:pt x="4" y="3"/>
                            </a:cubicBezTo>
                            <a:cubicBezTo>
                              <a:pt x="3" y="3"/>
                              <a:pt x="0" y="2"/>
                              <a:pt x="0" y="1"/>
                            </a:cubicBezTo>
                            <a:cubicBezTo>
                              <a:pt x="0" y="0"/>
                              <a:pt x="3" y="1"/>
                              <a:pt x="4" y="1"/>
                            </a:cubicBezTo>
                            <a:cubicBezTo>
                              <a:pt x="5" y="1"/>
                              <a:pt x="6" y="2"/>
                              <a:pt x="7" y="2"/>
                            </a:cubicBezTo>
                            <a:cubicBezTo>
                              <a:pt x="8" y="2"/>
                              <a:pt x="9" y="2"/>
                              <a:pt x="9" y="1"/>
                            </a:cubicBezTo>
                            <a:cubicBezTo>
                              <a:pt x="11" y="1"/>
                              <a:pt x="13" y="1"/>
                              <a:pt x="15" y="2"/>
                            </a:cubicBezTo>
                            <a:cubicBezTo>
                              <a:pt x="16" y="2"/>
                              <a:pt x="19" y="2"/>
                              <a:pt x="19" y="3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20" name="Freeform 3523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905184" y="2224308"/>
                        <a:ext cx="5593" cy="3322"/>
                      </a:xfrm>
                      <a:custGeom>
                        <a:avLst/>
                        <a:gdLst>
                          <a:gd name="T0" fmla="*/ 3 w 4"/>
                          <a:gd name="T1" fmla="*/ 0 h 3"/>
                          <a:gd name="T2" fmla="*/ 0 w 4"/>
                          <a:gd name="T3" fmla="*/ 1 h 3"/>
                          <a:gd name="T4" fmla="*/ 3 w 4"/>
                          <a:gd name="T5" fmla="*/ 4 h 3"/>
                          <a:gd name="T6" fmla="*/ 5 w 4"/>
                          <a:gd name="T7" fmla="*/ 1 h 3"/>
                          <a:gd name="T8" fmla="*/ 3 w 4"/>
                          <a:gd name="T9" fmla="*/ 0 h 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4"/>
                          <a:gd name="T16" fmla="*/ 0 h 3"/>
                          <a:gd name="T17" fmla="*/ 4 w 4"/>
                          <a:gd name="T18" fmla="*/ 3 h 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4" h="3">
                            <a:moveTo>
                              <a:pt x="2" y="0"/>
                            </a:moveTo>
                            <a:cubicBezTo>
                              <a:pt x="1" y="0"/>
                              <a:pt x="0" y="1"/>
                              <a:pt x="0" y="1"/>
                            </a:cubicBezTo>
                            <a:cubicBezTo>
                              <a:pt x="0" y="3"/>
                              <a:pt x="1" y="3"/>
                              <a:pt x="2" y="3"/>
                            </a:cubicBezTo>
                            <a:cubicBezTo>
                              <a:pt x="3" y="3"/>
                              <a:pt x="4" y="2"/>
                              <a:pt x="4" y="1"/>
                            </a:cubicBezTo>
                            <a:cubicBezTo>
                              <a:pt x="4" y="0"/>
                              <a:pt x="3" y="0"/>
                              <a:pt x="2" y="0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21" name="Freeform 3524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825770" y="2188589"/>
                        <a:ext cx="11185" cy="5815"/>
                      </a:xfrm>
                      <a:custGeom>
                        <a:avLst/>
                        <a:gdLst>
                          <a:gd name="T0" fmla="*/ 1 w 8"/>
                          <a:gd name="T1" fmla="*/ 5 h 6"/>
                          <a:gd name="T2" fmla="*/ 3 w 8"/>
                          <a:gd name="T3" fmla="*/ 7 h 6"/>
                          <a:gd name="T4" fmla="*/ 10 w 8"/>
                          <a:gd name="T5" fmla="*/ 2 h 6"/>
                          <a:gd name="T6" fmla="*/ 9 w 8"/>
                          <a:gd name="T7" fmla="*/ 1 h 6"/>
                          <a:gd name="T8" fmla="*/ 1 w 8"/>
                          <a:gd name="T9" fmla="*/ 5 h 6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8"/>
                          <a:gd name="T16" fmla="*/ 0 h 6"/>
                          <a:gd name="T17" fmla="*/ 8 w 8"/>
                          <a:gd name="T18" fmla="*/ 6 h 6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8" h="6">
                            <a:moveTo>
                              <a:pt x="1" y="4"/>
                            </a:moveTo>
                            <a:cubicBezTo>
                              <a:pt x="0" y="5"/>
                              <a:pt x="1" y="6"/>
                              <a:pt x="2" y="6"/>
                            </a:cubicBezTo>
                            <a:cubicBezTo>
                              <a:pt x="4" y="5"/>
                              <a:pt x="6" y="3"/>
                              <a:pt x="8" y="2"/>
                            </a:cubicBezTo>
                            <a:cubicBezTo>
                              <a:pt x="8" y="1"/>
                              <a:pt x="7" y="0"/>
                              <a:pt x="7" y="1"/>
                            </a:cubicBezTo>
                            <a:cubicBezTo>
                              <a:pt x="5" y="1"/>
                              <a:pt x="3" y="3"/>
                              <a:pt x="1" y="4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22" name="Freeform 3525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845903" y="2177791"/>
                        <a:ext cx="4474" cy="2493"/>
                      </a:xfrm>
                      <a:custGeom>
                        <a:avLst/>
                        <a:gdLst>
                          <a:gd name="T0" fmla="*/ 1 w 3"/>
                          <a:gd name="T1" fmla="*/ 0 h 3"/>
                          <a:gd name="T2" fmla="*/ 1 w 3"/>
                          <a:gd name="T3" fmla="*/ 3 h 3"/>
                          <a:gd name="T4" fmla="*/ 4 w 3"/>
                          <a:gd name="T5" fmla="*/ 3 h 3"/>
                          <a:gd name="T6" fmla="*/ 4 w 3"/>
                          <a:gd name="T7" fmla="*/ 1 h 3"/>
                          <a:gd name="T8" fmla="*/ 1 w 3"/>
                          <a:gd name="T9" fmla="*/ 0 h 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3"/>
                          <a:gd name="T16" fmla="*/ 0 h 3"/>
                          <a:gd name="T17" fmla="*/ 3 w 3"/>
                          <a:gd name="T18" fmla="*/ 3 h 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3" h="3">
                            <a:moveTo>
                              <a:pt x="1" y="0"/>
                            </a:moveTo>
                            <a:cubicBezTo>
                              <a:pt x="1" y="1"/>
                              <a:pt x="0" y="2"/>
                              <a:pt x="1" y="3"/>
                            </a:cubicBezTo>
                            <a:cubicBezTo>
                              <a:pt x="1" y="3"/>
                              <a:pt x="2" y="3"/>
                              <a:pt x="3" y="3"/>
                            </a:cubicBezTo>
                            <a:cubicBezTo>
                              <a:pt x="3" y="2"/>
                              <a:pt x="3" y="2"/>
                              <a:pt x="3" y="1"/>
                            </a:cubicBezTo>
                            <a:cubicBezTo>
                              <a:pt x="3" y="1"/>
                              <a:pt x="2" y="0"/>
                              <a:pt x="1" y="0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23" name="Freeform 3526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877221" y="2194405"/>
                        <a:ext cx="5593" cy="3322"/>
                      </a:xfrm>
                      <a:custGeom>
                        <a:avLst/>
                        <a:gdLst>
                          <a:gd name="T0" fmla="*/ 1 w 4"/>
                          <a:gd name="T1" fmla="*/ 1 h 3"/>
                          <a:gd name="T2" fmla="*/ 1 w 4"/>
                          <a:gd name="T3" fmla="*/ 4 h 3"/>
                          <a:gd name="T4" fmla="*/ 4 w 4"/>
                          <a:gd name="T5" fmla="*/ 3 h 3"/>
                          <a:gd name="T6" fmla="*/ 5 w 4"/>
                          <a:gd name="T7" fmla="*/ 1 h 3"/>
                          <a:gd name="T8" fmla="*/ 1 w 4"/>
                          <a:gd name="T9" fmla="*/ 1 h 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4"/>
                          <a:gd name="T16" fmla="*/ 0 h 3"/>
                          <a:gd name="T17" fmla="*/ 4 w 4"/>
                          <a:gd name="T18" fmla="*/ 3 h 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4" h="3">
                            <a:moveTo>
                              <a:pt x="1" y="1"/>
                            </a:moveTo>
                            <a:cubicBezTo>
                              <a:pt x="0" y="1"/>
                              <a:pt x="0" y="2"/>
                              <a:pt x="1" y="3"/>
                            </a:cubicBezTo>
                            <a:cubicBezTo>
                              <a:pt x="2" y="3"/>
                              <a:pt x="3" y="3"/>
                              <a:pt x="3" y="2"/>
                            </a:cubicBezTo>
                            <a:cubicBezTo>
                              <a:pt x="4" y="2"/>
                              <a:pt x="4" y="1"/>
                              <a:pt x="4" y="1"/>
                            </a:cubicBezTo>
                            <a:cubicBezTo>
                              <a:pt x="3" y="0"/>
                              <a:pt x="2" y="1"/>
                              <a:pt x="1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24" name="Freeform 3527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3267574" y="2208525"/>
                        <a:ext cx="29080" cy="25751"/>
                      </a:xfrm>
                      <a:custGeom>
                        <a:avLst/>
                        <a:gdLst>
                          <a:gd name="T0" fmla="*/ 13 w 22"/>
                          <a:gd name="T1" fmla="*/ 0 h 26"/>
                          <a:gd name="T2" fmla="*/ 17 w 22"/>
                          <a:gd name="T3" fmla="*/ 7 h 26"/>
                          <a:gd name="T4" fmla="*/ 11 w 22"/>
                          <a:gd name="T5" fmla="*/ 18 h 26"/>
                          <a:gd name="T6" fmla="*/ 7 w 22"/>
                          <a:gd name="T7" fmla="*/ 25 h 26"/>
                          <a:gd name="T8" fmla="*/ 13 w 22"/>
                          <a:gd name="T9" fmla="*/ 25 h 26"/>
                          <a:gd name="T10" fmla="*/ 17 w 22"/>
                          <a:gd name="T11" fmla="*/ 17 h 26"/>
                          <a:gd name="T12" fmla="*/ 24 w 22"/>
                          <a:gd name="T13" fmla="*/ 17 h 26"/>
                          <a:gd name="T14" fmla="*/ 20 w 22"/>
                          <a:gd name="T15" fmla="*/ 25 h 26"/>
                          <a:gd name="T16" fmla="*/ 12 w 22"/>
                          <a:gd name="T17" fmla="*/ 31 h 26"/>
                          <a:gd name="T18" fmla="*/ 5 w 22"/>
                          <a:gd name="T19" fmla="*/ 29 h 26"/>
                          <a:gd name="T20" fmla="*/ 1 w 22"/>
                          <a:gd name="T21" fmla="*/ 23 h 26"/>
                          <a:gd name="T22" fmla="*/ 1 w 22"/>
                          <a:gd name="T23" fmla="*/ 14 h 26"/>
                          <a:gd name="T24" fmla="*/ 9 w 22"/>
                          <a:gd name="T25" fmla="*/ 2 h 26"/>
                          <a:gd name="T26" fmla="*/ 13 w 22"/>
                          <a:gd name="T27" fmla="*/ 0 h 26"/>
                          <a:gd name="T28" fmla="*/ 0 60000 65536"/>
                          <a:gd name="T29" fmla="*/ 0 60000 65536"/>
                          <a:gd name="T30" fmla="*/ 0 60000 65536"/>
                          <a:gd name="T31" fmla="*/ 0 60000 65536"/>
                          <a:gd name="T32" fmla="*/ 0 60000 65536"/>
                          <a:gd name="T33" fmla="*/ 0 60000 65536"/>
                          <a:gd name="T34" fmla="*/ 0 60000 65536"/>
                          <a:gd name="T35" fmla="*/ 0 60000 65536"/>
                          <a:gd name="T36" fmla="*/ 0 60000 65536"/>
                          <a:gd name="T37" fmla="*/ 0 60000 65536"/>
                          <a:gd name="T38" fmla="*/ 0 60000 65536"/>
                          <a:gd name="T39" fmla="*/ 0 60000 65536"/>
                          <a:gd name="T40" fmla="*/ 0 60000 65536"/>
                          <a:gd name="T41" fmla="*/ 0 60000 65536"/>
                          <a:gd name="T42" fmla="*/ 0 w 22"/>
                          <a:gd name="T43" fmla="*/ 0 h 26"/>
                          <a:gd name="T44" fmla="*/ 22 w 22"/>
                          <a:gd name="T45" fmla="*/ 26 h 26"/>
                        </a:gdLst>
                        <a:ahLst/>
                        <a:cxnLst>
                          <a:cxn ang="T28">
                            <a:pos x="T0" y="T1"/>
                          </a:cxn>
                          <a:cxn ang="T29">
                            <a:pos x="T2" y="T3"/>
                          </a:cxn>
                          <a:cxn ang="T30">
                            <a:pos x="T4" y="T5"/>
                          </a:cxn>
                          <a:cxn ang="T31">
                            <a:pos x="T6" y="T7"/>
                          </a:cxn>
                          <a:cxn ang="T32">
                            <a:pos x="T8" y="T9"/>
                          </a:cxn>
                          <a:cxn ang="T33">
                            <a:pos x="T10" y="T11"/>
                          </a:cxn>
                          <a:cxn ang="T34">
                            <a:pos x="T12" y="T13"/>
                          </a:cxn>
                          <a:cxn ang="T35">
                            <a:pos x="T14" y="T15"/>
                          </a:cxn>
                          <a:cxn ang="T36">
                            <a:pos x="T16" y="T17"/>
                          </a:cxn>
                          <a:cxn ang="T37">
                            <a:pos x="T18" y="T19"/>
                          </a:cxn>
                          <a:cxn ang="T38">
                            <a:pos x="T20" y="T21"/>
                          </a:cxn>
                          <a:cxn ang="T39">
                            <a:pos x="T22" y="T23"/>
                          </a:cxn>
                          <a:cxn ang="T40">
                            <a:pos x="T24" y="T25"/>
                          </a:cxn>
                          <a:cxn ang="T41">
                            <a:pos x="T26" y="T27"/>
                          </a:cxn>
                        </a:cxnLst>
                        <a:rect l="T42" t="T43" r="T44" b="T45"/>
                        <a:pathLst>
                          <a:path w="22" h="26">
                            <a:moveTo>
                              <a:pt x="11" y="0"/>
                            </a:moveTo>
                            <a:cubicBezTo>
                              <a:pt x="13" y="1"/>
                              <a:pt x="15" y="4"/>
                              <a:pt x="14" y="6"/>
                            </a:cubicBezTo>
                            <a:cubicBezTo>
                              <a:pt x="14" y="10"/>
                              <a:pt x="11" y="12"/>
                              <a:pt x="9" y="15"/>
                            </a:cubicBezTo>
                            <a:cubicBezTo>
                              <a:pt x="8" y="17"/>
                              <a:pt x="6" y="19"/>
                              <a:pt x="6" y="21"/>
                            </a:cubicBezTo>
                            <a:cubicBezTo>
                              <a:pt x="7" y="22"/>
                              <a:pt x="10" y="22"/>
                              <a:pt x="11" y="21"/>
                            </a:cubicBezTo>
                            <a:cubicBezTo>
                              <a:pt x="12" y="20"/>
                              <a:pt x="12" y="16"/>
                              <a:pt x="14" y="14"/>
                            </a:cubicBezTo>
                            <a:cubicBezTo>
                              <a:pt x="15" y="13"/>
                              <a:pt x="19" y="12"/>
                              <a:pt x="20" y="14"/>
                            </a:cubicBezTo>
                            <a:cubicBezTo>
                              <a:pt x="22" y="16"/>
                              <a:pt x="19" y="19"/>
                              <a:pt x="17" y="21"/>
                            </a:cubicBezTo>
                            <a:cubicBezTo>
                              <a:pt x="15" y="23"/>
                              <a:pt x="13" y="25"/>
                              <a:pt x="10" y="26"/>
                            </a:cubicBezTo>
                            <a:cubicBezTo>
                              <a:pt x="8" y="26"/>
                              <a:pt x="6" y="25"/>
                              <a:pt x="4" y="24"/>
                            </a:cubicBezTo>
                            <a:cubicBezTo>
                              <a:pt x="3" y="23"/>
                              <a:pt x="1" y="21"/>
                              <a:pt x="1" y="19"/>
                            </a:cubicBezTo>
                            <a:cubicBezTo>
                              <a:pt x="0" y="17"/>
                              <a:pt x="0" y="14"/>
                              <a:pt x="1" y="12"/>
                            </a:cubicBezTo>
                            <a:cubicBezTo>
                              <a:pt x="3" y="8"/>
                              <a:pt x="5" y="5"/>
                              <a:pt x="8" y="2"/>
                            </a:cubicBezTo>
                            <a:cubicBezTo>
                              <a:pt x="9" y="1"/>
                              <a:pt x="10" y="0"/>
                              <a:pt x="11" y="0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25" name="Freeform 3528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3222835" y="2206034"/>
                        <a:ext cx="38029" cy="19936"/>
                      </a:xfrm>
                      <a:custGeom>
                        <a:avLst/>
                        <a:gdLst>
                          <a:gd name="T0" fmla="*/ 32 w 28"/>
                          <a:gd name="T1" fmla="*/ 13 h 20"/>
                          <a:gd name="T2" fmla="*/ 27 w 28"/>
                          <a:gd name="T3" fmla="*/ 17 h 20"/>
                          <a:gd name="T4" fmla="*/ 27 w 28"/>
                          <a:gd name="T5" fmla="*/ 23 h 20"/>
                          <a:gd name="T6" fmla="*/ 19 w 28"/>
                          <a:gd name="T7" fmla="*/ 22 h 20"/>
                          <a:gd name="T8" fmla="*/ 19 w 28"/>
                          <a:gd name="T9" fmla="*/ 17 h 20"/>
                          <a:gd name="T10" fmla="*/ 13 w 28"/>
                          <a:gd name="T11" fmla="*/ 19 h 20"/>
                          <a:gd name="T12" fmla="*/ 6 w 28"/>
                          <a:gd name="T13" fmla="*/ 14 h 20"/>
                          <a:gd name="T14" fmla="*/ 1 w 28"/>
                          <a:gd name="T15" fmla="*/ 12 h 20"/>
                          <a:gd name="T16" fmla="*/ 1 w 28"/>
                          <a:gd name="T17" fmla="*/ 5 h 20"/>
                          <a:gd name="T18" fmla="*/ 5 w 28"/>
                          <a:gd name="T19" fmla="*/ 1 h 20"/>
                          <a:gd name="T20" fmla="*/ 5 w 28"/>
                          <a:gd name="T21" fmla="*/ 8 h 20"/>
                          <a:gd name="T22" fmla="*/ 9 w 28"/>
                          <a:gd name="T23" fmla="*/ 12 h 20"/>
                          <a:gd name="T24" fmla="*/ 16 w 28"/>
                          <a:gd name="T25" fmla="*/ 14 h 20"/>
                          <a:gd name="T26" fmla="*/ 23 w 28"/>
                          <a:gd name="T27" fmla="*/ 13 h 20"/>
                          <a:gd name="T28" fmla="*/ 32 w 28"/>
                          <a:gd name="T29" fmla="*/ 13 h 20"/>
                          <a:gd name="T30" fmla="*/ 0 60000 65536"/>
                          <a:gd name="T31" fmla="*/ 0 60000 65536"/>
                          <a:gd name="T32" fmla="*/ 0 60000 65536"/>
                          <a:gd name="T33" fmla="*/ 0 60000 65536"/>
                          <a:gd name="T34" fmla="*/ 0 60000 65536"/>
                          <a:gd name="T35" fmla="*/ 0 60000 65536"/>
                          <a:gd name="T36" fmla="*/ 0 60000 65536"/>
                          <a:gd name="T37" fmla="*/ 0 60000 65536"/>
                          <a:gd name="T38" fmla="*/ 0 60000 65536"/>
                          <a:gd name="T39" fmla="*/ 0 60000 65536"/>
                          <a:gd name="T40" fmla="*/ 0 60000 65536"/>
                          <a:gd name="T41" fmla="*/ 0 60000 65536"/>
                          <a:gd name="T42" fmla="*/ 0 60000 65536"/>
                          <a:gd name="T43" fmla="*/ 0 60000 65536"/>
                          <a:gd name="T44" fmla="*/ 0 60000 65536"/>
                          <a:gd name="T45" fmla="*/ 0 w 28"/>
                          <a:gd name="T46" fmla="*/ 0 h 20"/>
                          <a:gd name="T47" fmla="*/ 28 w 28"/>
                          <a:gd name="T48" fmla="*/ 20 h 20"/>
                        </a:gdLst>
                        <a:ahLst/>
                        <a:cxnLst>
                          <a:cxn ang="T30">
                            <a:pos x="T0" y="T1"/>
                          </a:cxn>
                          <a:cxn ang="T31">
                            <a:pos x="T2" y="T3"/>
                          </a:cxn>
                          <a:cxn ang="T32">
                            <a:pos x="T4" y="T5"/>
                          </a:cxn>
                          <a:cxn ang="T33">
                            <a:pos x="T6" y="T7"/>
                          </a:cxn>
                          <a:cxn ang="T34">
                            <a:pos x="T8" y="T9"/>
                          </a:cxn>
                          <a:cxn ang="T35">
                            <a:pos x="T10" y="T11"/>
                          </a:cxn>
                          <a:cxn ang="T36">
                            <a:pos x="T12" y="T13"/>
                          </a:cxn>
                          <a:cxn ang="T37">
                            <a:pos x="T14" y="T15"/>
                          </a:cxn>
                          <a:cxn ang="T38">
                            <a:pos x="T16" y="T17"/>
                          </a:cxn>
                          <a:cxn ang="T39">
                            <a:pos x="T18" y="T19"/>
                          </a:cxn>
                          <a:cxn ang="T40">
                            <a:pos x="T20" y="T21"/>
                          </a:cxn>
                          <a:cxn ang="T41">
                            <a:pos x="T22" y="T23"/>
                          </a:cxn>
                          <a:cxn ang="T42">
                            <a:pos x="T24" y="T25"/>
                          </a:cxn>
                          <a:cxn ang="T43">
                            <a:pos x="T26" y="T27"/>
                          </a:cxn>
                          <a:cxn ang="T44">
                            <a:pos x="T28" y="T29"/>
                          </a:cxn>
                        </a:cxnLst>
                        <a:rect l="T45" t="T46" r="T47" b="T48"/>
                        <a:pathLst>
                          <a:path w="28" h="20">
                            <a:moveTo>
                              <a:pt x="26" y="11"/>
                            </a:moveTo>
                            <a:cubicBezTo>
                              <a:pt x="28" y="13"/>
                              <a:pt x="23" y="13"/>
                              <a:pt x="22" y="14"/>
                            </a:cubicBezTo>
                            <a:cubicBezTo>
                              <a:pt x="21" y="16"/>
                              <a:pt x="23" y="18"/>
                              <a:pt x="22" y="19"/>
                            </a:cubicBezTo>
                            <a:cubicBezTo>
                              <a:pt x="20" y="20"/>
                              <a:pt x="18" y="19"/>
                              <a:pt x="16" y="18"/>
                            </a:cubicBezTo>
                            <a:cubicBezTo>
                              <a:pt x="16" y="17"/>
                              <a:pt x="17" y="15"/>
                              <a:pt x="16" y="14"/>
                            </a:cubicBezTo>
                            <a:cubicBezTo>
                              <a:pt x="14" y="14"/>
                              <a:pt x="13" y="16"/>
                              <a:pt x="11" y="16"/>
                            </a:cubicBezTo>
                            <a:cubicBezTo>
                              <a:pt x="8" y="16"/>
                              <a:pt x="7" y="13"/>
                              <a:pt x="5" y="12"/>
                            </a:cubicBezTo>
                            <a:cubicBezTo>
                              <a:pt x="3" y="11"/>
                              <a:pt x="2" y="11"/>
                              <a:pt x="1" y="10"/>
                            </a:cubicBezTo>
                            <a:cubicBezTo>
                              <a:pt x="0" y="8"/>
                              <a:pt x="1" y="6"/>
                              <a:pt x="1" y="4"/>
                            </a:cubicBezTo>
                            <a:cubicBezTo>
                              <a:pt x="2" y="3"/>
                              <a:pt x="3" y="0"/>
                              <a:pt x="4" y="1"/>
                            </a:cubicBezTo>
                            <a:cubicBezTo>
                              <a:pt x="5" y="2"/>
                              <a:pt x="3" y="5"/>
                              <a:pt x="4" y="7"/>
                            </a:cubicBezTo>
                            <a:cubicBezTo>
                              <a:pt x="4" y="8"/>
                              <a:pt x="5" y="9"/>
                              <a:pt x="7" y="10"/>
                            </a:cubicBezTo>
                            <a:cubicBezTo>
                              <a:pt x="9" y="11"/>
                              <a:pt x="11" y="11"/>
                              <a:pt x="13" y="12"/>
                            </a:cubicBezTo>
                            <a:cubicBezTo>
                              <a:pt x="15" y="12"/>
                              <a:pt x="17" y="11"/>
                              <a:pt x="19" y="11"/>
                            </a:cubicBezTo>
                            <a:cubicBezTo>
                              <a:pt x="22" y="11"/>
                              <a:pt x="25" y="9"/>
                              <a:pt x="26" y="1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26" name="Freeform 3529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3228427" y="2157855"/>
                        <a:ext cx="44739" cy="14952"/>
                      </a:xfrm>
                      <a:custGeom>
                        <a:avLst/>
                        <a:gdLst>
                          <a:gd name="T0" fmla="*/ 1 w 33"/>
                          <a:gd name="T1" fmla="*/ 2 h 15"/>
                          <a:gd name="T2" fmla="*/ 2 w 33"/>
                          <a:gd name="T3" fmla="*/ 0 h 15"/>
                          <a:gd name="T4" fmla="*/ 23 w 33"/>
                          <a:gd name="T5" fmla="*/ 4 h 15"/>
                          <a:gd name="T6" fmla="*/ 36 w 33"/>
                          <a:gd name="T7" fmla="*/ 11 h 15"/>
                          <a:gd name="T8" fmla="*/ 39 w 33"/>
                          <a:gd name="T9" fmla="*/ 16 h 15"/>
                          <a:gd name="T10" fmla="*/ 23 w 33"/>
                          <a:gd name="T11" fmla="*/ 14 h 15"/>
                          <a:gd name="T12" fmla="*/ 11 w 33"/>
                          <a:gd name="T13" fmla="*/ 7 h 15"/>
                          <a:gd name="T14" fmla="*/ 1 w 33"/>
                          <a:gd name="T15" fmla="*/ 2 h 15"/>
                          <a:gd name="T16" fmla="*/ 0 60000 65536"/>
                          <a:gd name="T17" fmla="*/ 0 60000 65536"/>
                          <a:gd name="T18" fmla="*/ 0 60000 65536"/>
                          <a:gd name="T19" fmla="*/ 0 60000 65536"/>
                          <a:gd name="T20" fmla="*/ 0 60000 65536"/>
                          <a:gd name="T21" fmla="*/ 0 60000 65536"/>
                          <a:gd name="T22" fmla="*/ 0 60000 65536"/>
                          <a:gd name="T23" fmla="*/ 0 60000 65536"/>
                          <a:gd name="T24" fmla="*/ 0 w 33"/>
                          <a:gd name="T25" fmla="*/ 0 h 15"/>
                          <a:gd name="T26" fmla="*/ 33 w 33"/>
                          <a:gd name="T27" fmla="*/ 15 h 15"/>
                        </a:gdLst>
                        <a:ahLst/>
                        <a:cxnLst>
                          <a:cxn ang="T16">
                            <a:pos x="T0" y="T1"/>
                          </a:cxn>
                          <a:cxn ang="T17">
                            <a:pos x="T2" y="T3"/>
                          </a:cxn>
                          <a:cxn ang="T18">
                            <a:pos x="T4" y="T5"/>
                          </a:cxn>
                          <a:cxn ang="T19">
                            <a:pos x="T6" y="T7"/>
                          </a:cxn>
                          <a:cxn ang="T20">
                            <a:pos x="T8" y="T9"/>
                          </a:cxn>
                          <a:cxn ang="T21">
                            <a:pos x="T10" y="T11"/>
                          </a:cxn>
                          <a:cxn ang="T22">
                            <a:pos x="T12" y="T13"/>
                          </a:cxn>
                          <a:cxn ang="T23">
                            <a:pos x="T14" y="T15"/>
                          </a:cxn>
                        </a:cxnLst>
                        <a:rect l="T24" t="T25" r="T26" b="T27"/>
                        <a:pathLst>
                          <a:path w="33" h="15">
                            <a:moveTo>
                              <a:pt x="1" y="2"/>
                            </a:moveTo>
                            <a:cubicBezTo>
                              <a:pt x="0" y="1"/>
                              <a:pt x="1" y="0"/>
                              <a:pt x="2" y="0"/>
                            </a:cubicBezTo>
                            <a:cubicBezTo>
                              <a:pt x="7" y="0"/>
                              <a:pt x="13" y="2"/>
                              <a:pt x="19" y="3"/>
                            </a:cubicBezTo>
                            <a:cubicBezTo>
                              <a:pt x="23" y="5"/>
                              <a:pt x="27" y="7"/>
                              <a:pt x="30" y="9"/>
                            </a:cubicBezTo>
                            <a:cubicBezTo>
                              <a:pt x="32" y="10"/>
                              <a:pt x="33" y="13"/>
                              <a:pt x="32" y="13"/>
                            </a:cubicBezTo>
                            <a:cubicBezTo>
                              <a:pt x="28" y="15"/>
                              <a:pt x="23" y="13"/>
                              <a:pt x="19" y="12"/>
                            </a:cubicBezTo>
                            <a:cubicBezTo>
                              <a:pt x="16" y="11"/>
                              <a:pt x="13" y="8"/>
                              <a:pt x="9" y="6"/>
                            </a:cubicBezTo>
                            <a:cubicBezTo>
                              <a:pt x="7" y="4"/>
                              <a:pt x="3" y="3"/>
                              <a:pt x="1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27" name="Freeform 3530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3261982" y="2194405"/>
                        <a:ext cx="7830" cy="9137"/>
                      </a:xfrm>
                      <a:custGeom>
                        <a:avLst/>
                        <a:gdLst>
                          <a:gd name="T0" fmla="*/ 6 w 6"/>
                          <a:gd name="T1" fmla="*/ 1 h 9"/>
                          <a:gd name="T2" fmla="*/ 0 w 6"/>
                          <a:gd name="T3" fmla="*/ 11 h 9"/>
                          <a:gd name="T4" fmla="*/ 4 w 6"/>
                          <a:gd name="T5" fmla="*/ 10 h 9"/>
                          <a:gd name="T6" fmla="*/ 7 w 6"/>
                          <a:gd name="T7" fmla="*/ 1 h 9"/>
                          <a:gd name="T8" fmla="*/ 6 w 6"/>
                          <a:gd name="T9" fmla="*/ 1 h 9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6"/>
                          <a:gd name="T16" fmla="*/ 0 h 9"/>
                          <a:gd name="T17" fmla="*/ 6 w 6"/>
                          <a:gd name="T18" fmla="*/ 9 h 9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6" h="9">
                            <a:moveTo>
                              <a:pt x="5" y="1"/>
                            </a:moveTo>
                            <a:cubicBezTo>
                              <a:pt x="3" y="3"/>
                              <a:pt x="1" y="6"/>
                              <a:pt x="0" y="9"/>
                            </a:cubicBezTo>
                            <a:cubicBezTo>
                              <a:pt x="0" y="9"/>
                              <a:pt x="2" y="9"/>
                              <a:pt x="3" y="8"/>
                            </a:cubicBezTo>
                            <a:cubicBezTo>
                              <a:pt x="4" y="6"/>
                              <a:pt x="5" y="4"/>
                              <a:pt x="6" y="1"/>
                            </a:cubicBezTo>
                            <a:cubicBezTo>
                              <a:pt x="6" y="1"/>
                              <a:pt x="5" y="0"/>
                              <a:pt x="5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28" name="Freeform 3531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3305603" y="2128782"/>
                        <a:ext cx="110731" cy="87220"/>
                      </a:xfrm>
                      <a:custGeom>
                        <a:avLst/>
                        <a:gdLst>
                          <a:gd name="T0" fmla="*/ 63 w 83"/>
                          <a:gd name="T1" fmla="*/ 2 h 88"/>
                          <a:gd name="T2" fmla="*/ 56 w 83"/>
                          <a:gd name="T3" fmla="*/ 7 h 88"/>
                          <a:gd name="T4" fmla="*/ 55 w 83"/>
                          <a:gd name="T5" fmla="*/ 16 h 88"/>
                          <a:gd name="T6" fmla="*/ 44 w 83"/>
                          <a:gd name="T7" fmla="*/ 30 h 88"/>
                          <a:gd name="T8" fmla="*/ 43 w 83"/>
                          <a:gd name="T9" fmla="*/ 38 h 88"/>
                          <a:gd name="T10" fmla="*/ 50 w 83"/>
                          <a:gd name="T11" fmla="*/ 29 h 88"/>
                          <a:gd name="T12" fmla="*/ 56 w 83"/>
                          <a:gd name="T13" fmla="*/ 35 h 88"/>
                          <a:gd name="T14" fmla="*/ 50 w 83"/>
                          <a:gd name="T15" fmla="*/ 39 h 88"/>
                          <a:gd name="T16" fmla="*/ 63 w 83"/>
                          <a:gd name="T17" fmla="*/ 47 h 88"/>
                          <a:gd name="T18" fmla="*/ 69 w 83"/>
                          <a:gd name="T19" fmla="*/ 47 h 88"/>
                          <a:gd name="T20" fmla="*/ 74 w 83"/>
                          <a:gd name="T21" fmla="*/ 45 h 88"/>
                          <a:gd name="T22" fmla="*/ 79 w 83"/>
                          <a:gd name="T23" fmla="*/ 44 h 88"/>
                          <a:gd name="T24" fmla="*/ 86 w 83"/>
                          <a:gd name="T25" fmla="*/ 45 h 88"/>
                          <a:gd name="T26" fmla="*/ 78 w 83"/>
                          <a:gd name="T27" fmla="*/ 56 h 88"/>
                          <a:gd name="T28" fmla="*/ 79 w 83"/>
                          <a:gd name="T29" fmla="*/ 66 h 88"/>
                          <a:gd name="T30" fmla="*/ 88 w 83"/>
                          <a:gd name="T31" fmla="*/ 62 h 88"/>
                          <a:gd name="T32" fmla="*/ 88 w 83"/>
                          <a:gd name="T33" fmla="*/ 67 h 88"/>
                          <a:gd name="T34" fmla="*/ 79 w 83"/>
                          <a:gd name="T35" fmla="*/ 72 h 88"/>
                          <a:gd name="T36" fmla="*/ 81 w 83"/>
                          <a:gd name="T37" fmla="*/ 75 h 88"/>
                          <a:gd name="T38" fmla="*/ 79 w 83"/>
                          <a:gd name="T39" fmla="*/ 81 h 88"/>
                          <a:gd name="T40" fmla="*/ 82 w 83"/>
                          <a:gd name="T41" fmla="*/ 80 h 88"/>
                          <a:gd name="T42" fmla="*/ 91 w 83"/>
                          <a:gd name="T43" fmla="*/ 73 h 88"/>
                          <a:gd name="T44" fmla="*/ 92 w 83"/>
                          <a:gd name="T45" fmla="*/ 76 h 88"/>
                          <a:gd name="T46" fmla="*/ 88 w 83"/>
                          <a:gd name="T47" fmla="*/ 87 h 88"/>
                          <a:gd name="T48" fmla="*/ 95 w 83"/>
                          <a:gd name="T49" fmla="*/ 80 h 88"/>
                          <a:gd name="T50" fmla="*/ 93 w 83"/>
                          <a:gd name="T51" fmla="*/ 91 h 88"/>
                          <a:gd name="T52" fmla="*/ 88 w 83"/>
                          <a:gd name="T53" fmla="*/ 103 h 88"/>
                          <a:gd name="T54" fmla="*/ 80 w 83"/>
                          <a:gd name="T55" fmla="*/ 103 h 88"/>
                          <a:gd name="T56" fmla="*/ 80 w 83"/>
                          <a:gd name="T57" fmla="*/ 94 h 88"/>
                          <a:gd name="T58" fmla="*/ 72 w 83"/>
                          <a:gd name="T59" fmla="*/ 101 h 88"/>
                          <a:gd name="T60" fmla="*/ 76 w 83"/>
                          <a:gd name="T61" fmla="*/ 88 h 88"/>
                          <a:gd name="T62" fmla="*/ 75 w 83"/>
                          <a:gd name="T63" fmla="*/ 79 h 88"/>
                          <a:gd name="T64" fmla="*/ 70 w 83"/>
                          <a:gd name="T65" fmla="*/ 78 h 88"/>
                          <a:gd name="T66" fmla="*/ 68 w 83"/>
                          <a:gd name="T67" fmla="*/ 88 h 88"/>
                          <a:gd name="T68" fmla="*/ 60 w 83"/>
                          <a:gd name="T69" fmla="*/ 91 h 88"/>
                          <a:gd name="T70" fmla="*/ 54 w 83"/>
                          <a:gd name="T71" fmla="*/ 98 h 88"/>
                          <a:gd name="T72" fmla="*/ 45 w 83"/>
                          <a:gd name="T73" fmla="*/ 98 h 88"/>
                          <a:gd name="T74" fmla="*/ 57 w 83"/>
                          <a:gd name="T75" fmla="*/ 88 h 88"/>
                          <a:gd name="T76" fmla="*/ 61 w 83"/>
                          <a:gd name="T77" fmla="*/ 80 h 88"/>
                          <a:gd name="T78" fmla="*/ 52 w 83"/>
                          <a:gd name="T79" fmla="*/ 85 h 88"/>
                          <a:gd name="T80" fmla="*/ 44 w 83"/>
                          <a:gd name="T81" fmla="*/ 79 h 88"/>
                          <a:gd name="T82" fmla="*/ 27 w 83"/>
                          <a:gd name="T83" fmla="*/ 82 h 88"/>
                          <a:gd name="T84" fmla="*/ 13 w 83"/>
                          <a:gd name="T85" fmla="*/ 80 h 88"/>
                          <a:gd name="T86" fmla="*/ 4 w 83"/>
                          <a:gd name="T87" fmla="*/ 82 h 88"/>
                          <a:gd name="T88" fmla="*/ 0 w 83"/>
                          <a:gd name="T89" fmla="*/ 75 h 88"/>
                          <a:gd name="T90" fmla="*/ 11 w 83"/>
                          <a:gd name="T91" fmla="*/ 66 h 88"/>
                          <a:gd name="T92" fmla="*/ 18 w 83"/>
                          <a:gd name="T93" fmla="*/ 61 h 88"/>
                          <a:gd name="T94" fmla="*/ 5 w 83"/>
                          <a:gd name="T95" fmla="*/ 61 h 88"/>
                          <a:gd name="T96" fmla="*/ 13 w 83"/>
                          <a:gd name="T97" fmla="*/ 54 h 88"/>
                          <a:gd name="T98" fmla="*/ 23 w 83"/>
                          <a:gd name="T99" fmla="*/ 53 h 88"/>
                          <a:gd name="T100" fmla="*/ 21 w 83"/>
                          <a:gd name="T101" fmla="*/ 47 h 88"/>
                          <a:gd name="T102" fmla="*/ 21 w 83"/>
                          <a:gd name="T103" fmla="*/ 42 h 88"/>
                          <a:gd name="T104" fmla="*/ 31 w 83"/>
                          <a:gd name="T105" fmla="*/ 31 h 88"/>
                          <a:gd name="T106" fmla="*/ 36 w 83"/>
                          <a:gd name="T107" fmla="*/ 20 h 88"/>
                          <a:gd name="T108" fmla="*/ 43 w 83"/>
                          <a:gd name="T109" fmla="*/ 8 h 88"/>
                          <a:gd name="T110" fmla="*/ 52 w 83"/>
                          <a:gd name="T111" fmla="*/ 1 h 88"/>
                          <a:gd name="T112" fmla="*/ 58 w 83"/>
                          <a:gd name="T113" fmla="*/ 1 h 88"/>
                          <a:gd name="T114" fmla="*/ 63 w 83"/>
                          <a:gd name="T115" fmla="*/ 2 h 88"/>
                          <a:gd name="T116" fmla="*/ 0 60000 65536"/>
                          <a:gd name="T117" fmla="*/ 0 60000 65536"/>
                          <a:gd name="T118" fmla="*/ 0 60000 65536"/>
                          <a:gd name="T119" fmla="*/ 0 60000 65536"/>
                          <a:gd name="T120" fmla="*/ 0 60000 65536"/>
                          <a:gd name="T121" fmla="*/ 0 60000 65536"/>
                          <a:gd name="T122" fmla="*/ 0 60000 65536"/>
                          <a:gd name="T123" fmla="*/ 0 60000 65536"/>
                          <a:gd name="T124" fmla="*/ 0 60000 65536"/>
                          <a:gd name="T125" fmla="*/ 0 60000 65536"/>
                          <a:gd name="T126" fmla="*/ 0 60000 65536"/>
                          <a:gd name="T127" fmla="*/ 0 60000 65536"/>
                          <a:gd name="T128" fmla="*/ 0 60000 65536"/>
                          <a:gd name="T129" fmla="*/ 0 60000 65536"/>
                          <a:gd name="T130" fmla="*/ 0 60000 65536"/>
                          <a:gd name="T131" fmla="*/ 0 60000 65536"/>
                          <a:gd name="T132" fmla="*/ 0 60000 65536"/>
                          <a:gd name="T133" fmla="*/ 0 60000 65536"/>
                          <a:gd name="T134" fmla="*/ 0 60000 65536"/>
                          <a:gd name="T135" fmla="*/ 0 60000 65536"/>
                          <a:gd name="T136" fmla="*/ 0 60000 65536"/>
                          <a:gd name="T137" fmla="*/ 0 60000 65536"/>
                          <a:gd name="T138" fmla="*/ 0 60000 65536"/>
                          <a:gd name="T139" fmla="*/ 0 60000 65536"/>
                          <a:gd name="T140" fmla="*/ 0 60000 65536"/>
                          <a:gd name="T141" fmla="*/ 0 60000 65536"/>
                          <a:gd name="T142" fmla="*/ 0 60000 65536"/>
                          <a:gd name="T143" fmla="*/ 0 60000 65536"/>
                          <a:gd name="T144" fmla="*/ 0 60000 65536"/>
                          <a:gd name="T145" fmla="*/ 0 60000 65536"/>
                          <a:gd name="T146" fmla="*/ 0 60000 65536"/>
                          <a:gd name="T147" fmla="*/ 0 60000 65536"/>
                          <a:gd name="T148" fmla="*/ 0 60000 65536"/>
                          <a:gd name="T149" fmla="*/ 0 60000 65536"/>
                          <a:gd name="T150" fmla="*/ 0 60000 65536"/>
                          <a:gd name="T151" fmla="*/ 0 60000 65536"/>
                          <a:gd name="T152" fmla="*/ 0 60000 65536"/>
                          <a:gd name="T153" fmla="*/ 0 60000 65536"/>
                          <a:gd name="T154" fmla="*/ 0 60000 65536"/>
                          <a:gd name="T155" fmla="*/ 0 60000 65536"/>
                          <a:gd name="T156" fmla="*/ 0 60000 65536"/>
                          <a:gd name="T157" fmla="*/ 0 60000 65536"/>
                          <a:gd name="T158" fmla="*/ 0 60000 65536"/>
                          <a:gd name="T159" fmla="*/ 0 60000 65536"/>
                          <a:gd name="T160" fmla="*/ 0 60000 65536"/>
                          <a:gd name="T161" fmla="*/ 0 60000 65536"/>
                          <a:gd name="T162" fmla="*/ 0 60000 65536"/>
                          <a:gd name="T163" fmla="*/ 0 60000 65536"/>
                          <a:gd name="T164" fmla="*/ 0 60000 65536"/>
                          <a:gd name="T165" fmla="*/ 0 60000 65536"/>
                          <a:gd name="T166" fmla="*/ 0 60000 65536"/>
                          <a:gd name="T167" fmla="*/ 0 60000 65536"/>
                          <a:gd name="T168" fmla="*/ 0 60000 65536"/>
                          <a:gd name="T169" fmla="*/ 0 60000 65536"/>
                          <a:gd name="T170" fmla="*/ 0 60000 65536"/>
                          <a:gd name="T171" fmla="*/ 0 60000 65536"/>
                          <a:gd name="T172" fmla="*/ 0 60000 65536"/>
                          <a:gd name="T173" fmla="*/ 0 60000 65536"/>
                          <a:gd name="T174" fmla="*/ 0 w 83"/>
                          <a:gd name="T175" fmla="*/ 0 h 88"/>
                          <a:gd name="T176" fmla="*/ 83 w 83"/>
                          <a:gd name="T177" fmla="*/ 88 h 88"/>
                        </a:gdLst>
                        <a:ahLst/>
                        <a:cxnLst>
                          <a:cxn ang="T116">
                            <a:pos x="T0" y="T1"/>
                          </a:cxn>
                          <a:cxn ang="T117">
                            <a:pos x="T2" y="T3"/>
                          </a:cxn>
                          <a:cxn ang="T118">
                            <a:pos x="T4" y="T5"/>
                          </a:cxn>
                          <a:cxn ang="T119">
                            <a:pos x="T6" y="T7"/>
                          </a:cxn>
                          <a:cxn ang="T120">
                            <a:pos x="T8" y="T9"/>
                          </a:cxn>
                          <a:cxn ang="T121">
                            <a:pos x="T10" y="T11"/>
                          </a:cxn>
                          <a:cxn ang="T122">
                            <a:pos x="T12" y="T13"/>
                          </a:cxn>
                          <a:cxn ang="T123">
                            <a:pos x="T14" y="T15"/>
                          </a:cxn>
                          <a:cxn ang="T124">
                            <a:pos x="T16" y="T17"/>
                          </a:cxn>
                          <a:cxn ang="T125">
                            <a:pos x="T18" y="T19"/>
                          </a:cxn>
                          <a:cxn ang="T126">
                            <a:pos x="T20" y="T21"/>
                          </a:cxn>
                          <a:cxn ang="T127">
                            <a:pos x="T22" y="T23"/>
                          </a:cxn>
                          <a:cxn ang="T128">
                            <a:pos x="T24" y="T25"/>
                          </a:cxn>
                          <a:cxn ang="T129">
                            <a:pos x="T26" y="T27"/>
                          </a:cxn>
                          <a:cxn ang="T130">
                            <a:pos x="T28" y="T29"/>
                          </a:cxn>
                          <a:cxn ang="T131">
                            <a:pos x="T30" y="T31"/>
                          </a:cxn>
                          <a:cxn ang="T132">
                            <a:pos x="T32" y="T33"/>
                          </a:cxn>
                          <a:cxn ang="T133">
                            <a:pos x="T34" y="T35"/>
                          </a:cxn>
                          <a:cxn ang="T134">
                            <a:pos x="T36" y="T37"/>
                          </a:cxn>
                          <a:cxn ang="T135">
                            <a:pos x="T38" y="T39"/>
                          </a:cxn>
                          <a:cxn ang="T136">
                            <a:pos x="T40" y="T41"/>
                          </a:cxn>
                          <a:cxn ang="T137">
                            <a:pos x="T42" y="T43"/>
                          </a:cxn>
                          <a:cxn ang="T138">
                            <a:pos x="T44" y="T45"/>
                          </a:cxn>
                          <a:cxn ang="T139">
                            <a:pos x="T46" y="T47"/>
                          </a:cxn>
                          <a:cxn ang="T140">
                            <a:pos x="T48" y="T49"/>
                          </a:cxn>
                          <a:cxn ang="T141">
                            <a:pos x="T50" y="T51"/>
                          </a:cxn>
                          <a:cxn ang="T142">
                            <a:pos x="T52" y="T53"/>
                          </a:cxn>
                          <a:cxn ang="T143">
                            <a:pos x="T54" y="T55"/>
                          </a:cxn>
                          <a:cxn ang="T144">
                            <a:pos x="T56" y="T57"/>
                          </a:cxn>
                          <a:cxn ang="T145">
                            <a:pos x="T58" y="T59"/>
                          </a:cxn>
                          <a:cxn ang="T146">
                            <a:pos x="T60" y="T61"/>
                          </a:cxn>
                          <a:cxn ang="T147">
                            <a:pos x="T62" y="T63"/>
                          </a:cxn>
                          <a:cxn ang="T148">
                            <a:pos x="T64" y="T65"/>
                          </a:cxn>
                          <a:cxn ang="T149">
                            <a:pos x="T66" y="T67"/>
                          </a:cxn>
                          <a:cxn ang="T150">
                            <a:pos x="T68" y="T69"/>
                          </a:cxn>
                          <a:cxn ang="T151">
                            <a:pos x="T70" y="T71"/>
                          </a:cxn>
                          <a:cxn ang="T152">
                            <a:pos x="T72" y="T73"/>
                          </a:cxn>
                          <a:cxn ang="T153">
                            <a:pos x="T74" y="T75"/>
                          </a:cxn>
                          <a:cxn ang="T154">
                            <a:pos x="T76" y="T77"/>
                          </a:cxn>
                          <a:cxn ang="T155">
                            <a:pos x="T78" y="T79"/>
                          </a:cxn>
                          <a:cxn ang="T156">
                            <a:pos x="T80" y="T81"/>
                          </a:cxn>
                          <a:cxn ang="T157">
                            <a:pos x="T82" y="T83"/>
                          </a:cxn>
                          <a:cxn ang="T158">
                            <a:pos x="T84" y="T85"/>
                          </a:cxn>
                          <a:cxn ang="T159">
                            <a:pos x="T86" y="T87"/>
                          </a:cxn>
                          <a:cxn ang="T160">
                            <a:pos x="T88" y="T89"/>
                          </a:cxn>
                          <a:cxn ang="T161">
                            <a:pos x="T90" y="T91"/>
                          </a:cxn>
                          <a:cxn ang="T162">
                            <a:pos x="T92" y="T93"/>
                          </a:cxn>
                          <a:cxn ang="T163">
                            <a:pos x="T94" y="T95"/>
                          </a:cxn>
                          <a:cxn ang="T164">
                            <a:pos x="T96" y="T97"/>
                          </a:cxn>
                          <a:cxn ang="T165">
                            <a:pos x="T98" y="T99"/>
                          </a:cxn>
                          <a:cxn ang="T166">
                            <a:pos x="T100" y="T101"/>
                          </a:cxn>
                          <a:cxn ang="T167">
                            <a:pos x="T102" y="T103"/>
                          </a:cxn>
                          <a:cxn ang="T168">
                            <a:pos x="T104" y="T105"/>
                          </a:cxn>
                          <a:cxn ang="T169">
                            <a:pos x="T106" y="T107"/>
                          </a:cxn>
                          <a:cxn ang="T170">
                            <a:pos x="T108" y="T109"/>
                          </a:cxn>
                          <a:cxn ang="T171">
                            <a:pos x="T110" y="T111"/>
                          </a:cxn>
                          <a:cxn ang="T172">
                            <a:pos x="T112" y="T113"/>
                          </a:cxn>
                          <a:cxn ang="T173">
                            <a:pos x="T114" y="T115"/>
                          </a:cxn>
                        </a:cxnLst>
                        <a:rect l="T174" t="T175" r="T176" b="T177"/>
                        <a:pathLst>
                          <a:path w="83" h="88">
                            <a:moveTo>
                              <a:pt x="53" y="2"/>
                            </a:moveTo>
                            <a:cubicBezTo>
                              <a:pt x="52" y="4"/>
                              <a:pt x="48" y="4"/>
                              <a:pt x="47" y="6"/>
                            </a:cubicBezTo>
                            <a:cubicBezTo>
                              <a:pt x="46" y="8"/>
                              <a:pt x="48" y="11"/>
                              <a:pt x="46" y="13"/>
                            </a:cubicBezTo>
                            <a:cubicBezTo>
                              <a:pt x="44" y="18"/>
                              <a:pt x="40" y="21"/>
                              <a:pt x="37" y="25"/>
                            </a:cubicBezTo>
                            <a:cubicBezTo>
                              <a:pt x="36" y="27"/>
                              <a:pt x="34" y="32"/>
                              <a:pt x="36" y="32"/>
                            </a:cubicBezTo>
                            <a:cubicBezTo>
                              <a:pt x="39" y="31"/>
                              <a:pt x="39" y="25"/>
                              <a:pt x="42" y="24"/>
                            </a:cubicBezTo>
                            <a:cubicBezTo>
                              <a:pt x="44" y="24"/>
                              <a:pt x="47" y="27"/>
                              <a:pt x="47" y="29"/>
                            </a:cubicBezTo>
                            <a:cubicBezTo>
                              <a:pt x="47" y="31"/>
                              <a:pt x="40" y="31"/>
                              <a:pt x="42" y="33"/>
                            </a:cubicBezTo>
                            <a:cubicBezTo>
                              <a:pt x="44" y="37"/>
                              <a:pt x="49" y="37"/>
                              <a:pt x="53" y="39"/>
                            </a:cubicBezTo>
                            <a:cubicBezTo>
                              <a:pt x="55" y="39"/>
                              <a:pt x="56" y="40"/>
                              <a:pt x="58" y="39"/>
                            </a:cubicBezTo>
                            <a:cubicBezTo>
                              <a:pt x="60" y="35"/>
                              <a:pt x="61" y="39"/>
                              <a:pt x="62" y="38"/>
                            </a:cubicBezTo>
                            <a:cubicBezTo>
                              <a:pt x="63" y="38"/>
                              <a:pt x="64" y="37"/>
                              <a:pt x="66" y="37"/>
                            </a:cubicBezTo>
                            <a:cubicBezTo>
                              <a:pt x="68" y="37"/>
                              <a:pt x="73" y="36"/>
                              <a:pt x="72" y="38"/>
                            </a:cubicBezTo>
                            <a:cubicBezTo>
                              <a:pt x="72" y="42"/>
                              <a:pt x="67" y="43"/>
                              <a:pt x="65" y="47"/>
                            </a:cubicBezTo>
                            <a:cubicBezTo>
                              <a:pt x="64" y="49"/>
                              <a:pt x="63" y="53"/>
                              <a:pt x="66" y="55"/>
                            </a:cubicBezTo>
                            <a:cubicBezTo>
                              <a:pt x="68" y="56"/>
                              <a:pt x="71" y="52"/>
                              <a:pt x="74" y="52"/>
                            </a:cubicBezTo>
                            <a:cubicBezTo>
                              <a:pt x="76" y="52"/>
                              <a:pt x="75" y="55"/>
                              <a:pt x="74" y="56"/>
                            </a:cubicBezTo>
                            <a:cubicBezTo>
                              <a:pt x="72" y="58"/>
                              <a:pt x="68" y="58"/>
                              <a:pt x="66" y="60"/>
                            </a:cubicBezTo>
                            <a:cubicBezTo>
                              <a:pt x="66" y="61"/>
                              <a:pt x="68" y="62"/>
                              <a:pt x="68" y="63"/>
                            </a:cubicBezTo>
                            <a:cubicBezTo>
                              <a:pt x="68" y="65"/>
                              <a:pt x="65" y="67"/>
                              <a:pt x="66" y="68"/>
                            </a:cubicBezTo>
                            <a:cubicBezTo>
                              <a:pt x="66" y="69"/>
                              <a:pt x="68" y="68"/>
                              <a:pt x="69" y="67"/>
                            </a:cubicBezTo>
                            <a:cubicBezTo>
                              <a:pt x="71" y="65"/>
                              <a:pt x="73" y="62"/>
                              <a:pt x="76" y="61"/>
                            </a:cubicBezTo>
                            <a:cubicBezTo>
                              <a:pt x="77" y="61"/>
                              <a:pt x="77" y="63"/>
                              <a:pt x="77" y="64"/>
                            </a:cubicBezTo>
                            <a:cubicBezTo>
                              <a:pt x="76" y="67"/>
                              <a:pt x="71" y="71"/>
                              <a:pt x="74" y="73"/>
                            </a:cubicBezTo>
                            <a:cubicBezTo>
                              <a:pt x="76" y="74"/>
                              <a:pt x="78" y="65"/>
                              <a:pt x="80" y="67"/>
                            </a:cubicBezTo>
                            <a:cubicBezTo>
                              <a:pt x="83" y="69"/>
                              <a:pt x="79" y="73"/>
                              <a:pt x="78" y="76"/>
                            </a:cubicBezTo>
                            <a:cubicBezTo>
                              <a:pt x="77" y="79"/>
                              <a:pt x="77" y="84"/>
                              <a:pt x="74" y="86"/>
                            </a:cubicBezTo>
                            <a:cubicBezTo>
                              <a:pt x="73" y="88"/>
                              <a:pt x="69" y="88"/>
                              <a:pt x="67" y="86"/>
                            </a:cubicBezTo>
                            <a:cubicBezTo>
                              <a:pt x="65" y="84"/>
                              <a:pt x="69" y="79"/>
                              <a:pt x="67" y="79"/>
                            </a:cubicBezTo>
                            <a:cubicBezTo>
                              <a:pt x="64" y="79"/>
                              <a:pt x="62" y="88"/>
                              <a:pt x="60" y="85"/>
                            </a:cubicBezTo>
                            <a:cubicBezTo>
                              <a:pt x="58" y="82"/>
                              <a:pt x="63" y="78"/>
                              <a:pt x="64" y="74"/>
                            </a:cubicBezTo>
                            <a:cubicBezTo>
                              <a:pt x="64" y="71"/>
                              <a:pt x="64" y="68"/>
                              <a:pt x="63" y="66"/>
                            </a:cubicBezTo>
                            <a:cubicBezTo>
                              <a:pt x="62" y="65"/>
                              <a:pt x="60" y="64"/>
                              <a:pt x="59" y="65"/>
                            </a:cubicBezTo>
                            <a:cubicBezTo>
                              <a:pt x="58" y="68"/>
                              <a:pt x="59" y="72"/>
                              <a:pt x="57" y="74"/>
                            </a:cubicBezTo>
                            <a:cubicBezTo>
                              <a:pt x="55" y="76"/>
                              <a:pt x="52" y="75"/>
                              <a:pt x="50" y="76"/>
                            </a:cubicBezTo>
                            <a:cubicBezTo>
                              <a:pt x="48" y="78"/>
                              <a:pt x="47" y="81"/>
                              <a:pt x="45" y="82"/>
                            </a:cubicBezTo>
                            <a:cubicBezTo>
                              <a:pt x="43" y="83"/>
                              <a:pt x="37" y="84"/>
                              <a:pt x="38" y="82"/>
                            </a:cubicBezTo>
                            <a:cubicBezTo>
                              <a:pt x="39" y="78"/>
                              <a:pt x="45" y="78"/>
                              <a:pt x="48" y="74"/>
                            </a:cubicBezTo>
                            <a:cubicBezTo>
                              <a:pt x="50" y="73"/>
                              <a:pt x="53" y="69"/>
                              <a:pt x="51" y="67"/>
                            </a:cubicBezTo>
                            <a:cubicBezTo>
                              <a:pt x="49" y="66"/>
                              <a:pt x="47" y="71"/>
                              <a:pt x="44" y="71"/>
                            </a:cubicBezTo>
                            <a:cubicBezTo>
                              <a:pt x="41" y="71"/>
                              <a:pt x="40" y="66"/>
                              <a:pt x="37" y="66"/>
                            </a:cubicBezTo>
                            <a:cubicBezTo>
                              <a:pt x="32" y="65"/>
                              <a:pt x="28" y="69"/>
                              <a:pt x="23" y="69"/>
                            </a:cubicBezTo>
                            <a:cubicBezTo>
                              <a:pt x="19" y="69"/>
                              <a:pt x="15" y="67"/>
                              <a:pt x="11" y="67"/>
                            </a:cubicBezTo>
                            <a:cubicBezTo>
                              <a:pt x="8" y="67"/>
                              <a:pt x="6" y="70"/>
                              <a:pt x="3" y="69"/>
                            </a:cubicBezTo>
                            <a:cubicBezTo>
                              <a:pt x="1" y="68"/>
                              <a:pt x="0" y="65"/>
                              <a:pt x="0" y="63"/>
                            </a:cubicBezTo>
                            <a:cubicBezTo>
                              <a:pt x="2" y="59"/>
                              <a:pt x="6" y="58"/>
                              <a:pt x="9" y="55"/>
                            </a:cubicBezTo>
                            <a:cubicBezTo>
                              <a:pt x="11" y="54"/>
                              <a:pt x="17" y="53"/>
                              <a:pt x="15" y="51"/>
                            </a:cubicBezTo>
                            <a:cubicBezTo>
                              <a:pt x="12" y="49"/>
                              <a:pt x="6" y="54"/>
                              <a:pt x="4" y="51"/>
                            </a:cubicBezTo>
                            <a:cubicBezTo>
                              <a:pt x="2" y="48"/>
                              <a:pt x="8" y="46"/>
                              <a:pt x="11" y="45"/>
                            </a:cubicBezTo>
                            <a:cubicBezTo>
                              <a:pt x="13" y="44"/>
                              <a:pt x="17" y="46"/>
                              <a:pt x="19" y="44"/>
                            </a:cubicBezTo>
                            <a:cubicBezTo>
                              <a:pt x="21" y="43"/>
                              <a:pt x="19" y="41"/>
                              <a:pt x="18" y="39"/>
                            </a:cubicBezTo>
                            <a:cubicBezTo>
                              <a:pt x="18" y="38"/>
                              <a:pt x="17" y="36"/>
                              <a:pt x="18" y="35"/>
                            </a:cubicBezTo>
                            <a:cubicBezTo>
                              <a:pt x="20" y="32"/>
                              <a:pt x="23" y="30"/>
                              <a:pt x="26" y="26"/>
                            </a:cubicBezTo>
                            <a:cubicBezTo>
                              <a:pt x="28" y="23"/>
                              <a:pt x="29" y="20"/>
                              <a:pt x="30" y="17"/>
                            </a:cubicBezTo>
                            <a:cubicBezTo>
                              <a:pt x="32" y="13"/>
                              <a:pt x="33" y="10"/>
                              <a:pt x="36" y="7"/>
                            </a:cubicBezTo>
                            <a:cubicBezTo>
                              <a:pt x="38" y="4"/>
                              <a:pt x="41" y="3"/>
                              <a:pt x="44" y="1"/>
                            </a:cubicBezTo>
                            <a:cubicBezTo>
                              <a:pt x="46" y="1"/>
                              <a:pt x="47" y="1"/>
                              <a:pt x="49" y="1"/>
                            </a:cubicBezTo>
                            <a:cubicBezTo>
                              <a:pt x="50" y="1"/>
                              <a:pt x="54" y="0"/>
                              <a:pt x="53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29" name="Freeform 3533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3000255" y="2040731"/>
                        <a:ext cx="20133" cy="14952"/>
                      </a:xfrm>
                      <a:custGeom>
                        <a:avLst/>
                        <a:gdLst>
                          <a:gd name="T0" fmla="*/ 11 w 15"/>
                          <a:gd name="T1" fmla="*/ 1 h 15"/>
                          <a:gd name="T2" fmla="*/ 8 w 15"/>
                          <a:gd name="T3" fmla="*/ 7 h 15"/>
                          <a:gd name="T4" fmla="*/ 6 w 15"/>
                          <a:gd name="T5" fmla="*/ 6 h 15"/>
                          <a:gd name="T6" fmla="*/ 1 w 15"/>
                          <a:gd name="T7" fmla="*/ 16 h 15"/>
                          <a:gd name="T8" fmla="*/ 10 w 15"/>
                          <a:gd name="T9" fmla="*/ 14 h 15"/>
                          <a:gd name="T10" fmla="*/ 16 w 15"/>
                          <a:gd name="T11" fmla="*/ 11 h 15"/>
                          <a:gd name="T12" fmla="*/ 18 w 15"/>
                          <a:gd name="T13" fmla="*/ 5 h 15"/>
                          <a:gd name="T14" fmla="*/ 14 w 15"/>
                          <a:gd name="T15" fmla="*/ 0 h 15"/>
                          <a:gd name="T16" fmla="*/ 11 w 15"/>
                          <a:gd name="T17" fmla="*/ 1 h 15"/>
                          <a:gd name="T18" fmla="*/ 0 60000 65536"/>
                          <a:gd name="T19" fmla="*/ 0 60000 65536"/>
                          <a:gd name="T20" fmla="*/ 0 60000 65536"/>
                          <a:gd name="T21" fmla="*/ 0 60000 65536"/>
                          <a:gd name="T22" fmla="*/ 0 60000 65536"/>
                          <a:gd name="T23" fmla="*/ 0 60000 65536"/>
                          <a:gd name="T24" fmla="*/ 0 60000 65536"/>
                          <a:gd name="T25" fmla="*/ 0 60000 65536"/>
                          <a:gd name="T26" fmla="*/ 0 60000 65536"/>
                          <a:gd name="T27" fmla="*/ 0 w 15"/>
                          <a:gd name="T28" fmla="*/ 0 h 15"/>
                          <a:gd name="T29" fmla="*/ 15 w 15"/>
                          <a:gd name="T30" fmla="*/ 15 h 15"/>
                        </a:gdLst>
                        <a:ahLst/>
                        <a:cxnLst>
                          <a:cxn ang="T18">
                            <a:pos x="T0" y="T1"/>
                          </a:cxn>
                          <a:cxn ang="T19">
                            <a:pos x="T2" y="T3"/>
                          </a:cxn>
                          <a:cxn ang="T20">
                            <a:pos x="T4" y="T5"/>
                          </a:cxn>
                          <a:cxn ang="T21">
                            <a:pos x="T6" y="T7"/>
                          </a:cxn>
                          <a:cxn ang="T22">
                            <a:pos x="T8" y="T9"/>
                          </a:cxn>
                          <a:cxn ang="T23">
                            <a:pos x="T10" y="T11"/>
                          </a:cxn>
                          <a:cxn ang="T24">
                            <a:pos x="T12" y="T13"/>
                          </a:cxn>
                          <a:cxn ang="T25">
                            <a:pos x="T14" y="T15"/>
                          </a:cxn>
                          <a:cxn ang="T26">
                            <a:pos x="T16" y="T17"/>
                          </a:cxn>
                        </a:cxnLst>
                        <a:rect l="T27" t="T28" r="T29" b="T30"/>
                        <a:pathLst>
                          <a:path w="15" h="15">
                            <a:moveTo>
                              <a:pt x="9" y="1"/>
                            </a:moveTo>
                            <a:cubicBezTo>
                              <a:pt x="8" y="2"/>
                              <a:pt x="8" y="5"/>
                              <a:pt x="7" y="6"/>
                            </a:cubicBezTo>
                            <a:cubicBezTo>
                              <a:pt x="7" y="6"/>
                              <a:pt x="5" y="4"/>
                              <a:pt x="5" y="5"/>
                            </a:cubicBezTo>
                            <a:cubicBezTo>
                              <a:pt x="3" y="7"/>
                              <a:pt x="0" y="10"/>
                              <a:pt x="1" y="13"/>
                            </a:cubicBezTo>
                            <a:cubicBezTo>
                              <a:pt x="2" y="15"/>
                              <a:pt x="6" y="12"/>
                              <a:pt x="8" y="12"/>
                            </a:cubicBezTo>
                            <a:cubicBezTo>
                              <a:pt x="10" y="11"/>
                              <a:pt x="12" y="10"/>
                              <a:pt x="13" y="9"/>
                            </a:cubicBezTo>
                            <a:cubicBezTo>
                              <a:pt x="14" y="7"/>
                              <a:pt x="15" y="5"/>
                              <a:pt x="15" y="4"/>
                            </a:cubicBezTo>
                            <a:cubicBezTo>
                              <a:pt x="15" y="2"/>
                              <a:pt x="13" y="1"/>
                              <a:pt x="12" y="0"/>
                            </a:cubicBezTo>
                            <a:cubicBezTo>
                              <a:pt x="11" y="0"/>
                              <a:pt x="10" y="0"/>
                              <a:pt x="9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30" name="Freeform 3534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958872" y="2100539"/>
                        <a:ext cx="20133" cy="9137"/>
                      </a:xfrm>
                      <a:custGeom>
                        <a:avLst/>
                        <a:gdLst>
                          <a:gd name="T0" fmla="*/ 16 w 15"/>
                          <a:gd name="T1" fmla="*/ 4 h 9"/>
                          <a:gd name="T2" fmla="*/ 18 w 15"/>
                          <a:gd name="T3" fmla="*/ 10 h 9"/>
                          <a:gd name="T4" fmla="*/ 13 w 15"/>
                          <a:gd name="T5" fmla="*/ 10 h 9"/>
                          <a:gd name="T6" fmla="*/ 7 w 15"/>
                          <a:gd name="T7" fmla="*/ 9 h 9"/>
                          <a:gd name="T8" fmla="*/ 1 w 15"/>
                          <a:gd name="T9" fmla="*/ 6 h 9"/>
                          <a:gd name="T10" fmla="*/ 4 w 15"/>
                          <a:gd name="T11" fmla="*/ 1 h 9"/>
                          <a:gd name="T12" fmla="*/ 12 w 15"/>
                          <a:gd name="T13" fmla="*/ 0 h 9"/>
                          <a:gd name="T14" fmla="*/ 16 w 15"/>
                          <a:gd name="T15" fmla="*/ 4 h 9"/>
                          <a:gd name="T16" fmla="*/ 0 60000 65536"/>
                          <a:gd name="T17" fmla="*/ 0 60000 65536"/>
                          <a:gd name="T18" fmla="*/ 0 60000 65536"/>
                          <a:gd name="T19" fmla="*/ 0 60000 65536"/>
                          <a:gd name="T20" fmla="*/ 0 60000 65536"/>
                          <a:gd name="T21" fmla="*/ 0 60000 65536"/>
                          <a:gd name="T22" fmla="*/ 0 60000 65536"/>
                          <a:gd name="T23" fmla="*/ 0 60000 65536"/>
                          <a:gd name="T24" fmla="*/ 0 w 15"/>
                          <a:gd name="T25" fmla="*/ 0 h 9"/>
                          <a:gd name="T26" fmla="*/ 15 w 15"/>
                          <a:gd name="T27" fmla="*/ 9 h 9"/>
                        </a:gdLst>
                        <a:ahLst/>
                        <a:cxnLst>
                          <a:cxn ang="T16">
                            <a:pos x="T0" y="T1"/>
                          </a:cxn>
                          <a:cxn ang="T17">
                            <a:pos x="T2" y="T3"/>
                          </a:cxn>
                          <a:cxn ang="T18">
                            <a:pos x="T4" y="T5"/>
                          </a:cxn>
                          <a:cxn ang="T19">
                            <a:pos x="T6" y="T7"/>
                          </a:cxn>
                          <a:cxn ang="T20">
                            <a:pos x="T8" y="T9"/>
                          </a:cxn>
                          <a:cxn ang="T21">
                            <a:pos x="T10" y="T11"/>
                          </a:cxn>
                          <a:cxn ang="T22">
                            <a:pos x="T12" y="T13"/>
                          </a:cxn>
                          <a:cxn ang="T23">
                            <a:pos x="T14" y="T15"/>
                          </a:cxn>
                        </a:cxnLst>
                        <a:rect l="T24" t="T25" r="T26" b="T27"/>
                        <a:pathLst>
                          <a:path w="15" h="9">
                            <a:moveTo>
                              <a:pt x="13" y="3"/>
                            </a:moveTo>
                            <a:cubicBezTo>
                              <a:pt x="14" y="4"/>
                              <a:pt x="15" y="6"/>
                              <a:pt x="15" y="8"/>
                            </a:cubicBezTo>
                            <a:cubicBezTo>
                              <a:pt x="14" y="9"/>
                              <a:pt x="12" y="9"/>
                              <a:pt x="11" y="8"/>
                            </a:cubicBezTo>
                            <a:cubicBezTo>
                              <a:pt x="9" y="8"/>
                              <a:pt x="7" y="7"/>
                              <a:pt x="6" y="7"/>
                            </a:cubicBezTo>
                            <a:cubicBezTo>
                              <a:pt x="4" y="6"/>
                              <a:pt x="2" y="6"/>
                              <a:pt x="1" y="5"/>
                            </a:cubicBezTo>
                            <a:cubicBezTo>
                              <a:pt x="0" y="4"/>
                              <a:pt x="1" y="2"/>
                              <a:pt x="3" y="1"/>
                            </a:cubicBezTo>
                            <a:cubicBezTo>
                              <a:pt x="5" y="0"/>
                              <a:pt x="8" y="0"/>
                              <a:pt x="10" y="0"/>
                            </a:cubicBezTo>
                            <a:cubicBezTo>
                              <a:pt x="12" y="0"/>
                              <a:pt x="13" y="2"/>
                              <a:pt x="13" y="3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31" name="Freeform 3535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3200465" y="1960987"/>
                        <a:ext cx="11185" cy="9137"/>
                      </a:xfrm>
                      <a:custGeom>
                        <a:avLst/>
                        <a:gdLst>
                          <a:gd name="T0" fmla="*/ 6 w 8"/>
                          <a:gd name="T1" fmla="*/ 0 h 9"/>
                          <a:gd name="T2" fmla="*/ 9 w 8"/>
                          <a:gd name="T3" fmla="*/ 5 h 9"/>
                          <a:gd name="T4" fmla="*/ 3 w 8"/>
                          <a:gd name="T5" fmla="*/ 11 h 9"/>
                          <a:gd name="T6" fmla="*/ 1 w 8"/>
                          <a:gd name="T7" fmla="*/ 9 h 9"/>
                          <a:gd name="T8" fmla="*/ 6 w 8"/>
                          <a:gd name="T9" fmla="*/ 0 h 9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8"/>
                          <a:gd name="T16" fmla="*/ 0 h 9"/>
                          <a:gd name="T17" fmla="*/ 8 w 8"/>
                          <a:gd name="T18" fmla="*/ 9 h 9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8" h="9">
                            <a:moveTo>
                              <a:pt x="5" y="0"/>
                            </a:moveTo>
                            <a:cubicBezTo>
                              <a:pt x="6" y="0"/>
                              <a:pt x="8" y="2"/>
                              <a:pt x="7" y="4"/>
                            </a:cubicBezTo>
                            <a:cubicBezTo>
                              <a:pt x="7" y="6"/>
                              <a:pt x="4" y="8"/>
                              <a:pt x="2" y="9"/>
                            </a:cubicBezTo>
                            <a:cubicBezTo>
                              <a:pt x="1" y="9"/>
                              <a:pt x="0" y="8"/>
                              <a:pt x="1" y="7"/>
                            </a:cubicBezTo>
                            <a:cubicBezTo>
                              <a:pt x="1" y="5"/>
                              <a:pt x="2" y="1"/>
                              <a:pt x="5" y="0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32" name="Freeform 3537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3077432" y="1904502"/>
                        <a:ext cx="10067" cy="5815"/>
                      </a:xfrm>
                      <a:custGeom>
                        <a:avLst/>
                        <a:gdLst>
                          <a:gd name="T0" fmla="*/ 1 w 8"/>
                          <a:gd name="T1" fmla="*/ 0 h 6"/>
                          <a:gd name="T2" fmla="*/ 0 w 8"/>
                          <a:gd name="T3" fmla="*/ 2 h 6"/>
                          <a:gd name="T4" fmla="*/ 7 w 8"/>
                          <a:gd name="T5" fmla="*/ 7 h 6"/>
                          <a:gd name="T6" fmla="*/ 8 w 8"/>
                          <a:gd name="T7" fmla="*/ 1 h 6"/>
                          <a:gd name="T8" fmla="*/ 1 w 8"/>
                          <a:gd name="T9" fmla="*/ 0 h 6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8"/>
                          <a:gd name="T16" fmla="*/ 0 h 6"/>
                          <a:gd name="T17" fmla="*/ 8 w 8"/>
                          <a:gd name="T18" fmla="*/ 6 h 6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8" h="6">
                            <a:moveTo>
                              <a:pt x="1" y="0"/>
                            </a:moveTo>
                            <a:cubicBezTo>
                              <a:pt x="0" y="0"/>
                              <a:pt x="0" y="1"/>
                              <a:pt x="0" y="2"/>
                            </a:cubicBezTo>
                            <a:cubicBezTo>
                              <a:pt x="2" y="4"/>
                              <a:pt x="3" y="6"/>
                              <a:pt x="6" y="6"/>
                            </a:cubicBezTo>
                            <a:cubicBezTo>
                              <a:pt x="7" y="6"/>
                              <a:pt x="8" y="2"/>
                              <a:pt x="7" y="1"/>
                            </a:cubicBezTo>
                            <a:cubicBezTo>
                              <a:pt x="6" y="0"/>
                              <a:pt x="3" y="0"/>
                              <a:pt x="1" y="0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33" name="Freeform 3538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3057298" y="1906994"/>
                        <a:ext cx="14540" cy="9137"/>
                      </a:xfrm>
                      <a:custGeom>
                        <a:avLst/>
                        <a:gdLst>
                          <a:gd name="T0" fmla="*/ 2 w 11"/>
                          <a:gd name="T1" fmla="*/ 0 h 9"/>
                          <a:gd name="T2" fmla="*/ 0 w 11"/>
                          <a:gd name="T3" fmla="*/ 2 h 9"/>
                          <a:gd name="T4" fmla="*/ 7 w 11"/>
                          <a:gd name="T5" fmla="*/ 11 h 9"/>
                          <a:gd name="T6" fmla="*/ 13 w 11"/>
                          <a:gd name="T7" fmla="*/ 7 h 9"/>
                          <a:gd name="T8" fmla="*/ 12 w 11"/>
                          <a:gd name="T9" fmla="*/ 1 h 9"/>
                          <a:gd name="T10" fmla="*/ 7 w 11"/>
                          <a:gd name="T11" fmla="*/ 0 h 9"/>
                          <a:gd name="T12" fmla="*/ 2 w 11"/>
                          <a:gd name="T13" fmla="*/ 0 h 9"/>
                          <a:gd name="T14" fmla="*/ 0 60000 65536"/>
                          <a:gd name="T15" fmla="*/ 0 60000 65536"/>
                          <a:gd name="T16" fmla="*/ 0 60000 65536"/>
                          <a:gd name="T17" fmla="*/ 0 60000 65536"/>
                          <a:gd name="T18" fmla="*/ 0 60000 65536"/>
                          <a:gd name="T19" fmla="*/ 0 60000 65536"/>
                          <a:gd name="T20" fmla="*/ 0 60000 65536"/>
                          <a:gd name="T21" fmla="*/ 0 w 11"/>
                          <a:gd name="T22" fmla="*/ 0 h 9"/>
                          <a:gd name="T23" fmla="*/ 11 w 11"/>
                          <a:gd name="T24" fmla="*/ 9 h 9"/>
                        </a:gdLst>
                        <a:ahLst/>
                        <a:cxnLst>
                          <a:cxn ang="T14">
                            <a:pos x="T0" y="T1"/>
                          </a:cxn>
                          <a:cxn ang="T15">
                            <a:pos x="T2" y="T3"/>
                          </a:cxn>
                          <a:cxn ang="T16">
                            <a:pos x="T4" y="T5"/>
                          </a:cxn>
                          <a:cxn ang="T17">
                            <a:pos x="T6" y="T7"/>
                          </a:cxn>
                          <a:cxn ang="T18">
                            <a:pos x="T8" y="T9"/>
                          </a:cxn>
                          <a:cxn ang="T19">
                            <a:pos x="T10" y="T11"/>
                          </a:cxn>
                          <a:cxn ang="T20">
                            <a:pos x="T12" y="T13"/>
                          </a:cxn>
                        </a:cxnLst>
                        <a:rect l="T21" t="T22" r="T23" b="T24"/>
                        <a:pathLst>
                          <a:path w="11" h="9">
                            <a:moveTo>
                              <a:pt x="2" y="0"/>
                            </a:moveTo>
                            <a:cubicBezTo>
                              <a:pt x="1" y="1"/>
                              <a:pt x="0" y="1"/>
                              <a:pt x="0" y="2"/>
                            </a:cubicBezTo>
                            <a:cubicBezTo>
                              <a:pt x="2" y="5"/>
                              <a:pt x="3" y="8"/>
                              <a:pt x="6" y="9"/>
                            </a:cubicBezTo>
                            <a:cubicBezTo>
                              <a:pt x="8" y="9"/>
                              <a:pt x="10" y="7"/>
                              <a:pt x="11" y="6"/>
                            </a:cubicBezTo>
                            <a:cubicBezTo>
                              <a:pt x="11" y="5"/>
                              <a:pt x="11" y="3"/>
                              <a:pt x="10" y="1"/>
                            </a:cubicBezTo>
                            <a:cubicBezTo>
                              <a:pt x="10" y="0"/>
                              <a:pt x="8" y="0"/>
                              <a:pt x="6" y="0"/>
                            </a:cubicBezTo>
                            <a:cubicBezTo>
                              <a:pt x="5" y="0"/>
                              <a:pt x="3" y="0"/>
                              <a:pt x="2" y="0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34" name="Freeform 3539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3023744" y="1926930"/>
                        <a:ext cx="15659" cy="18275"/>
                      </a:xfrm>
                      <a:custGeom>
                        <a:avLst/>
                        <a:gdLst>
                          <a:gd name="T0" fmla="*/ 11 w 12"/>
                          <a:gd name="T1" fmla="*/ 1 h 18"/>
                          <a:gd name="T2" fmla="*/ 13 w 12"/>
                          <a:gd name="T3" fmla="*/ 4 h 18"/>
                          <a:gd name="T4" fmla="*/ 13 w 12"/>
                          <a:gd name="T5" fmla="*/ 10 h 18"/>
                          <a:gd name="T6" fmla="*/ 6 w 12"/>
                          <a:gd name="T7" fmla="*/ 21 h 18"/>
                          <a:gd name="T8" fmla="*/ 1 w 12"/>
                          <a:gd name="T9" fmla="*/ 17 h 18"/>
                          <a:gd name="T10" fmla="*/ 1 w 12"/>
                          <a:gd name="T11" fmla="*/ 9 h 18"/>
                          <a:gd name="T12" fmla="*/ 7 w 12"/>
                          <a:gd name="T13" fmla="*/ 1 h 18"/>
                          <a:gd name="T14" fmla="*/ 11 w 12"/>
                          <a:gd name="T15" fmla="*/ 1 h 18"/>
                          <a:gd name="T16" fmla="*/ 0 60000 65536"/>
                          <a:gd name="T17" fmla="*/ 0 60000 65536"/>
                          <a:gd name="T18" fmla="*/ 0 60000 65536"/>
                          <a:gd name="T19" fmla="*/ 0 60000 65536"/>
                          <a:gd name="T20" fmla="*/ 0 60000 65536"/>
                          <a:gd name="T21" fmla="*/ 0 60000 65536"/>
                          <a:gd name="T22" fmla="*/ 0 60000 65536"/>
                          <a:gd name="T23" fmla="*/ 0 60000 65536"/>
                          <a:gd name="T24" fmla="*/ 0 w 12"/>
                          <a:gd name="T25" fmla="*/ 0 h 18"/>
                          <a:gd name="T26" fmla="*/ 12 w 12"/>
                          <a:gd name="T27" fmla="*/ 18 h 18"/>
                        </a:gdLst>
                        <a:ahLst/>
                        <a:cxnLst>
                          <a:cxn ang="T16">
                            <a:pos x="T0" y="T1"/>
                          </a:cxn>
                          <a:cxn ang="T17">
                            <a:pos x="T2" y="T3"/>
                          </a:cxn>
                          <a:cxn ang="T18">
                            <a:pos x="T4" y="T5"/>
                          </a:cxn>
                          <a:cxn ang="T19">
                            <a:pos x="T6" y="T7"/>
                          </a:cxn>
                          <a:cxn ang="T20">
                            <a:pos x="T8" y="T9"/>
                          </a:cxn>
                          <a:cxn ang="T21">
                            <a:pos x="T10" y="T11"/>
                          </a:cxn>
                          <a:cxn ang="T22">
                            <a:pos x="T12" y="T13"/>
                          </a:cxn>
                          <a:cxn ang="T23">
                            <a:pos x="T14" y="T15"/>
                          </a:cxn>
                        </a:cxnLst>
                        <a:rect l="T24" t="T25" r="T26" b="T27"/>
                        <a:pathLst>
                          <a:path w="12" h="18">
                            <a:moveTo>
                              <a:pt x="9" y="1"/>
                            </a:moveTo>
                            <a:cubicBezTo>
                              <a:pt x="10" y="1"/>
                              <a:pt x="11" y="2"/>
                              <a:pt x="11" y="3"/>
                            </a:cubicBezTo>
                            <a:cubicBezTo>
                              <a:pt x="12" y="5"/>
                              <a:pt x="12" y="7"/>
                              <a:pt x="11" y="8"/>
                            </a:cubicBezTo>
                            <a:cubicBezTo>
                              <a:pt x="10" y="11"/>
                              <a:pt x="8" y="15"/>
                              <a:pt x="5" y="17"/>
                            </a:cubicBezTo>
                            <a:cubicBezTo>
                              <a:pt x="3" y="18"/>
                              <a:pt x="2" y="15"/>
                              <a:pt x="1" y="14"/>
                            </a:cubicBezTo>
                            <a:cubicBezTo>
                              <a:pt x="0" y="12"/>
                              <a:pt x="0" y="9"/>
                              <a:pt x="1" y="7"/>
                            </a:cubicBezTo>
                            <a:cubicBezTo>
                              <a:pt x="2" y="5"/>
                              <a:pt x="4" y="3"/>
                              <a:pt x="6" y="1"/>
                            </a:cubicBezTo>
                            <a:cubicBezTo>
                              <a:pt x="7" y="1"/>
                              <a:pt x="8" y="0"/>
                              <a:pt x="9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35" name="Freeform 3540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970057" y="1918623"/>
                        <a:ext cx="33555" cy="16614"/>
                      </a:xfrm>
                      <a:custGeom>
                        <a:avLst/>
                        <a:gdLst>
                          <a:gd name="T0" fmla="*/ 26 w 25"/>
                          <a:gd name="T1" fmla="*/ 0 h 17"/>
                          <a:gd name="T2" fmla="*/ 30 w 25"/>
                          <a:gd name="T3" fmla="*/ 1 h 17"/>
                          <a:gd name="T4" fmla="*/ 29 w 25"/>
                          <a:gd name="T5" fmla="*/ 5 h 17"/>
                          <a:gd name="T6" fmla="*/ 19 w 25"/>
                          <a:gd name="T7" fmla="*/ 12 h 17"/>
                          <a:gd name="T8" fmla="*/ 13 w 25"/>
                          <a:gd name="T9" fmla="*/ 19 h 17"/>
                          <a:gd name="T10" fmla="*/ 7 w 25"/>
                          <a:gd name="T11" fmla="*/ 16 h 17"/>
                          <a:gd name="T12" fmla="*/ 2 w 25"/>
                          <a:gd name="T13" fmla="*/ 20 h 17"/>
                          <a:gd name="T14" fmla="*/ 1 w 25"/>
                          <a:gd name="T15" fmla="*/ 18 h 17"/>
                          <a:gd name="T16" fmla="*/ 1 w 25"/>
                          <a:gd name="T17" fmla="*/ 13 h 17"/>
                          <a:gd name="T18" fmla="*/ 10 w 25"/>
                          <a:gd name="T19" fmla="*/ 4 h 17"/>
                          <a:gd name="T20" fmla="*/ 11 w 25"/>
                          <a:gd name="T21" fmla="*/ 0 h 17"/>
                          <a:gd name="T22" fmla="*/ 16 w 25"/>
                          <a:gd name="T23" fmla="*/ 4 h 17"/>
                          <a:gd name="T24" fmla="*/ 20 w 25"/>
                          <a:gd name="T25" fmla="*/ 1 h 17"/>
                          <a:gd name="T26" fmla="*/ 23 w 25"/>
                          <a:gd name="T27" fmla="*/ 1 h 17"/>
                          <a:gd name="T28" fmla="*/ 26 w 25"/>
                          <a:gd name="T29" fmla="*/ 0 h 17"/>
                          <a:gd name="T30" fmla="*/ 0 60000 65536"/>
                          <a:gd name="T31" fmla="*/ 0 60000 65536"/>
                          <a:gd name="T32" fmla="*/ 0 60000 65536"/>
                          <a:gd name="T33" fmla="*/ 0 60000 65536"/>
                          <a:gd name="T34" fmla="*/ 0 60000 65536"/>
                          <a:gd name="T35" fmla="*/ 0 60000 65536"/>
                          <a:gd name="T36" fmla="*/ 0 60000 65536"/>
                          <a:gd name="T37" fmla="*/ 0 60000 65536"/>
                          <a:gd name="T38" fmla="*/ 0 60000 65536"/>
                          <a:gd name="T39" fmla="*/ 0 60000 65536"/>
                          <a:gd name="T40" fmla="*/ 0 60000 65536"/>
                          <a:gd name="T41" fmla="*/ 0 60000 65536"/>
                          <a:gd name="T42" fmla="*/ 0 60000 65536"/>
                          <a:gd name="T43" fmla="*/ 0 60000 65536"/>
                          <a:gd name="T44" fmla="*/ 0 60000 65536"/>
                          <a:gd name="T45" fmla="*/ 0 w 25"/>
                          <a:gd name="T46" fmla="*/ 0 h 17"/>
                          <a:gd name="T47" fmla="*/ 25 w 25"/>
                          <a:gd name="T48" fmla="*/ 17 h 17"/>
                        </a:gdLst>
                        <a:ahLst/>
                        <a:cxnLst>
                          <a:cxn ang="T30">
                            <a:pos x="T0" y="T1"/>
                          </a:cxn>
                          <a:cxn ang="T31">
                            <a:pos x="T2" y="T3"/>
                          </a:cxn>
                          <a:cxn ang="T32">
                            <a:pos x="T4" y="T5"/>
                          </a:cxn>
                          <a:cxn ang="T33">
                            <a:pos x="T6" y="T7"/>
                          </a:cxn>
                          <a:cxn ang="T34">
                            <a:pos x="T8" y="T9"/>
                          </a:cxn>
                          <a:cxn ang="T35">
                            <a:pos x="T10" y="T11"/>
                          </a:cxn>
                          <a:cxn ang="T36">
                            <a:pos x="T12" y="T13"/>
                          </a:cxn>
                          <a:cxn ang="T37">
                            <a:pos x="T14" y="T15"/>
                          </a:cxn>
                          <a:cxn ang="T38">
                            <a:pos x="T16" y="T17"/>
                          </a:cxn>
                          <a:cxn ang="T39">
                            <a:pos x="T18" y="T19"/>
                          </a:cxn>
                          <a:cxn ang="T40">
                            <a:pos x="T20" y="T21"/>
                          </a:cxn>
                          <a:cxn ang="T41">
                            <a:pos x="T22" y="T23"/>
                          </a:cxn>
                          <a:cxn ang="T42">
                            <a:pos x="T24" y="T25"/>
                          </a:cxn>
                          <a:cxn ang="T43">
                            <a:pos x="T26" y="T27"/>
                          </a:cxn>
                          <a:cxn ang="T44">
                            <a:pos x="T28" y="T29"/>
                          </a:cxn>
                        </a:cxnLst>
                        <a:rect l="T45" t="T46" r="T47" b="T48"/>
                        <a:pathLst>
                          <a:path w="25" h="17">
                            <a:moveTo>
                              <a:pt x="22" y="0"/>
                            </a:moveTo>
                            <a:cubicBezTo>
                              <a:pt x="23" y="0"/>
                              <a:pt x="25" y="0"/>
                              <a:pt x="25" y="1"/>
                            </a:cubicBezTo>
                            <a:cubicBezTo>
                              <a:pt x="25" y="2"/>
                              <a:pt x="25" y="4"/>
                              <a:pt x="24" y="4"/>
                            </a:cubicBezTo>
                            <a:cubicBezTo>
                              <a:pt x="22" y="7"/>
                              <a:pt x="19" y="8"/>
                              <a:pt x="16" y="10"/>
                            </a:cubicBezTo>
                            <a:cubicBezTo>
                              <a:pt x="14" y="11"/>
                              <a:pt x="13" y="14"/>
                              <a:pt x="11" y="16"/>
                            </a:cubicBezTo>
                            <a:cubicBezTo>
                              <a:pt x="9" y="16"/>
                              <a:pt x="8" y="14"/>
                              <a:pt x="6" y="14"/>
                            </a:cubicBezTo>
                            <a:cubicBezTo>
                              <a:pt x="4" y="15"/>
                              <a:pt x="4" y="17"/>
                              <a:pt x="2" y="17"/>
                            </a:cubicBezTo>
                            <a:cubicBezTo>
                              <a:pt x="1" y="17"/>
                              <a:pt x="1" y="16"/>
                              <a:pt x="1" y="15"/>
                            </a:cubicBezTo>
                            <a:cubicBezTo>
                              <a:pt x="0" y="14"/>
                              <a:pt x="0" y="12"/>
                              <a:pt x="1" y="11"/>
                            </a:cubicBezTo>
                            <a:cubicBezTo>
                              <a:pt x="2" y="8"/>
                              <a:pt x="6" y="6"/>
                              <a:pt x="8" y="3"/>
                            </a:cubicBezTo>
                            <a:cubicBezTo>
                              <a:pt x="8" y="2"/>
                              <a:pt x="8" y="0"/>
                              <a:pt x="9" y="0"/>
                            </a:cubicBezTo>
                            <a:cubicBezTo>
                              <a:pt x="11" y="0"/>
                              <a:pt x="11" y="3"/>
                              <a:pt x="13" y="3"/>
                            </a:cubicBezTo>
                            <a:cubicBezTo>
                              <a:pt x="14" y="3"/>
                              <a:pt x="16" y="1"/>
                              <a:pt x="17" y="1"/>
                            </a:cubicBezTo>
                            <a:cubicBezTo>
                              <a:pt x="18" y="1"/>
                              <a:pt x="19" y="1"/>
                              <a:pt x="19" y="1"/>
                            </a:cubicBezTo>
                            <a:cubicBezTo>
                              <a:pt x="20" y="1"/>
                              <a:pt x="21" y="0"/>
                              <a:pt x="22" y="0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36" name="Freeform 3541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926435" y="1857154"/>
                        <a:ext cx="108495" cy="58977"/>
                      </a:xfrm>
                      <a:custGeom>
                        <a:avLst/>
                        <a:gdLst>
                          <a:gd name="T0" fmla="*/ 90 w 81"/>
                          <a:gd name="T1" fmla="*/ 46 h 59"/>
                          <a:gd name="T2" fmla="*/ 92 w 81"/>
                          <a:gd name="T3" fmla="*/ 51 h 59"/>
                          <a:gd name="T4" fmla="*/ 90 w 81"/>
                          <a:gd name="T5" fmla="*/ 52 h 59"/>
                          <a:gd name="T6" fmla="*/ 96 w 81"/>
                          <a:gd name="T7" fmla="*/ 53 h 59"/>
                          <a:gd name="T8" fmla="*/ 95 w 81"/>
                          <a:gd name="T9" fmla="*/ 55 h 59"/>
                          <a:gd name="T10" fmla="*/ 85 w 81"/>
                          <a:gd name="T11" fmla="*/ 59 h 59"/>
                          <a:gd name="T12" fmla="*/ 78 w 81"/>
                          <a:gd name="T13" fmla="*/ 58 h 59"/>
                          <a:gd name="T14" fmla="*/ 77 w 81"/>
                          <a:gd name="T15" fmla="*/ 55 h 59"/>
                          <a:gd name="T16" fmla="*/ 73 w 81"/>
                          <a:gd name="T17" fmla="*/ 57 h 59"/>
                          <a:gd name="T18" fmla="*/ 68 w 81"/>
                          <a:gd name="T19" fmla="*/ 54 h 59"/>
                          <a:gd name="T20" fmla="*/ 67 w 81"/>
                          <a:gd name="T21" fmla="*/ 55 h 59"/>
                          <a:gd name="T22" fmla="*/ 63 w 81"/>
                          <a:gd name="T23" fmla="*/ 53 h 59"/>
                          <a:gd name="T24" fmla="*/ 65 w 81"/>
                          <a:gd name="T25" fmla="*/ 51 h 59"/>
                          <a:gd name="T26" fmla="*/ 60 w 81"/>
                          <a:gd name="T27" fmla="*/ 49 h 59"/>
                          <a:gd name="T28" fmla="*/ 57 w 81"/>
                          <a:gd name="T29" fmla="*/ 49 h 59"/>
                          <a:gd name="T30" fmla="*/ 57 w 81"/>
                          <a:gd name="T31" fmla="*/ 45 h 59"/>
                          <a:gd name="T32" fmla="*/ 50 w 81"/>
                          <a:gd name="T33" fmla="*/ 46 h 59"/>
                          <a:gd name="T34" fmla="*/ 48 w 81"/>
                          <a:gd name="T35" fmla="*/ 54 h 59"/>
                          <a:gd name="T36" fmla="*/ 41 w 81"/>
                          <a:gd name="T37" fmla="*/ 58 h 59"/>
                          <a:gd name="T38" fmla="*/ 37 w 81"/>
                          <a:gd name="T39" fmla="*/ 59 h 59"/>
                          <a:gd name="T40" fmla="*/ 34 w 81"/>
                          <a:gd name="T41" fmla="*/ 65 h 59"/>
                          <a:gd name="T42" fmla="*/ 25 w 81"/>
                          <a:gd name="T43" fmla="*/ 70 h 59"/>
                          <a:gd name="T44" fmla="*/ 20 w 81"/>
                          <a:gd name="T45" fmla="*/ 70 h 59"/>
                          <a:gd name="T46" fmla="*/ 20 w 81"/>
                          <a:gd name="T47" fmla="*/ 60 h 59"/>
                          <a:gd name="T48" fmla="*/ 22 w 81"/>
                          <a:gd name="T49" fmla="*/ 55 h 59"/>
                          <a:gd name="T50" fmla="*/ 19 w 81"/>
                          <a:gd name="T51" fmla="*/ 53 h 59"/>
                          <a:gd name="T52" fmla="*/ 17 w 81"/>
                          <a:gd name="T53" fmla="*/ 55 h 59"/>
                          <a:gd name="T54" fmla="*/ 11 w 81"/>
                          <a:gd name="T55" fmla="*/ 55 h 59"/>
                          <a:gd name="T56" fmla="*/ 4 w 81"/>
                          <a:gd name="T57" fmla="*/ 59 h 59"/>
                          <a:gd name="T58" fmla="*/ 0 w 81"/>
                          <a:gd name="T59" fmla="*/ 57 h 59"/>
                          <a:gd name="T60" fmla="*/ 7 w 81"/>
                          <a:gd name="T61" fmla="*/ 48 h 59"/>
                          <a:gd name="T62" fmla="*/ 16 w 81"/>
                          <a:gd name="T63" fmla="*/ 45 h 59"/>
                          <a:gd name="T64" fmla="*/ 17 w 81"/>
                          <a:gd name="T65" fmla="*/ 34 h 59"/>
                          <a:gd name="T66" fmla="*/ 22 w 81"/>
                          <a:gd name="T67" fmla="*/ 23 h 59"/>
                          <a:gd name="T68" fmla="*/ 24 w 81"/>
                          <a:gd name="T69" fmla="*/ 13 h 59"/>
                          <a:gd name="T70" fmla="*/ 29 w 81"/>
                          <a:gd name="T71" fmla="*/ 6 h 59"/>
                          <a:gd name="T72" fmla="*/ 35 w 81"/>
                          <a:gd name="T73" fmla="*/ 1 h 59"/>
                          <a:gd name="T74" fmla="*/ 37 w 81"/>
                          <a:gd name="T75" fmla="*/ 5 h 59"/>
                          <a:gd name="T76" fmla="*/ 40 w 81"/>
                          <a:gd name="T77" fmla="*/ 8 h 59"/>
                          <a:gd name="T78" fmla="*/ 36 w 81"/>
                          <a:gd name="T79" fmla="*/ 11 h 59"/>
                          <a:gd name="T80" fmla="*/ 38 w 81"/>
                          <a:gd name="T81" fmla="*/ 19 h 59"/>
                          <a:gd name="T82" fmla="*/ 41 w 81"/>
                          <a:gd name="T83" fmla="*/ 19 h 59"/>
                          <a:gd name="T84" fmla="*/ 44 w 81"/>
                          <a:gd name="T85" fmla="*/ 12 h 59"/>
                          <a:gd name="T86" fmla="*/ 49 w 81"/>
                          <a:gd name="T87" fmla="*/ 18 h 59"/>
                          <a:gd name="T88" fmla="*/ 50 w 81"/>
                          <a:gd name="T89" fmla="*/ 19 h 59"/>
                          <a:gd name="T90" fmla="*/ 59 w 81"/>
                          <a:gd name="T91" fmla="*/ 22 h 59"/>
                          <a:gd name="T92" fmla="*/ 60 w 81"/>
                          <a:gd name="T93" fmla="*/ 25 h 59"/>
                          <a:gd name="T94" fmla="*/ 77 w 81"/>
                          <a:gd name="T95" fmla="*/ 34 h 59"/>
                          <a:gd name="T96" fmla="*/ 77 w 81"/>
                          <a:gd name="T97" fmla="*/ 40 h 59"/>
                          <a:gd name="T98" fmla="*/ 78 w 81"/>
                          <a:gd name="T99" fmla="*/ 43 h 59"/>
                          <a:gd name="T100" fmla="*/ 73 w 81"/>
                          <a:gd name="T101" fmla="*/ 48 h 59"/>
                          <a:gd name="T102" fmla="*/ 79 w 81"/>
                          <a:gd name="T103" fmla="*/ 48 h 59"/>
                          <a:gd name="T104" fmla="*/ 81 w 81"/>
                          <a:gd name="T105" fmla="*/ 46 h 59"/>
                          <a:gd name="T106" fmla="*/ 87 w 81"/>
                          <a:gd name="T107" fmla="*/ 48 h 59"/>
                          <a:gd name="T108" fmla="*/ 90 w 81"/>
                          <a:gd name="T109" fmla="*/ 46 h 59"/>
                          <a:gd name="T110" fmla="*/ 0 60000 65536"/>
                          <a:gd name="T111" fmla="*/ 0 60000 65536"/>
                          <a:gd name="T112" fmla="*/ 0 60000 65536"/>
                          <a:gd name="T113" fmla="*/ 0 60000 65536"/>
                          <a:gd name="T114" fmla="*/ 0 60000 65536"/>
                          <a:gd name="T115" fmla="*/ 0 60000 65536"/>
                          <a:gd name="T116" fmla="*/ 0 60000 65536"/>
                          <a:gd name="T117" fmla="*/ 0 60000 65536"/>
                          <a:gd name="T118" fmla="*/ 0 60000 65536"/>
                          <a:gd name="T119" fmla="*/ 0 60000 65536"/>
                          <a:gd name="T120" fmla="*/ 0 60000 65536"/>
                          <a:gd name="T121" fmla="*/ 0 60000 65536"/>
                          <a:gd name="T122" fmla="*/ 0 60000 65536"/>
                          <a:gd name="T123" fmla="*/ 0 60000 65536"/>
                          <a:gd name="T124" fmla="*/ 0 60000 65536"/>
                          <a:gd name="T125" fmla="*/ 0 60000 65536"/>
                          <a:gd name="T126" fmla="*/ 0 60000 65536"/>
                          <a:gd name="T127" fmla="*/ 0 60000 65536"/>
                          <a:gd name="T128" fmla="*/ 0 60000 65536"/>
                          <a:gd name="T129" fmla="*/ 0 60000 65536"/>
                          <a:gd name="T130" fmla="*/ 0 60000 65536"/>
                          <a:gd name="T131" fmla="*/ 0 60000 65536"/>
                          <a:gd name="T132" fmla="*/ 0 60000 65536"/>
                          <a:gd name="T133" fmla="*/ 0 60000 65536"/>
                          <a:gd name="T134" fmla="*/ 0 60000 65536"/>
                          <a:gd name="T135" fmla="*/ 0 60000 65536"/>
                          <a:gd name="T136" fmla="*/ 0 60000 65536"/>
                          <a:gd name="T137" fmla="*/ 0 60000 65536"/>
                          <a:gd name="T138" fmla="*/ 0 60000 65536"/>
                          <a:gd name="T139" fmla="*/ 0 60000 65536"/>
                          <a:gd name="T140" fmla="*/ 0 60000 65536"/>
                          <a:gd name="T141" fmla="*/ 0 60000 65536"/>
                          <a:gd name="T142" fmla="*/ 0 60000 65536"/>
                          <a:gd name="T143" fmla="*/ 0 60000 65536"/>
                          <a:gd name="T144" fmla="*/ 0 60000 65536"/>
                          <a:gd name="T145" fmla="*/ 0 60000 65536"/>
                          <a:gd name="T146" fmla="*/ 0 60000 65536"/>
                          <a:gd name="T147" fmla="*/ 0 60000 65536"/>
                          <a:gd name="T148" fmla="*/ 0 60000 65536"/>
                          <a:gd name="T149" fmla="*/ 0 60000 65536"/>
                          <a:gd name="T150" fmla="*/ 0 60000 65536"/>
                          <a:gd name="T151" fmla="*/ 0 60000 65536"/>
                          <a:gd name="T152" fmla="*/ 0 60000 65536"/>
                          <a:gd name="T153" fmla="*/ 0 60000 65536"/>
                          <a:gd name="T154" fmla="*/ 0 60000 65536"/>
                          <a:gd name="T155" fmla="*/ 0 60000 65536"/>
                          <a:gd name="T156" fmla="*/ 0 60000 65536"/>
                          <a:gd name="T157" fmla="*/ 0 60000 65536"/>
                          <a:gd name="T158" fmla="*/ 0 60000 65536"/>
                          <a:gd name="T159" fmla="*/ 0 60000 65536"/>
                          <a:gd name="T160" fmla="*/ 0 60000 65536"/>
                          <a:gd name="T161" fmla="*/ 0 60000 65536"/>
                          <a:gd name="T162" fmla="*/ 0 60000 65536"/>
                          <a:gd name="T163" fmla="*/ 0 60000 65536"/>
                          <a:gd name="T164" fmla="*/ 0 60000 65536"/>
                          <a:gd name="T165" fmla="*/ 0 w 81"/>
                          <a:gd name="T166" fmla="*/ 0 h 59"/>
                          <a:gd name="T167" fmla="*/ 81 w 81"/>
                          <a:gd name="T168" fmla="*/ 59 h 59"/>
                        </a:gdLst>
                        <a:ahLst/>
                        <a:cxnLst>
                          <a:cxn ang="T110">
                            <a:pos x="T0" y="T1"/>
                          </a:cxn>
                          <a:cxn ang="T111">
                            <a:pos x="T2" y="T3"/>
                          </a:cxn>
                          <a:cxn ang="T112">
                            <a:pos x="T4" y="T5"/>
                          </a:cxn>
                          <a:cxn ang="T113">
                            <a:pos x="T6" y="T7"/>
                          </a:cxn>
                          <a:cxn ang="T114">
                            <a:pos x="T8" y="T9"/>
                          </a:cxn>
                          <a:cxn ang="T115">
                            <a:pos x="T10" y="T11"/>
                          </a:cxn>
                          <a:cxn ang="T116">
                            <a:pos x="T12" y="T13"/>
                          </a:cxn>
                          <a:cxn ang="T117">
                            <a:pos x="T14" y="T15"/>
                          </a:cxn>
                          <a:cxn ang="T118">
                            <a:pos x="T16" y="T17"/>
                          </a:cxn>
                          <a:cxn ang="T119">
                            <a:pos x="T18" y="T19"/>
                          </a:cxn>
                          <a:cxn ang="T120">
                            <a:pos x="T20" y="T21"/>
                          </a:cxn>
                          <a:cxn ang="T121">
                            <a:pos x="T22" y="T23"/>
                          </a:cxn>
                          <a:cxn ang="T122">
                            <a:pos x="T24" y="T25"/>
                          </a:cxn>
                          <a:cxn ang="T123">
                            <a:pos x="T26" y="T27"/>
                          </a:cxn>
                          <a:cxn ang="T124">
                            <a:pos x="T28" y="T29"/>
                          </a:cxn>
                          <a:cxn ang="T125">
                            <a:pos x="T30" y="T31"/>
                          </a:cxn>
                          <a:cxn ang="T126">
                            <a:pos x="T32" y="T33"/>
                          </a:cxn>
                          <a:cxn ang="T127">
                            <a:pos x="T34" y="T35"/>
                          </a:cxn>
                          <a:cxn ang="T128">
                            <a:pos x="T36" y="T37"/>
                          </a:cxn>
                          <a:cxn ang="T129">
                            <a:pos x="T38" y="T39"/>
                          </a:cxn>
                          <a:cxn ang="T130">
                            <a:pos x="T40" y="T41"/>
                          </a:cxn>
                          <a:cxn ang="T131">
                            <a:pos x="T42" y="T43"/>
                          </a:cxn>
                          <a:cxn ang="T132">
                            <a:pos x="T44" y="T45"/>
                          </a:cxn>
                          <a:cxn ang="T133">
                            <a:pos x="T46" y="T47"/>
                          </a:cxn>
                          <a:cxn ang="T134">
                            <a:pos x="T48" y="T49"/>
                          </a:cxn>
                          <a:cxn ang="T135">
                            <a:pos x="T50" y="T51"/>
                          </a:cxn>
                          <a:cxn ang="T136">
                            <a:pos x="T52" y="T53"/>
                          </a:cxn>
                          <a:cxn ang="T137">
                            <a:pos x="T54" y="T55"/>
                          </a:cxn>
                          <a:cxn ang="T138">
                            <a:pos x="T56" y="T57"/>
                          </a:cxn>
                          <a:cxn ang="T139">
                            <a:pos x="T58" y="T59"/>
                          </a:cxn>
                          <a:cxn ang="T140">
                            <a:pos x="T60" y="T61"/>
                          </a:cxn>
                          <a:cxn ang="T141">
                            <a:pos x="T62" y="T63"/>
                          </a:cxn>
                          <a:cxn ang="T142">
                            <a:pos x="T64" y="T65"/>
                          </a:cxn>
                          <a:cxn ang="T143">
                            <a:pos x="T66" y="T67"/>
                          </a:cxn>
                          <a:cxn ang="T144">
                            <a:pos x="T68" y="T69"/>
                          </a:cxn>
                          <a:cxn ang="T145">
                            <a:pos x="T70" y="T71"/>
                          </a:cxn>
                          <a:cxn ang="T146">
                            <a:pos x="T72" y="T73"/>
                          </a:cxn>
                          <a:cxn ang="T147">
                            <a:pos x="T74" y="T75"/>
                          </a:cxn>
                          <a:cxn ang="T148">
                            <a:pos x="T76" y="T77"/>
                          </a:cxn>
                          <a:cxn ang="T149">
                            <a:pos x="T78" y="T79"/>
                          </a:cxn>
                          <a:cxn ang="T150">
                            <a:pos x="T80" y="T81"/>
                          </a:cxn>
                          <a:cxn ang="T151">
                            <a:pos x="T82" y="T83"/>
                          </a:cxn>
                          <a:cxn ang="T152">
                            <a:pos x="T84" y="T85"/>
                          </a:cxn>
                          <a:cxn ang="T153">
                            <a:pos x="T86" y="T87"/>
                          </a:cxn>
                          <a:cxn ang="T154">
                            <a:pos x="T88" y="T89"/>
                          </a:cxn>
                          <a:cxn ang="T155">
                            <a:pos x="T90" y="T91"/>
                          </a:cxn>
                          <a:cxn ang="T156">
                            <a:pos x="T92" y="T93"/>
                          </a:cxn>
                          <a:cxn ang="T157">
                            <a:pos x="T94" y="T95"/>
                          </a:cxn>
                          <a:cxn ang="T158">
                            <a:pos x="T96" y="T97"/>
                          </a:cxn>
                          <a:cxn ang="T159">
                            <a:pos x="T98" y="T99"/>
                          </a:cxn>
                          <a:cxn ang="T160">
                            <a:pos x="T100" y="T101"/>
                          </a:cxn>
                          <a:cxn ang="T161">
                            <a:pos x="T102" y="T103"/>
                          </a:cxn>
                          <a:cxn ang="T162">
                            <a:pos x="T104" y="T105"/>
                          </a:cxn>
                          <a:cxn ang="T163">
                            <a:pos x="T106" y="T107"/>
                          </a:cxn>
                          <a:cxn ang="T164">
                            <a:pos x="T108" y="T109"/>
                          </a:cxn>
                        </a:cxnLst>
                        <a:rect l="T165" t="T166" r="T167" b="T168"/>
                        <a:pathLst>
                          <a:path w="81" h="59">
                            <a:moveTo>
                              <a:pt x="75" y="38"/>
                            </a:moveTo>
                            <a:cubicBezTo>
                              <a:pt x="77" y="38"/>
                              <a:pt x="77" y="40"/>
                              <a:pt x="77" y="42"/>
                            </a:cubicBezTo>
                            <a:cubicBezTo>
                              <a:pt x="77" y="43"/>
                              <a:pt x="74" y="43"/>
                              <a:pt x="75" y="43"/>
                            </a:cubicBezTo>
                            <a:cubicBezTo>
                              <a:pt x="76" y="44"/>
                              <a:pt x="79" y="43"/>
                              <a:pt x="80" y="44"/>
                            </a:cubicBezTo>
                            <a:cubicBezTo>
                              <a:pt x="81" y="44"/>
                              <a:pt x="80" y="45"/>
                              <a:pt x="79" y="46"/>
                            </a:cubicBezTo>
                            <a:cubicBezTo>
                              <a:pt x="77" y="47"/>
                              <a:pt x="74" y="49"/>
                              <a:pt x="71" y="49"/>
                            </a:cubicBezTo>
                            <a:cubicBezTo>
                              <a:pt x="69" y="50"/>
                              <a:pt x="67" y="49"/>
                              <a:pt x="65" y="48"/>
                            </a:cubicBezTo>
                            <a:cubicBezTo>
                              <a:pt x="64" y="48"/>
                              <a:pt x="64" y="47"/>
                              <a:pt x="64" y="46"/>
                            </a:cubicBezTo>
                            <a:cubicBezTo>
                              <a:pt x="63" y="46"/>
                              <a:pt x="62" y="47"/>
                              <a:pt x="61" y="47"/>
                            </a:cubicBezTo>
                            <a:cubicBezTo>
                              <a:pt x="60" y="46"/>
                              <a:pt x="59" y="45"/>
                              <a:pt x="57" y="45"/>
                            </a:cubicBezTo>
                            <a:cubicBezTo>
                              <a:pt x="56" y="45"/>
                              <a:pt x="57" y="47"/>
                              <a:pt x="56" y="46"/>
                            </a:cubicBezTo>
                            <a:cubicBezTo>
                              <a:pt x="55" y="46"/>
                              <a:pt x="54" y="45"/>
                              <a:pt x="53" y="44"/>
                            </a:cubicBezTo>
                            <a:cubicBezTo>
                              <a:pt x="53" y="43"/>
                              <a:pt x="55" y="42"/>
                              <a:pt x="54" y="42"/>
                            </a:cubicBezTo>
                            <a:cubicBezTo>
                              <a:pt x="53" y="41"/>
                              <a:pt x="51" y="41"/>
                              <a:pt x="50" y="41"/>
                            </a:cubicBezTo>
                            <a:cubicBezTo>
                              <a:pt x="49" y="41"/>
                              <a:pt x="48" y="42"/>
                              <a:pt x="48" y="41"/>
                            </a:cubicBezTo>
                            <a:cubicBezTo>
                              <a:pt x="48" y="40"/>
                              <a:pt x="50" y="38"/>
                              <a:pt x="48" y="37"/>
                            </a:cubicBezTo>
                            <a:cubicBezTo>
                              <a:pt x="46" y="36"/>
                              <a:pt x="44" y="36"/>
                              <a:pt x="42" y="38"/>
                            </a:cubicBezTo>
                            <a:cubicBezTo>
                              <a:pt x="40" y="40"/>
                              <a:pt x="41" y="43"/>
                              <a:pt x="40" y="45"/>
                            </a:cubicBezTo>
                            <a:cubicBezTo>
                              <a:pt x="38" y="47"/>
                              <a:pt x="36" y="47"/>
                              <a:pt x="34" y="48"/>
                            </a:cubicBezTo>
                            <a:cubicBezTo>
                              <a:pt x="33" y="48"/>
                              <a:pt x="32" y="48"/>
                              <a:pt x="31" y="49"/>
                            </a:cubicBezTo>
                            <a:cubicBezTo>
                              <a:pt x="29" y="50"/>
                              <a:pt x="29" y="53"/>
                              <a:pt x="28" y="54"/>
                            </a:cubicBezTo>
                            <a:cubicBezTo>
                              <a:pt x="26" y="56"/>
                              <a:pt x="23" y="57"/>
                              <a:pt x="21" y="58"/>
                            </a:cubicBezTo>
                            <a:cubicBezTo>
                              <a:pt x="20" y="59"/>
                              <a:pt x="18" y="59"/>
                              <a:pt x="17" y="58"/>
                            </a:cubicBezTo>
                            <a:cubicBezTo>
                              <a:pt x="16" y="55"/>
                              <a:pt x="17" y="53"/>
                              <a:pt x="17" y="50"/>
                            </a:cubicBezTo>
                            <a:cubicBezTo>
                              <a:pt x="17" y="49"/>
                              <a:pt x="18" y="47"/>
                              <a:pt x="18" y="46"/>
                            </a:cubicBezTo>
                            <a:cubicBezTo>
                              <a:pt x="18" y="45"/>
                              <a:pt x="17" y="44"/>
                              <a:pt x="16" y="44"/>
                            </a:cubicBezTo>
                            <a:cubicBezTo>
                              <a:pt x="15" y="44"/>
                              <a:pt x="15" y="46"/>
                              <a:pt x="14" y="46"/>
                            </a:cubicBezTo>
                            <a:cubicBezTo>
                              <a:pt x="12" y="47"/>
                              <a:pt x="11" y="46"/>
                              <a:pt x="9" y="46"/>
                            </a:cubicBezTo>
                            <a:cubicBezTo>
                              <a:pt x="7" y="47"/>
                              <a:pt x="5" y="49"/>
                              <a:pt x="3" y="49"/>
                            </a:cubicBezTo>
                            <a:cubicBezTo>
                              <a:pt x="2" y="49"/>
                              <a:pt x="0" y="48"/>
                              <a:pt x="0" y="47"/>
                            </a:cubicBezTo>
                            <a:cubicBezTo>
                              <a:pt x="1" y="44"/>
                              <a:pt x="3" y="42"/>
                              <a:pt x="6" y="40"/>
                            </a:cubicBezTo>
                            <a:cubicBezTo>
                              <a:pt x="8" y="39"/>
                              <a:pt x="12" y="40"/>
                              <a:pt x="13" y="37"/>
                            </a:cubicBezTo>
                            <a:cubicBezTo>
                              <a:pt x="15" y="35"/>
                              <a:pt x="14" y="31"/>
                              <a:pt x="14" y="28"/>
                            </a:cubicBezTo>
                            <a:cubicBezTo>
                              <a:pt x="15" y="25"/>
                              <a:pt x="17" y="22"/>
                              <a:pt x="18" y="19"/>
                            </a:cubicBezTo>
                            <a:cubicBezTo>
                              <a:pt x="18" y="16"/>
                              <a:pt x="19" y="14"/>
                              <a:pt x="20" y="11"/>
                            </a:cubicBezTo>
                            <a:cubicBezTo>
                              <a:pt x="21" y="9"/>
                              <a:pt x="22" y="7"/>
                              <a:pt x="24" y="5"/>
                            </a:cubicBezTo>
                            <a:cubicBezTo>
                              <a:pt x="25" y="4"/>
                              <a:pt x="26" y="1"/>
                              <a:pt x="29" y="1"/>
                            </a:cubicBezTo>
                            <a:cubicBezTo>
                              <a:pt x="30" y="0"/>
                              <a:pt x="30" y="3"/>
                              <a:pt x="31" y="4"/>
                            </a:cubicBezTo>
                            <a:cubicBezTo>
                              <a:pt x="32" y="5"/>
                              <a:pt x="33" y="6"/>
                              <a:pt x="33" y="7"/>
                            </a:cubicBezTo>
                            <a:cubicBezTo>
                              <a:pt x="32" y="8"/>
                              <a:pt x="30" y="8"/>
                              <a:pt x="30" y="9"/>
                            </a:cubicBezTo>
                            <a:cubicBezTo>
                              <a:pt x="30" y="11"/>
                              <a:pt x="31" y="14"/>
                              <a:pt x="32" y="16"/>
                            </a:cubicBezTo>
                            <a:cubicBezTo>
                              <a:pt x="32" y="16"/>
                              <a:pt x="34" y="17"/>
                              <a:pt x="34" y="16"/>
                            </a:cubicBezTo>
                            <a:cubicBezTo>
                              <a:pt x="35" y="14"/>
                              <a:pt x="35" y="11"/>
                              <a:pt x="37" y="10"/>
                            </a:cubicBezTo>
                            <a:cubicBezTo>
                              <a:pt x="39" y="10"/>
                              <a:pt x="40" y="13"/>
                              <a:pt x="41" y="15"/>
                            </a:cubicBezTo>
                            <a:cubicBezTo>
                              <a:pt x="42" y="15"/>
                              <a:pt x="42" y="16"/>
                              <a:pt x="42" y="16"/>
                            </a:cubicBezTo>
                            <a:cubicBezTo>
                              <a:pt x="44" y="17"/>
                              <a:pt x="47" y="17"/>
                              <a:pt x="49" y="18"/>
                            </a:cubicBezTo>
                            <a:cubicBezTo>
                              <a:pt x="50" y="18"/>
                              <a:pt x="49" y="20"/>
                              <a:pt x="50" y="21"/>
                            </a:cubicBezTo>
                            <a:cubicBezTo>
                              <a:pt x="54" y="24"/>
                              <a:pt x="60" y="24"/>
                              <a:pt x="64" y="28"/>
                            </a:cubicBezTo>
                            <a:cubicBezTo>
                              <a:pt x="65" y="29"/>
                              <a:pt x="63" y="31"/>
                              <a:pt x="64" y="33"/>
                            </a:cubicBezTo>
                            <a:cubicBezTo>
                              <a:pt x="64" y="34"/>
                              <a:pt x="66" y="35"/>
                              <a:pt x="65" y="36"/>
                            </a:cubicBezTo>
                            <a:cubicBezTo>
                              <a:pt x="65" y="38"/>
                              <a:pt x="61" y="38"/>
                              <a:pt x="61" y="40"/>
                            </a:cubicBezTo>
                            <a:cubicBezTo>
                              <a:pt x="61" y="42"/>
                              <a:pt x="64" y="40"/>
                              <a:pt x="66" y="40"/>
                            </a:cubicBezTo>
                            <a:cubicBezTo>
                              <a:pt x="67" y="40"/>
                              <a:pt x="67" y="38"/>
                              <a:pt x="68" y="38"/>
                            </a:cubicBezTo>
                            <a:cubicBezTo>
                              <a:pt x="70" y="38"/>
                              <a:pt x="71" y="40"/>
                              <a:pt x="73" y="40"/>
                            </a:cubicBezTo>
                            <a:cubicBezTo>
                              <a:pt x="74" y="40"/>
                              <a:pt x="74" y="38"/>
                              <a:pt x="75" y="38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37" name="Freeform 3542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981242" y="1854662"/>
                        <a:ext cx="17895" cy="10799"/>
                      </a:xfrm>
                      <a:custGeom>
                        <a:avLst/>
                        <a:gdLst>
                          <a:gd name="T0" fmla="*/ 1 w 13"/>
                          <a:gd name="T1" fmla="*/ 1 h 11"/>
                          <a:gd name="T2" fmla="*/ 1 w 13"/>
                          <a:gd name="T3" fmla="*/ 4 h 11"/>
                          <a:gd name="T4" fmla="*/ 4 w 13"/>
                          <a:gd name="T5" fmla="*/ 4 h 11"/>
                          <a:gd name="T6" fmla="*/ 4 w 13"/>
                          <a:gd name="T7" fmla="*/ 8 h 11"/>
                          <a:gd name="T8" fmla="*/ 7 w 13"/>
                          <a:gd name="T9" fmla="*/ 9 h 11"/>
                          <a:gd name="T10" fmla="*/ 7 w 13"/>
                          <a:gd name="T11" fmla="*/ 12 h 11"/>
                          <a:gd name="T12" fmla="*/ 15 w 13"/>
                          <a:gd name="T13" fmla="*/ 11 h 11"/>
                          <a:gd name="T14" fmla="*/ 12 w 13"/>
                          <a:gd name="T15" fmla="*/ 8 h 11"/>
                          <a:gd name="T16" fmla="*/ 10 w 13"/>
                          <a:gd name="T17" fmla="*/ 6 h 11"/>
                          <a:gd name="T18" fmla="*/ 6 w 13"/>
                          <a:gd name="T19" fmla="*/ 1 h 11"/>
                          <a:gd name="T20" fmla="*/ 1 w 13"/>
                          <a:gd name="T21" fmla="*/ 1 h 11"/>
                          <a:gd name="T22" fmla="*/ 0 60000 65536"/>
                          <a:gd name="T23" fmla="*/ 0 60000 65536"/>
                          <a:gd name="T24" fmla="*/ 0 60000 65536"/>
                          <a:gd name="T25" fmla="*/ 0 60000 65536"/>
                          <a:gd name="T26" fmla="*/ 0 60000 65536"/>
                          <a:gd name="T27" fmla="*/ 0 60000 65536"/>
                          <a:gd name="T28" fmla="*/ 0 60000 65536"/>
                          <a:gd name="T29" fmla="*/ 0 60000 65536"/>
                          <a:gd name="T30" fmla="*/ 0 60000 65536"/>
                          <a:gd name="T31" fmla="*/ 0 60000 65536"/>
                          <a:gd name="T32" fmla="*/ 0 60000 65536"/>
                          <a:gd name="T33" fmla="*/ 0 w 13"/>
                          <a:gd name="T34" fmla="*/ 0 h 11"/>
                          <a:gd name="T35" fmla="*/ 13 w 13"/>
                          <a:gd name="T36" fmla="*/ 11 h 11"/>
                        </a:gdLst>
                        <a:ahLst/>
                        <a:cxnLst>
                          <a:cxn ang="T22">
                            <a:pos x="T0" y="T1"/>
                          </a:cxn>
                          <a:cxn ang="T23">
                            <a:pos x="T2" y="T3"/>
                          </a:cxn>
                          <a:cxn ang="T24">
                            <a:pos x="T4" y="T5"/>
                          </a:cxn>
                          <a:cxn ang="T25">
                            <a:pos x="T6" y="T7"/>
                          </a:cxn>
                          <a:cxn ang="T26">
                            <a:pos x="T8" y="T9"/>
                          </a:cxn>
                          <a:cxn ang="T27">
                            <a:pos x="T10" y="T11"/>
                          </a:cxn>
                          <a:cxn ang="T28">
                            <a:pos x="T12" y="T13"/>
                          </a:cxn>
                          <a:cxn ang="T29">
                            <a:pos x="T14" y="T15"/>
                          </a:cxn>
                          <a:cxn ang="T30">
                            <a:pos x="T16" y="T17"/>
                          </a:cxn>
                          <a:cxn ang="T31">
                            <a:pos x="T18" y="T19"/>
                          </a:cxn>
                          <a:cxn ang="T32">
                            <a:pos x="T20" y="T21"/>
                          </a:cxn>
                        </a:cxnLst>
                        <a:rect l="T33" t="T34" r="T35" b="T36"/>
                        <a:pathLst>
                          <a:path w="13" h="11">
                            <a:moveTo>
                              <a:pt x="1" y="1"/>
                            </a:moveTo>
                            <a:cubicBezTo>
                              <a:pt x="0" y="1"/>
                              <a:pt x="0" y="2"/>
                              <a:pt x="1" y="3"/>
                            </a:cubicBezTo>
                            <a:cubicBezTo>
                              <a:pt x="1" y="3"/>
                              <a:pt x="3" y="2"/>
                              <a:pt x="3" y="3"/>
                            </a:cubicBezTo>
                            <a:cubicBezTo>
                              <a:pt x="4" y="4"/>
                              <a:pt x="2" y="6"/>
                              <a:pt x="3" y="7"/>
                            </a:cubicBezTo>
                            <a:cubicBezTo>
                              <a:pt x="4" y="8"/>
                              <a:pt x="5" y="7"/>
                              <a:pt x="6" y="8"/>
                            </a:cubicBezTo>
                            <a:cubicBezTo>
                              <a:pt x="6" y="8"/>
                              <a:pt x="5" y="10"/>
                              <a:pt x="6" y="10"/>
                            </a:cubicBezTo>
                            <a:cubicBezTo>
                              <a:pt x="8" y="10"/>
                              <a:pt x="10" y="11"/>
                              <a:pt x="12" y="9"/>
                            </a:cubicBezTo>
                            <a:cubicBezTo>
                              <a:pt x="13" y="9"/>
                              <a:pt x="11" y="8"/>
                              <a:pt x="10" y="7"/>
                            </a:cubicBezTo>
                            <a:cubicBezTo>
                              <a:pt x="9" y="6"/>
                              <a:pt x="9" y="6"/>
                              <a:pt x="8" y="5"/>
                            </a:cubicBezTo>
                            <a:cubicBezTo>
                              <a:pt x="7" y="4"/>
                              <a:pt x="6" y="2"/>
                              <a:pt x="5" y="1"/>
                            </a:cubicBezTo>
                            <a:cubicBezTo>
                              <a:pt x="4" y="1"/>
                              <a:pt x="2" y="0"/>
                              <a:pt x="1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38" name="Freeform 3543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953278" y="1808975"/>
                        <a:ext cx="10067" cy="13290"/>
                      </a:xfrm>
                      <a:custGeom>
                        <a:avLst/>
                        <a:gdLst>
                          <a:gd name="T0" fmla="*/ 5 w 7"/>
                          <a:gd name="T1" fmla="*/ 0 h 14"/>
                          <a:gd name="T2" fmla="*/ 8 w 7"/>
                          <a:gd name="T3" fmla="*/ 3 h 14"/>
                          <a:gd name="T4" fmla="*/ 8 w 7"/>
                          <a:gd name="T5" fmla="*/ 13 h 14"/>
                          <a:gd name="T6" fmla="*/ 5 w 7"/>
                          <a:gd name="T7" fmla="*/ 16 h 14"/>
                          <a:gd name="T8" fmla="*/ 3 w 7"/>
                          <a:gd name="T9" fmla="*/ 14 h 14"/>
                          <a:gd name="T10" fmla="*/ 3 w 7"/>
                          <a:gd name="T11" fmla="*/ 9 h 14"/>
                          <a:gd name="T12" fmla="*/ 0 w 7"/>
                          <a:gd name="T13" fmla="*/ 5 h 14"/>
                          <a:gd name="T14" fmla="*/ 3 w 7"/>
                          <a:gd name="T15" fmla="*/ 2 h 14"/>
                          <a:gd name="T16" fmla="*/ 5 w 7"/>
                          <a:gd name="T17" fmla="*/ 0 h 14"/>
                          <a:gd name="T18" fmla="*/ 0 60000 65536"/>
                          <a:gd name="T19" fmla="*/ 0 60000 65536"/>
                          <a:gd name="T20" fmla="*/ 0 60000 65536"/>
                          <a:gd name="T21" fmla="*/ 0 60000 65536"/>
                          <a:gd name="T22" fmla="*/ 0 60000 65536"/>
                          <a:gd name="T23" fmla="*/ 0 60000 65536"/>
                          <a:gd name="T24" fmla="*/ 0 60000 65536"/>
                          <a:gd name="T25" fmla="*/ 0 60000 65536"/>
                          <a:gd name="T26" fmla="*/ 0 60000 65536"/>
                          <a:gd name="T27" fmla="*/ 0 w 7"/>
                          <a:gd name="T28" fmla="*/ 0 h 14"/>
                          <a:gd name="T29" fmla="*/ 7 w 7"/>
                          <a:gd name="T30" fmla="*/ 14 h 14"/>
                        </a:gdLst>
                        <a:ahLst/>
                        <a:cxnLst>
                          <a:cxn ang="T18">
                            <a:pos x="T0" y="T1"/>
                          </a:cxn>
                          <a:cxn ang="T19">
                            <a:pos x="T2" y="T3"/>
                          </a:cxn>
                          <a:cxn ang="T20">
                            <a:pos x="T4" y="T5"/>
                          </a:cxn>
                          <a:cxn ang="T21">
                            <a:pos x="T6" y="T7"/>
                          </a:cxn>
                          <a:cxn ang="T22">
                            <a:pos x="T8" y="T9"/>
                          </a:cxn>
                          <a:cxn ang="T23">
                            <a:pos x="T10" y="T11"/>
                          </a:cxn>
                          <a:cxn ang="T24">
                            <a:pos x="T12" y="T13"/>
                          </a:cxn>
                          <a:cxn ang="T25">
                            <a:pos x="T14" y="T15"/>
                          </a:cxn>
                          <a:cxn ang="T26">
                            <a:pos x="T16" y="T17"/>
                          </a:cxn>
                        </a:cxnLst>
                        <a:rect l="T27" t="T28" r="T29" b="T30"/>
                        <a:pathLst>
                          <a:path w="7" h="14">
                            <a:moveTo>
                              <a:pt x="4" y="0"/>
                            </a:moveTo>
                            <a:cubicBezTo>
                              <a:pt x="5" y="0"/>
                              <a:pt x="6" y="2"/>
                              <a:pt x="6" y="3"/>
                            </a:cubicBezTo>
                            <a:cubicBezTo>
                              <a:pt x="7" y="6"/>
                              <a:pt x="7" y="8"/>
                              <a:pt x="6" y="11"/>
                            </a:cubicBezTo>
                            <a:cubicBezTo>
                              <a:pt x="6" y="12"/>
                              <a:pt x="5" y="14"/>
                              <a:pt x="4" y="14"/>
                            </a:cubicBezTo>
                            <a:cubicBezTo>
                              <a:pt x="3" y="14"/>
                              <a:pt x="2" y="13"/>
                              <a:pt x="2" y="12"/>
                            </a:cubicBezTo>
                            <a:cubicBezTo>
                              <a:pt x="1" y="10"/>
                              <a:pt x="2" y="9"/>
                              <a:pt x="2" y="8"/>
                            </a:cubicBezTo>
                            <a:cubicBezTo>
                              <a:pt x="1" y="7"/>
                              <a:pt x="0" y="6"/>
                              <a:pt x="0" y="4"/>
                            </a:cubicBezTo>
                            <a:cubicBezTo>
                              <a:pt x="0" y="3"/>
                              <a:pt x="1" y="3"/>
                              <a:pt x="2" y="2"/>
                            </a:cubicBezTo>
                            <a:cubicBezTo>
                              <a:pt x="3" y="2"/>
                              <a:pt x="3" y="0"/>
                              <a:pt x="4" y="0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39" name="Freeform 3544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772083" y="1772426"/>
                        <a:ext cx="65991" cy="34888"/>
                      </a:xfrm>
                      <a:custGeom>
                        <a:avLst/>
                        <a:gdLst>
                          <a:gd name="T0" fmla="*/ 57 w 49"/>
                          <a:gd name="T1" fmla="*/ 28 h 35"/>
                          <a:gd name="T2" fmla="*/ 58 w 49"/>
                          <a:gd name="T3" fmla="*/ 30 h 35"/>
                          <a:gd name="T4" fmla="*/ 52 w 49"/>
                          <a:gd name="T5" fmla="*/ 34 h 35"/>
                          <a:gd name="T6" fmla="*/ 46 w 49"/>
                          <a:gd name="T7" fmla="*/ 37 h 35"/>
                          <a:gd name="T8" fmla="*/ 41 w 49"/>
                          <a:gd name="T9" fmla="*/ 42 h 35"/>
                          <a:gd name="T10" fmla="*/ 33 w 49"/>
                          <a:gd name="T11" fmla="*/ 40 h 35"/>
                          <a:gd name="T12" fmla="*/ 18 w 49"/>
                          <a:gd name="T13" fmla="*/ 32 h 35"/>
                          <a:gd name="T14" fmla="*/ 16 w 49"/>
                          <a:gd name="T15" fmla="*/ 31 h 35"/>
                          <a:gd name="T16" fmla="*/ 13 w 49"/>
                          <a:gd name="T17" fmla="*/ 31 h 35"/>
                          <a:gd name="T18" fmla="*/ 10 w 49"/>
                          <a:gd name="T19" fmla="*/ 28 h 35"/>
                          <a:gd name="T20" fmla="*/ 7 w 49"/>
                          <a:gd name="T21" fmla="*/ 30 h 35"/>
                          <a:gd name="T22" fmla="*/ 0 w 49"/>
                          <a:gd name="T23" fmla="*/ 26 h 35"/>
                          <a:gd name="T24" fmla="*/ 6 w 49"/>
                          <a:gd name="T25" fmla="*/ 22 h 35"/>
                          <a:gd name="T26" fmla="*/ 10 w 49"/>
                          <a:gd name="T27" fmla="*/ 24 h 35"/>
                          <a:gd name="T28" fmla="*/ 16 w 49"/>
                          <a:gd name="T29" fmla="*/ 22 h 35"/>
                          <a:gd name="T30" fmla="*/ 20 w 49"/>
                          <a:gd name="T31" fmla="*/ 17 h 35"/>
                          <a:gd name="T32" fmla="*/ 22 w 49"/>
                          <a:gd name="T33" fmla="*/ 10 h 35"/>
                          <a:gd name="T34" fmla="*/ 24 w 49"/>
                          <a:gd name="T35" fmla="*/ 14 h 35"/>
                          <a:gd name="T36" fmla="*/ 30 w 49"/>
                          <a:gd name="T37" fmla="*/ 13 h 35"/>
                          <a:gd name="T38" fmla="*/ 25 w 49"/>
                          <a:gd name="T39" fmla="*/ 10 h 35"/>
                          <a:gd name="T40" fmla="*/ 25 w 49"/>
                          <a:gd name="T41" fmla="*/ 5 h 35"/>
                          <a:gd name="T42" fmla="*/ 30 w 49"/>
                          <a:gd name="T43" fmla="*/ 0 h 35"/>
                          <a:gd name="T44" fmla="*/ 36 w 49"/>
                          <a:gd name="T45" fmla="*/ 6 h 35"/>
                          <a:gd name="T46" fmla="*/ 36 w 49"/>
                          <a:gd name="T47" fmla="*/ 10 h 35"/>
                          <a:gd name="T48" fmla="*/ 41 w 49"/>
                          <a:gd name="T49" fmla="*/ 11 h 35"/>
                          <a:gd name="T50" fmla="*/ 47 w 49"/>
                          <a:gd name="T51" fmla="*/ 18 h 35"/>
                          <a:gd name="T52" fmla="*/ 47 w 49"/>
                          <a:gd name="T53" fmla="*/ 24 h 35"/>
                          <a:gd name="T54" fmla="*/ 49 w 49"/>
                          <a:gd name="T55" fmla="*/ 24 h 35"/>
                          <a:gd name="T56" fmla="*/ 49 w 49"/>
                          <a:gd name="T57" fmla="*/ 30 h 35"/>
                          <a:gd name="T58" fmla="*/ 57 w 49"/>
                          <a:gd name="T59" fmla="*/ 28 h 35"/>
                          <a:gd name="T60" fmla="*/ 0 60000 65536"/>
                          <a:gd name="T61" fmla="*/ 0 60000 65536"/>
                          <a:gd name="T62" fmla="*/ 0 60000 65536"/>
                          <a:gd name="T63" fmla="*/ 0 60000 65536"/>
                          <a:gd name="T64" fmla="*/ 0 60000 65536"/>
                          <a:gd name="T65" fmla="*/ 0 60000 65536"/>
                          <a:gd name="T66" fmla="*/ 0 60000 65536"/>
                          <a:gd name="T67" fmla="*/ 0 60000 65536"/>
                          <a:gd name="T68" fmla="*/ 0 60000 65536"/>
                          <a:gd name="T69" fmla="*/ 0 60000 65536"/>
                          <a:gd name="T70" fmla="*/ 0 60000 65536"/>
                          <a:gd name="T71" fmla="*/ 0 60000 65536"/>
                          <a:gd name="T72" fmla="*/ 0 60000 65536"/>
                          <a:gd name="T73" fmla="*/ 0 60000 65536"/>
                          <a:gd name="T74" fmla="*/ 0 60000 65536"/>
                          <a:gd name="T75" fmla="*/ 0 60000 65536"/>
                          <a:gd name="T76" fmla="*/ 0 60000 65536"/>
                          <a:gd name="T77" fmla="*/ 0 60000 65536"/>
                          <a:gd name="T78" fmla="*/ 0 60000 65536"/>
                          <a:gd name="T79" fmla="*/ 0 60000 65536"/>
                          <a:gd name="T80" fmla="*/ 0 60000 65536"/>
                          <a:gd name="T81" fmla="*/ 0 60000 65536"/>
                          <a:gd name="T82" fmla="*/ 0 60000 65536"/>
                          <a:gd name="T83" fmla="*/ 0 60000 65536"/>
                          <a:gd name="T84" fmla="*/ 0 60000 65536"/>
                          <a:gd name="T85" fmla="*/ 0 60000 65536"/>
                          <a:gd name="T86" fmla="*/ 0 60000 65536"/>
                          <a:gd name="T87" fmla="*/ 0 60000 65536"/>
                          <a:gd name="T88" fmla="*/ 0 60000 65536"/>
                          <a:gd name="T89" fmla="*/ 0 60000 65536"/>
                          <a:gd name="T90" fmla="*/ 0 w 49"/>
                          <a:gd name="T91" fmla="*/ 0 h 35"/>
                          <a:gd name="T92" fmla="*/ 49 w 49"/>
                          <a:gd name="T93" fmla="*/ 35 h 35"/>
                        </a:gdLst>
                        <a:ahLst/>
                        <a:cxnLst>
                          <a:cxn ang="T60">
                            <a:pos x="T0" y="T1"/>
                          </a:cxn>
                          <a:cxn ang="T61">
                            <a:pos x="T2" y="T3"/>
                          </a:cxn>
                          <a:cxn ang="T62">
                            <a:pos x="T4" y="T5"/>
                          </a:cxn>
                          <a:cxn ang="T63">
                            <a:pos x="T6" y="T7"/>
                          </a:cxn>
                          <a:cxn ang="T64">
                            <a:pos x="T8" y="T9"/>
                          </a:cxn>
                          <a:cxn ang="T65">
                            <a:pos x="T10" y="T11"/>
                          </a:cxn>
                          <a:cxn ang="T66">
                            <a:pos x="T12" y="T13"/>
                          </a:cxn>
                          <a:cxn ang="T67">
                            <a:pos x="T14" y="T15"/>
                          </a:cxn>
                          <a:cxn ang="T68">
                            <a:pos x="T16" y="T17"/>
                          </a:cxn>
                          <a:cxn ang="T69">
                            <a:pos x="T18" y="T19"/>
                          </a:cxn>
                          <a:cxn ang="T70">
                            <a:pos x="T20" y="T21"/>
                          </a:cxn>
                          <a:cxn ang="T71">
                            <a:pos x="T22" y="T23"/>
                          </a:cxn>
                          <a:cxn ang="T72">
                            <a:pos x="T24" y="T25"/>
                          </a:cxn>
                          <a:cxn ang="T73">
                            <a:pos x="T26" y="T27"/>
                          </a:cxn>
                          <a:cxn ang="T74">
                            <a:pos x="T28" y="T29"/>
                          </a:cxn>
                          <a:cxn ang="T75">
                            <a:pos x="T30" y="T31"/>
                          </a:cxn>
                          <a:cxn ang="T76">
                            <a:pos x="T32" y="T33"/>
                          </a:cxn>
                          <a:cxn ang="T77">
                            <a:pos x="T34" y="T35"/>
                          </a:cxn>
                          <a:cxn ang="T78">
                            <a:pos x="T36" y="T37"/>
                          </a:cxn>
                          <a:cxn ang="T79">
                            <a:pos x="T38" y="T39"/>
                          </a:cxn>
                          <a:cxn ang="T80">
                            <a:pos x="T40" y="T41"/>
                          </a:cxn>
                          <a:cxn ang="T81">
                            <a:pos x="T42" y="T43"/>
                          </a:cxn>
                          <a:cxn ang="T82">
                            <a:pos x="T44" y="T45"/>
                          </a:cxn>
                          <a:cxn ang="T83">
                            <a:pos x="T46" y="T47"/>
                          </a:cxn>
                          <a:cxn ang="T84">
                            <a:pos x="T48" y="T49"/>
                          </a:cxn>
                          <a:cxn ang="T85">
                            <a:pos x="T50" y="T51"/>
                          </a:cxn>
                          <a:cxn ang="T86">
                            <a:pos x="T52" y="T53"/>
                          </a:cxn>
                          <a:cxn ang="T87">
                            <a:pos x="T54" y="T55"/>
                          </a:cxn>
                          <a:cxn ang="T88">
                            <a:pos x="T56" y="T57"/>
                          </a:cxn>
                          <a:cxn ang="T89">
                            <a:pos x="T58" y="T59"/>
                          </a:cxn>
                        </a:cxnLst>
                        <a:rect l="T90" t="T91" r="T92" b="T93"/>
                        <a:pathLst>
                          <a:path w="49" h="35">
                            <a:moveTo>
                              <a:pt x="47" y="23"/>
                            </a:moveTo>
                            <a:cubicBezTo>
                              <a:pt x="47" y="23"/>
                              <a:pt x="49" y="25"/>
                              <a:pt x="48" y="25"/>
                            </a:cubicBezTo>
                            <a:cubicBezTo>
                              <a:pt x="47" y="27"/>
                              <a:pt x="44" y="27"/>
                              <a:pt x="43" y="28"/>
                            </a:cubicBezTo>
                            <a:cubicBezTo>
                              <a:pt x="41" y="29"/>
                              <a:pt x="40" y="30"/>
                              <a:pt x="38" y="31"/>
                            </a:cubicBezTo>
                            <a:cubicBezTo>
                              <a:pt x="37" y="32"/>
                              <a:pt x="36" y="34"/>
                              <a:pt x="34" y="35"/>
                            </a:cubicBezTo>
                            <a:cubicBezTo>
                              <a:pt x="32" y="35"/>
                              <a:pt x="29" y="34"/>
                              <a:pt x="27" y="33"/>
                            </a:cubicBezTo>
                            <a:cubicBezTo>
                              <a:pt x="23" y="32"/>
                              <a:pt x="19" y="29"/>
                              <a:pt x="15" y="27"/>
                            </a:cubicBezTo>
                            <a:cubicBezTo>
                              <a:pt x="14" y="27"/>
                              <a:pt x="14" y="26"/>
                              <a:pt x="13" y="26"/>
                            </a:cubicBezTo>
                            <a:cubicBezTo>
                              <a:pt x="13" y="25"/>
                              <a:pt x="12" y="26"/>
                              <a:pt x="11" y="26"/>
                            </a:cubicBezTo>
                            <a:cubicBezTo>
                              <a:pt x="10" y="25"/>
                              <a:pt x="9" y="23"/>
                              <a:pt x="8" y="23"/>
                            </a:cubicBezTo>
                            <a:cubicBezTo>
                              <a:pt x="7" y="23"/>
                              <a:pt x="7" y="25"/>
                              <a:pt x="6" y="25"/>
                            </a:cubicBezTo>
                            <a:cubicBezTo>
                              <a:pt x="4" y="25"/>
                              <a:pt x="1" y="24"/>
                              <a:pt x="0" y="22"/>
                            </a:cubicBezTo>
                            <a:cubicBezTo>
                              <a:pt x="0" y="20"/>
                              <a:pt x="3" y="18"/>
                              <a:pt x="5" y="18"/>
                            </a:cubicBezTo>
                            <a:cubicBezTo>
                              <a:pt x="6" y="18"/>
                              <a:pt x="7" y="20"/>
                              <a:pt x="8" y="20"/>
                            </a:cubicBezTo>
                            <a:cubicBezTo>
                              <a:pt x="9" y="20"/>
                              <a:pt x="11" y="19"/>
                              <a:pt x="13" y="18"/>
                            </a:cubicBezTo>
                            <a:cubicBezTo>
                              <a:pt x="14" y="17"/>
                              <a:pt x="16" y="16"/>
                              <a:pt x="17" y="14"/>
                            </a:cubicBezTo>
                            <a:cubicBezTo>
                              <a:pt x="18" y="12"/>
                              <a:pt x="16" y="9"/>
                              <a:pt x="18" y="8"/>
                            </a:cubicBezTo>
                            <a:cubicBezTo>
                              <a:pt x="19" y="7"/>
                              <a:pt x="19" y="11"/>
                              <a:pt x="20" y="12"/>
                            </a:cubicBezTo>
                            <a:cubicBezTo>
                              <a:pt x="22" y="12"/>
                              <a:pt x="24" y="13"/>
                              <a:pt x="25" y="11"/>
                            </a:cubicBezTo>
                            <a:cubicBezTo>
                              <a:pt x="25" y="10"/>
                              <a:pt x="22" y="10"/>
                              <a:pt x="21" y="8"/>
                            </a:cubicBezTo>
                            <a:cubicBezTo>
                              <a:pt x="21" y="7"/>
                              <a:pt x="21" y="5"/>
                              <a:pt x="21" y="4"/>
                            </a:cubicBezTo>
                            <a:cubicBezTo>
                              <a:pt x="22" y="2"/>
                              <a:pt x="24" y="0"/>
                              <a:pt x="25" y="0"/>
                            </a:cubicBezTo>
                            <a:cubicBezTo>
                              <a:pt x="28" y="1"/>
                              <a:pt x="29" y="3"/>
                              <a:pt x="30" y="5"/>
                            </a:cubicBezTo>
                            <a:cubicBezTo>
                              <a:pt x="31" y="6"/>
                              <a:pt x="30" y="7"/>
                              <a:pt x="30" y="8"/>
                            </a:cubicBezTo>
                            <a:cubicBezTo>
                              <a:pt x="31" y="9"/>
                              <a:pt x="33" y="8"/>
                              <a:pt x="34" y="9"/>
                            </a:cubicBezTo>
                            <a:cubicBezTo>
                              <a:pt x="36" y="11"/>
                              <a:pt x="38" y="13"/>
                              <a:pt x="39" y="15"/>
                            </a:cubicBezTo>
                            <a:cubicBezTo>
                              <a:pt x="39" y="17"/>
                              <a:pt x="38" y="19"/>
                              <a:pt x="39" y="20"/>
                            </a:cubicBezTo>
                            <a:cubicBezTo>
                              <a:pt x="39" y="21"/>
                              <a:pt x="41" y="19"/>
                              <a:pt x="41" y="20"/>
                            </a:cubicBezTo>
                            <a:cubicBezTo>
                              <a:pt x="42" y="21"/>
                              <a:pt x="40" y="24"/>
                              <a:pt x="41" y="25"/>
                            </a:cubicBezTo>
                            <a:cubicBezTo>
                              <a:pt x="43" y="26"/>
                              <a:pt x="45" y="23"/>
                              <a:pt x="47" y="23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40" name="Freeform 3545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830245" y="1779071"/>
                        <a:ext cx="8948" cy="8307"/>
                      </a:xfrm>
                      <a:custGeom>
                        <a:avLst/>
                        <a:gdLst>
                          <a:gd name="T0" fmla="*/ 7 w 7"/>
                          <a:gd name="T1" fmla="*/ 9 h 9"/>
                          <a:gd name="T2" fmla="*/ 7 w 7"/>
                          <a:gd name="T3" fmla="*/ 4 h 9"/>
                          <a:gd name="T4" fmla="*/ 5 w 7"/>
                          <a:gd name="T5" fmla="*/ 1 h 9"/>
                          <a:gd name="T6" fmla="*/ 0 w 7"/>
                          <a:gd name="T7" fmla="*/ 1 h 9"/>
                          <a:gd name="T8" fmla="*/ 1 w 7"/>
                          <a:gd name="T9" fmla="*/ 2 h 9"/>
                          <a:gd name="T10" fmla="*/ 5 w 7"/>
                          <a:gd name="T11" fmla="*/ 6 h 9"/>
                          <a:gd name="T12" fmla="*/ 5 w 7"/>
                          <a:gd name="T13" fmla="*/ 8 h 9"/>
                          <a:gd name="T14" fmla="*/ 7 w 7"/>
                          <a:gd name="T15" fmla="*/ 9 h 9"/>
                          <a:gd name="T16" fmla="*/ 0 60000 65536"/>
                          <a:gd name="T17" fmla="*/ 0 60000 65536"/>
                          <a:gd name="T18" fmla="*/ 0 60000 65536"/>
                          <a:gd name="T19" fmla="*/ 0 60000 65536"/>
                          <a:gd name="T20" fmla="*/ 0 60000 65536"/>
                          <a:gd name="T21" fmla="*/ 0 60000 65536"/>
                          <a:gd name="T22" fmla="*/ 0 60000 65536"/>
                          <a:gd name="T23" fmla="*/ 0 60000 65536"/>
                          <a:gd name="T24" fmla="*/ 0 w 7"/>
                          <a:gd name="T25" fmla="*/ 0 h 9"/>
                          <a:gd name="T26" fmla="*/ 7 w 7"/>
                          <a:gd name="T27" fmla="*/ 9 h 9"/>
                        </a:gdLst>
                        <a:ahLst/>
                        <a:cxnLst>
                          <a:cxn ang="T16">
                            <a:pos x="T0" y="T1"/>
                          </a:cxn>
                          <a:cxn ang="T17">
                            <a:pos x="T2" y="T3"/>
                          </a:cxn>
                          <a:cxn ang="T18">
                            <a:pos x="T4" y="T5"/>
                          </a:cxn>
                          <a:cxn ang="T19">
                            <a:pos x="T6" y="T7"/>
                          </a:cxn>
                          <a:cxn ang="T20">
                            <a:pos x="T8" y="T9"/>
                          </a:cxn>
                          <a:cxn ang="T21">
                            <a:pos x="T10" y="T11"/>
                          </a:cxn>
                          <a:cxn ang="T22">
                            <a:pos x="T12" y="T13"/>
                          </a:cxn>
                          <a:cxn ang="T23">
                            <a:pos x="T14" y="T15"/>
                          </a:cxn>
                        </a:cxnLst>
                        <a:rect l="T24" t="T25" r="T26" b="T27"/>
                        <a:pathLst>
                          <a:path w="7" h="9">
                            <a:moveTo>
                              <a:pt x="6" y="8"/>
                            </a:moveTo>
                            <a:cubicBezTo>
                              <a:pt x="7" y="7"/>
                              <a:pt x="7" y="5"/>
                              <a:pt x="6" y="4"/>
                            </a:cubicBezTo>
                            <a:cubicBezTo>
                              <a:pt x="6" y="2"/>
                              <a:pt x="5" y="1"/>
                              <a:pt x="4" y="1"/>
                            </a:cubicBezTo>
                            <a:cubicBezTo>
                              <a:pt x="3" y="0"/>
                              <a:pt x="1" y="0"/>
                              <a:pt x="0" y="1"/>
                            </a:cubicBezTo>
                            <a:cubicBezTo>
                              <a:pt x="0" y="1"/>
                              <a:pt x="1" y="2"/>
                              <a:pt x="1" y="2"/>
                            </a:cubicBezTo>
                            <a:cubicBezTo>
                              <a:pt x="2" y="3"/>
                              <a:pt x="3" y="3"/>
                              <a:pt x="4" y="5"/>
                            </a:cubicBezTo>
                            <a:cubicBezTo>
                              <a:pt x="4" y="5"/>
                              <a:pt x="3" y="6"/>
                              <a:pt x="4" y="7"/>
                            </a:cubicBezTo>
                            <a:cubicBezTo>
                              <a:pt x="4" y="8"/>
                              <a:pt x="5" y="9"/>
                              <a:pt x="6" y="8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41" name="Freeform 3546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756424" y="1792361"/>
                        <a:ext cx="7830" cy="9137"/>
                      </a:xfrm>
                      <a:custGeom>
                        <a:avLst/>
                        <a:gdLst>
                          <a:gd name="T0" fmla="*/ 5 w 6"/>
                          <a:gd name="T1" fmla="*/ 1 h 9"/>
                          <a:gd name="T2" fmla="*/ 7 w 6"/>
                          <a:gd name="T3" fmla="*/ 6 h 9"/>
                          <a:gd name="T4" fmla="*/ 2 w 6"/>
                          <a:gd name="T5" fmla="*/ 10 h 9"/>
                          <a:gd name="T6" fmla="*/ 2 w 6"/>
                          <a:gd name="T7" fmla="*/ 2 h 9"/>
                          <a:gd name="T8" fmla="*/ 5 w 6"/>
                          <a:gd name="T9" fmla="*/ 1 h 9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6"/>
                          <a:gd name="T16" fmla="*/ 0 h 9"/>
                          <a:gd name="T17" fmla="*/ 6 w 6"/>
                          <a:gd name="T18" fmla="*/ 9 h 9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6" h="9">
                            <a:moveTo>
                              <a:pt x="4" y="1"/>
                            </a:moveTo>
                            <a:cubicBezTo>
                              <a:pt x="5" y="2"/>
                              <a:pt x="6" y="4"/>
                              <a:pt x="6" y="5"/>
                            </a:cubicBezTo>
                            <a:cubicBezTo>
                              <a:pt x="5" y="7"/>
                              <a:pt x="3" y="9"/>
                              <a:pt x="2" y="8"/>
                            </a:cubicBezTo>
                            <a:cubicBezTo>
                              <a:pt x="0" y="7"/>
                              <a:pt x="1" y="4"/>
                              <a:pt x="2" y="2"/>
                            </a:cubicBezTo>
                            <a:cubicBezTo>
                              <a:pt x="2" y="1"/>
                              <a:pt x="3" y="0"/>
                              <a:pt x="4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42" name="Freeform 3547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730699" y="1799007"/>
                        <a:ext cx="8948" cy="5815"/>
                      </a:xfrm>
                      <a:custGeom>
                        <a:avLst/>
                        <a:gdLst>
                          <a:gd name="T0" fmla="*/ 7 w 7"/>
                          <a:gd name="T1" fmla="*/ 1 h 6"/>
                          <a:gd name="T2" fmla="*/ 6 w 7"/>
                          <a:gd name="T3" fmla="*/ 6 h 6"/>
                          <a:gd name="T4" fmla="*/ 0 w 7"/>
                          <a:gd name="T5" fmla="*/ 5 h 6"/>
                          <a:gd name="T6" fmla="*/ 2 w 7"/>
                          <a:gd name="T7" fmla="*/ 2 h 6"/>
                          <a:gd name="T8" fmla="*/ 7 w 7"/>
                          <a:gd name="T9" fmla="*/ 1 h 6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7"/>
                          <a:gd name="T16" fmla="*/ 0 h 6"/>
                          <a:gd name="T17" fmla="*/ 7 w 7"/>
                          <a:gd name="T18" fmla="*/ 6 h 6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7" h="6">
                            <a:moveTo>
                              <a:pt x="6" y="1"/>
                            </a:moveTo>
                            <a:cubicBezTo>
                              <a:pt x="7" y="2"/>
                              <a:pt x="6" y="4"/>
                              <a:pt x="5" y="5"/>
                            </a:cubicBezTo>
                            <a:cubicBezTo>
                              <a:pt x="4" y="6"/>
                              <a:pt x="2" y="5"/>
                              <a:pt x="0" y="4"/>
                            </a:cubicBezTo>
                            <a:cubicBezTo>
                              <a:pt x="0" y="4"/>
                              <a:pt x="1" y="2"/>
                              <a:pt x="2" y="2"/>
                            </a:cubicBezTo>
                            <a:cubicBezTo>
                              <a:pt x="3" y="1"/>
                              <a:pt x="5" y="0"/>
                              <a:pt x="6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43" name="Freeform 3548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689315" y="1802329"/>
                        <a:ext cx="8948" cy="6646"/>
                      </a:xfrm>
                      <a:custGeom>
                        <a:avLst/>
                        <a:gdLst>
                          <a:gd name="T0" fmla="*/ 1 w 7"/>
                          <a:gd name="T1" fmla="*/ 0 h 6"/>
                          <a:gd name="T2" fmla="*/ 7 w 7"/>
                          <a:gd name="T3" fmla="*/ 3 h 6"/>
                          <a:gd name="T4" fmla="*/ 5 w 7"/>
                          <a:gd name="T5" fmla="*/ 7 h 6"/>
                          <a:gd name="T6" fmla="*/ 0 w 7"/>
                          <a:gd name="T7" fmla="*/ 1 h 6"/>
                          <a:gd name="T8" fmla="*/ 1 w 7"/>
                          <a:gd name="T9" fmla="*/ 0 h 6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7"/>
                          <a:gd name="T16" fmla="*/ 0 h 6"/>
                          <a:gd name="T17" fmla="*/ 7 w 7"/>
                          <a:gd name="T18" fmla="*/ 6 h 6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7" h="6">
                            <a:moveTo>
                              <a:pt x="1" y="0"/>
                            </a:moveTo>
                            <a:cubicBezTo>
                              <a:pt x="3" y="0"/>
                              <a:pt x="5" y="1"/>
                              <a:pt x="6" y="2"/>
                            </a:cubicBezTo>
                            <a:cubicBezTo>
                              <a:pt x="7" y="3"/>
                              <a:pt x="5" y="6"/>
                              <a:pt x="4" y="5"/>
                            </a:cubicBezTo>
                            <a:cubicBezTo>
                              <a:pt x="2" y="5"/>
                              <a:pt x="1" y="3"/>
                              <a:pt x="0" y="1"/>
                            </a:cubicBezTo>
                            <a:cubicBezTo>
                              <a:pt x="0" y="1"/>
                              <a:pt x="1" y="0"/>
                              <a:pt x="1" y="0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44" name="Freeform 3549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822415" y="1779902"/>
                        <a:ext cx="6712" cy="4984"/>
                      </a:xfrm>
                      <a:custGeom>
                        <a:avLst/>
                        <a:gdLst>
                          <a:gd name="T0" fmla="*/ 0 w 5"/>
                          <a:gd name="T1" fmla="*/ 1 h 5"/>
                          <a:gd name="T2" fmla="*/ 5 w 5"/>
                          <a:gd name="T3" fmla="*/ 2 h 5"/>
                          <a:gd name="T4" fmla="*/ 4 w 5"/>
                          <a:gd name="T5" fmla="*/ 6 h 5"/>
                          <a:gd name="T6" fmla="*/ 0 w 5"/>
                          <a:gd name="T7" fmla="*/ 1 h 5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  <a:gd name="T12" fmla="*/ 0 w 5"/>
                          <a:gd name="T13" fmla="*/ 0 h 5"/>
                          <a:gd name="T14" fmla="*/ 5 w 5"/>
                          <a:gd name="T15" fmla="*/ 5 h 5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T12" t="T13" r="T14" b="T15"/>
                        <a:pathLst>
                          <a:path w="5" h="5">
                            <a:moveTo>
                              <a:pt x="0" y="1"/>
                            </a:moveTo>
                            <a:cubicBezTo>
                              <a:pt x="1" y="0"/>
                              <a:pt x="4" y="1"/>
                              <a:pt x="4" y="2"/>
                            </a:cubicBezTo>
                            <a:cubicBezTo>
                              <a:pt x="5" y="3"/>
                              <a:pt x="4" y="5"/>
                              <a:pt x="3" y="5"/>
                            </a:cubicBezTo>
                            <a:cubicBezTo>
                              <a:pt x="1" y="4"/>
                              <a:pt x="0" y="2"/>
                              <a:pt x="0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45" name="Freeform 3550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230733" y="1787378"/>
                        <a:ext cx="6712" cy="7476"/>
                      </a:xfrm>
                      <a:custGeom>
                        <a:avLst/>
                        <a:gdLst>
                          <a:gd name="T0" fmla="*/ 2 w 5"/>
                          <a:gd name="T1" fmla="*/ 1 h 7"/>
                          <a:gd name="T2" fmla="*/ 5 w 5"/>
                          <a:gd name="T3" fmla="*/ 8 h 7"/>
                          <a:gd name="T4" fmla="*/ 1 w 5"/>
                          <a:gd name="T5" fmla="*/ 6 h 7"/>
                          <a:gd name="T6" fmla="*/ 2 w 5"/>
                          <a:gd name="T7" fmla="*/ 1 h 7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  <a:gd name="T12" fmla="*/ 0 w 5"/>
                          <a:gd name="T13" fmla="*/ 0 h 7"/>
                          <a:gd name="T14" fmla="*/ 5 w 5"/>
                          <a:gd name="T15" fmla="*/ 7 h 7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T12" t="T13" r="T14" b="T15"/>
                        <a:pathLst>
                          <a:path w="5" h="7">
                            <a:moveTo>
                              <a:pt x="2" y="1"/>
                            </a:moveTo>
                            <a:cubicBezTo>
                              <a:pt x="4" y="1"/>
                              <a:pt x="5" y="4"/>
                              <a:pt x="4" y="6"/>
                            </a:cubicBezTo>
                            <a:cubicBezTo>
                              <a:pt x="4" y="7"/>
                              <a:pt x="1" y="6"/>
                              <a:pt x="1" y="5"/>
                            </a:cubicBezTo>
                            <a:cubicBezTo>
                              <a:pt x="0" y="3"/>
                              <a:pt x="1" y="0"/>
                              <a:pt x="2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46" name="Freeform 3551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237445" y="1786547"/>
                        <a:ext cx="8948" cy="9137"/>
                      </a:xfrm>
                      <a:custGeom>
                        <a:avLst/>
                        <a:gdLst>
                          <a:gd name="T0" fmla="*/ 5 w 6"/>
                          <a:gd name="T1" fmla="*/ 1 h 9"/>
                          <a:gd name="T2" fmla="*/ 8 w 6"/>
                          <a:gd name="T3" fmla="*/ 9 h 9"/>
                          <a:gd name="T4" fmla="*/ 1 w 6"/>
                          <a:gd name="T5" fmla="*/ 10 h 9"/>
                          <a:gd name="T6" fmla="*/ 1 w 6"/>
                          <a:gd name="T7" fmla="*/ 2 h 9"/>
                          <a:gd name="T8" fmla="*/ 5 w 6"/>
                          <a:gd name="T9" fmla="*/ 1 h 9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6"/>
                          <a:gd name="T16" fmla="*/ 0 h 9"/>
                          <a:gd name="T17" fmla="*/ 6 w 6"/>
                          <a:gd name="T18" fmla="*/ 9 h 9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6" h="9">
                            <a:moveTo>
                              <a:pt x="4" y="1"/>
                            </a:moveTo>
                            <a:cubicBezTo>
                              <a:pt x="5" y="2"/>
                              <a:pt x="6" y="5"/>
                              <a:pt x="6" y="7"/>
                            </a:cubicBezTo>
                            <a:cubicBezTo>
                              <a:pt x="5" y="8"/>
                              <a:pt x="2" y="9"/>
                              <a:pt x="1" y="8"/>
                            </a:cubicBezTo>
                            <a:cubicBezTo>
                              <a:pt x="0" y="6"/>
                              <a:pt x="0" y="4"/>
                              <a:pt x="1" y="2"/>
                            </a:cubicBezTo>
                            <a:cubicBezTo>
                              <a:pt x="1" y="1"/>
                              <a:pt x="3" y="0"/>
                              <a:pt x="4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47" name="Freeform 3552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244155" y="1779071"/>
                        <a:ext cx="23489" cy="13290"/>
                      </a:xfrm>
                      <a:custGeom>
                        <a:avLst/>
                        <a:gdLst>
                          <a:gd name="T0" fmla="*/ 15 w 17"/>
                          <a:gd name="T1" fmla="*/ 0 h 14"/>
                          <a:gd name="T2" fmla="*/ 21 w 17"/>
                          <a:gd name="T3" fmla="*/ 5 h 14"/>
                          <a:gd name="T4" fmla="*/ 12 w 17"/>
                          <a:gd name="T5" fmla="*/ 11 h 14"/>
                          <a:gd name="T6" fmla="*/ 5 w 17"/>
                          <a:gd name="T7" fmla="*/ 15 h 14"/>
                          <a:gd name="T8" fmla="*/ 1 w 17"/>
                          <a:gd name="T9" fmla="*/ 10 h 14"/>
                          <a:gd name="T10" fmla="*/ 2 w 17"/>
                          <a:gd name="T11" fmla="*/ 6 h 14"/>
                          <a:gd name="T12" fmla="*/ 11 w 17"/>
                          <a:gd name="T13" fmla="*/ 6 h 14"/>
                          <a:gd name="T14" fmla="*/ 15 w 17"/>
                          <a:gd name="T15" fmla="*/ 0 h 14"/>
                          <a:gd name="T16" fmla="*/ 0 60000 65536"/>
                          <a:gd name="T17" fmla="*/ 0 60000 65536"/>
                          <a:gd name="T18" fmla="*/ 0 60000 65536"/>
                          <a:gd name="T19" fmla="*/ 0 60000 65536"/>
                          <a:gd name="T20" fmla="*/ 0 60000 65536"/>
                          <a:gd name="T21" fmla="*/ 0 60000 65536"/>
                          <a:gd name="T22" fmla="*/ 0 60000 65536"/>
                          <a:gd name="T23" fmla="*/ 0 60000 65536"/>
                          <a:gd name="T24" fmla="*/ 0 w 17"/>
                          <a:gd name="T25" fmla="*/ 0 h 14"/>
                          <a:gd name="T26" fmla="*/ 17 w 17"/>
                          <a:gd name="T27" fmla="*/ 14 h 14"/>
                        </a:gdLst>
                        <a:ahLst/>
                        <a:cxnLst>
                          <a:cxn ang="T16">
                            <a:pos x="T0" y="T1"/>
                          </a:cxn>
                          <a:cxn ang="T17">
                            <a:pos x="T2" y="T3"/>
                          </a:cxn>
                          <a:cxn ang="T18">
                            <a:pos x="T4" y="T5"/>
                          </a:cxn>
                          <a:cxn ang="T19">
                            <a:pos x="T6" y="T7"/>
                          </a:cxn>
                          <a:cxn ang="T20">
                            <a:pos x="T8" y="T9"/>
                          </a:cxn>
                          <a:cxn ang="T21">
                            <a:pos x="T10" y="T11"/>
                          </a:cxn>
                          <a:cxn ang="T22">
                            <a:pos x="T12" y="T13"/>
                          </a:cxn>
                          <a:cxn ang="T23">
                            <a:pos x="T14" y="T15"/>
                          </a:cxn>
                        </a:cxnLst>
                        <a:rect l="T24" t="T25" r="T26" b="T27"/>
                        <a:pathLst>
                          <a:path w="17" h="14">
                            <a:moveTo>
                              <a:pt x="12" y="0"/>
                            </a:moveTo>
                            <a:cubicBezTo>
                              <a:pt x="14" y="0"/>
                              <a:pt x="17" y="2"/>
                              <a:pt x="17" y="4"/>
                            </a:cubicBezTo>
                            <a:cubicBezTo>
                              <a:pt x="16" y="7"/>
                              <a:pt x="13" y="8"/>
                              <a:pt x="10" y="10"/>
                            </a:cubicBezTo>
                            <a:cubicBezTo>
                              <a:pt x="8" y="11"/>
                              <a:pt x="6" y="14"/>
                              <a:pt x="4" y="13"/>
                            </a:cubicBezTo>
                            <a:cubicBezTo>
                              <a:pt x="2" y="13"/>
                              <a:pt x="1" y="11"/>
                              <a:pt x="1" y="9"/>
                            </a:cubicBezTo>
                            <a:cubicBezTo>
                              <a:pt x="0" y="8"/>
                              <a:pt x="1" y="6"/>
                              <a:pt x="2" y="5"/>
                            </a:cubicBezTo>
                            <a:cubicBezTo>
                              <a:pt x="4" y="4"/>
                              <a:pt x="7" y="6"/>
                              <a:pt x="9" y="5"/>
                            </a:cubicBezTo>
                            <a:cubicBezTo>
                              <a:pt x="10" y="4"/>
                              <a:pt x="10" y="0"/>
                              <a:pt x="12" y="0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48" name="Freeform 3553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929791" y="1686868"/>
                        <a:ext cx="403776" cy="253353"/>
                      </a:xfrm>
                      <a:custGeom>
                        <a:avLst/>
                        <a:gdLst>
                          <a:gd name="T0" fmla="*/ 264 w 301"/>
                          <a:gd name="T1" fmla="*/ 259 h 254"/>
                          <a:gd name="T2" fmla="*/ 263 w 301"/>
                          <a:gd name="T3" fmla="*/ 279 h 254"/>
                          <a:gd name="T4" fmla="*/ 275 w 301"/>
                          <a:gd name="T5" fmla="*/ 303 h 254"/>
                          <a:gd name="T6" fmla="*/ 227 w 301"/>
                          <a:gd name="T7" fmla="*/ 282 h 254"/>
                          <a:gd name="T8" fmla="*/ 213 w 301"/>
                          <a:gd name="T9" fmla="*/ 265 h 254"/>
                          <a:gd name="T10" fmla="*/ 195 w 301"/>
                          <a:gd name="T11" fmla="*/ 250 h 254"/>
                          <a:gd name="T12" fmla="*/ 180 w 301"/>
                          <a:gd name="T13" fmla="*/ 243 h 254"/>
                          <a:gd name="T14" fmla="*/ 176 w 301"/>
                          <a:gd name="T15" fmla="*/ 238 h 254"/>
                          <a:gd name="T16" fmla="*/ 138 w 301"/>
                          <a:gd name="T17" fmla="*/ 247 h 254"/>
                          <a:gd name="T18" fmla="*/ 140 w 301"/>
                          <a:gd name="T19" fmla="*/ 219 h 254"/>
                          <a:gd name="T20" fmla="*/ 186 w 301"/>
                          <a:gd name="T21" fmla="*/ 215 h 254"/>
                          <a:gd name="T22" fmla="*/ 217 w 301"/>
                          <a:gd name="T23" fmla="*/ 169 h 254"/>
                          <a:gd name="T24" fmla="*/ 198 w 301"/>
                          <a:gd name="T25" fmla="*/ 134 h 254"/>
                          <a:gd name="T26" fmla="*/ 183 w 301"/>
                          <a:gd name="T27" fmla="*/ 130 h 254"/>
                          <a:gd name="T28" fmla="*/ 178 w 301"/>
                          <a:gd name="T29" fmla="*/ 119 h 254"/>
                          <a:gd name="T30" fmla="*/ 157 w 301"/>
                          <a:gd name="T31" fmla="*/ 95 h 254"/>
                          <a:gd name="T32" fmla="*/ 132 w 301"/>
                          <a:gd name="T33" fmla="*/ 92 h 254"/>
                          <a:gd name="T34" fmla="*/ 116 w 301"/>
                          <a:gd name="T35" fmla="*/ 107 h 254"/>
                          <a:gd name="T36" fmla="*/ 95 w 301"/>
                          <a:gd name="T37" fmla="*/ 106 h 254"/>
                          <a:gd name="T38" fmla="*/ 47 w 301"/>
                          <a:gd name="T39" fmla="*/ 101 h 254"/>
                          <a:gd name="T40" fmla="*/ 34 w 301"/>
                          <a:gd name="T41" fmla="*/ 97 h 254"/>
                          <a:gd name="T42" fmla="*/ 19 w 301"/>
                          <a:gd name="T43" fmla="*/ 73 h 254"/>
                          <a:gd name="T44" fmla="*/ 2 w 301"/>
                          <a:gd name="T45" fmla="*/ 62 h 254"/>
                          <a:gd name="T46" fmla="*/ 61 w 301"/>
                          <a:gd name="T47" fmla="*/ 1 h 254"/>
                          <a:gd name="T48" fmla="*/ 54 w 301"/>
                          <a:gd name="T49" fmla="*/ 30 h 254"/>
                          <a:gd name="T50" fmla="*/ 50 w 301"/>
                          <a:gd name="T51" fmla="*/ 71 h 254"/>
                          <a:gd name="T52" fmla="*/ 70 w 301"/>
                          <a:gd name="T53" fmla="*/ 68 h 254"/>
                          <a:gd name="T54" fmla="*/ 79 w 301"/>
                          <a:gd name="T55" fmla="*/ 48 h 254"/>
                          <a:gd name="T56" fmla="*/ 74 w 301"/>
                          <a:gd name="T57" fmla="*/ 25 h 254"/>
                          <a:gd name="T58" fmla="*/ 79 w 301"/>
                          <a:gd name="T59" fmla="*/ 12 h 254"/>
                          <a:gd name="T60" fmla="*/ 131 w 301"/>
                          <a:gd name="T61" fmla="*/ 8 h 254"/>
                          <a:gd name="T62" fmla="*/ 124 w 301"/>
                          <a:gd name="T63" fmla="*/ 48 h 254"/>
                          <a:gd name="T64" fmla="*/ 150 w 301"/>
                          <a:gd name="T65" fmla="*/ 42 h 254"/>
                          <a:gd name="T66" fmla="*/ 155 w 301"/>
                          <a:gd name="T67" fmla="*/ 41 h 254"/>
                          <a:gd name="T68" fmla="*/ 191 w 301"/>
                          <a:gd name="T69" fmla="*/ 35 h 254"/>
                          <a:gd name="T70" fmla="*/ 201 w 301"/>
                          <a:gd name="T71" fmla="*/ 48 h 254"/>
                          <a:gd name="T72" fmla="*/ 211 w 301"/>
                          <a:gd name="T73" fmla="*/ 59 h 254"/>
                          <a:gd name="T74" fmla="*/ 221 w 301"/>
                          <a:gd name="T75" fmla="*/ 74 h 254"/>
                          <a:gd name="T76" fmla="*/ 252 w 301"/>
                          <a:gd name="T77" fmla="*/ 70 h 254"/>
                          <a:gd name="T78" fmla="*/ 245 w 301"/>
                          <a:gd name="T79" fmla="*/ 83 h 254"/>
                          <a:gd name="T80" fmla="*/ 239 w 301"/>
                          <a:gd name="T81" fmla="*/ 96 h 254"/>
                          <a:gd name="T82" fmla="*/ 264 w 301"/>
                          <a:gd name="T83" fmla="*/ 84 h 254"/>
                          <a:gd name="T84" fmla="*/ 266 w 301"/>
                          <a:gd name="T85" fmla="*/ 96 h 254"/>
                          <a:gd name="T86" fmla="*/ 264 w 301"/>
                          <a:gd name="T87" fmla="*/ 109 h 254"/>
                          <a:gd name="T88" fmla="*/ 271 w 301"/>
                          <a:gd name="T89" fmla="*/ 113 h 254"/>
                          <a:gd name="T90" fmla="*/ 279 w 301"/>
                          <a:gd name="T91" fmla="*/ 120 h 254"/>
                          <a:gd name="T92" fmla="*/ 283 w 301"/>
                          <a:gd name="T93" fmla="*/ 133 h 254"/>
                          <a:gd name="T94" fmla="*/ 293 w 301"/>
                          <a:gd name="T95" fmla="*/ 145 h 254"/>
                          <a:gd name="T96" fmla="*/ 303 w 301"/>
                          <a:gd name="T97" fmla="*/ 162 h 254"/>
                          <a:gd name="T98" fmla="*/ 325 w 301"/>
                          <a:gd name="T99" fmla="*/ 168 h 254"/>
                          <a:gd name="T100" fmla="*/ 331 w 301"/>
                          <a:gd name="T101" fmla="*/ 184 h 254"/>
                          <a:gd name="T102" fmla="*/ 356 w 301"/>
                          <a:gd name="T103" fmla="*/ 181 h 254"/>
                          <a:gd name="T104" fmla="*/ 348 w 301"/>
                          <a:gd name="T105" fmla="*/ 201 h 254"/>
                          <a:gd name="T106" fmla="*/ 329 w 301"/>
                          <a:gd name="T107" fmla="*/ 208 h 254"/>
                          <a:gd name="T108" fmla="*/ 308 w 301"/>
                          <a:gd name="T109" fmla="*/ 216 h 254"/>
                          <a:gd name="T110" fmla="*/ 300 w 301"/>
                          <a:gd name="T111" fmla="*/ 198 h 254"/>
                          <a:gd name="T112" fmla="*/ 273 w 301"/>
                          <a:gd name="T113" fmla="*/ 193 h 254"/>
                          <a:gd name="T114" fmla="*/ 277 w 301"/>
                          <a:gd name="T115" fmla="*/ 213 h 254"/>
                          <a:gd name="T116" fmla="*/ 301 w 301"/>
                          <a:gd name="T117" fmla="*/ 243 h 254"/>
                          <a:gd name="T118" fmla="*/ 296 w 301"/>
                          <a:gd name="T119" fmla="*/ 279 h 254"/>
                          <a:gd name="T120" fmla="*/ 0 60000 65536"/>
                          <a:gd name="T121" fmla="*/ 0 60000 65536"/>
                          <a:gd name="T122" fmla="*/ 0 60000 65536"/>
                          <a:gd name="T123" fmla="*/ 0 60000 65536"/>
                          <a:gd name="T124" fmla="*/ 0 60000 65536"/>
                          <a:gd name="T125" fmla="*/ 0 60000 65536"/>
                          <a:gd name="T126" fmla="*/ 0 60000 65536"/>
                          <a:gd name="T127" fmla="*/ 0 60000 65536"/>
                          <a:gd name="T128" fmla="*/ 0 60000 65536"/>
                          <a:gd name="T129" fmla="*/ 0 60000 65536"/>
                          <a:gd name="T130" fmla="*/ 0 60000 65536"/>
                          <a:gd name="T131" fmla="*/ 0 60000 65536"/>
                          <a:gd name="T132" fmla="*/ 0 60000 65536"/>
                          <a:gd name="T133" fmla="*/ 0 60000 65536"/>
                          <a:gd name="T134" fmla="*/ 0 60000 65536"/>
                          <a:gd name="T135" fmla="*/ 0 60000 65536"/>
                          <a:gd name="T136" fmla="*/ 0 60000 65536"/>
                          <a:gd name="T137" fmla="*/ 0 60000 65536"/>
                          <a:gd name="T138" fmla="*/ 0 60000 65536"/>
                          <a:gd name="T139" fmla="*/ 0 60000 65536"/>
                          <a:gd name="T140" fmla="*/ 0 60000 65536"/>
                          <a:gd name="T141" fmla="*/ 0 60000 65536"/>
                          <a:gd name="T142" fmla="*/ 0 60000 65536"/>
                          <a:gd name="T143" fmla="*/ 0 60000 65536"/>
                          <a:gd name="T144" fmla="*/ 0 60000 65536"/>
                          <a:gd name="T145" fmla="*/ 0 60000 65536"/>
                          <a:gd name="T146" fmla="*/ 0 60000 65536"/>
                          <a:gd name="T147" fmla="*/ 0 60000 65536"/>
                          <a:gd name="T148" fmla="*/ 0 60000 65536"/>
                          <a:gd name="T149" fmla="*/ 0 60000 65536"/>
                          <a:gd name="T150" fmla="*/ 0 60000 65536"/>
                          <a:gd name="T151" fmla="*/ 0 60000 65536"/>
                          <a:gd name="T152" fmla="*/ 0 60000 65536"/>
                          <a:gd name="T153" fmla="*/ 0 60000 65536"/>
                          <a:gd name="T154" fmla="*/ 0 60000 65536"/>
                          <a:gd name="T155" fmla="*/ 0 60000 65536"/>
                          <a:gd name="T156" fmla="*/ 0 60000 65536"/>
                          <a:gd name="T157" fmla="*/ 0 60000 65536"/>
                          <a:gd name="T158" fmla="*/ 0 60000 65536"/>
                          <a:gd name="T159" fmla="*/ 0 60000 65536"/>
                          <a:gd name="T160" fmla="*/ 0 60000 65536"/>
                          <a:gd name="T161" fmla="*/ 0 60000 65536"/>
                          <a:gd name="T162" fmla="*/ 0 60000 65536"/>
                          <a:gd name="T163" fmla="*/ 0 60000 65536"/>
                          <a:gd name="T164" fmla="*/ 0 60000 65536"/>
                          <a:gd name="T165" fmla="*/ 0 60000 65536"/>
                          <a:gd name="T166" fmla="*/ 0 60000 65536"/>
                          <a:gd name="T167" fmla="*/ 0 60000 65536"/>
                          <a:gd name="T168" fmla="*/ 0 60000 65536"/>
                          <a:gd name="T169" fmla="*/ 0 60000 65536"/>
                          <a:gd name="T170" fmla="*/ 0 60000 65536"/>
                          <a:gd name="T171" fmla="*/ 0 60000 65536"/>
                          <a:gd name="T172" fmla="*/ 0 60000 65536"/>
                          <a:gd name="T173" fmla="*/ 0 60000 65536"/>
                          <a:gd name="T174" fmla="*/ 0 60000 65536"/>
                          <a:gd name="T175" fmla="*/ 0 60000 65536"/>
                          <a:gd name="T176" fmla="*/ 0 60000 65536"/>
                          <a:gd name="T177" fmla="*/ 0 60000 65536"/>
                          <a:gd name="T178" fmla="*/ 0 60000 65536"/>
                          <a:gd name="T179" fmla="*/ 0 60000 65536"/>
                          <a:gd name="T180" fmla="*/ 0 w 301"/>
                          <a:gd name="T181" fmla="*/ 0 h 254"/>
                          <a:gd name="T182" fmla="*/ 301 w 301"/>
                          <a:gd name="T183" fmla="*/ 254 h 254"/>
                        </a:gdLst>
                        <a:ahLst/>
                        <a:cxnLst>
                          <a:cxn ang="T120">
                            <a:pos x="T0" y="T1"/>
                          </a:cxn>
                          <a:cxn ang="T121">
                            <a:pos x="T2" y="T3"/>
                          </a:cxn>
                          <a:cxn ang="T122">
                            <a:pos x="T4" y="T5"/>
                          </a:cxn>
                          <a:cxn ang="T123">
                            <a:pos x="T6" y="T7"/>
                          </a:cxn>
                          <a:cxn ang="T124">
                            <a:pos x="T8" y="T9"/>
                          </a:cxn>
                          <a:cxn ang="T125">
                            <a:pos x="T10" y="T11"/>
                          </a:cxn>
                          <a:cxn ang="T126">
                            <a:pos x="T12" y="T13"/>
                          </a:cxn>
                          <a:cxn ang="T127">
                            <a:pos x="T14" y="T15"/>
                          </a:cxn>
                          <a:cxn ang="T128">
                            <a:pos x="T16" y="T17"/>
                          </a:cxn>
                          <a:cxn ang="T129">
                            <a:pos x="T18" y="T19"/>
                          </a:cxn>
                          <a:cxn ang="T130">
                            <a:pos x="T20" y="T21"/>
                          </a:cxn>
                          <a:cxn ang="T131">
                            <a:pos x="T22" y="T23"/>
                          </a:cxn>
                          <a:cxn ang="T132">
                            <a:pos x="T24" y="T25"/>
                          </a:cxn>
                          <a:cxn ang="T133">
                            <a:pos x="T26" y="T27"/>
                          </a:cxn>
                          <a:cxn ang="T134">
                            <a:pos x="T28" y="T29"/>
                          </a:cxn>
                          <a:cxn ang="T135">
                            <a:pos x="T30" y="T31"/>
                          </a:cxn>
                          <a:cxn ang="T136">
                            <a:pos x="T32" y="T33"/>
                          </a:cxn>
                          <a:cxn ang="T137">
                            <a:pos x="T34" y="T35"/>
                          </a:cxn>
                          <a:cxn ang="T138">
                            <a:pos x="T36" y="T37"/>
                          </a:cxn>
                          <a:cxn ang="T139">
                            <a:pos x="T38" y="T39"/>
                          </a:cxn>
                          <a:cxn ang="T140">
                            <a:pos x="T40" y="T41"/>
                          </a:cxn>
                          <a:cxn ang="T141">
                            <a:pos x="T42" y="T43"/>
                          </a:cxn>
                          <a:cxn ang="T142">
                            <a:pos x="T44" y="T45"/>
                          </a:cxn>
                          <a:cxn ang="T143">
                            <a:pos x="T46" y="T47"/>
                          </a:cxn>
                          <a:cxn ang="T144">
                            <a:pos x="T48" y="T49"/>
                          </a:cxn>
                          <a:cxn ang="T145">
                            <a:pos x="T50" y="T51"/>
                          </a:cxn>
                          <a:cxn ang="T146">
                            <a:pos x="T52" y="T53"/>
                          </a:cxn>
                          <a:cxn ang="T147">
                            <a:pos x="T54" y="T55"/>
                          </a:cxn>
                          <a:cxn ang="T148">
                            <a:pos x="T56" y="T57"/>
                          </a:cxn>
                          <a:cxn ang="T149">
                            <a:pos x="T58" y="T59"/>
                          </a:cxn>
                          <a:cxn ang="T150">
                            <a:pos x="T60" y="T61"/>
                          </a:cxn>
                          <a:cxn ang="T151">
                            <a:pos x="T62" y="T63"/>
                          </a:cxn>
                          <a:cxn ang="T152">
                            <a:pos x="T64" y="T65"/>
                          </a:cxn>
                          <a:cxn ang="T153">
                            <a:pos x="T66" y="T67"/>
                          </a:cxn>
                          <a:cxn ang="T154">
                            <a:pos x="T68" y="T69"/>
                          </a:cxn>
                          <a:cxn ang="T155">
                            <a:pos x="T70" y="T71"/>
                          </a:cxn>
                          <a:cxn ang="T156">
                            <a:pos x="T72" y="T73"/>
                          </a:cxn>
                          <a:cxn ang="T157">
                            <a:pos x="T74" y="T75"/>
                          </a:cxn>
                          <a:cxn ang="T158">
                            <a:pos x="T76" y="T77"/>
                          </a:cxn>
                          <a:cxn ang="T159">
                            <a:pos x="T78" y="T79"/>
                          </a:cxn>
                          <a:cxn ang="T160">
                            <a:pos x="T80" y="T81"/>
                          </a:cxn>
                          <a:cxn ang="T161">
                            <a:pos x="T82" y="T83"/>
                          </a:cxn>
                          <a:cxn ang="T162">
                            <a:pos x="T84" y="T85"/>
                          </a:cxn>
                          <a:cxn ang="T163">
                            <a:pos x="T86" y="T87"/>
                          </a:cxn>
                          <a:cxn ang="T164">
                            <a:pos x="T88" y="T89"/>
                          </a:cxn>
                          <a:cxn ang="T165">
                            <a:pos x="T90" y="T91"/>
                          </a:cxn>
                          <a:cxn ang="T166">
                            <a:pos x="T92" y="T93"/>
                          </a:cxn>
                          <a:cxn ang="T167">
                            <a:pos x="T94" y="T95"/>
                          </a:cxn>
                          <a:cxn ang="T168">
                            <a:pos x="T96" y="T97"/>
                          </a:cxn>
                          <a:cxn ang="T169">
                            <a:pos x="T98" y="T99"/>
                          </a:cxn>
                          <a:cxn ang="T170">
                            <a:pos x="T100" y="T101"/>
                          </a:cxn>
                          <a:cxn ang="T171">
                            <a:pos x="T102" y="T103"/>
                          </a:cxn>
                          <a:cxn ang="T172">
                            <a:pos x="T104" y="T105"/>
                          </a:cxn>
                          <a:cxn ang="T173">
                            <a:pos x="T106" y="T107"/>
                          </a:cxn>
                          <a:cxn ang="T174">
                            <a:pos x="T108" y="T109"/>
                          </a:cxn>
                          <a:cxn ang="T175">
                            <a:pos x="T110" y="T111"/>
                          </a:cxn>
                          <a:cxn ang="T176">
                            <a:pos x="T112" y="T113"/>
                          </a:cxn>
                          <a:cxn ang="T177">
                            <a:pos x="T114" y="T115"/>
                          </a:cxn>
                          <a:cxn ang="T178">
                            <a:pos x="T116" y="T117"/>
                          </a:cxn>
                          <a:cxn ang="T179">
                            <a:pos x="T118" y="T119"/>
                          </a:cxn>
                        </a:cxnLst>
                        <a:rect l="T180" t="T181" r="T182" b="T183"/>
                        <a:pathLst>
                          <a:path w="301" h="254">
                            <a:moveTo>
                              <a:pt x="248" y="236"/>
                            </a:moveTo>
                            <a:cubicBezTo>
                              <a:pt x="245" y="237"/>
                              <a:pt x="243" y="234"/>
                              <a:pt x="241" y="233"/>
                            </a:cubicBezTo>
                            <a:cubicBezTo>
                              <a:pt x="239" y="232"/>
                              <a:pt x="238" y="230"/>
                              <a:pt x="236" y="229"/>
                            </a:cubicBezTo>
                            <a:cubicBezTo>
                              <a:pt x="235" y="229"/>
                              <a:pt x="234" y="231"/>
                              <a:pt x="233" y="230"/>
                            </a:cubicBezTo>
                            <a:cubicBezTo>
                              <a:pt x="231" y="230"/>
                              <a:pt x="231" y="227"/>
                              <a:pt x="230" y="227"/>
                            </a:cubicBezTo>
                            <a:cubicBezTo>
                              <a:pt x="228" y="225"/>
                              <a:pt x="225" y="226"/>
                              <a:pt x="224" y="224"/>
                            </a:cubicBezTo>
                            <a:cubicBezTo>
                              <a:pt x="222" y="222"/>
                              <a:pt x="223" y="217"/>
                              <a:pt x="220" y="216"/>
                            </a:cubicBezTo>
                            <a:cubicBezTo>
                              <a:pt x="217" y="215"/>
                              <a:pt x="221" y="222"/>
                              <a:pt x="218" y="222"/>
                            </a:cubicBezTo>
                            <a:cubicBezTo>
                              <a:pt x="215" y="222"/>
                              <a:pt x="215" y="217"/>
                              <a:pt x="213" y="216"/>
                            </a:cubicBezTo>
                            <a:cubicBezTo>
                              <a:pt x="212" y="215"/>
                              <a:pt x="211" y="216"/>
                              <a:pt x="209" y="216"/>
                            </a:cubicBezTo>
                            <a:cubicBezTo>
                              <a:pt x="208" y="216"/>
                              <a:pt x="206" y="214"/>
                              <a:pt x="206" y="216"/>
                            </a:cubicBezTo>
                            <a:cubicBezTo>
                              <a:pt x="207" y="219"/>
                              <a:pt x="210" y="222"/>
                              <a:pt x="213" y="225"/>
                            </a:cubicBezTo>
                            <a:cubicBezTo>
                              <a:pt x="214" y="226"/>
                              <a:pt x="217" y="227"/>
                              <a:pt x="219" y="228"/>
                            </a:cubicBezTo>
                            <a:cubicBezTo>
                              <a:pt x="220" y="229"/>
                              <a:pt x="218" y="231"/>
                              <a:pt x="219" y="232"/>
                            </a:cubicBezTo>
                            <a:cubicBezTo>
                              <a:pt x="221" y="234"/>
                              <a:pt x="225" y="234"/>
                              <a:pt x="227" y="236"/>
                            </a:cubicBezTo>
                            <a:cubicBezTo>
                              <a:pt x="229" y="238"/>
                              <a:pt x="229" y="241"/>
                              <a:pt x="231" y="242"/>
                            </a:cubicBezTo>
                            <a:cubicBezTo>
                              <a:pt x="232" y="243"/>
                              <a:pt x="234" y="242"/>
                              <a:pt x="235" y="243"/>
                            </a:cubicBezTo>
                            <a:cubicBezTo>
                              <a:pt x="236" y="244"/>
                              <a:pt x="237" y="246"/>
                              <a:pt x="236" y="247"/>
                            </a:cubicBezTo>
                            <a:cubicBezTo>
                              <a:pt x="235" y="248"/>
                              <a:pt x="232" y="246"/>
                              <a:pt x="232" y="247"/>
                            </a:cubicBezTo>
                            <a:cubicBezTo>
                              <a:pt x="232" y="249"/>
                              <a:pt x="236" y="251"/>
                              <a:pt x="235" y="252"/>
                            </a:cubicBezTo>
                            <a:cubicBezTo>
                              <a:pt x="234" y="254"/>
                              <a:pt x="231" y="253"/>
                              <a:pt x="229" y="252"/>
                            </a:cubicBezTo>
                            <a:cubicBezTo>
                              <a:pt x="227" y="252"/>
                              <a:pt x="225" y="250"/>
                              <a:pt x="223" y="249"/>
                            </a:cubicBezTo>
                            <a:cubicBezTo>
                              <a:pt x="221" y="248"/>
                              <a:pt x="218" y="246"/>
                              <a:pt x="215" y="245"/>
                            </a:cubicBezTo>
                            <a:cubicBezTo>
                              <a:pt x="213" y="244"/>
                              <a:pt x="210" y="245"/>
                              <a:pt x="207" y="245"/>
                            </a:cubicBezTo>
                            <a:cubicBezTo>
                              <a:pt x="205" y="244"/>
                              <a:pt x="202" y="244"/>
                              <a:pt x="200" y="243"/>
                            </a:cubicBezTo>
                            <a:cubicBezTo>
                              <a:pt x="198" y="242"/>
                              <a:pt x="197" y="239"/>
                              <a:pt x="195" y="237"/>
                            </a:cubicBezTo>
                            <a:cubicBezTo>
                              <a:pt x="194" y="236"/>
                              <a:pt x="194" y="233"/>
                              <a:pt x="193" y="233"/>
                            </a:cubicBezTo>
                            <a:cubicBezTo>
                              <a:pt x="191" y="233"/>
                              <a:pt x="190" y="235"/>
                              <a:pt x="189" y="235"/>
                            </a:cubicBezTo>
                            <a:cubicBezTo>
                              <a:pt x="187" y="235"/>
                              <a:pt x="186" y="234"/>
                              <a:pt x="184" y="233"/>
                            </a:cubicBezTo>
                            <a:cubicBezTo>
                              <a:pt x="183" y="232"/>
                              <a:pt x="181" y="232"/>
                              <a:pt x="180" y="231"/>
                            </a:cubicBezTo>
                            <a:cubicBezTo>
                              <a:pt x="179" y="230"/>
                              <a:pt x="181" y="229"/>
                              <a:pt x="180" y="228"/>
                            </a:cubicBezTo>
                            <a:cubicBezTo>
                              <a:pt x="179" y="228"/>
                              <a:pt x="178" y="229"/>
                              <a:pt x="177" y="229"/>
                            </a:cubicBezTo>
                            <a:cubicBezTo>
                              <a:pt x="175" y="228"/>
                              <a:pt x="174" y="226"/>
                              <a:pt x="173" y="225"/>
                            </a:cubicBezTo>
                            <a:cubicBezTo>
                              <a:pt x="172" y="224"/>
                              <a:pt x="168" y="223"/>
                              <a:pt x="170" y="222"/>
                            </a:cubicBezTo>
                            <a:cubicBezTo>
                              <a:pt x="172" y="220"/>
                              <a:pt x="175" y="222"/>
                              <a:pt x="178" y="221"/>
                            </a:cubicBezTo>
                            <a:cubicBezTo>
                              <a:pt x="179" y="221"/>
                              <a:pt x="179" y="219"/>
                              <a:pt x="178" y="218"/>
                            </a:cubicBezTo>
                            <a:cubicBezTo>
                              <a:pt x="177" y="217"/>
                              <a:pt x="175" y="217"/>
                              <a:pt x="174" y="217"/>
                            </a:cubicBezTo>
                            <a:cubicBezTo>
                              <a:pt x="172" y="216"/>
                              <a:pt x="172" y="214"/>
                              <a:pt x="171" y="214"/>
                            </a:cubicBezTo>
                            <a:cubicBezTo>
                              <a:pt x="170" y="213"/>
                              <a:pt x="170" y="216"/>
                              <a:pt x="169" y="216"/>
                            </a:cubicBezTo>
                            <a:cubicBezTo>
                              <a:pt x="168" y="215"/>
                              <a:pt x="168" y="213"/>
                              <a:pt x="167" y="212"/>
                            </a:cubicBezTo>
                            <a:cubicBezTo>
                              <a:pt x="166" y="211"/>
                              <a:pt x="164" y="213"/>
                              <a:pt x="163" y="212"/>
                            </a:cubicBezTo>
                            <a:cubicBezTo>
                              <a:pt x="162" y="211"/>
                              <a:pt x="163" y="209"/>
                              <a:pt x="163" y="208"/>
                            </a:cubicBezTo>
                            <a:cubicBezTo>
                              <a:pt x="162" y="206"/>
                              <a:pt x="159" y="206"/>
                              <a:pt x="158" y="205"/>
                            </a:cubicBezTo>
                            <a:cubicBezTo>
                              <a:pt x="158" y="203"/>
                              <a:pt x="159" y="200"/>
                              <a:pt x="159" y="198"/>
                            </a:cubicBezTo>
                            <a:cubicBezTo>
                              <a:pt x="159" y="198"/>
                              <a:pt x="157" y="198"/>
                              <a:pt x="157" y="198"/>
                            </a:cubicBezTo>
                            <a:cubicBezTo>
                              <a:pt x="155" y="200"/>
                              <a:pt x="155" y="202"/>
                              <a:pt x="154" y="204"/>
                            </a:cubicBezTo>
                            <a:cubicBezTo>
                              <a:pt x="153" y="205"/>
                              <a:pt x="154" y="203"/>
                              <a:pt x="154" y="202"/>
                            </a:cubicBezTo>
                            <a:cubicBezTo>
                              <a:pt x="154" y="201"/>
                              <a:pt x="156" y="198"/>
                              <a:pt x="155" y="197"/>
                            </a:cubicBezTo>
                            <a:cubicBezTo>
                              <a:pt x="153" y="197"/>
                              <a:pt x="152" y="201"/>
                              <a:pt x="150" y="202"/>
                            </a:cubicBezTo>
                            <a:cubicBezTo>
                              <a:pt x="149" y="202"/>
                              <a:pt x="150" y="200"/>
                              <a:pt x="150" y="199"/>
                            </a:cubicBezTo>
                            <a:cubicBezTo>
                              <a:pt x="150" y="197"/>
                              <a:pt x="151" y="195"/>
                              <a:pt x="150" y="194"/>
                            </a:cubicBezTo>
                            <a:cubicBezTo>
                              <a:pt x="149" y="194"/>
                              <a:pt x="149" y="197"/>
                              <a:pt x="148" y="197"/>
                            </a:cubicBezTo>
                            <a:cubicBezTo>
                              <a:pt x="147" y="196"/>
                              <a:pt x="148" y="194"/>
                              <a:pt x="147" y="193"/>
                            </a:cubicBezTo>
                            <a:cubicBezTo>
                              <a:pt x="145" y="192"/>
                              <a:pt x="144" y="191"/>
                              <a:pt x="142" y="191"/>
                            </a:cubicBezTo>
                            <a:cubicBezTo>
                              <a:pt x="141" y="192"/>
                              <a:pt x="141" y="195"/>
                              <a:pt x="142" y="196"/>
                            </a:cubicBezTo>
                            <a:cubicBezTo>
                              <a:pt x="143" y="197"/>
                              <a:pt x="147" y="196"/>
                              <a:pt x="147" y="198"/>
                            </a:cubicBezTo>
                            <a:cubicBezTo>
                              <a:pt x="147" y="200"/>
                              <a:pt x="145" y="202"/>
                              <a:pt x="143" y="202"/>
                            </a:cubicBezTo>
                            <a:cubicBezTo>
                              <a:pt x="141" y="202"/>
                              <a:pt x="140" y="200"/>
                              <a:pt x="138" y="200"/>
                            </a:cubicBezTo>
                            <a:cubicBezTo>
                              <a:pt x="136" y="199"/>
                              <a:pt x="134" y="197"/>
                              <a:pt x="132" y="198"/>
                            </a:cubicBezTo>
                            <a:cubicBezTo>
                              <a:pt x="131" y="199"/>
                              <a:pt x="133" y="201"/>
                              <a:pt x="132" y="202"/>
                            </a:cubicBezTo>
                            <a:cubicBezTo>
                              <a:pt x="130" y="203"/>
                              <a:pt x="127" y="202"/>
                              <a:pt x="125" y="203"/>
                            </a:cubicBezTo>
                            <a:cubicBezTo>
                              <a:pt x="124" y="203"/>
                              <a:pt x="125" y="205"/>
                              <a:pt x="124" y="206"/>
                            </a:cubicBezTo>
                            <a:cubicBezTo>
                              <a:pt x="122" y="207"/>
                              <a:pt x="118" y="206"/>
                              <a:pt x="115" y="206"/>
                            </a:cubicBezTo>
                            <a:cubicBezTo>
                              <a:pt x="113" y="205"/>
                              <a:pt x="112" y="203"/>
                              <a:pt x="110" y="202"/>
                            </a:cubicBezTo>
                            <a:cubicBezTo>
                              <a:pt x="109" y="202"/>
                              <a:pt x="107" y="203"/>
                              <a:pt x="106" y="202"/>
                            </a:cubicBezTo>
                            <a:cubicBezTo>
                              <a:pt x="105" y="200"/>
                              <a:pt x="104" y="197"/>
                              <a:pt x="104" y="194"/>
                            </a:cubicBezTo>
                            <a:cubicBezTo>
                              <a:pt x="104" y="192"/>
                              <a:pt x="105" y="190"/>
                              <a:pt x="107" y="189"/>
                            </a:cubicBezTo>
                            <a:cubicBezTo>
                              <a:pt x="110" y="187"/>
                              <a:pt x="113" y="189"/>
                              <a:pt x="115" y="188"/>
                            </a:cubicBezTo>
                            <a:cubicBezTo>
                              <a:pt x="116" y="187"/>
                              <a:pt x="115" y="186"/>
                              <a:pt x="116" y="184"/>
                            </a:cubicBezTo>
                            <a:cubicBezTo>
                              <a:pt x="116" y="184"/>
                              <a:pt x="116" y="182"/>
                              <a:pt x="117" y="182"/>
                            </a:cubicBezTo>
                            <a:cubicBezTo>
                              <a:pt x="120" y="182"/>
                              <a:pt x="122" y="182"/>
                              <a:pt x="125" y="182"/>
                            </a:cubicBezTo>
                            <a:cubicBezTo>
                              <a:pt x="127" y="182"/>
                              <a:pt x="128" y="183"/>
                              <a:pt x="129" y="183"/>
                            </a:cubicBezTo>
                            <a:cubicBezTo>
                              <a:pt x="131" y="183"/>
                              <a:pt x="133" y="182"/>
                              <a:pt x="135" y="183"/>
                            </a:cubicBezTo>
                            <a:cubicBezTo>
                              <a:pt x="137" y="183"/>
                              <a:pt x="139" y="184"/>
                              <a:pt x="141" y="184"/>
                            </a:cubicBezTo>
                            <a:cubicBezTo>
                              <a:pt x="142" y="184"/>
                              <a:pt x="144" y="183"/>
                              <a:pt x="145" y="183"/>
                            </a:cubicBezTo>
                            <a:cubicBezTo>
                              <a:pt x="146" y="183"/>
                              <a:pt x="148" y="184"/>
                              <a:pt x="149" y="183"/>
                            </a:cubicBezTo>
                            <a:cubicBezTo>
                              <a:pt x="151" y="182"/>
                              <a:pt x="152" y="180"/>
                              <a:pt x="155" y="179"/>
                            </a:cubicBezTo>
                            <a:cubicBezTo>
                              <a:pt x="156" y="179"/>
                              <a:pt x="159" y="181"/>
                              <a:pt x="160" y="180"/>
                            </a:cubicBezTo>
                            <a:cubicBezTo>
                              <a:pt x="161" y="178"/>
                              <a:pt x="160" y="175"/>
                              <a:pt x="158" y="173"/>
                            </a:cubicBezTo>
                            <a:cubicBezTo>
                              <a:pt x="157" y="172"/>
                              <a:pt x="153" y="171"/>
                              <a:pt x="153" y="169"/>
                            </a:cubicBezTo>
                            <a:cubicBezTo>
                              <a:pt x="153" y="167"/>
                              <a:pt x="156" y="164"/>
                              <a:pt x="158" y="162"/>
                            </a:cubicBezTo>
                            <a:cubicBezTo>
                              <a:pt x="162" y="159"/>
                              <a:pt x="167" y="157"/>
                              <a:pt x="170" y="154"/>
                            </a:cubicBezTo>
                            <a:cubicBezTo>
                              <a:pt x="172" y="152"/>
                              <a:pt x="173" y="149"/>
                              <a:pt x="175" y="147"/>
                            </a:cubicBezTo>
                            <a:cubicBezTo>
                              <a:pt x="176" y="145"/>
                              <a:pt x="181" y="144"/>
                              <a:pt x="181" y="141"/>
                            </a:cubicBezTo>
                            <a:cubicBezTo>
                              <a:pt x="182" y="138"/>
                              <a:pt x="178" y="136"/>
                              <a:pt x="177" y="133"/>
                            </a:cubicBezTo>
                            <a:cubicBezTo>
                              <a:pt x="176" y="131"/>
                              <a:pt x="176" y="129"/>
                              <a:pt x="177" y="127"/>
                            </a:cubicBezTo>
                            <a:cubicBezTo>
                              <a:pt x="177" y="126"/>
                              <a:pt x="178" y="125"/>
                              <a:pt x="178" y="124"/>
                            </a:cubicBezTo>
                            <a:cubicBezTo>
                              <a:pt x="176" y="123"/>
                              <a:pt x="174" y="123"/>
                              <a:pt x="172" y="122"/>
                            </a:cubicBezTo>
                            <a:cubicBezTo>
                              <a:pt x="171" y="122"/>
                              <a:pt x="169" y="121"/>
                              <a:pt x="168" y="120"/>
                            </a:cubicBezTo>
                            <a:cubicBezTo>
                              <a:pt x="167" y="119"/>
                              <a:pt x="168" y="117"/>
                              <a:pt x="168" y="116"/>
                            </a:cubicBezTo>
                            <a:cubicBezTo>
                              <a:pt x="167" y="114"/>
                              <a:pt x="167" y="112"/>
                              <a:pt x="165" y="112"/>
                            </a:cubicBezTo>
                            <a:cubicBezTo>
                              <a:pt x="164" y="112"/>
                              <a:pt x="166" y="115"/>
                              <a:pt x="165" y="117"/>
                            </a:cubicBezTo>
                            <a:cubicBezTo>
                              <a:pt x="164" y="118"/>
                              <a:pt x="162" y="118"/>
                              <a:pt x="161" y="117"/>
                            </a:cubicBezTo>
                            <a:cubicBezTo>
                              <a:pt x="159" y="116"/>
                              <a:pt x="160" y="113"/>
                              <a:pt x="159" y="111"/>
                            </a:cubicBezTo>
                            <a:cubicBezTo>
                              <a:pt x="159" y="111"/>
                              <a:pt x="157" y="112"/>
                              <a:pt x="157" y="112"/>
                            </a:cubicBezTo>
                            <a:cubicBezTo>
                              <a:pt x="156" y="110"/>
                              <a:pt x="156" y="109"/>
                              <a:pt x="157" y="107"/>
                            </a:cubicBezTo>
                            <a:cubicBezTo>
                              <a:pt x="157" y="106"/>
                              <a:pt x="160" y="104"/>
                              <a:pt x="158" y="104"/>
                            </a:cubicBezTo>
                            <a:cubicBezTo>
                              <a:pt x="156" y="105"/>
                              <a:pt x="155" y="107"/>
                              <a:pt x="153" y="108"/>
                            </a:cubicBezTo>
                            <a:cubicBezTo>
                              <a:pt x="153" y="108"/>
                              <a:pt x="152" y="105"/>
                              <a:pt x="152" y="106"/>
                            </a:cubicBezTo>
                            <a:cubicBezTo>
                              <a:pt x="151" y="107"/>
                              <a:pt x="153" y="110"/>
                              <a:pt x="151" y="111"/>
                            </a:cubicBezTo>
                            <a:cubicBezTo>
                              <a:pt x="147" y="114"/>
                              <a:pt x="142" y="116"/>
                              <a:pt x="137" y="116"/>
                            </a:cubicBezTo>
                            <a:cubicBezTo>
                              <a:pt x="135" y="116"/>
                              <a:pt x="136" y="112"/>
                              <a:pt x="137" y="111"/>
                            </a:cubicBezTo>
                            <a:cubicBezTo>
                              <a:pt x="138" y="109"/>
                              <a:pt x="140" y="107"/>
                              <a:pt x="142" y="106"/>
                            </a:cubicBezTo>
                            <a:cubicBezTo>
                              <a:pt x="144" y="104"/>
                              <a:pt x="148" y="105"/>
                              <a:pt x="150" y="103"/>
                            </a:cubicBezTo>
                            <a:cubicBezTo>
                              <a:pt x="152" y="102"/>
                              <a:pt x="149" y="100"/>
                              <a:pt x="148" y="99"/>
                            </a:cubicBezTo>
                            <a:cubicBezTo>
                              <a:pt x="147" y="98"/>
                              <a:pt x="144" y="99"/>
                              <a:pt x="143" y="97"/>
                            </a:cubicBezTo>
                            <a:cubicBezTo>
                              <a:pt x="142" y="96"/>
                              <a:pt x="145" y="92"/>
                              <a:pt x="143" y="92"/>
                            </a:cubicBezTo>
                            <a:cubicBezTo>
                              <a:pt x="141" y="90"/>
                              <a:pt x="137" y="95"/>
                              <a:pt x="135" y="94"/>
                            </a:cubicBezTo>
                            <a:cubicBezTo>
                              <a:pt x="133" y="92"/>
                              <a:pt x="138" y="89"/>
                              <a:pt x="137" y="87"/>
                            </a:cubicBezTo>
                            <a:cubicBezTo>
                              <a:pt x="137" y="85"/>
                              <a:pt x="134" y="88"/>
                              <a:pt x="132" y="89"/>
                            </a:cubicBezTo>
                            <a:cubicBezTo>
                              <a:pt x="131" y="90"/>
                              <a:pt x="130" y="94"/>
                              <a:pt x="130" y="92"/>
                            </a:cubicBezTo>
                            <a:cubicBezTo>
                              <a:pt x="129" y="88"/>
                              <a:pt x="132" y="83"/>
                              <a:pt x="131" y="79"/>
                            </a:cubicBezTo>
                            <a:cubicBezTo>
                              <a:pt x="130" y="77"/>
                              <a:pt x="128" y="82"/>
                              <a:pt x="126" y="82"/>
                            </a:cubicBezTo>
                            <a:cubicBezTo>
                              <a:pt x="124" y="82"/>
                              <a:pt x="124" y="79"/>
                              <a:pt x="122" y="78"/>
                            </a:cubicBezTo>
                            <a:cubicBezTo>
                              <a:pt x="121" y="77"/>
                              <a:pt x="119" y="77"/>
                              <a:pt x="118" y="76"/>
                            </a:cubicBezTo>
                            <a:cubicBezTo>
                              <a:pt x="118" y="74"/>
                              <a:pt x="122" y="69"/>
                              <a:pt x="119" y="70"/>
                            </a:cubicBezTo>
                            <a:cubicBezTo>
                              <a:pt x="117" y="70"/>
                              <a:pt x="117" y="75"/>
                              <a:pt x="115" y="76"/>
                            </a:cubicBezTo>
                            <a:cubicBezTo>
                              <a:pt x="113" y="77"/>
                              <a:pt x="114" y="72"/>
                              <a:pt x="112" y="72"/>
                            </a:cubicBezTo>
                            <a:cubicBezTo>
                              <a:pt x="110" y="72"/>
                              <a:pt x="109" y="76"/>
                              <a:pt x="110" y="77"/>
                            </a:cubicBezTo>
                            <a:cubicBezTo>
                              <a:pt x="112" y="80"/>
                              <a:pt x="117" y="78"/>
                              <a:pt x="119" y="81"/>
                            </a:cubicBezTo>
                            <a:cubicBezTo>
                              <a:pt x="121" y="83"/>
                              <a:pt x="120" y="87"/>
                              <a:pt x="118" y="88"/>
                            </a:cubicBezTo>
                            <a:cubicBezTo>
                              <a:pt x="115" y="90"/>
                              <a:pt x="110" y="90"/>
                              <a:pt x="106" y="89"/>
                            </a:cubicBezTo>
                            <a:cubicBezTo>
                              <a:pt x="105" y="89"/>
                              <a:pt x="105" y="85"/>
                              <a:pt x="103" y="85"/>
                            </a:cubicBezTo>
                            <a:cubicBezTo>
                              <a:pt x="98" y="83"/>
                              <a:pt x="93" y="83"/>
                              <a:pt x="87" y="83"/>
                            </a:cubicBezTo>
                            <a:cubicBezTo>
                              <a:pt x="86" y="83"/>
                              <a:pt x="89" y="85"/>
                              <a:pt x="90" y="85"/>
                            </a:cubicBezTo>
                            <a:cubicBezTo>
                              <a:pt x="92" y="87"/>
                              <a:pt x="95" y="87"/>
                              <a:pt x="97" y="89"/>
                            </a:cubicBezTo>
                            <a:cubicBezTo>
                              <a:pt x="98" y="90"/>
                              <a:pt x="95" y="91"/>
                              <a:pt x="93" y="91"/>
                            </a:cubicBezTo>
                            <a:cubicBezTo>
                              <a:pt x="90" y="90"/>
                              <a:pt x="88" y="87"/>
                              <a:pt x="85" y="86"/>
                            </a:cubicBezTo>
                            <a:cubicBezTo>
                              <a:pt x="83" y="84"/>
                              <a:pt x="81" y="81"/>
                              <a:pt x="79" y="80"/>
                            </a:cubicBezTo>
                            <a:cubicBezTo>
                              <a:pt x="77" y="79"/>
                              <a:pt x="75" y="79"/>
                              <a:pt x="73" y="79"/>
                            </a:cubicBezTo>
                            <a:cubicBezTo>
                              <a:pt x="72" y="79"/>
                              <a:pt x="75" y="80"/>
                              <a:pt x="76" y="81"/>
                            </a:cubicBezTo>
                            <a:cubicBezTo>
                              <a:pt x="78" y="83"/>
                              <a:pt x="82" y="84"/>
                              <a:pt x="83" y="87"/>
                            </a:cubicBezTo>
                            <a:cubicBezTo>
                              <a:pt x="83" y="88"/>
                              <a:pt x="80" y="88"/>
                              <a:pt x="79" y="88"/>
                            </a:cubicBezTo>
                            <a:cubicBezTo>
                              <a:pt x="74" y="88"/>
                              <a:pt x="70" y="86"/>
                              <a:pt x="66" y="86"/>
                            </a:cubicBezTo>
                            <a:cubicBezTo>
                              <a:pt x="62" y="86"/>
                              <a:pt x="58" y="87"/>
                              <a:pt x="55" y="86"/>
                            </a:cubicBezTo>
                            <a:cubicBezTo>
                              <a:pt x="53" y="85"/>
                              <a:pt x="56" y="81"/>
                              <a:pt x="54" y="80"/>
                            </a:cubicBezTo>
                            <a:cubicBezTo>
                              <a:pt x="52" y="80"/>
                              <a:pt x="53" y="84"/>
                              <a:pt x="52" y="85"/>
                            </a:cubicBezTo>
                            <a:cubicBezTo>
                              <a:pt x="49" y="86"/>
                              <a:pt x="46" y="83"/>
                              <a:pt x="43" y="84"/>
                            </a:cubicBezTo>
                            <a:cubicBezTo>
                              <a:pt x="42" y="84"/>
                              <a:pt x="46" y="86"/>
                              <a:pt x="45" y="86"/>
                            </a:cubicBezTo>
                            <a:cubicBezTo>
                              <a:pt x="43" y="87"/>
                              <a:pt x="41" y="85"/>
                              <a:pt x="39" y="84"/>
                            </a:cubicBezTo>
                            <a:cubicBezTo>
                              <a:pt x="38" y="83"/>
                              <a:pt x="36" y="82"/>
                              <a:pt x="35" y="80"/>
                            </a:cubicBezTo>
                            <a:cubicBezTo>
                              <a:pt x="34" y="79"/>
                              <a:pt x="36" y="76"/>
                              <a:pt x="35" y="76"/>
                            </a:cubicBezTo>
                            <a:cubicBezTo>
                              <a:pt x="33" y="76"/>
                              <a:pt x="35" y="79"/>
                              <a:pt x="33" y="80"/>
                            </a:cubicBezTo>
                            <a:cubicBezTo>
                              <a:pt x="33" y="81"/>
                              <a:pt x="31" y="80"/>
                              <a:pt x="31" y="80"/>
                            </a:cubicBezTo>
                            <a:cubicBezTo>
                              <a:pt x="30" y="79"/>
                              <a:pt x="31" y="77"/>
                              <a:pt x="30" y="76"/>
                            </a:cubicBezTo>
                            <a:cubicBezTo>
                              <a:pt x="30" y="76"/>
                              <a:pt x="29" y="76"/>
                              <a:pt x="28" y="76"/>
                            </a:cubicBezTo>
                            <a:cubicBezTo>
                              <a:pt x="28" y="78"/>
                              <a:pt x="30" y="80"/>
                              <a:pt x="28" y="81"/>
                            </a:cubicBezTo>
                            <a:cubicBezTo>
                              <a:pt x="26" y="81"/>
                              <a:pt x="23" y="79"/>
                              <a:pt x="20" y="78"/>
                            </a:cubicBezTo>
                            <a:cubicBezTo>
                              <a:pt x="19" y="78"/>
                              <a:pt x="18" y="80"/>
                              <a:pt x="17" y="80"/>
                            </a:cubicBezTo>
                            <a:cubicBezTo>
                              <a:pt x="16" y="79"/>
                              <a:pt x="17" y="77"/>
                              <a:pt x="16" y="76"/>
                            </a:cubicBezTo>
                            <a:cubicBezTo>
                              <a:pt x="14" y="74"/>
                              <a:pt x="11" y="73"/>
                              <a:pt x="10" y="71"/>
                            </a:cubicBezTo>
                            <a:cubicBezTo>
                              <a:pt x="8" y="69"/>
                              <a:pt x="8" y="66"/>
                              <a:pt x="7" y="63"/>
                            </a:cubicBezTo>
                            <a:cubicBezTo>
                              <a:pt x="7" y="63"/>
                              <a:pt x="6" y="61"/>
                              <a:pt x="7" y="61"/>
                            </a:cubicBezTo>
                            <a:cubicBezTo>
                              <a:pt x="10" y="61"/>
                              <a:pt x="13" y="61"/>
                              <a:pt x="16" y="61"/>
                            </a:cubicBezTo>
                            <a:cubicBezTo>
                              <a:pt x="19" y="62"/>
                              <a:pt x="20" y="64"/>
                              <a:pt x="23" y="65"/>
                            </a:cubicBezTo>
                            <a:cubicBezTo>
                              <a:pt x="25" y="65"/>
                              <a:pt x="30" y="67"/>
                              <a:pt x="31" y="64"/>
                            </a:cubicBezTo>
                            <a:cubicBezTo>
                              <a:pt x="31" y="61"/>
                              <a:pt x="26" y="61"/>
                              <a:pt x="24" y="59"/>
                            </a:cubicBezTo>
                            <a:cubicBezTo>
                              <a:pt x="23" y="59"/>
                              <a:pt x="24" y="57"/>
                              <a:pt x="23" y="57"/>
                            </a:cubicBezTo>
                            <a:cubicBezTo>
                              <a:pt x="21" y="57"/>
                              <a:pt x="18" y="58"/>
                              <a:pt x="16" y="58"/>
                            </a:cubicBezTo>
                            <a:cubicBezTo>
                              <a:pt x="11" y="58"/>
                              <a:pt x="6" y="58"/>
                              <a:pt x="1" y="56"/>
                            </a:cubicBezTo>
                            <a:cubicBezTo>
                              <a:pt x="0" y="56"/>
                              <a:pt x="1" y="54"/>
                              <a:pt x="2" y="52"/>
                            </a:cubicBezTo>
                            <a:cubicBezTo>
                              <a:pt x="3" y="49"/>
                              <a:pt x="4" y="46"/>
                              <a:pt x="5" y="43"/>
                            </a:cubicBezTo>
                            <a:cubicBezTo>
                              <a:pt x="6" y="41"/>
                              <a:pt x="8" y="40"/>
                              <a:pt x="9" y="37"/>
                            </a:cubicBezTo>
                            <a:cubicBezTo>
                              <a:pt x="10" y="35"/>
                              <a:pt x="8" y="32"/>
                              <a:pt x="9" y="30"/>
                            </a:cubicBezTo>
                            <a:cubicBezTo>
                              <a:pt x="10" y="27"/>
                              <a:pt x="14" y="26"/>
                              <a:pt x="16" y="23"/>
                            </a:cubicBezTo>
                            <a:cubicBezTo>
                              <a:pt x="19" y="20"/>
                              <a:pt x="20" y="16"/>
                              <a:pt x="23" y="13"/>
                            </a:cubicBezTo>
                            <a:cubicBezTo>
                              <a:pt x="27" y="9"/>
                              <a:pt x="32" y="6"/>
                              <a:pt x="37" y="4"/>
                            </a:cubicBezTo>
                            <a:cubicBezTo>
                              <a:pt x="41" y="2"/>
                              <a:pt x="46" y="1"/>
                              <a:pt x="51" y="1"/>
                            </a:cubicBezTo>
                            <a:cubicBezTo>
                              <a:pt x="55" y="0"/>
                              <a:pt x="59" y="1"/>
                              <a:pt x="63" y="1"/>
                            </a:cubicBezTo>
                            <a:cubicBezTo>
                              <a:pt x="65" y="1"/>
                              <a:pt x="67" y="0"/>
                              <a:pt x="68" y="1"/>
                            </a:cubicBezTo>
                            <a:cubicBezTo>
                              <a:pt x="69" y="2"/>
                              <a:pt x="68" y="4"/>
                              <a:pt x="67" y="5"/>
                            </a:cubicBezTo>
                            <a:cubicBezTo>
                              <a:pt x="65" y="6"/>
                              <a:pt x="61" y="7"/>
                              <a:pt x="59" y="8"/>
                            </a:cubicBezTo>
                            <a:cubicBezTo>
                              <a:pt x="57" y="9"/>
                              <a:pt x="54" y="10"/>
                              <a:pt x="53" y="12"/>
                            </a:cubicBezTo>
                            <a:cubicBezTo>
                              <a:pt x="51" y="14"/>
                              <a:pt x="52" y="17"/>
                              <a:pt x="51" y="19"/>
                            </a:cubicBezTo>
                            <a:cubicBezTo>
                              <a:pt x="49" y="22"/>
                              <a:pt x="46" y="23"/>
                              <a:pt x="45" y="25"/>
                            </a:cubicBezTo>
                            <a:cubicBezTo>
                              <a:pt x="45" y="28"/>
                              <a:pt x="48" y="30"/>
                              <a:pt x="48" y="32"/>
                            </a:cubicBezTo>
                            <a:cubicBezTo>
                              <a:pt x="48" y="35"/>
                              <a:pt x="45" y="37"/>
                              <a:pt x="45" y="39"/>
                            </a:cubicBezTo>
                            <a:cubicBezTo>
                              <a:pt x="44" y="41"/>
                              <a:pt x="44" y="44"/>
                              <a:pt x="45" y="45"/>
                            </a:cubicBezTo>
                            <a:cubicBezTo>
                              <a:pt x="47" y="48"/>
                              <a:pt x="51" y="50"/>
                              <a:pt x="53" y="52"/>
                            </a:cubicBezTo>
                            <a:cubicBezTo>
                              <a:pt x="54" y="53"/>
                              <a:pt x="57" y="53"/>
                              <a:pt x="56" y="54"/>
                            </a:cubicBezTo>
                            <a:cubicBezTo>
                              <a:pt x="55" y="56"/>
                              <a:pt x="51" y="56"/>
                              <a:pt x="49" y="57"/>
                            </a:cubicBezTo>
                            <a:cubicBezTo>
                              <a:pt x="46" y="58"/>
                              <a:pt x="44" y="58"/>
                              <a:pt x="42" y="59"/>
                            </a:cubicBezTo>
                            <a:cubicBezTo>
                              <a:pt x="40" y="60"/>
                              <a:pt x="38" y="62"/>
                              <a:pt x="38" y="64"/>
                            </a:cubicBezTo>
                            <a:cubicBezTo>
                              <a:pt x="38" y="65"/>
                              <a:pt x="41" y="63"/>
                              <a:pt x="42" y="62"/>
                            </a:cubicBezTo>
                            <a:cubicBezTo>
                              <a:pt x="45" y="62"/>
                              <a:pt x="47" y="60"/>
                              <a:pt x="50" y="59"/>
                            </a:cubicBezTo>
                            <a:cubicBezTo>
                              <a:pt x="51" y="59"/>
                              <a:pt x="53" y="58"/>
                              <a:pt x="54" y="59"/>
                            </a:cubicBezTo>
                            <a:cubicBezTo>
                              <a:pt x="55" y="61"/>
                              <a:pt x="53" y="63"/>
                              <a:pt x="53" y="65"/>
                            </a:cubicBezTo>
                            <a:cubicBezTo>
                              <a:pt x="53" y="66"/>
                              <a:pt x="55" y="67"/>
                              <a:pt x="55" y="66"/>
                            </a:cubicBezTo>
                            <a:cubicBezTo>
                              <a:pt x="57" y="63"/>
                              <a:pt x="57" y="60"/>
                              <a:pt x="58" y="57"/>
                            </a:cubicBezTo>
                            <a:cubicBezTo>
                              <a:pt x="58" y="56"/>
                              <a:pt x="59" y="55"/>
                              <a:pt x="60" y="54"/>
                            </a:cubicBezTo>
                            <a:cubicBezTo>
                              <a:pt x="61" y="52"/>
                              <a:pt x="62" y="50"/>
                              <a:pt x="61" y="49"/>
                            </a:cubicBezTo>
                            <a:cubicBezTo>
                              <a:pt x="59" y="46"/>
                              <a:pt x="56" y="46"/>
                              <a:pt x="53" y="45"/>
                            </a:cubicBezTo>
                            <a:cubicBezTo>
                              <a:pt x="52" y="44"/>
                              <a:pt x="49" y="42"/>
                              <a:pt x="50" y="41"/>
                            </a:cubicBezTo>
                            <a:cubicBezTo>
                              <a:pt x="51" y="38"/>
                              <a:pt x="54" y="35"/>
                              <a:pt x="57" y="34"/>
                            </a:cubicBezTo>
                            <a:cubicBezTo>
                              <a:pt x="58" y="33"/>
                              <a:pt x="60" y="36"/>
                              <a:pt x="61" y="37"/>
                            </a:cubicBezTo>
                            <a:cubicBezTo>
                              <a:pt x="63" y="38"/>
                              <a:pt x="64" y="40"/>
                              <a:pt x="66" y="40"/>
                            </a:cubicBezTo>
                            <a:cubicBezTo>
                              <a:pt x="67" y="41"/>
                              <a:pt x="67" y="38"/>
                              <a:pt x="66" y="38"/>
                            </a:cubicBezTo>
                            <a:cubicBezTo>
                              <a:pt x="65" y="36"/>
                              <a:pt x="62" y="37"/>
                              <a:pt x="61" y="35"/>
                            </a:cubicBezTo>
                            <a:cubicBezTo>
                              <a:pt x="60" y="34"/>
                              <a:pt x="63" y="32"/>
                              <a:pt x="62" y="31"/>
                            </a:cubicBezTo>
                            <a:cubicBezTo>
                              <a:pt x="62" y="30"/>
                              <a:pt x="59" y="32"/>
                              <a:pt x="58" y="31"/>
                            </a:cubicBezTo>
                            <a:cubicBezTo>
                              <a:pt x="57" y="31"/>
                              <a:pt x="57" y="29"/>
                              <a:pt x="57" y="28"/>
                            </a:cubicBezTo>
                            <a:cubicBezTo>
                              <a:pt x="57" y="24"/>
                              <a:pt x="55" y="20"/>
                              <a:pt x="57" y="18"/>
                            </a:cubicBezTo>
                            <a:cubicBezTo>
                              <a:pt x="58" y="16"/>
                              <a:pt x="60" y="20"/>
                              <a:pt x="62" y="21"/>
                            </a:cubicBezTo>
                            <a:cubicBezTo>
                              <a:pt x="65" y="22"/>
                              <a:pt x="68" y="25"/>
                              <a:pt x="71" y="25"/>
                            </a:cubicBezTo>
                            <a:cubicBezTo>
                              <a:pt x="72" y="25"/>
                              <a:pt x="72" y="23"/>
                              <a:pt x="71" y="22"/>
                            </a:cubicBezTo>
                            <a:cubicBezTo>
                              <a:pt x="68" y="20"/>
                              <a:pt x="64" y="20"/>
                              <a:pt x="61" y="17"/>
                            </a:cubicBezTo>
                            <a:cubicBezTo>
                              <a:pt x="60" y="16"/>
                              <a:pt x="64" y="16"/>
                              <a:pt x="65" y="16"/>
                            </a:cubicBezTo>
                            <a:cubicBezTo>
                              <a:pt x="68" y="16"/>
                              <a:pt x="71" y="19"/>
                              <a:pt x="73" y="17"/>
                            </a:cubicBezTo>
                            <a:cubicBezTo>
                              <a:pt x="75" y="15"/>
                              <a:pt x="69" y="16"/>
                              <a:pt x="67" y="14"/>
                            </a:cubicBezTo>
                            <a:cubicBezTo>
                              <a:pt x="66" y="13"/>
                              <a:pt x="65" y="11"/>
                              <a:pt x="66" y="10"/>
                            </a:cubicBezTo>
                            <a:cubicBezTo>
                              <a:pt x="68" y="9"/>
                              <a:pt x="69" y="12"/>
                              <a:pt x="71" y="12"/>
                            </a:cubicBezTo>
                            <a:cubicBezTo>
                              <a:pt x="72" y="11"/>
                              <a:pt x="73" y="8"/>
                              <a:pt x="74" y="8"/>
                            </a:cubicBezTo>
                            <a:cubicBezTo>
                              <a:pt x="76" y="7"/>
                              <a:pt x="78" y="9"/>
                              <a:pt x="80" y="9"/>
                            </a:cubicBezTo>
                            <a:cubicBezTo>
                              <a:pt x="81" y="8"/>
                              <a:pt x="79" y="6"/>
                              <a:pt x="80" y="6"/>
                            </a:cubicBezTo>
                            <a:cubicBezTo>
                              <a:pt x="85" y="4"/>
                              <a:pt x="89" y="2"/>
                              <a:pt x="94" y="2"/>
                            </a:cubicBezTo>
                            <a:cubicBezTo>
                              <a:pt x="99" y="1"/>
                              <a:pt x="104" y="1"/>
                              <a:pt x="108" y="3"/>
                            </a:cubicBezTo>
                            <a:cubicBezTo>
                              <a:pt x="109" y="3"/>
                              <a:pt x="109" y="6"/>
                              <a:pt x="109" y="7"/>
                            </a:cubicBezTo>
                            <a:cubicBezTo>
                              <a:pt x="109" y="9"/>
                              <a:pt x="107" y="11"/>
                              <a:pt x="108" y="13"/>
                            </a:cubicBezTo>
                            <a:cubicBezTo>
                              <a:pt x="109" y="15"/>
                              <a:pt x="112" y="14"/>
                              <a:pt x="113" y="16"/>
                            </a:cubicBezTo>
                            <a:cubicBezTo>
                              <a:pt x="114" y="17"/>
                              <a:pt x="112" y="19"/>
                              <a:pt x="112" y="21"/>
                            </a:cubicBezTo>
                            <a:cubicBezTo>
                              <a:pt x="112" y="23"/>
                              <a:pt x="114" y="24"/>
                              <a:pt x="113" y="25"/>
                            </a:cubicBezTo>
                            <a:cubicBezTo>
                              <a:pt x="110" y="29"/>
                              <a:pt x="104" y="30"/>
                              <a:pt x="101" y="34"/>
                            </a:cubicBezTo>
                            <a:cubicBezTo>
                              <a:pt x="100" y="35"/>
                              <a:pt x="106" y="32"/>
                              <a:pt x="107" y="34"/>
                            </a:cubicBezTo>
                            <a:cubicBezTo>
                              <a:pt x="108" y="36"/>
                              <a:pt x="104" y="38"/>
                              <a:pt x="103" y="40"/>
                            </a:cubicBezTo>
                            <a:cubicBezTo>
                              <a:pt x="103" y="41"/>
                              <a:pt x="103" y="44"/>
                              <a:pt x="105" y="44"/>
                            </a:cubicBezTo>
                            <a:cubicBezTo>
                              <a:pt x="107" y="43"/>
                              <a:pt x="108" y="40"/>
                              <a:pt x="110" y="38"/>
                            </a:cubicBezTo>
                            <a:cubicBezTo>
                              <a:pt x="111" y="37"/>
                              <a:pt x="111" y="36"/>
                              <a:pt x="113" y="35"/>
                            </a:cubicBezTo>
                            <a:cubicBezTo>
                              <a:pt x="114" y="35"/>
                              <a:pt x="115" y="37"/>
                              <a:pt x="116" y="36"/>
                            </a:cubicBezTo>
                            <a:cubicBezTo>
                              <a:pt x="117" y="35"/>
                              <a:pt x="115" y="32"/>
                              <a:pt x="116" y="32"/>
                            </a:cubicBezTo>
                            <a:cubicBezTo>
                              <a:pt x="118" y="32"/>
                              <a:pt x="118" y="35"/>
                              <a:pt x="120" y="36"/>
                            </a:cubicBezTo>
                            <a:cubicBezTo>
                              <a:pt x="122" y="37"/>
                              <a:pt x="125" y="33"/>
                              <a:pt x="125" y="35"/>
                            </a:cubicBezTo>
                            <a:cubicBezTo>
                              <a:pt x="126" y="37"/>
                              <a:pt x="122" y="40"/>
                              <a:pt x="123" y="43"/>
                            </a:cubicBezTo>
                            <a:cubicBezTo>
                              <a:pt x="124" y="45"/>
                              <a:pt x="127" y="44"/>
                              <a:pt x="128" y="43"/>
                            </a:cubicBezTo>
                            <a:cubicBezTo>
                              <a:pt x="129" y="42"/>
                              <a:pt x="125" y="39"/>
                              <a:pt x="127" y="38"/>
                            </a:cubicBezTo>
                            <a:cubicBezTo>
                              <a:pt x="128" y="37"/>
                              <a:pt x="130" y="40"/>
                              <a:pt x="132" y="41"/>
                            </a:cubicBezTo>
                            <a:cubicBezTo>
                              <a:pt x="133" y="42"/>
                              <a:pt x="134" y="45"/>
                              <a:pt x="134" y="44"/>
                            </a:cubicBezTo>
                            <a:cubicBezTo>
                              <a:pt x="134" y="42"/>
                              <a:pt x="133" y="40"/>
                              <a:pt x="132" y="38"/>
                            </a:cubicBezTo>
                            <a:cubicBezTo>
                              <a:pt x="131" y="36"/>
                              <a:pt x="128" y="35"/>
                              <a:pt x="129" y="34"/>
                            </a:cubicBezTo>
                            <a:cubicBezTo>
                              <a:pt x="131" y="33"/>
                              <a:pt x="133" y="36"/>
                              <a:pt x="135" y="36"/>
                            </a:cubicBezTo>
                            <a:cubicBezTo>
                              <a:pt x="137" y="37"/>
                              <a:pt x="140" y="38"/>
                              <a:pt x="143" y="37"/>
                            </a:cubicBezTo>
                            <a:cubicBezTo>
                              <a:pt x="144" y="37"/>
                              <a:pt x="141" y="36"/>
                              <a:pt x="140" y="35"/>
                            </a:cubicBezTo>
                            <a:cubicBezTo>
                              <a:pt x="137" y="34"/>
                              <a:pt x="133" y="35"/>
                              <a:pt x="132" y="32"/>
                            </a:cubicBezTo>
                            <a:cubicBezTo>
                              <a:pt x="132" y="30"/>
                              <a:pt x="136" y="28"/>
                              <a:pt x="138" y="27"/>
                            </a:cubicBezTo>
                            <a:cubicBezTo>
                              <a:pt x="140" y="26"/>
                              <a:pt x="143" y="24"/>
                              <a:pt x="145" y="25"/>
                            </a:cubicBezTo>
                            <a:cubicBezTo>
                              <a:pt x="150" y="25"/>
                              <a:pt x="155" y="27"/>
                              <a:pt x="159" y="29"/>
                            </a:cubicBezTo>
                            <a:cubicBezTo>
                              <a:pt x="160" y="29"/>
                              <a:pt x="161" y="32"/>
                              <a:pt x="162" y="31"/>
                            </a:cubicBezTo>
                            <a:cubicBezTo>
                              <a:pt x="163" y="31"/>
                              <a:pt x="162" y="27"/>
                              <a:pt x="163" y="28"/>
                            </a:cubicBezTo>
                            <a:cubicBezTo>
                              <a:pt x="167" y="29"/>
                              <a:pt x="170" y="31"/>
                              <a:pt x="171" y="35"/>
                            </a:cubicBezTo>
                            <a:cubicBezTo>
                              <a:pt x="172" y="37"/>
                              <a:pt x="168" y="38"/>
                              <a:pt x="166" y="39"/>
                            </a:cubicBezTo>
                            <a:cubicBezTo>
                              <a:pt x="164" y="41"/>
                              <a:pt x="162" y="42"/>
                              <a:pt x="161" y="44"/>
                            </a:cubicBezTo>
                            <a:cubicBezTo>
                              <a:pt x="161" y="45"/>
                              <a:pt x="162" y="46"/>
                              <a:pt x="162" y="46"/>
                            </a:cubicBezTo>
                            <a:cubicBezTo>
                              <a:pt x="164" y="44"/>
                              <a:pt x="165" y="41"/>
                              <a:pt x="168" y="40"/>
                            </a:cubicBezTo>
                            <a:cubicBezTo>
                              <a:pt x="171" y="39"/>
                              <a:pt x="175" y="37"/>
                              <a:pt x="177" y="40"/>
                            </a:cubicBezTo>
                            <a:cubicBezTo>
                              <a:pt x="179" y="42"/>
                              <a:pt x="175" y="44"/>
                              <a:pt x="173" y="46"/>
                            </a:cubicBezTo>
                            <a:cubicBezTo>
                              <a:pt x="171" y="47"/>
                              <a:pt x="168" y="47"/>
                              <a:pt x="168" y="48"/>
                            </a:cubicBezTo>
                            <a:cubicBezTo>
                              <a:pt x="167" y="50"/>
                              <a:pt x="172" y="48"/>
                              <a:pt x="172" y="49"/>
                            </a:cubicBezTo>
                            <a:cubicBezTo>
                              <a:pt x="172" y="51"/>
                              <a:pt x="169" y="53"/>
                              <a:pt x="169" y="55"/>
                            </a:cubicBezTo>
                            <a:cubicBezTo>
                              <a:pt x="169" y="56"/>
                              <a:pt x="171" y="56"/>
                              <a:pt x="172" y="56"/>
                            </a:cubicBezTo>
                            <a:cubicBezTo>
                              <a:pt x="174" y="54"/>
                              <a:pt x="174" y="51"/>
                              <a:pt x="176" y="49"/>
                            </a:cubicBezTo>
                            <a:cubicBezTo>
                              <a:pt x="178" y="47"/>
                              <a:pt x="181" y="43"/>
                              <a:pt x="181" y="45"/>
                            </a:cubicBezTo>
                            <a:cubicBezTo>
                              <a:pt x="182" y="48"/>
                              <a:pt x="178" y="50"/>
                              <a:pt x="177" y="53"/>
                            </a:cubicBezTo>
                            <a:cubicBezTo>
                              <a:pt x="176" y="54"/>
                              <a:pt x="175" y="58"/>
                              <a:pt x="176" y="58"/>
                            </a:cubicBezTo>
                            <a:cubicBezTo>
                              <a:pt x="179" y="56"/>
                              <a:pt x="179" y="48"/>
                              <a:pt x="182" y="50"/>
                            </a:cubicBezTo>
                            <a:cubicBezTo>
                              <a:pt x="185" y="51"/>
                              <a:pt x="179" y="56"/>
                              <a:pt x="180" y="59"/>
                            </a:cubicBezTo>
                            <a:cubicBezTo>
                              <a:pt x="182" y="61"/>
                              <a:pt x="183" y="53"/>
                              <a:pt x="185" y="54"/>
                            </a:cubicBezTo>
                            <a:cubicBezTo>
                              <a:pt x="187" y="56"/>
                              <a:pt x="181" y="63"/>
                              <a:pt x="184" y="62"/>
                            </a:cubicBezTo>
                            <a:cubicBezTo>
                              <a:pt x="188" y="62"/>
                              <a:pt x="189" y="57"/>
                              <a:pt x="190" y="54"/>
                            </a:cubicBezTo>
                            <a:cubicBezTo>
                              <a:pt x="192" y="52"/>
                              <a:pt x="192" y="48"/>
                              <a:pt x="194" y="47"/>
                            </a:cubicBezTo>
                            <a:cubicBezTo>
                              <a:pt x="196" y="46"/>
                              <a:pt x="200" y="47"/>
                              <a:pt x="202" y="49"/>
                            </a:cubicBezTo>
                            <a:cubicBezTo>
                              <a:pt x="203" y="50"/>
                              <a:pt x="199" y="54"/>
                              <a:pt x="201" y="54"/>
                            </a:cubicBezTo>
                            <a:cubicBezTo>
                              <a:pt x="202" y="55"/>
                              <a:pt x="202" y="50"/>
                              <a:pt x="204" y="50"/>
                            </a:cubicBezTo>
                            <a:cubicBezTo>
                              <a:pt x="207" y="50"/>
                              <a:pt x="209" y="53"/>
                              <a:pt x="210" y="55"/>
                            </a:cubicBezTo>
                            <a:cubicBezTo>
                              <a:pt x="211" y="55"/>
                              <a:pt x="211" y="57"/>
                              <a:pt x="210" y="58"/>
                            </a:cubicBezTo>
                            <a:cubicBezTo>
                              <a:pt x="209" y="59"/>
                              <a:pt x="207" y="60"/>
                              <a:pt x="205" y="61"/>
                            </a:cubicBezTo>
                            <a:cubicBezTo>
                              <a:pt x="203" y="62"/>
                              <a:pt x="200" y="60"/>
                              <a:pt x="198" y="61"/>
                            </a:cubicBezTo>
                            <a:cubicBezTo>
                              <a:pt x="196" y="62"/>
                              <a:pt x="196" y="65"/>
                              <a:pt x="195" y="67"/>
                            </a:cubicBezTo>
                            <a:cubicBezTo>
                              <a:pt x="194" y="69"/>
                              <a:pt x="191" y="72"/>
                              <a:pt x="193" y="73"/>
                            </a:cubicBezTo>
                            <a:cubicBezTo>
                              <a:pt x="195" y="74"/>
                              <a:pt x="197" y="70"/>
                              <a:pt x="199" y="69"/>
                            </a:cubicBezTo>
                            <a:cubicBezTo>
                              <a:pt x="201" y="67"/>
                              <a:pt x="204" y="66"/>
                              <a:pt x="206" y="67"/>
                            </a:cubicBezTo>
                            <a:cubicBezTo>
                              <a:pt x="208" y="67"/>
                              <a:pt x="203" y="70"/>
                              <a:pt x="204" y="69"/>
                            </a:cubicBezTo>
                            <a:cubicBezTo>
                              <a:pt x="206" y="68"/>
                              <a:pt x="208" y="67"/>
                              <a:pt x="210" y="65"/>
                            </a:cubicBezTo>
                            <a:cubicBezTo>
                              <a:pt x="211" y="64"/>
                              <a:pt x="212" y="61"/>
                              <a:pt x="213" y="61"/>
                            </a:cubicBezTo>
                            <a:cubicBezTo>
                              <a:pt x="215" y="62"/>
                              <a:pt x="215" y="65"/>
                              <a:pt x="214" y="67"/>
                            </a:cubicBezTo>
                            <a:cubicBezTo>
                              <a:pt x="213" y="69"/>
                              <a:pt x="210" y="71"/>
                              <a:pt x="207" y="72"/>
                            </a:cubicBezTo>
                            <a:cubicBezTo>
                              <a:pt x="205" y="73"/>
                              <a:pt x="202" y="73"/>
                              <a:pt x="200" y="74"/>
                            </a:cubicBezTo>
                            <a:cubicBezTo>
                              <a:pt x="198" y="75"/>
                              <a:pt x="197" y="77"/>
                              <a:pt x="196" y="79"/>
                            </a:cubicBezTo>
                            <a:cubicBezTo>
                              <a:pt x="196" y="80"/>
                              <a:pt x="198" y="80"/>
                              <a:pt x="199" y="80"/>
                            </a:cubicBezTo>
                            <a:cubicBezTo>
                              <a:pt x="200" y="79"/>
                              <a:pt x="200" y="76"/>
                              <a:pt x="202" y="75"/>
                            </a:cubicBezTo>
                            <a:cubicBezTo>
                              <a:pt x="203" y="74"/>
                              <a:pt x="205" y="75"/>
                              <a:pt x="205" y="76"/>
                            </a:cubicBezTo>
                            <a:cubicBezTo>
                              <a:pt x="206" y="78"/>
                              <a:pt x="203" y="80"/>
                              <a:pt x="203" y="82"/>
                            </a:cubicBezTo>
                            <a:cubicBezTo>
                              <a:pt x="203" y="83"/>
                              <a:pt x="205" y="82"/>
                              <a:pt x="206" y="81"/>
                            </a:cubicBezTo>
                            <a:cubicBezTo>
                              <a:pt x="207" y="79"/>
                              <a:pt x="207" y="75"/>
                              <a:pt x="209" y="73"/>
                            </a:cubicBezTo>
                            <a:cubicBezTo>
                              <a:pt x="212" y="70"/>
                              <a:pt x="216" y="68"/>
                              <a:pt x="220" y="67"/>
                            </a:cubicBezTo>
                            <a:cubicBezTo>
                              <a:pt x="221" y="66"/>
                              <a:pt x="221" y="69"/>
                              <a:pt x="220" y="70"/>
                            </a:cubicBezTo>
                            <a:cubicBezTo>
                              <a:pt x="218" y="72"/>
                              <a:pt x="214" y="73"/>
                              <a:pt x="212" y="75"/>
                            </a:cubicBezTo>
                            <a:cubicBezTo>
                              <a:pt x="211" y="76"/>
                              <a:pt x="212" y="78"/>
                              <a:pt x="213" y="77"/>
                            </a:cubicBezTo>
                            <a:cubicBezTo>
                              <a:pt x="218" y="75"/>
                              <a:pt x="222" y="71"/>
                              <a:pt x="227" y="69"/>
                            </a:cubicBezTo>
                            <a:cubicBezTo>
                              <a:pt x="228" y="69"/>
                              <a:pt x="228" y="71"/>
                              <a:pt x="229" y="72"/>
                            </a:cubicBezTo>
                            <a:cubicBezTo>
                              <a:pt x="231" y="73"/>
                              <a:pt x="235" y="73"/>
                              <a:pt x="235" y="75"/>
                            </a:cubicBezTo>
                            <a:cubicBezTo>
                              <a:pt x="236" y="77"/>
                              <a:pt x="232" y="78"/>
                              <a:pt x="230" y="79"/>
                            </a:cubicBezTo>
                            <a:cubicBezTo>
                              <a:pt x="228" y="80"/>
                              <a:pt x="225" y="79"/>
                              <a:pt x="222" y="80"/>
                            </a:cubicBezTo>
                            <a:cubicBezTo>
                              <a:pt x="220" y="81"/>
                              <a:pt x="218" y="83"/>
                              <a:pt x="216" y="85"/>
                            </a:cubicBezTo>
                            <a:cubicBezTo>
                              <a:pt x="215" y="85"/>
                              <a:pt x="215" y="87"/>
                              <a:pt x="216" y="87"/>
                            </a:cubicBezTo>
                            <a:cubicBezTo>
                              <a:pt x="220" y="86"/>
                              <a:pt x="222" y="84"/>
                              <a:pt x="226" y="83"/>
                            </a:cubicBezTo>
                            <a:cubicBezTo>
                              <a:pt x="227" y="82"/>
                              <a:pt x="231" y="80"/>
                              <a:pt x="231" y="81"/>
                            </a:cubicBezTo>
                            <a:cubicBezTo>
                              <a:pt x="230" y="84"/>
                              <a:pt x="227" y="85"/>
                              <a:pt x="224" y="87"/>
                            </a:cubicBezTo>
                            <a:cubicBezTo>
                              <a:pt x="223" y="88"/>
                              <a:pt x="221" y="88"/>
                              <a:pt x="220" y="89"/>
                            </a:cubicBezTo>
                            <a:cubicBezTo>
                              <a:pt x="219" y="89"/>
                              <a:pt x="220" y="91"/>
                              <a:pt x="220" y="91"/>
                            </a:cubicBezTo>
                            <a:cubicBezTo>
                              <a:pt x="224" y="90"/>
                              <a:pt x="227" y="88"/>
                              <a:pt x="230" y="86"/>
                            </a:cubicBezTo>
                            <a:cubicBezTo>
                              <a:pt x="233" y="85"/>
                              <a:pt x="235" y="82"/>
                              <a:pt x="238" y="80"/>
                            </a:cubicBezTo>
                            <a:cubicBezTo>
                              <a:pt x="239" y="80"/>
                              <a:pt x="240" y="81"/>
                              <a:pt x="241" y="81"/>
                            </a:cubicBezTo>
                            <a:cubicBezTo>
                              <a:pt x="243" y="83"/>
                              <a:pt x="246" y="85"/>
                              <a:pt x="248" y="87"/>
                            </a:cubicBezTo>
                            <a:cubicBezTo>
                              <a:pt x="249" y="88"/>
                              <a:pt x="250" y="91"/>
                              <a:pt x="248" y="91"/>
                            </a:cubicBezTo>
                            <a:cubicBezTo>
                              <a:pt x="244" y="92"/>
                              <a:pt x="240" y="90"/>
                              <a:pt x="235" y="91"/>
                            </a:cubicBezTo>
                            <a:cubicBezTo>
                              <a:pt x="232" y="91"/>
                              <a:pt x="229" y="92"/>
                              <a:pt x="226" y="94"/>
                            </a:cubicBezTo>
                            <a:cubicBezTo>
                              <a:pt x="225" y="95"/>
                              <a:pt x="229" y="94"/>
                              <a:pt x="230" y="95"/>
                            </a:cubicBezTo>
                            <a:cubicBezTo>
                              <a:pt x="233" y="95"/>
                              <a:pt x="236" y="97"/>
                              <a:pt x="239" y="97"/>
                            </a:cubicBezTo>
                            <a:cubicBezTo>
                              <a:pt x="243" y="98"/>
                              <a:pt x="247" y="97"/>
                              <a:pt x="250" y="98"/>
                            </a:cubicBezTo>
                            <a:cubicBezTo>
                              <a:pt x="252" y="99"/>
                              <a:pt x="253" y="100"/>
                              <a:pt x="253" y="101"/>
                            </a:cubicBezTo>
                            <a:cubicBezTo>
                              <a:pt x="253" y="102"/>
                              <a:pt x="251" y="103"/>
                              <a:pt x="251" y="103"/>
                            </a:cubicBezTo>
                            <a:cubicBezTo>
                              <a:pt x="248" y="103"/>
                              <a:pt x="245" y="103"/>
                              <a:pt x="243" y="103"/>
                            </a:cubicBezTo>
                            <a:cubicBezTo>
                              <a:pt x="240" y="102"/>
                              <a:pt x="237" y="100"/>
                              <a:pt x="233" y="100"/>
                            </a:cubicBezTo>
                            <a:cubicBezTo>
                              <a:pt x="231" y="100"/>
                              <a:pt x="228" y="101"/>
                              <a:pt x="226" y="102"/>
                            </a:cubicBezTo>
                            <a:cubicBezTo>
                              <a:pt x="225" y="103"/>
                              <a:pt x="224" y="106"/>
                              <a:pt x="226" y="106"/>
                            </a:cubicBezTo>
                            <a:cubicBezTo>
                              <a:pt x="228" y="107"/>
                              <a:pt x="231" y="104"/>
                              <a:pt x="234" y="104"/>
                            </a:cubicBezTo>
                            <a:cubicBezTo>
                              <a:pt x="235" y="104"/>
                              <a:pt x="238" y="104"/>
                              <a:pt x="238" y="105"/>
                            </a:cubicBezTo>
                            <a:cubicBezTo>
                              <a:pt x="239" y="107"/>
                              <a:pt x="236" y="107"/>
                              <a:pt x="235" y="108"/>
                            </a:cubicBezTo>
                            <a:cubicBezTo>
                              <a:pt x="233" y="108"/>
                              <a:pt x="230" y="106"/>
                              <a:pt x="230" y="108"/>
                            </a:cubicBezTo>
                            <a:cubicBezTo>
                              <a:pt x="231" y="110"/>
                              <a:pt x="238" y="110"/>
                              <a:pt x="236" y="111"/>
                            </a:cubicBezTo>
                            <a:cubicBezTo>
                              <a:pt x="233" y="113"/>
                              <a:pt x="228" y="110"/>
                              <a:pt x="224" y="111"/>
                            </a:cubicBezTo>
                            <a:cubicBezTo>
                              <a:pt x="223" y="112"/>
                              <a:pt x="223" y="114"/>
                              <a:pt x="224" y="114"/>
                            </a:cubicBezTo>
                            <a:cubicBezTo>
                              <a:pt x="227" y="115"/>
                              <a:pt x="231" y="112"/>
                              <a:pt x="233" y="114"/>
                            </a:cubicBezTo>
                            <a:cubicBezTo>
                              <a:pt x="235" y="116"/>
                              <a:pt x="224" y="116"/>
                              <a:pt x="226" y="117"/>
                            </a:cubicBezTo>
                            <a:cubicBezTo>
                              <a:pt x="232" y="119"/>
                              <a:pt x="239" y="116"/>
                              <a:pt x="245" y="118"/>
                            </a:cubicBezTo>
                            <a:cubicBezTo>
                              <a:pt x="249" y="119"/>
                              <a:pt x="236" y="117"/>
                              <a:pt x="235" y="120"/>
                            </a:cubicBezTo>
                            <a:cubicBezTo>
                              <a:pt x="234" y="122"/>
                              <a:pt x="242" y="119"/>
                              <a:pt x="244" y="121"/>
                            </a:cubicBezTo>
                            <a:cubicBezTo>
                              <a:pt x="245" y="123"/>
                              <a:pt x="238" y="123"/>
                              <a:pt x="238" y="126"/>
                            </a:cubicBezTo>
                            <a:cubicBezTo>
                              <a:pt x="238" y="128"/>
                              <a:pt x="242" y="123"/>
                              <a:pt x="244" y="123"/>
                            </a:cubicBezTo>
                            <a:cubicBezTo>
                              <a:pt x="245" y="124"/>
                              <a:pt x="242" y="127"/>
                              <a:pt x="244" y="127"/>
                            </a:cubicBezTo>
                            <a:cubicBezTo>
                              <a:pt x="246" y="128"/>
                              <a:pt x="249" y="122"/>
                              <a:pt x="251" y="124"/>
                            </a:cubicBezTo>
                            <a:cubicBezTo>
                              <a:pt x="253" y="126"/>
                              <a:pt x="247" y="129"/>
                              <a:pt x="249" y="132"/>
                            </a:cubicBezTo>
                            <a:cubicBezTo>
                              <a:pt x="250" y="133"/>
                              <a:pt x="252" y="127"/>
                              <a:pt x="253" y="128"/>
                            </a:cubicBezTo>
                            <a:cubicBezTo>
                              <a:pt x="255" y="130"/>
                              <a:pt x="251" y="136"/>
                              <a:pt x="253" y="135"/>
                            </a:cubicBezTo>
                            <a:cubicBezTo>
                              <a:pt x="256" y="135"/>
                              <a:pt x="255" y="127"/>
                              <a:pt x="258" y="128"/>
                            </a:cubicBezTo>
                            <a:cubicBezTo>
                              <a:pt x="261" y="128"/>
                              <a:pt x="256" y="137"/>
                              <a:pt x="258" y="136"/>
                            </a:cubicBezTo>
                            <a:cubicBezTo>
                              <a:pt x="262" y="136"/>
                              <a:pt x="260" y="130"/>
                              <a:pt x="262" y="127"/>
                            </a:cubicBezTo>
                            <a:cubicBezTo>
                              <a:pt x="263" y="126"/>
                              <a:pt x="266" y="127"/>
                              <a:pt x="266" y="128"/>
                            </a:cubicBezTo>
                            <a:cubicBezTo>
                              <a:pt x="267" y="131"/>
                              <a:pt x="262" y="132"/>
                              <a:pt x="263" y="134"/>
                            </a:cubicBezTo>
                            <a:cubicBezTo>
                              <a:pt x="264" y="137"/>
                              <a:pt x="269" y="135"/>
                              <a:pt x="271" y="137"/>
                            </a:cubicBezTo>
                            <a:cubicBezTo>
                              <a:pt x="272" y="137"/>
                              <a:pt x="272" y="139"/>
                              <a:pt x="271" y="140"/>
                            </a:cubicBezTo>
                            <a:cubicBezTo>
                              <a:pt x="270" y="141"/>
                              <a:pt x="266" y="139"/>
                              <a:pt x="265" y="141"/>
                            </a:cubicBezTo>
                            <a:cubicBezTo>
                              <a:pt x="264" y="143"/>
                              <a:pt x="267" y="145"/>
                              <a:pt x="268" y="145"/>
                            </a:cubicBezTo>
                            <a:cubicBezTo>
                              <a:pt x="271" y="146"/>
                              <a:pt x="273" y="142"/>
                              <a:pt x="276" y="142"/>
                            </a:cubicBezTo>
                            <a:cubicBezTo>
                              <a:pt x="277" y="142"/>
                              <a:pt x="278" y="144"/>
                              <a:pt x="279" y="144"/>
                            </a:cubicBezTo>
                            <a:cubicBezTo>
                              <a:pt x="281" y="144"/>
                              <a:pt x="283" y="140"/>
                              <a:pt x="284" y="142"/>
                            </a:cubicBezTo>
                            <a:cubicBezTo>
                              <a:pt x="284" y="144"/>
                              <a:pt x="281" y="146"/>
                              <a:pt x="280" y="148"/>
                            </a:cubicBezTo>
                            <a:cubicBezTo>
                              <a:pt x="279" y="150"/>
                              <a:pt x="276" y="151"/>
                              <a:pt x="276" y="153"/>
                            </a:cubicBezTo>
                            <a:cubicBezTo>
                              <a:pt x="276" y="154"/>
                              <a:pt x="278" y="154"/>
                              <a:pt x="279" y="154"/>
                            </a:cubicBezTo>
                            <a:cubicBezTo>
                              <a:pt x="280" y="153"/>
                              <a:pt x="280" y="149"/>
                              <a:pt x="282" y="150"/>
                            </a:cubicBezTo>
                            <a:cubicBezTo>
                              <a:pt x="284" y="150"/>
                              <a:pt x="282" y="154"/>
                              <a:pt x="283" y="155"/>
                            </a:cubicBezTo>
                            <a:cubicBezTo>
                              <a:pt x="285" y="155"/>
                              <a:pt x="284" y="150"/>
                              <a:pt x="286" y="150"/>
                            </a:cubicBezTo>
                            <a:cubicBezTo>
                              <a:pt x="287" y="150"/>
                              <a:pt x="288" y="154"/>
                              <a:pt x="289" y="153"/>
                            </a:cubicBezTo>
                            <a:cubicBezTo>
                              <a:pt x="291" y="153"/>
                              <a:pt x="289" y="149"/>
                              <a:pt x="290" y="149"/>
                            </a:cubicBezTo>
                            <a:cubicBezTo>
                              <a:pt x="292" y="148"/>
                              <a:pt x="295" y="150"/>
                              <a:pt x="297" y="151"/>
                            </a:cubicBezTo>
                            <a:cubicBezTo>
                              <a:pt x="298" y="152"/>
                              <a:pt x="301" y="154"/>
                              <a:pt x="300" y="156"/>
                            </a:cubicBezTo>
                            <a:cubicBezTo>
                              <a:pt x="298" y="158"/>
                              <a:pt x="292" y="155"/>
                              <a:pt x="292" y="158"/>
                            </a:cubicBezTo>
                            <a:cubicBezTo>
                              <a:pt x="292" y="160"/>
                              <a:pt x="299" y="159"/>
                              <a:pt x="299" y="162"/>
                            </a:cubicBezTo>
                            <a:cubicBezTo>
                              <a:pt x="299" y="164"/>
                              <a:pt x="295" y="163"/>
                              <a:pt x="292" y="163"/>
                            </a:cubicBezTo>
                            <a:cubicBezTo>
                              <a:pt x="290" y="163"/>
                              <a:pt x="288" y="162"/>
                              <a:pt x="286" y="163"/>
                            </a:cubicBezTo>
                            <a:cubicBezTo>
                              <a:pt x="285" y="163"/>
                              <a:pt x="282" y="164"/>
                              <a:pt x="283" y="165"/>
                            </a:cubicBezTo>
                            <a:cubicBezTo>
                              <a:pt x="284" y="167"/>
                              <a:pt x="288" y="166"/>
                              <a:pt x="290" y="167"/>
                            </a:cubicBezTo>
                            <a:cubicBezTo>
                              <a:pt x="291" y="168"/>
                              <a:pt x="288" y="169"/>
                              <a:pt x="287" y="169"/>
                            </a:cubicBezTo>
                            <a:cubicBezTo>
                              <a:pt x="285" y="169"/>
                              <a:pt x="280" y="167"/>
                              <a:pt x="280" y="169"/>
                            </a:cubicBezTo>
                            <a:cubicBezTo>
                              <a:pt x="281" y="172"/>
                              <a:pt x="288" y="172"/>
                              <a:pt x="288" y="176"/>
                            </a:cubicBezTo>
                            <a:cubicBezTo>
                              <a:pt x="288" y="178"/>
                              <a:pt x="283" y="174"/>
                              <a:pt x="281" y="175"/>
                            </a:cubicBezTo>
                            <a:cubicBezTo>
                              <a:pt x="280" y="175"/>
                              <a:pt x="282" y="177"/>
                              <a:pt x="282" y="177"/>
                            </a:cubicBezTo>
                            <a:cubicBezTo>
                              <a:pt x="280" y="178"/>
                              <a:pt x="277" y="178"/>
                              <a:pt x="275" y="177"/>
                            </a:cubicBezTo>
                            <a:cubicBezTo>
                              <a:pt x="274" y="177"/>
                              <a:pt x="275" y="172"/>
                              <a:pt x="274" y="173"/>
                            </a:cubicBezTo>
                            <a:cubicBezTo>
                              <a:pt x="272" y="175"/>
                              <a:pt x="272" y="179"/>
                              <a:pt x="272" y="181"/>
                            </a:cubicBezTo>
                            <a:cubicBezTo>
                              <a:pt x="272" y="184"/>
                              <a:pt x="274" y="189"/>
                              <a:pt x="271" y="191"/>
                            </a:cubicBezTo>
                            <a:cubicBezTo>
                              <a:pt x="270" y="193"/>
                              <a:pt x="268" y="190"/>
                              <a:pt x="266" y="188"/>
                            </a:cubicBezTo>
                            <a:cubicBezTo>
                              <a:pt x="265" y="187"/>
                              <a:pt x="264" y="184"/>
                              <a:pt x="263" y="184"/>
                            </a:cubicBezTo>
                            <a:cubicBezTo>
                              <a:pt x="261" y="183"/>
                              <a:pt x="261" y="187"/>
                              <a:pt x="260" y="187"/>
                            </a:cubicBezTo>
                            <a:cubicBezTo>
                              <a:pt x="258" y="187"/>
                              <a:pt x="258" y="185"/>
                              <a:pt x="257" y="183"/>
                            </a:cubicBezTo>
                            <a:cubicBezTo>
                              <a:pt x="257" y="182"/>
                              <a:pt x="258" y="181"/>
                              <a:pt x="257" y="180"/>
                            </a:cubicBezTo>
                            <a:cubicBezTo>
                              <a:pt x="257" y="179"/>
                              <a:pt x="255" y="179"/>
                              <a:pt x="255" y="177"/>
                            </a:cubicBezTo>
                            <a:cubicBezTo>
                              <a:pt x="254" y="175"/>
                              <a:pt x="254" y="173"/>
                              <a:pt x="255" y="172"/>
                            </a:cubicBezTo>
                            <a:cubicBezTo>
                              <a:pt x="256" y="169"/>
                              <a:pt x="260" y="170"/>
                              <a:pt x="261" y="168"/>
                            </a:cubicBezTo>
                            <a:cubicBezTo>
                              <a:pt x="262" y="167"/>
                              <a:pt x="263" y="163"/>
                              <a:pt x="262" y="163"/>
                            </a:cubicBezTo>
                            <a:cubicBezTo>
                              <a:pt x="258" y="164"/>
                              <a:pt x="256" y="167"/>
                              <a:pt x="253" y="169"/>
                            </a:cubicBezTo>
                            <a:cubicBezTo>
                              <a:pt x="252" y="169"/>
                              <a:pt x="250" y="171"/>
                              <a:pt x="250" y="170"/>
                            </a:cubicBezTo>
                            <a:cubicBezTo>
                              <a:pt x="249" y="168"/>
                              <a:pt x="251" y="166"/>
                              <a:pt x="250" y="165"/>
                            </a:cubicBezTo>
                            <a:cubicBezTo>
                              <a:pt x="249" y="164"/>
                              <a:pt x="246" y="166"/>
                              <a:pt x="244" y="165"/>
                            </a:cubicBezTo>
                            <a:cubicBezTo>
                              <a:pt x="243" y="165"/>
                              <a:pt x="241" y="164"/>
                              <a:pt x="240" y="162"/>
                            </a:cubicBezTo>
                            <a:cubicBezTo>
                              <a:pt x="239" y="161"/>
                              <a:pt x="241" y="158"/>
                              <a:pt x="240" y="157"/>
                            </a:cubicBezTo>
                            <a:cubicBezTo>
                              <a:pt x="237" y="156"/>
                              <a:pt x="233" y="156"/>
                              <a:pt x="231" y="158"/>
                            </a:cubicBezTo>
                            <a:cubicBezTo>
                              <a:pt x="230" y="160"/>
                              <a:pt x="235" y="161"/>
                              <a:pt x="235" y="164"/>
                            </a:cubicBezTo>
                            <a:cubicBezTo>
                              <a:pt x="235" y="165"/>
                              <a:pt x="233" y="165"/>
                              <a:pt x="231" y="164"/>
                            </a:cubicBezTo>
                            <a:cubicBezTo>
                              <a:pt x="230" y="163"/>
                              <a:pt x="229" y="160"/>
                              <a:pt x="228" y="161"/>
                            </a:cubicBezTo>
                            <a:cubicBezTo>
                              <a:pt x="226" y="162"/>
                              <a:pt x="228" y="164"/>
                              <a:pt x="228" y="166"/>
                            </a:cubicBezTo>
                            <a:cubicBezTo>
                              <a:pt x="229" y="168"/>
                              <a:pt x="234" y="169"/>
                              <a:pt x="233" y="171"/>
                            </a:cubicBezTo>
                            <a:cubicBezTo>
                              <a:pt x="232" y="173"/>
                              <a:pt x="227" y="173"/>
                              <a:pt x="225" y="172"/>
                            </a:cubicBezTo>
                            <a:cubicBezTo>
                              <a:pt x="223" y="170"/>
                              <a:pt x="224" y="166"/>
                              <a:pt x="221" y="165"/>
                            </a:cubicBezTo>
                            <a:cubicBezTo>
                              <a:pt x="220" y="165"/>
                              <a:pt x="220" y="168"/>
                              <a:pt x="221" y="170"/>
                            </a:cubicBezTo>
                            <a:cubicBezTo>
                              <a:pt x="221" y="172"/>
                              <a:pt x="222" y="176"/>
                              <a:pt x="224" y="177"/>
                            </a:cubicBezTo>
                            <a:cubicBezTo>
                              <a:pt x="226" y="178"/>
                              <a:pt x="229" y="176"/>
                              <a:pt x="231" y="177"/>
                            </a:cubicBezTo>
                            <a:cubicBezTo>
                              <a:pt x="233" y="180"/>
                              <a:pt x="232" y="184"/>
                              <a:pt x="233" y="187"/>
                            </a:cubicBezTo>
                            <a:cubicBezTo>
                              <a:pt x="233" y="190"/>
                              <a:pt x="231" y="193"/>
                              <a:pt x="233" y="195"/>
                            </a:cubicBezTo>
                            <a:cubicBezTo>
                              <a:pt x="234" y="196"/>
                              <a:pt x="235" y="191"/>
                              <a:pt x="237" y="191"/>
                            </a:cubicBezTo>
                            <a:cubicBezTo>
                              <a:pt x="239" y="191"/>
                              <a:pt x="241" y="193"/>
                              <a:pt x="243" y="194"/>
                            </a:cubicBezTo>
                            <a:cubicBezTo>
                              <a:pt x="244" y="195"/>
                              <a:pt x="247" y="194"/>
                              <a:pt x="248" y="195"/>
                            </a:cubicBezTo>
                            <a:cubicBezTo>
                              <a:pt x="249" y="197"/>
                              <a:pt x="246" y="200"/>
                              <a:pt x="247" y="202"/>
                            </a:cubicBezTo>
                            <a:cubicBezTo>
                              <a:pt x="248" y="203"/>
                              <a:pt x="250" y="201"/>
                              <a:pt x="251" y="202"/>
                            </a:cubicBezTo>
                            <a:cubicBezTo>
                              <a:pt x="252" y="203"/>
                              <a:pt x="251" y="205"/>
                              <a:pt x="251" y="206"/>
                            </a:cubicBezTo>
                            <a:cubicBezTo>
                              <a:pt x="251" y="208"/>
                              <a:pt x="252" y="210"/>
                              <a:pt x="253" y="212"/>
                            </a:cubicBezTo>
                            <a:cubicBezTo>
                              <a:pt x="255" y="216"/>
                              <a:pt x="258" y="218"/>
                              <a:pt x="259" y="222"/>
                            </a:cubicBezTo>
                            <a:cubicBezTo>
                              <a:pt x="259" y="224"/>
                              <a:pt x="256" y="224"/>
                              <a:pt x="254" y="223"/>
                            </a:cubicBezTo>
                            <a:cubicBezTo>
                              <a:pt x="252" y="222"/>
                              <a:pt x="250" y="217"/>
                              <a:pt x="249" y="219"/>
                            </a:cubicBezTo>
                            <a:cubicBezTo>
                              <a:pt x="248" y="224"/>
                              <a:pt x="252" y="228"/>
                              <a:pt x="252" y="233"/>
                            </a:cubicBezTo>
                            <a:cubicBezTo>
                              <a:pt x="251" y="234"/>
                              <a:pt x="248" y="231"/>
                              <a:pt x="247" y="232"/>
                            </a:cubicBezTo>
                            <a:cubicBezTo>
                              <a:pt x="246" y="233"/>
                              <a:pt x="249" y="236"/>
                              <a:pt x="248" y="236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49" name="Freeform 3554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3098682" y="1807314"/>
                        <a:ext cx="34674" cy="24920"/>
                      </a:xfrm>
                      <a:custGeom>
                        <a:avLst/>
                        <a:gdLst>
                          <a:gd name="T0" fmla="*/ 29 w 26"/>
                          <a:gd name="T1" fmla="*/ 2 h 25"/>
                          <a:gd name="T2" fmla="*/ 31 w 26"/>
                          <a:gd name="T3" fmla="*/ 5 h 25"/>
                          <a:gd name="T4" fmla="*/ 29 w 26"/>
                          <a:gd name="T5" fmla="*/ 20 h 25"/>
                          <a:gd name="T6" fmla="*/ 17 w 26"/>
                          <a:gd name="T7" fmla="*/ 29 h 25"/>
                          <a:gd name="T8" fmla="*/ 4 w 26"/>
                          <a:gd name="T9" fmla="*/ 28 h 25"/>
                          <a:gd name="T10" fmla="*/ 0 w 26"/>
                          <a:gd name="T11" fmla="*/ 23 h 25"/>
                          <a:gd name="T12" fmla="*/ 4 w 26"/>
                          <a:gd name="T13" fmla="*/ 11 h 25"/>
                          <a:gd name="T14" fmla="*/ 11 w 26"/>
                          <a:gd name="T15" fmla="*/ 2 h 25"/>
                          <a:gd name="T16" fmla="*/ 20 w 26"/>
                          <a:gd name="T17" fmla="*/ 0 h 25"/>
                          <a:gd name="T18" fmla="*/ 29 w 26"/>
                          <a:gd name="T19" fmla="*/ 2 h 25"/>
                          <a:gd name="T20" fmla="*/ 0 60000 65536"/>
                          <a:gd name="T21" fmla="*/ 0 60000 65536"/>
                          <a:gd name="T22" fmla="*/ 0 60000 65536"/>
                          <a:gd name="T23" fmla="*/ 0 60000 65536"/>
                          <a:gd name="T24" fmla="*/ 0 60000 65536"/>
                          <a:gd name="T25" fmla="*/ 0 60000 65536"/>
                          <a:gd name="T26" fmla="*/ 0 60000 65536"/>
                          <a:gd name="T27" fmla="*/ 0 60000 65536"/>
                          <a:gd name="T28" fmla="*/ 0 60000 65536"/>
                          <a:gd name="T29" fmla="*/ 0 60000 65536"/>
                          <a:gd name="T30" fmla="*/ 0 w 26"/>
                          <a:gd name="T31" fmla="*/ 0 h 25"/>
                          <a:gd name="T32" fmla="*/ 26 w 26"/>
                          <a:gd name="T33" fmla="*/ 25 h 25"/>
                        </a:gdLst>
                        <a:ahLst/>
                        <a:cxnLst>
                          <a:cxn ang="T20">
                            <a:pos x="T0" y="T1"/>
                          </a:cxn>
                          <a:cxn ang="T21">
                            <a:pos x="T2" y="T3"/>
                          </a:cxn>
                          <a:cxn ang="T22">
                            <a:pos x="T4" y="T5"/>
                          </a:cxn>
                          <a:cxn ang="T23">
                            <a:pos x="T6" y="T7"/>
                          </a:cxn>
                          <a:cxn ang="T24">
                            <a:pos x="T8" y="T9"/>
                          </a:cxn>
                          <a:cxn ang="T25">
                            <a:pos x="T10" y="T11"/>
                          </a:cxn>
                          <a:cxn ang="T26">
                            <a:pos x="T12" y="T13"/>
                          </a:cxn>
                          <a:cxn ang="T27">
                            <a:pos x="T14" y="T15"/>
                          </a:cxn>
                          <a:cxn ang="T28">
                            <a:pos x="T16" y="T17"/>
                          </a:cxn>
                          <a:cxn ang="T29">
                            <a:pos x="T18" y="T19"/>
                          </a:cxn>
                        </a:cxnLst>
                        <a:rect l="T30" t="T31" r="T32" b="T33"/>
                        <a:pathLst>
                          <a:path w="26" h="25">
                            <a:moveTo>
                              <a:pt x="24" y="2"/>
                            </a:moveTo>
                            <a:cubicBezTo>
                              <a:pt x="25" y="2"/>
                              <a:pt x="26" y="3"/>
                              <a:pt x="26" y="4"/>
                            </a:cubicBezTo>
                            <a:cubicBezTo>
                              <a:pt x="25" y="9"/>
                              <a:pt x="26" y="14"/>
                              <a:pt x="24" y="17"/>
                            </a:cubicBezTo>
                            <a:cubicBezTo>
                              <a:pt x="22" y="21"/>
                              <a:pt x="18" y="23"/>
                              <a:pt x="14" y="24"/>
                            </a:cubicBezTo>
                            <a:cubicBezTo>
                              <a:pt x="11" y="25"/>
                              <a:pt x="6" y="24"/>
                              <a:pt x="3" y="23"/>
                            </a:cubicBezTo>
                            <a:cubicBezTo>
                              <a:pt x="1" y="23"/>
                              <a:pt x="0" y="21"/>
                              <a:pt x="0" y="19"/>
                            </a:cubicBezTo>
                            <a:cubicBezTo>
                              <a:pt x="0" y="16"/>
                              <a:pt x="1" y="12"/>
                              <a:pt x="3" y="9"/>
                            </a:cubicBezTo>
                            <a:cubicBezTo>
                              <a:pt x="4" y="7"/>
                              <a:pt x="6" y="4"/>
                              <a:pt x="9" y="2"/>
                            </a:cubicBezTo>
                            <a:cubicBezTo>
                              <a:pt x="11" y="1"/>
                              <a:pt x="14" y="0"/>
                              <a:pt x="17" y="0"/>
                            </a:cubicBezTo>
                            <a:cubicBezTo>
                              <a:pt x="19" y="0"/>
                              <a:pt x="22" y="1"/>
                              <a:pt x="24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50" name="Freeform 3555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3135592" y="1810636"/>
                        <a:ext cx="22370" cy="10799"/>
                      </a:xfrm>
                      <a:custGeom>
                        <a:avLst/>
                        <a:gdLst>
                          <a:gd name="T0" fmla="*/ 3 w 16"/>
                          <a:gd name="T1" fmla="*/ 2 h 11"/>
                          <a:gd name="T2" fmla="*/ 1 w 16"/>
                          <a:gd name="T3" fmla="*/ 5 h 11"/>
                          <a:gd name="T4" fmla="*/ 3 w 16"/>
                          <a:gd name="T5" fmla="*/ 12 h 11"/>
                          <a:gd name="T6" fmla="*/ 11 w 16"/>
                          <a:gd name="T7" fmla="*/ 11 h 11"/>
                          <a:gd name="T8" fmla="*/ 17 w 16"/>
                          <a:gd name="T9" fmla="*/ 12 h 11"/>
                          <a:gd name="T10" fmla="*/ 19 w 16"/>
                          <a:gd name="T11" fmla="*/ 5 h 11"/>
                          <a:gd name="T12" fmla="*/ 12 w 16"/>
                          <a:gd name="T13" fmla="*/ 2 h 11"/>
                          <a:gd name="T14" fmla="*/ 7 w 16"/>
                          <a:gd name="T15" fmla="*/ 0 h 11"/>
                          <a:gd name="T16" fmla="*/ 3 w 16"/>
                          <a:gd name="T17" fmla="*/ 2 h 11"/>
                          <a:gd name="T18" fmla="*/ 0 60000 65536"/>
                          <a:gd name="T19" fmla="*/ 0 60000 65536"/>
                          <a:gd name="T20" fmla="*/ 0 60000 65536"/>
                          <a:gd name="T21" fmla="*/ 0 60000 65536"/>
                          <a:gd name="T22" fmla="*/ 0 60000 65536"/>
                          <a:gd name="T23" fmla="*/ 0 60000 65536"/>
                          <a:gd name="T24" fmla="*/ 0 60000 65536"/>
                          <a:gd name="T25" fmla="*/ 0 60000 65536"/>
                          <a:gd name="T26" fmla="*/ 0 60000 65536"/>
                          <a:gd name="T27" fmla="*/ 0 w 16"/>
                          <a:gd name="T28" fmla="*/ 0 h 11"/>
                          <a:gd name="T29" fmla="*/ 16 w 16"/>
                          <a:gd name="T30" fmla="*/ 11 h 11"/>
                        </a:gdLst>
                        <a:ahLst/>
                        <a:cxnLst>
                          <a:cxn ang="T18">
                            <a:pos x="T0" y="T1"/>
                          </a:cxn>
                          <a:cxn ang="T19">
                            <a:pos x="T2" y="T3"/>
                          </a:cxn>
                          <a:cxn ang="T20">
                            <a:pos x="T4" y="T5"/>
                          </a:cxn>
                          <a:cxn ang="T21">
                            <a:pos x="T6" y="T7"/>
                          </a:cxn>
                          <a:cxn ang="T22">
                            <a:pos x="T8" y="T9"/>
                          </a:cxn>
                          <a:cxn ang="T23">
                            <a:pos x="T10" y="T11"/>
                          </a:cxn>
                          <a:cxn ang="T24">
                            <a:pos x="T12" y="T13"/>
                          </a:cxn>
                          <a:cxn ang="T25">
                            <a:pos x="T14" y="T15"/>
                          </a:cxn>
                          <a:cxn ang="T26">
                            <a:pos x="T16" y="T17"/>
                          </a:cxn>
                        </a:cxnLst>
                        <a:rect l="T27" t="T28" r="T29" b="T30"/>
                        <a:pathLst>
                          <a:path w="16" h="11">
                            <a:moveTo>
                              <a:pt x="2" y="2"/>
                            </a:moveTo>
                            <a:cubicBezTo>
                              <a:pt x="1" y="2"/>
                              <a:pt x="1" y="3"/>
                              <a:pt x="1" y="4"/>
                            </a:cubicBezTo>
                            <a:cubicBezTo>
                              <a:pt x="1" y="6"/>
                              <a:pt x="0" y="9"/>
                              <a:pt x="2" y="10"/>
                            </a:cubicBezTo>
                            <a:cubicBezTo>
                              <a:pt x="4" y="11"/>
                              <a:pt x="7" y="9"/>
                              <a:pt x="9" y="9"/>
                            </a:cubicBezTo>
                            <a:cubicBezTo>
                              <a:pt x="11" y="9"/>
                              <a:pt x="13" y="11"/>
                              <a:pt x="14" y="10"/>
                            </a:cubicBezTo>
                            <a:cubicBezTo>
                              <a:pt x="16" y="9"/>
                              <a:pt x="16" y="6"/>
                              <a:pt x="15" y="4"/>
                            </a:cubicBezTo>
                            <a:cubicBezTo>
                              <a:pt x="14" y="2"/>
                              <a:pt x="12" y="3"/>
                              <a:pt x="10" y="2"/>
                            </a:cubicBezTo>
                            <a:cubicBezTo>
                              <a:pt x="9" y="2"/>
                              <a:pt x="8" y="1"/>
                              <a:pt x="6" y="0"/>
                            </a:cubicBezTo>
                            <a:cubicBezTo>
                              <a:pt x="4" y="0"/>
                              <a:pt x="3" y="1"/>
                              <a:pt x="2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51" name="Freeform 3556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3133356" y="1799838"/>
                        <a:ext cx="6712" cy="9137"/>
                      </a:xfrm>
                      <a:custGeom>
                        <a:avLst/>
                        <a:gdLst>
                          <a:gd name="T0" fmla="*/ 1 w 5"/>
                          <a:gd name="T1" fmla="*/ 1 h 9"/>
                          <a:gd name="T2" fmla="*/ 0 w 5"/>
                          <a:gd name="T3" fmla="*/ 5 h 9"/>
                          <a:gd name="T4" fmla="*/ 2 w 5"/>
                          <a:gd name="T5" fmla="*/ 10 h 9"/>
                          <a:gd name="T6" fmla="*/ 5 w 5"/>
                          <a:gd name="T7" fmla="*/ 7 h 9"/>
                          <a:gd name="T8" fmla="*/ 5 w 5"/>
                          <a:gd name="T9" fmla="*/ 2 h 9"/>
                          <a:gd name="T10" fmla="*/ 1 w 5"/>
                          <a:gd name="T11" fmla="*/ 1 h 9"/>
                          <a:gd name="T12" fmla="*/ 0 60000 65536"/>
                          <a:gd name="T13" fmla="*/ 0 60000 65536"/>
                          <a:gd name="T14" fmla="*/ 0 60000 65536"/>
                          <a:gd name="T15" fmla="*/ 0 60000 65536"/>
                          <a:gd name="T16" fmla="*/ 0 60000 65536"/>
                          <a:gd name="T17" fmla="*/ 0 60000 65536"/>
                          <a:gd name="T18" fmla="*/ 0 w 5"/>
                          <a:gd name="T19" fmla="*/ 0 h 9"/>
                          <a:gd name="T20" fmla="*/ 5 w 5"/>
                          <a:gd name="T21" fmla="*/ 9 h 9"/>
                        </a:gdLst>
                        <a:ahLst/>
                        <a:cxnLst>
                          <a:cxn ang="T12">
                            <a:pos x="T0" y="T1"/>
                          </a:cxn>
                          <a:cxn ang="T13">
                            <a:pos x="T2" y="T3"/>
                          </a:cxn>
                          <a:cxn ang="T14">
                            <a:pos x="T4" y="T5"/>
                          </a:cxn>
                          <a:cxn ang="T15">
                            <a:pos x="T6" y="T7"/>
                          </a:cxn>
                          <a:cxn ang="T16">
                            <a:pos x="T8" y="T9"/>
                          </a:cxn>
                          <a:cxn ang="T17">
                            <a:pos x="T10" y="T11"/>
                          </a:cxn>
                        </a:cxnLst>
                        <a:rect l="T18" t="T19" r="T20" b="T21"/>
                        <a:pathLst>
                          <a:path w="5" h="9">
                            <a:moveTo>
                              <a:pt x="1" y="1"/>
                            </a:moveTo>
                            <a:cubicBezTo>
                              <a:pt x="0" y="1"/>
                              <a:pt x="0" y="3"/>
                              <a:pt x="0" y="4"/>
                            </a:cubicBezTo>
                            <a:cubicBezTo>
                              <a:pt x="0" y="5"/>
                              <a:pt x="1" y="8"/>
                              <a:pt x="2" y="8"/>
                            </a:cubicBezTo>
                            <a:cubicBezTo>
                              <a:pt x="3" y="9"/>
                              <a:pt x="4" y="7"/>
                              <a:pt x="4" y="6"/>
                            </a:cubicBezTo>
                            <a:cubicBezTo>
                              <a:pt x="5" y="4"/>
                              <a:pt x="4" y="3"/>
                              <a:pt x="4" y="2"/>
                            </a:cubicBezTo>
                            <a:cubicBezTo>
                              <a:pt x="3" y="1"/>
                              <a:pt x="2" y="0"/>
                              <a:pt x="1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52" name="Freeform 3557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3068483" y="1784886"/>
                        <a:ext cx="25725" cy="14952"/>
                      </a:xfrm>
                      <a:custGeom>
                        <a:avLst/>
                        <a:gdLst>
                          <a:gd name="T0" fmla="*/ 18 w 19"/>
                          <a:gd name="T1" fmla="*/ 0 h 15"/>
                          <a:gd name="T2" fmla="*/ 23 w 19"/>
                          <a:gd name="T3" fmla="*/ 2 h 15"/>
                          <a:gd name="T4" fmla="*/ 15 w 19"/>
                          <a:gd name="T5" fmla="*/ 8 h 15"/>
                          <a:gd name="T6" fmla="*/ 10 w 19"/>
                          <a:gd name="T7" fmla="*/ 16 h 15"/>
                          <a:gd name="T8" fmla="*/ 2 w 19"/>
                          <a:gd name="T9" fmla="*/ 17 h 15"/>
                          <a:gd name="T10" fmla="*/ 0 w 19"/>
                          <a:gd name="T11" fmla="*/ 13 h 15"/>
                          <a:gd name="T12" fmla="*/ 8 w 19"/>
                          <a:gd name="T13" fmla="*/ 7 h 15"/>
                          <a:gd name="T14" fmla="*/ 15 w 19"/>
                          <a:gd name="T15" fmla="*/ 2 h 15"/>
                          <a:gd name="T16" fmla="*/ 18 w 19"/>
                          <a:gd name="T17" fmla="*/ 0 h 15"/>
                          <a:gd name="T18" fmla="*/ 0 60000 65536"/>
                          <a:gd name="T19" fmla="*/ 0 60000 65536"/>
                          <a:gd name="T20" fmla="*/ 0 60000 65536"/>
                          <a:gd name="T21" fmla="*/ 0 60000 65536"/>
                          <a:gd name="T22" fmla="*/ 0 60000 65536"/>
                          <a:gd name="T23" fmla="*/ 0 60000 65536"/>
                          <a:gd name="T24" fmla="*/ 0 60000 65536"/>
                          <a:gd name="T25" fmla="*/ 0 60000 65536"/>
                          <a:gd name="T26" fmla="*/ 0 60000 65536"/>
                          <a:gd name="T27" fmla="*/ 0 w 19"/>
                          <a:gd name="T28" fmla="*/ 0 h 15"/>
                          <a:gd name="T29" fmla="*/ 19 w 19"/>
                          <a:gd name="T30" fmla="*/ 15 h 15"/>
                        </a:gdLst>
                        <a:ahLst/>
                        <a:cxnLst>
                          <a:cxn ang="T18">
                            <a:pos x="T0" y="T1"/>
                          </a:cxn>
                          <a:cxn ang="T19">
                            <a:pos x="T2" y="T3"/>
                          </a:cxn>
                          <a:cxn ang="T20">
                            <a:pos x="T4" y="T5"/>
                          </a:cxn>
                          <a:cxn ang="T21">
                            <a:pos x="T6" y="T7"/>
                          </a:cxn>
                          <a:cxn ang="T22">
                            <a:pos x="T8" y="T9"/>
                          </a:cxn>
                          <a:cxn ang="T23">
                            <a:pos x="T10" y="T11"/>
                          </a:cxn>
                          <a:cxn ang="T24">
                            <a:pos x="T12" y="T13"/>
                          </a:cxn>
                          <a:cxn ang="T25">
                            <a:pos x="T14" y="T15"/>
                          </a:cxn>
                          <a:cxn ang="T26">
                            <a:pos x="T16" y="T17"/>
                          </a:cxn>
                        </a:cxnLst>
                        <a:rect l="T27" t="T28" r="T29" b="T30"/>
                        <a:pathLst>
                          <a:path w="19" h="15">
                            <a:moveTo>
                              <a:pt x="15" y="0"/>
                            </a:moveTo>
                            <a:cubicBezTo>
                              <a:pt x="17" y="0"/>
                              <a:pt x="19" y="1"/>
                              <a:pt x="19" y="2"/>
                            </a:cubicBezTo>
                            <a:cubicBezTo>
                              <a:pt x="17" y="5"/>
                              <a:pt x="14" y="5"/>
                              <a:pt x="12" y="7"/>
                            </a:cubicBezTo>
                            <a:cubicBezTo>
                              <a:pt x="11" y="9"/>
                              <a:pt x="10" y="11"/>
                              <a:pt x="8" y="13"/>
                            </a:cubicBezTo>
                            <a:cubicBezTo>
                              <a:pt x="6" y="14"/>
                              <a:pt x="4" y="15"/>
                              <a:pt x="2" y="14"/>
                            </a:cubicBezTo>
                            <a:cubicBezTo>
                              <a:pt x="1" y="14"/>
                              <a:pt x="0" y="12"/>
                              <a:pt x="0" y="11"/>
                            </a:cubicBezTo>
                            <a:cubicBezTo>
                              <a:pt x="2" y="9"/>
                              <a:pt x="5" y="8"/>
                              <a:pt x="7" y="6"/>
                            </a:cubicBezTo>
                            <a:cubicBezTo>
                              <a:pt x="8" y="5"/>
                              <a:pt x="10" y="3"/>
                              <a:pt x="12" y="2"/>
                            </a:cubicBezTo>
                            <a:cubicBezTo>
                              <a:pt x="13" y="1"/>
                              <a:pt x="14" y="0"/>
                              <a:pt x="15" y="0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53" name="Freeform 3558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3084142" y="1777410"/>
                        <a:ext cx="17895" cy="6646"/>
                      </a:xfrm>
                      <a:custGeom>
                        <a:avLst/>
                        <a:gdLst>
                          <a:gd name="T0" fmla="*/ 1 w 14"/>
                          <a:gd name="T1" fmla="*/ 5 h 6"/>
                          <a:gd name="T2" fmla="*/ 11 w 14"/>
                          <a:gd name="T3" fmla="*/ 1 h 6"/>
                          <a:gd name="T4" fmla="*/ 16 w 14"/>
                          <a:gd name="T5" fmla="*/ 3 h 6"/>
                          <a:gd name="T6" fmla="*/ 9 w 14"/>
                          <a:gd name="T7" fmla="*/ 5 h 6"/>
                          <a:gd name="T8" fmla="*/ 1 w 14"/>
                          <a:gd name="T9" fmla="*/ 5 h 6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14"/>
                          <a:gd name="T16" fmla="*/ 0 h 6"/>
                          <a:gd name="T17" fmla="*/ 14 w 14"/>
                          <a:gd name="T18" fmla="*/ 6 h 6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14" h="6">
                            <a:moveTo>
                              <a:pt x="1" y="4"/>
                            </a:moveTo>
                            <a:cubicBezTo>
                              <a:pt x="3" y="1"/>
                              <a:pt x="7" y="1"/>
                              <a:pt x="10" y="1"/>
                            </a:cubicBezTo>
                            <a:cubicBezTo>
                              <a:pt x="12" y="0"/>
                              <a:pt x="14" y="1"/>
                              <a:pt x="14" y="2"/>
                            </a:cubicBezTo>
                            <a:cubicBezTo>
                              <a:pt x="13" y="4"/>
                              <a:pt x="10" y="4"/>
                              <a:pt x="8" y="4"/>
                            </a:cubicBezTo>
                            <a:cubicBezTo>
                              <a:pt x="6" y="4"/>
                              <a:pt x="0" y="6"/>
                              <a:pt x="1" y="4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54" name="Freeform 3559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3060653" y="1776579"/>
                        <a:ext cx="14540" cy="4984"/>
                      </a:xfrm>
                      <a:custGeom>
                        <a:avLst/>
                        <a:gdLst>
                          <a:gd name="T0" fmla="*/ 1 w 11"/>
                          <a:gd name="T1" fmla="*/ 2 h 5"/>
                          <a:gd name="T2" fmla="*/ 5 w 11"/>
                          <a:gd name="T3" fmla="*/ 6 h 5"/>
                          <a:gd name="T4" fmla="*/ 13 w 11"/>
                          <a:gd name="T5" fmla="*/ 4 h 5"/>
                          <a:gd name="T6" fmla="*/ 11 w 11"/>
                          <a:gd name="T7" fmla="*/ 1 h 5"/>
                          <a:gd name="T8" fmla="*/ 1 w 11"/>
                          <a:gd name="T9" fmla="*/ 2 h 5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11"/>
                          <a:gd name="T16" fmla="*/ 0 h 5"/>
                          <a:gd name="T17" fmla="*/ 11 w 11"/>
                          <a:gd name="T18" fmla="*/ 5 h 5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11" h="5">
                            <a:moveTo>
                              <a:pt x="1" y="2"/>
                            </a:moveTo>
                            <a:cubicBezTo>
                              <a:pt x="0" y="3"/>
                              <a:pt x="2" y="5"/>
                              <a:pt x="4" y="5"/>
                            </a:cubicBezTo>
                            <a:cubicBezTo>
                              <a:pt x="6" y="5"/>
                              <a:pt x="9" y="4"/>
                              <a:pt x="11" y="3"/>
                            </a:cubicBezTo>
                            <a:cubicBezTo>
                              <a:pt x="11" y="2"/>
                              <a:pt x="10" y="1"/>
                              <a:pt x="9" y="1"/>
                            </a:cubicBezTo>
                            <a:cubicBezTo>
                              <a:pt x="6" y="1"/>
                              <a:pt x="3" y="0"/>
                              <a:pt x="1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55" name="Freeform 3560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3074075" y="1806483"/>
                        <a:ext cx="10067" cy="7476"/>
                      </a:xfrm>
                      <a:custGeom>
                        <a:avLst/>
                        <a:gdLst>
                          <a:gd name="T0" fmla="*/ 1 w 7"/>
                          <a:gd name="T1" fmla="*/ 3 h 7"/>
                          <a:gd name="T2" fmla="*/ 1 w 7"/>
                          <a:gd name="T3" fmla="*/ 8 h 7"/>
                          <a:gd name="T4" fmla="*/ 5 w 7"/>
                          <a:gd name="T5" fmla="*/ 6 h 7"/>
                          <a:gd name="T6" fmla="*/ 8 w 7"/>
                          <a:gd name="T7" fmla="*/ 3 h 7"/>
                          <a:gd name="T8" fmla="*/ 1 w 7"/>
                          <a:gd name="T9" fmla="*/ 3 h 7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7"/>
                          <a:gd name="T16" fmla="*/ 0 h 7"/>
                          <a:gd name="T17" fmla="*/ 7 w 7"/>
                          <a:gd name="T18" fmla="*/ 7 h 7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7" h="7">
                            <a:moveTo>
                              <a:pt x="1" y="2"/>
                            </a:moveTo>
                            <a:cubicBezTo>
                              <a:pt x="0" y="3"/>
                              <a:pt x="0" y="5"/>
                              <a:pt x="1" y="6"/>
                            </a:cubicBezTo>
                            <a:cubicBezTo>
                              <a:pt x="1" y="7"/>
                              <a:pt x="3" y="6"/>
                              <a:pt x="4" y="5"/>
                            </a:cubicBezTo>
                            <a:cubicBezTo>
                              <a:pt x="5" y="4"/>
                              <a:pt x="7" y="3"/>
                              <a:pt x="6" y="2"/>
                            </a:cubicBezTo>
                            <a:cubicBezTo>
                              <a:pt x="5" y="0"/>
                              <a:pt x="2" y="1"/>
                              <a:pt x="1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56" name="Freeform 3561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958872" y="1769103"/>
                        <a:ext cx="15659" cy="5815"/>
                      </a:xfrm>
                      <a:custGeom>
                        <a:avLst/>
                        <a:gdLst>
                          <a:gd name="T0" fmla="*/ 2 w 12"/>
                          <a:gd name="T1" fmla="*/ 1 h 6"/>
                          <a:gd name="T2" fmla="*/ 6 w 12"/>
                          <a:gd name="T3" fmla="*/ 6 h 6"/>
                          <a:gd name="T4" fmla="*/ 13 w 12"/>
                          <a:gd name="T5" fmla="*/ 6 h 6"/>
                          <a:gd name="T6" fmla="*/ 12 w 12"/>
                          <a:gd name="T7" fmla="*/ 1 h 6"/>
                          <a:gd name="T8" fmla="*/ 2 w 12"/>
                          <a:gd name="T9" fmla="*/ 1 h 6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12"/>
                          <a:gd name="T16" fmla="*/ 0 h 6"/>
                          <a:gd name="T17" fmla="*/ 12 w 12"/>
                          <a:gd name="T18" fmla="*/ 6 h 6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12" h="6">
                            <a:moveTo>
                              <a:pt x="2" y="1"/>
                            </a:moveTo>
                            <a:cubicBezTo>
                              <a:pt x="0" y="2"/>
                              <a:pt x="4" y="5"/>
                              <a:pt x="5" y="5"/>
                            </a:cubicBezTo>
                            <a:cubicBezTo>
                              <a:pt x="7" y="6"/>
                              <a:pt x="9" y="6"/>
                              <a:pt x="11" y="5"/>
                            </a:cubicBezTo>
                            <a:cubicBezTo>
                              <a:pt x="12" y="4"/>
                              <a:pt x="11" y="2"/>
                              <a:pt x="10" y="1"/>
                            </a:cubicBezTo>
                            <a:cubicBezTo>
                              <a:pt x="7" y="0"/>
                              <a:pt x="4" y="1"/>
                              <a:pt x="2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57" name="Freeform 3562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3078550" y="1686868"/>
                        <a:ext cx="68228" cy="25751"/>
                      </a:xfrm>
                      <a:custGeom>
                        <a:avLst/>
                        <a:gdLst>
                          <a:gd name="T0" fmla="*/ 25 w 51"/>
                          <a:gd name="T1" fmla="*/ 6 h 26"/>
                          <a:gd name="T2" fmla="*/ 39 w 51"/>
                          <a:gd name="T3" fmla="*/ 5 h 26"/>
                          <a:gd name="T4" fmla="*/ 50 w 51"/>
                          <a:gd name="T5" fmla="*/ 12 h 26"/>
                          <a:gd name="T6" fmla="*/ 56 w 51"/>
                          <a:gd name="T7" fmla="*/ 16 h 26"/>
                          <a:gd name="T8" fmla="*/ 61 w 51"/>
                          <a:gd name="T9" fmla="*/ 24 h 26"/>
                          <a:gd name="T10" fmla="*/ 60 w 51"/>
                          <a:gd name="T11" fmla="*/ 27 h 26"/>
                          <a:gd name="T12" fmla="*/ 49 w 51"/>
                          <a:gd name="T13" fmla="*/ 24 h 26"/>
                          <a:gd name="T14" fmla="*/ 33 w 51"/>
                          <a:gd name="T15" fmla="*/ 25 h 26"/>
                          <a:gd name="T16" fmla="*/ 19 w 51"/>
                          <a:gd name="T17" fmla="*/ 30 h 26"/>
                          <a:gd name="T18" fmla="*/ 12 w 51"/>
                          <a:gd name="T19" fmla="*/ 30 h 26"/>
                          <a:gd name="T20" fmla="*/ 7 w 51"/>
                          <a:gd name="T21" fmla="*/ 24 h 26"/>
                          <a:gd name="T22" fmla="*/ 8 w 51"/>
                          <a:gd name="T23" fmla="*/ 17 h 26"/>
                          <a:gd name="T24" fmla="*/ 7 w 51"/>
                          <a:gd name="T25" fmla="*/ 16 h 26"/>
                          <a:gd name="T26" fmla="*/ 0 w 51"/>
                          <a:gd name="T27" fmla="*/ 14 h 26"/>
                          <a:gd name="T28" fmla="*/ 5 w 51"/>
                          <a:gd name="T29" fmla="*/ 1 h 26"/>
                          <a:gd name="T30" fmla="*/ 10 w 51"/>
                          <a:gd name="T31" fmla="*/ 1 h 26"/>
                          <a:gd name="T32" fmla="*/ 25 w 51"/>
                          <a:gd name="T33" fmla="*/ 6 h 26"/>
                          <a:gd name="T34" fmla="*/ 0 60000 65536"/>
                          <a:gd name="T35" fmla="*/ 0 60000 65536"/>
                          <a:gd name="T36" fmla="*/ 0 60000 65536"/>
                          <a:gd name="T37" fmla="*/ 0 60000 65536"/>
                          <a:gd name="T38" fmla="*/ 0 60000 65536"/>
                          <a:gd name="T39" fmla="*/ 0 60000 65536"/>
                          <a:gd name="T40" fmla="*/ 0 60000 65536"/>
                          <a:gd name="T41" fmla="*/ 0 60000 65536"/>
                          <a:gd name="T42" fmla="*/ 0 60000 65536"/>
                          <a:gd name="T43" fmla="*/ 0 60000 65536"/>
                          <a:gd name="T44" fmla="*/ 0 60000 65536"/>
                          <a:gd name="T45" fmla="*/ 0 60000 65536"/>
                          <a:gd name="T46" fmla="*/ 0 60000 65536"/>
                          <a:gd name="T47" fmla="*/ 0 60000 65536"/>
                          <a:gd name="T48" fmla="*/ 0 60000 65536"/>
                          <a:gd name="T49" fmla="*/ 0 60000 65536"/>
                          <a:gd name="T50" fmla="*/ 0 60000 65536"/>
                          <a:gd name="T51" fmla="*/ 0 w 51"/>
                          <a:gd name="T52" fmla="*/ 0 h 26"/>
                          <a:gd name="T53" fmla="*/ 51 w 51"/>
                          <a:gd name="T54" fmla="*/ 26 h 26"/>
                        </a:gdLst>
                        <a:ahLst/>
                        <a:cxnLst>
                          <a:cxn ang="T34">
                            <a:pos x="T0" y="T1"/>
                          </a:cxn>
                          <a:cxn ang="T35">
                            <a:pos x="T2" y="T3"/>
                          </a:cxn>
                          <a:cxn ang="T36">
                            <a:pos x="T4" y="T5"/>
                          </a:cxn>
                          <a:cxn ang="T37">
                            <a:pos x="T6" y="T7"/>
                          </a:cxn>
                          <a:cxn ang="T38">
                            <a:pos x="T8" y="T9"/>
                          </a:cxn>
                          <a:cxn ang="T39">
                            <a:pos x="T10" y="T11"/>
                          </a:cxn>
                          <a:cxn ang="T40">
                            <a:pos x="T12" y="T13"/>
                          </a:cxn>
                          <a:cxn ang="T41">
                            <a:pos x="T14" y="T15"/>
                          </a:cxn>
                          <a:cxn ang="T42">
                            <a:pos x="T16" y="T17"/>
                          </a:cxn>
                          <a:cxn ang="T43">
                            <a:pos x="T18" y="T19"/>
                          </a:cxn>
                          <a:cxn ang="T44">
                            <a:pos x="T20" y="T21"/>
                          </a:cxn>
                          <a:cxn ang="T45">
                            <a:pos x="T22" y="T23"/>
                          </a:cxn>
                          <a:cxn ang="T46">
                            <a:pos x="T24" y="T25"/>
                          </a:cxn>
                          <a:cxn ang="T47">
                            <a:pos x="T26" y="T27"/>
                          </a:cxn>
                          <a:cxn ang="T48">
                            <a:pos x="T28" y="T29"/>
                          </a:cxn>
                          <a:cxn ang="T49">
                            <a:pos x="T30" y="T31"/>
                          </a:cxn>
                          <a:cxn ang="T50">
                            <a:pos x="T32" y="T33"/>
                          </a:cxn>
                        </a:cxnLst>
                        <a:rect l="T51" t="T52" r="T53" b="T54"/>
                        <a:pathLst>
                          <a:path w="51" h="26">
                            <a:moveTo>
                              <a:pt x="21" y="5"/>
                            </a:moveTo>
                            <a:cubicBezTo>
                              <a:pt x="25" y="6"/>
                              <a:pt x="29" y="3"/>
                              <a:pt x="33" y="4"/>
                            </a:cubicBezTo>
                            <a:cubicBezTo>
                              <a:pt x="37" y="4"/>
                              <a:pt x="39" y="8"/>
                              <a:pt x="42" y="10"/>
                            </a:cubicBezTo>
                            <a:cubicBezTo>
                              <a:pt x="43" y="11"/>
                              <a:pt x="46" y="12"/>
                              <a:pt x="47" y="13"/>
                            </a:cubicBezTo>
                            <a:cubicBezTo>
                              <a:pt x="49" y="15"/>
                              <a:pt x="50" y="18"/>
                              <a:pt x="51" y="20"/>
                            </a:cubicBezTo>
                            <a:cubicBezTo>
                              <a:pt x="51" y="21"/>
                              <a:pt x="51" y="23"/>
                              <a:pt x="50" y="23"/>
                            </a:cubicBezTo>
                            <a:cubicBezTo>
                              <a:pt x="47" y="23"/>
                              <a:pt x="44" y="21"/>
                              <a:pt x="41" y="20"/>
                            </a:cubicBezTo>
                            <a:cubicBezTo>
                              <a:pt x="36" y="20"/>
                              <a:pt x="32" y="20"/>
                              <a:pt x="28" y="21"/>
                            </a:cubicBezTo>
                            <a:cubicBezTo>
                              <a:pt x="24" y="21"/>
                              <a:pt x="20" y="24"/>
                              <a:pt x="16" y="25"/>
                            </a:cubicBezTo>
                            <a:cubicBezTo>
                              <a:pt x="14" y="25"/>
                              <a:pt x="12" y="26"/>
                              <a:pt x="10" y="25"/>
                            </a:cubicBezTo>
                            <a:cubicBezTo>
                              <a:pt x="8" y="24"/>
                              <a:pt x="7" y="22"/>
                              <a:pt x="6" y="20"/>
                            </a:cubicBezTo>
                            <a:cubicBezTo>
                              <a:pt x="6" y="18"/>
                              <a:pt x="7" y="16"/>
                              <a:pt x="7" y="14"/>
                            </a:cubicBezTo>
                            <a:cubicBezTo>
                              <a:pt x="7" y="14"/>
                              <a:pt x="6" y="13"/>
                              <a:pt x="6" y="13"/>
                            </a:cubicBezTo>
                            <a:cubicBezTo>
                              <a:pt x="4" y="12"/>
                              <a:pt x="1" y="14"/>
                              <a:pt x="0" y="12"/>
                            </a:cubicBezTo>
                            <a:cubicBezTo>
                              <a:pt x="0" y="8"/>
                              <a:pt x="2" y="5"/>
                              <a:pt x="4" y="1"/>
                            </a:cubicBezTo>
                            <a:cubicBezTo>
                              <a:pt x="5" y="0"/>
                              <a:pt x="7" y="1"/>
                              <a:pt x="8" y="1"/>
                            </a:cubicBezTo>
                            <a:cubicBezTo>
                              <a:pt x="13" y="2"/>
                              <a:pt x="17" y="5"/>
                              <a:pt x="21" y="5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58" name="Freeform 3563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859325" y="1678561"/>
                        <a:ext cx="87243" cy="50670"/>
                      </a:xfrm>
                      <a:custGeom>
                        <a:avLst/>
                        <a:gdLst>
                          <a:gd name="T0" fmla="*/ 74 w 65"/>
                          <a:gd name="T1" fmla="*/ 6 h 50"/>
                          <a:gd name="T2" fmla="*/ 78 w 65"/>
                          <a:gd name="T3" fmla="*/ 7 h 50"/>
                          <a:gd name="T4" fmla="*/ 68 w 65"/>
                          <a:gd name="T5" fmla="*/ 16 h 50"/>
                          <a:gd name="T6" fmla="*/ 58 w 65"/>
                          <a:gd name="T7" fmla="*/ 27 h 50"/>
                          <a:gd name="T8" fmla="*/ 46 w 65"/>
                          <a:gd name="T9" fmla="*/ 39 h 50"/>
                          <a:gd name="T10" fmla="*/ 28 w 65"/>
                          <a:gd name="T11" fmla="*/ 35 h 50"/>
                          <a:gd name="T12" fmla="*/ 20 w 65"/>
                          <a:gd name="T13" fmla="*/ 37 h 50"/>
                          <a:gd name="T14" fmla="*/ 20 w 65"/>
                          <a:gd name="T15" fmla="*/ 39 h 50"/>
                          <a:gd name="T16" fmla="*/ 26 w 65"/>
                          <a:gd name="T17" fmla="*/ 41 h 50"/>
                          <a:gd name="T18" fmla="*/ 28 w 65"/>
                          <a:gd name="T19" fmla="*/ 46 h 50"/>
                          <a:gd name="T20" fmla="*/ 14 w 65"/>
                          <a:gd name="T21" fmla="*/ 60 h 50"/>
                          <a:gd name="T22" fmla="*/ 11 w 65"/>
                          <a:gd name="T23" fmla="*/ 59 h 50"/>
                          <a:gd name="T24" fmla="*/ 1 w 65"/>
                          <a:gd name="T25" fmla="*/ 59 h 50"/>
                          <a:gd name="T26" fmla="*/ 4 w 65"/>
                          <a:gd name="T27" fmla="*/ 54 h 50"/>
                          <a:gd name="T28" fmla="*/ 4 w 65"/>
                          <a:gd name="T29" fmla="*/ 44 h 50"/>
                          <a:gd name="T30" fmla="*/ 0 w 65"/>
                          <a:gd name="T31" fmla="*/ 39 h 50"/>
                          <a:gd name="T32" fmla="*/ 4 w 65"/>
                          <a:gd name="T33" fmla="*/ 23 h 50"/>
                          <a:gd name="T34" fmla="*/ 4 w 65"/>
                          <a:gd name="T35" fmla="*/ 20 h 50"/>
                          <a:gd name="T36" fmla="*/ 6 w 65"/>
                          <a:gd name="T37" fmla="*/ 12 h 50"/>
                          <a:gd name="T38" fmla="*/ 16 w 65"/>
                          <a:gd name="T39" fmla="*/ 15 h 50"/>
                          <a:gd name="T40" fmla="*/ 18 w 65"/>
                          <a:gd name="T41" fmla="*/ 13 h 50"/>
                          <a:gd name="T42" fmla="*/ 11 w 65"/>
                          <a:gd name="T43" fmla="*/ 6 h 50"/>
                          <a:gd name="T44" fmla="*/ 17 w 65"/>
                          <a:gd name="T45" fmla="*/ 4 h 50"/>
                          <a:gd name="T46" fmla="*/ 31 w 65"/>
                          <a:gd name="T47" fmla="*/ 1 h 50"/>
                          <a:gd name="T48" fmla="*/ 34 w 65"/>
                          <a:gd name="T49" fmla="*/ 4 h 50"/>
                          <a:gd name="T50" fmla="*/ 38 w 65"/>
                          <a:gd name="T51" fmla="*/ 1 h 50"/>
                          <a:gd name="T52" fmla="*/ 52 w 65"/>
                          <a:gd name="T53" fmla="*/ 2 h 50"/>
                          <a:gd name="T54" fmla="*/ 53 w 65"/>
                          <a:gd name="T55" fmla="*/ 6 h 50"/>
                          <a:gd name="T56" fmla="*/ 59 w 65"/>
                          <a:gd name="T57" fmla="*/ 2 h 50"/>
                          <a:gd name="T58" fmla="*/ 74 w 65"/>
                          <a:gd name="T59" fmla="*/ 6 h 50"/>
                          <a:gd name="T60" fmla="*/ 0 60000 65536"/>
                          <a:gd name="T61" fmla="*/ 0 60000 65536"/>
                          <a:gd name="T62" fmla="*/ 0 60000 65536"/>
                          <a:gd name="T63" fmla="*/ 0 60000 65536"/>
                          <a:gd name="T64" fmla="*/ 0 60000 65536"/>
                          <a:gd name="T65" fmla="*/ 0 60000 65536"/>
                          <a:gd name="T66" fmla="*/ 0 60000 65536"/>
                          <a:gd name="T67" fmla="*/ 0 60000 65536"/>
                          <a:gd name="T68" fmla="*/ 0 60000 65536"/>
                          <a:gd name="T69" fmla="*/ 0 60000 65536"/>
                          <a:gd name="T70" fmla="*/ 0 60000 65536"/>
                          <a:gd name="T71" fmla="*/ 0 60000 65536"/>
                          <a:gd name="T72" fmla="*/ 0 60000 65536"/>
                          <a:gd name="T73" fmla="*/ 0 60000 65536"/>
                          <a:gd name="T74" fmla="*/ 0 60000 65536"/>
                          <a:gd name="T75" fmla="*/ 0 60000 65536"/>
                          <a:gd name="T76" fmla="*/ 0 60000 65536"/>
                          <a:gd name="T77" fmla="*/ 0 60000 65536"/>
                          <a:gd name="T78" fmla="*/ 0 60000 65536"/>
                          <a:gd name="T79" fmla="*/ 0 60000 65536"/>
                          <a:gd name="T80" fmla="*/ 0 60000 65536"/>
                          <a:gd name="T81" fmla="*/ 0 60000 65536"/>
                          <a:gd name="T82" fmla="*/ 0 60000 65536"/>
                          <a:gd name="T83" fmla="*/ 0 60000 65536"/>
                          <a:gd name="T84" fmla="*/ 0 60000 65536"/>
                          <a:gd name="T85" fmla="*/ 0 60000 65536"/>
                          <a:gd name="T86" fmla="*/ 0 60000 65536"/>
                          <a:gd name="T87" fmla="*/ 0 60000 65536"/>
                          <a:gd name="T88" fmla="*/ 0 60000 65536"/>
                          <a:gd name="T89" fmla="*/ 0 60000 65536"/>
                          <a:gd name="T90" fmla="*/ 0 w 65"/>
                          <a:gd name="T91" fmla="*/ 0 h 50"/>
                          <a:gd name="T92" fmla="*/ 65 w 65"/>
                          <a:gd name="T93" fmla="*/ 50 h 50"/>
                        </a:gdLst>
                        <a:ahLst/>
                        <a:cxnLst>
                          <a:cxn ang="T60">
                            <a:pos x="T0" y="T1"/>
                          </a:cxn>
                          <a:cxn ang="T61">
                            <a:pos x="T2" y="T3"/>
                          </a:cxn>
                          <a:cxn ang="T62">
                            <a:pos x="T4" y="T5"/>
                          </a:cxn>
                          <a:cxn ang="T63">
                            <a:pos x="T6" y="T7"/>
                          </a:cxn>
                          <a:cxn ang="T64">
                            <a:pos x="T8" y="T9"/>
                          </a:cxn>
                          <a:cxn ang="T65">
                            <a:pos x="T10" y="T11"/>
                          </a:cxn>
                          <a:cxn ang="T66">
                            <a:pos x="T12" y="T13"/>
                          </a:cxn>
                          <a:cxn ang="T67">
                            <a:pos x="T14" y="T15"/>
                          </a:cxn>
                          <a:cxn ang="T68">
                            <a:pos x="T16" y="T17"/>
                          </a:cxn>
                          <a:cxn ang="T69">
                            <a:pos x="T18" y="T19"/>
                          </a:cxn>
                          <a:cxn ang="T70">
                            <a:pos x="T20" y="T21"/>
                          </a:cxn>
                          <a:cxn ang="T71">
                            <a:pos x="T22" y="T23"/>
                          </a:cxn>
                          <a:cxn ang="T72">
                            <a:pos x="T24" y="T25"/>
                          </a:cxn>
                          <a:cxn ang="T73">
                            <a:pos x="T26" y="T27"/>
                          </a:cxn>
                          <a:cxn ang="T74">
                            <a:pos x="T28" y="T29"/>
                          </a:cxn>
                          <a:cxn ang="T75">
                            <a:pos x="T30" y="T31"/>
                          </a:cxn>
                          <a:cxn ang="T76">
                            <a:pos x="T32" y="T33"/>
                          </a:cxn>
                          <a:cxn ang="T77">
                            <a:pos x="T34" y="T35"/>
                          </a:cxn>
                          <a:cxn ang="T78">
                            <a:pos x="T36" y="T37"/>
                          </a:cxn>
                          <a:cxn ang="T79">
                            <a:pos x="T38" y="T39"/>
                          </a:cxn>
                          <a:cxn ang="T80">
                            <a:pos x="T40" y="T41"/>
                          </a:cxn>
                          <a:cxn ang="T81">
                            <a:pos x="T42" y="T43"/>
                          </a:cxn>
                          <a:cxn ang="T82">
                            <a:pos x="T44" y="T45"/>
                          </a:cxn>
                          <a:cxn ang="T83">
                            <a:pos x="T46" y="T47"/>
                          </a:cxn>
                          <a:cxn ang="T84">
                            <a:pos x="T48" y="T49"/>
                          </a:cxn>
                          <a:cxn ang="T85">
                            <a:pos x="T50" y="T51"/>
                          </a:cxn>
                          <a:cxn ang="T86">
                            <a:pos x="T52" y="T53"/>
                          </a:cxn>
                          <a:cxn ang="T87">
                            <a:pos x="T54" y="T55"/>
                          </a:cxn>
                          <a:cxn ang="T88">
                            <a:pos x="T56" y="T57"/>
                          </a:cxn>
                          <a:cxn ang="T89">
                            <a:pos x="T58" y="T59"/>
                          </a:cxn>
                        </a:cxnLst>
                        <a:rect l="T90" t="T91" r="T92" b="T93"/>
                        <a:pathLst>
                          <a:path w="65" h="50">
                            <a:moveTo>
                              <a:pt x="62" y="5"/>
                            </a:moveTo>
                            <a:cubicBezTo>
                              <a:pt x="63" y="5"/>
                              <a:pt x="65" y="5"/>
                              <a:pt x="65" y="6"/>
                            </a:cubicBezTo>
                            <a:cubicBezTo>
                              <a:pt x="63" y="9"/>
                              <a:pt x="60" y="11"/>
                              <a:pt x="57" y="13"/>
                            </a:cubicBezTo>
                            <a:cubicBezTo>
                              <a:pt x="54" y="16"/>
                              <a:pt x="51" y="19"/>
                              <a:pt x="48" y="22"/>
                            </a:cubicBezTo>
                            <a:cubicBezTo>
                              <a:pt x="45" y="26"/>
                              <a:pt x="42" y="31"/>
                              <a:pt x="38" y="32"/>
                            </a:cubicBezTo>
                            <a:cubicBezTo>
                              <a:pt x="33" y="33"/>
                              <a:pt x="28" y="30"/>
                              <a:pt x="23" y="29"/>
                            </a:cubicBezTo>
                            <a:cubicBezTo>
                              <a:pt x="21" y="29"/>
                              <a:pt x="19" y="29"/>
                              <a:pt x="17" y="30"/>
                            </a:cubicBezTo>
                            <a:cubicBezTo>
                              <a:pt x="16" y="30"/>
                              <a:pt x="17" y="31"/>
                              <a:pt x="17" y="32"/>
                            </a:cubicBezTo>
                            <a:cubicBezTo>
                              <a:pt x="18" y="33"/>
                              <a:pt x="21" y="33"/>
                              <a:pt x="22" y="34"/>
                            </a:cubicBezTo>
                            <a:cubicBezTo>
                              <a:pt x="23" y="35"/>
                              <a:pt x="24" y="36"/>
                              <a:pt x="23" y="38"/>
                            </a:cubicBezTo>
                            <a:cubicBezTo>
                              <a:pt x="21" y="42"/>
                              <a:pt x="16" y="46"/>
                              <a:pt x="12" y="49"/>
                            </a:cubicBezTo>
                            <a:cubicBezTo>
                              <a:pt x="11" y="50"/>
                              <a:pt x="10" y="49"/>
                              <a:pt x="9" y="48"/>
                            </a:cubicBezTo>
                            <a:cubicBezTo>
                              <a:pt x="7" y="48"/>
                              <a:pt x="4" y="49"/>
                              <a:pt x="1" y="48"/>
                            </a:cubicBezTo>
                            <a:cubicBezTo>
                              <a:pt x="0" y="47"/>
                              <a:pt x="2" y="46"/>
                              <a:pt x="3" y="44"/>
                            </a:cubicBezTo>
                            <a:cubicBezTo>
                              <a:pt x="3" y="42"/>
                              <a:pt x="4" y="39"/>
                              <a:pt x="3" y="36"/>
                            </a:cubicBezTo>
                            <a:cubicBezTo>
                              <a:pt x="3" y="34"/>
                              <a:pt x="0" y="34"/>
                              <a:pt x="0" y="32"/>
                            </a:cubicBezTo>
                            <a:cubicBezTo>
                              <a:pt x="0" y="28"/>
                              <a:pt x="2" y="23"/>
                              <a:pt x="3" y="19"/>
                            </a:cubicBezTo>
                            <a:cubicBezTo>
                              <a:pt x="3" y="18"/>
                              <a:pt x="3" y="17"/>
                              <a:pt x="3" y="16"/>
                            </a:cubicBezTo>
                            <a:cubicBezTo>
                              <a:pt x="4" y="14"/>
                              <a:pt x="3" y="11"/>
                              <a:pt x="5" y="10"/>
                            </a:cubicBezTo>
                            <a:cubicBezTo>
                              <a:pt x="8" y="9"/>
                              <a:pt x="10" y="12"/>
                              <a:pt x="13" y="12"/>
                            </a:cubicBezTo>
                            <a:cubicBezTo>
                              <a:pt x="14" y="12"/>
                              <a:pt x="15" y="11"/>
                              <a:pt x="15" y="11"/>
                            </a:cubicBezTo>
                            <a:cubicBezTo>
                              <a:pt x="13" y="8"/>
                              <a:pt x="9" y="8"/>
                              <a:pt x="9" y="5"/>
                            </a:cubicBezTo>
                            <a:cubicBezTo>
                              <a:pt x="9" y="3"/>
                              <a:pt x="12" y="4"/>
                              <a:pt x="14" y="3"/>
                            </a:cubicBezTo>
                            <a:cubicBezTo>
                              <a:pt x="18" y="2"/>
                              <a:pt x="22" y="1"/>
                              <a:pt x="26" y="1"/>
                            </a:cubicBezTo>
                            <a:cubicBezTo>
                              <a:pt x="27" y="1"/>
                              <a:pt x="27" y="3"/>
                              <a:pt x="28" y="3"/>
                            </a:cubicBezTo>
                            <a:cubicBezTo>
                              <a:pt x="29" y="3"/>
                              <a:pt x="30" y="1"/>
                              <a:pt x="32" y="1"/>
                            </a:cubicBezTo>
                            <a:cubicBezTo>
                              <a:pt x="35" y="0"/>
                              <a:pt x="39" y="0"/>
                              <a:pt x="43" y="2"/>
                            </a:cubicBezTo>
                            <a:cubicBezTo>
                              <a:pt x="44" y="2"/>
                              <a:pt x="43" y="5"/>
                              <a:pt x="44" y="5"/>
                            </a:cubicBezTo>
                            <a:cubicBezTo>
                              <a:pt x="46" y="5"/>
                              <a:pt x="47" y="2"/>
                              <a:pt x="49" y="2"/>
                            </a:cubicBezTo>
                            <a:cubicBezTo>
                              <a:pt x="54" y="1"/>
                              <a:pt x="58" y="3"/>
                              <a:pt x="62" y="5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59" name="Freeform 3564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762017" y="1685207"/>
                        <a:ext cx="85005" cy="57316"/>
                      </a:xfrm>
                      <a:custGeom>
                        <a:avLst/>
                        <a:gdLst>
                          <a:gd name="T0" fmla="*/ 52 w 64"/>
                          <a:gd name="T1" fmla="*/ 26 h 58"/>
                          <a:gd name="T2" fmla="*/ 56 w 64"/>
                          <a:gd name="T3" fmla="*/ 20 h 58"/>
                          <a:gd name="T4" fmla="*/ 69 w 64"/>
                          <a:gd name="T5" fmla="*/ 14 h 58"/>
                          <a:gd name="T6" fmla="*/ 66 w 64"/>
                          <a:gd name="T7" fmla="*/ 10 h 58"/>
                          <a:gd name="T8" fmla="*/ 74 w 64"/>
                          <a:gd name="T9" fmla="*/ 4 h 58"/>
                          <a:gd name="T10" fmla="*/ 70 w 64"/>
                          <a:gd name="T11" fmla="*/ 0 h 58"/>
                          <a:gd name="T12" fmla="*/ 56 w 64"/>
                          <a:gd name="T13" fmla="*/ 4 h 58"/>
                          <a:gd name="T14" fmla="*/ 46 w 64"/>
                          <a:gd name="T15" fmla="*/ 6 h 58"/>
                          <a:gd name="T16" fmla="*/ 39 w 64"/>
                          <a:gd name="T17" fmla="*/ 4 h 58"/>
                          <a:gd name="T18" fmla="*/ 34 w 64"/>
                          <a:gd name="T19" fmla="*/ 5 h 58"/>
                          <a:gd name="T20" fmla="*/ 31 w 64"/>
                          <a:gd name="T21" fmla="*/ 2 h 58"/>
                          <a:gd name="T22" fmla="*/ 24 w 64"/>
                          <a:gd name="T23" fmla="*/ 6 h 58"/>
                          <a:gd name="T24" fmla="*/ 30 w 64"/>
                          <a:gd name="T25" fmla="*/ 10 h 58"/>
                          <a:gd name="T26" fmla="*/ 28 w 64"/>
                          <a:gd name="T27" fmla="*/ 12 h 58"/>
                          <a:gd name="T28" fmla="*/ 19 w 64"/>
                          <a:gd name="T29" fmla="*/ 8 h 58"/>
                          <a:gd name="T30" fmla="*/ 18 w 64"/>
                          <a:gd name="T31" fmla="*/ 12 h 58"/>
                          <a:gd name="T32" fmla="*/ 26 w 64"/>
                          <a:gd name="T33" fmla="*/ 17 h 58"/>
                          <a:gd name="T34" fmla="*/ 33 w 64"/>
                          <a:gd name="T35" fmla="*/ 17 h 58"/>
                          <a:gd name="T36" fmla="*/ 28 w 64"/>
                          <a:gd name="T37" fmla="*/ 23 h 58"/>
                          <a:gd name="T38" fmla="*/ 32 w 64"/>
                          <a:gd name="T39" fmla="*/ 27 h 58"/>
                          <a:gd name="T40" fmla="*/ 24 w 64"/>
                          <a:gd name="T41" fmla="*/ 35 h 58"/>
                          <a:gd name="T42" fmla="*/ 15 w 64"/>
                          <a:gd name="T43" fmla="*/ 33 h 58"/>
                          <a:gd name="T44" fmla="*/ 10 w 64"/>
                          <a:gd name="T45" fmla="*/ 26 h 58"/>
                          <a:gd name="T46" fmla="*/ 5 w 64"/>
                          <a:gd name="T47" fmla="*/ 26 h 58"/>
                          <a:gd name="T48" fmla="*/ 0 w 64"/>
                          <a:gd name="T49" fmla="*/ 33 h 58"/>
                          <a:gd name="T50" fmla="*/ 2 w 64"/>
                          <a:gd name="T51" fmla="*/ 42 h 58"/>
                          <a:gd name="T52" fmla="*/ 10 w 64"/>
                          <a:gd name="T53" fmla="*/ 45 h 58"/>
                          <a:gd name="T54" fmla="*/ 15 w 64"/>
                          <a:gd name="T55" fmla="*/ 46 h 58"/>
                          <a:gd name="T56" fmla="*/ 24 w 64"/>
                          <a:gd name="T57" fmla="*/ 52 h 58"/>
                          <a:gd name="T58" fmla="*/ 26 w 64"/>
                          <a:gd name="T59" fmla="*/ 58 h 58"/>
                          <a:gd name="T60" fmla="*/ 32 w 64"/>
                          <a:gd name="T61" fmla="*/ 61 h 58"/>
                          <a:gd name="T62" fmla="*/ 33 w 64"/>
                          <a:gd name="T63" fmla="*/ 68 h 58"/>
                          <a:gd name="T64" fmla="*/ 39 w 64"/>
                          <a:gd name="T65" fmla="*/ 68 h 58"/>
                          <a:gd name="T66" fmla="*/ 43 w 64"/>
                          <a:gd name="T67" fmla="*/ 69 h 58"/>
                          <a:gd name="T68" fmla="*/ 49 w 64"/>
                          <a:gd name="T69" fmla="*/ 64 h 58"/>
                          <a:gd name="T70" fmla="*/ 47 w 64"/>
                          <a:gd name="T71" fmla="*/ 58 h 58"/>
                          <a:gd name="T72" fmla="*/ 52 w 64"/>
                          <a:gd name="T73" fmla="*/ 61 h 58"/>
                          <a:gd name="T74" fmla="*/ 62 w 64"/>
                          <a:gd name="T75" fmla="*/ 61 h 58"/>
                          <a:gd name="T76" fmla="*/ 69 w 64"/>
                          <a:gd name="T77" fmla="*/ 56 h 58"/>
                          <a:gd name="T78" fmla="*/ 68 w 64"/>
                          <a:gd name="T79" fmla="*/ 46 h 58"/>
                          <a:gd name="T80" fmla="*/ 75 w 64"/>
                          <a:gd name="T81" fmla="*/ 40 h 58"/>
                          <a:gd name="T82" fmla="*/ 74 w 64"/>
                          <a:gd name="T83" fmla="*/ 36 h 58"/>
                          <a:gd name="T84" fmla="*/ 65 w 64"/>
                          <a:gd name="T85" fmla="*/ 36 h 58"/>
                          <a:gd name="T86" fmla="*/ 68 w 64"/>
                          <a:gd name="T87" fmla="*/ 31 h 58"/>
                          <a:gd name="T88" fmla="*/ 65 w 64"/>
                          <a:gd name="T89" fmla="*/ 25 h 58"/>
                          <a:gd name="T90" fmla="*/ 59 w 64"/>
                          <a:gd name="T91" fmla="*/ 23 h 58"/>
                          <a:gd name="T92" fmla="*/ 52 w 64"/>
                          <a:gd name="T93" fmla="*/ 26 h 58"/>
                          <a:gd name="T94" fmla="*/ 0 60000 65536"/>
                          <a:gd name="T95" fmla="*/ 0 60000 65536"/>
                          <a:gd name="T96" fmla="*/ 0 60000 65536"/>
                          <a:gd name="T97" fmla="*/ 0 60000 65536"/>
                          <a:gd name="T98" fmla="*/ 0 60000 65536"/>
                          <a:gd name="T99" fmla="*/ 0 60000 65536"/>
                          <a:gd name="T100" fmla="*/ 0 60000 65536"/>
                          <a:gd name="T101" fmla="*/ 0 60000 65536"/>
                          <a:gd name="T102" fmla="*/ 0 60000 65536"/>
                          <a:gd name="T103" fmla="*/ 0 60000 65536"/>
                          <a:gd name="T104" fmla="*/ 0 60000 65536"/>
                          <a:gd name="T105" fmla="*/ 0 60000 65536"/>
                          <a:gd name="T106" fmla="*/ 0 60000 65536"/>
                          <a:gd name="T107" fmla="*/ 0 60000 65536"/>
                          <a:gd name="T108" fmla="*/ 0 60000 65536"/>
                          <a:gd name="T109" fmla="*/ 0 60000 65536"/>
                          <a:gd name="T110" fmla="*/ 0 60000 65536"/>
                          <a:gd name="T111" fmla="*/ 0 60000 65536"/>
                          <a:gd name="T112" fmla="*/ 0 60000 65536"/>
                          <a:gd name="T113" fmla="*/ 0 60000 65536"/>
                          <a:gd name="T114" fmla="*/ 0 60000 65536"/>
                          <a:gd name="T115" fmla="*/ 0 60000 65536"/>
                          <a:gd name="T116" fmla="*/ 0 60000 65536"/>
                          <a:gd name="T117" fmla="*/ 0 60000 65536"/>
                          <a:gd name="T118" fmla="*/ 0 60000 65536"/>
                          <a:gd name="T119" fmla="*/ 0 60000 65536"/>
                          <a:gd name="T120" fmla="*/ 0 60000 65536"/>
                          <a:gd name="T121" fmla="*/ 0 60000 65536"/>
                          <a:gd name="T122" fmla="*/ 0 60000 65536"/>
                          <a:gd name="T123" fmla="*/ 0 60000 65536"/>
                          <a:gd name="T124" fmla="*/ 0 60000 65536"/>
                          <a:gd name="T125" fmla="*/ 0 60000 65536"/>
                          <a:gd name="T126" fmla="*/ 0 60000 65536"/>
                          <a:gd name="T127" fmla="*/ 0 60000 65536"/>
                          <a:gd name="T128" fmla="*/ 0 60000 65536"/>
                          <a:gd name="T129" fmla="*/ 0 60000 65536"/>
                          <a:gd name="T130" fmla="*/ 0 60000 65536"/>
                          <a:gd name="T131" fmla="*/ 0 60000 65536"/>
                          <a:gd name="T132" fmla="*/ 0 60000 65536"/>
                          <a:gd name="T133" fmla="*/ 0 60000 65536"/>
                          <a:gd name="T134" fmla="*/ 0 60000 65536"/>
                          <a:gd name="T135" fmla="*/ 0 60000 65536"/>
                          <a:gd name="T136" fmla="*/ 0 60000 65536"/>
                          <a:gd name="T137" fmla="*/ 0 60000 65536"/>
                          <a:gd name="T138" fmla="*/ 0 60000 65536"/>
                          <a:gd name="T139" fmla="*/ 0 60000 65536"/>
                          <a:gd name="T140" fmla="*/ 0 60000 65536"/>
                          <a:gd name="T141" fmla="*/ 0 w 64"/>
                          <a:gd name="T142" fmla="*/ 0 h 58"/>
                          <a:gd name="T143" fmla="*/ 64 w 64"/>
                          <a:gd name="T144" fmla="*/ 58 h 58"/>
                        </a:gdLst>
                        <a:ahLst/>
                        <a:cxnLst>
                          <a:cxn ang="T94">
                            <a:pos x="T0" y="T1"/>
                          </a:cxn>
                          <a:cxn ang="T95">
                            <a:pos x="T2" y="T3"/>
                          </a:cxn>
                          <a:cxn ang="T96">
                            <a:pos x="T4" y="T5"/>
                          </a:cxn>
                          <a:cxn ang="T97">
                            <a:pos x="T6" y="T7"/>
                          </a:cxn>
                          <a:cxn ang="T98">
                            <a:pos x="T8" y="T9"/>
                          </a:cxn>
                          <a:cxn ang="T99">
                            <a:pos x="T10" y="T11"/>
                          </a:cxn>
                          <a:cxn ang="T100">
                            <a:pos x="T12" y="T13"/>
                          </a:cxn>
                          <a:cxn ang="T101">
                            <a:pos x="T14" y="T15"/>
                          </a:cxn>
                          <a:cxn ang="T102">
                            <a:pos x="T16" y="T17"/>
                          </a:cxn>
                          <a:cxn ang="T103">
                            <a:pos x="T18" y="T19"/>
                          </a:cxn>
                          <a:cxn ang="T104">
                            <a:pos x="T20" y="T21"/>
                          </a:cxn>
                          <a:cxn ang="T105">
                            <a:pos x="T22" y="T23"/>
                          </a:cxn>
                          <a:cxn ang="T106">
                            <a:pos x="T24" y="T25"/>
                          </a:cxn>
                          <a:cxn ang="T107">
                            <a:pos x="T26" y="T27"/>
                          </a:cxn>
                          <a:cxn ang="T108">
                            <a:pos x="T28" y="T29"/>
                          </a:cxn>
                          <a:cxn ang="T109">
                            <a:pos x="T30" y="T31"/>
                          </a:cxn>
                          <a:cxn ang="T110">
                            <a:pos x="T32" y="T33"/>
                          </a:cxn>
                          <a:cxn ang="T111">
                            <a:pos x="T34" y="T35"/>
                          </a:cxn>
                          <a:cxn ang="T112">
                            <a:pos x="T36" y="T37"/>
                          </a:cxn>
                          <a:cxn ang="T113">
                            <a:pos x="T38" y="T39"/>
                          </a:cxn>
                          <a:cxn ang="T114">
                            <a:pos x="T40" y="T41"/>
                          </a:cxn>
                          <a:cxn ang="T115">
                            <a:pos x="T42" y="T43"/>
                          </a:cxn>
                          <a:cxn ang="T116">
                            <a:pos x="T44" y="T45"/>
                          </a:cxn>
                          <a:cxn ang="T117">
                            <a:pos x="T46" y="T47"/>
                          </a:cxn>
                          <a:cxn ang="T118">
                            <a:pos x="T48" y="T49"/>
                          </a:cxn>
                          <a:cxn ang="T119">
                            <a:pos x="T50" y="T51"/>
                          </a:cxn>
                          <a:cxn ang="T120">
                            <a:pos x="T52" y="T53"/>
                          </a:cxn>
                          <a:cxn ang="T121">
                            <a:pos x="T54" y="T55"/>
                          </a:cxn>
                          <a:cxn ang="T122">
                            <a:pos x="T56" y="T57"/>
                          </a:cxn>
                          <a:cxn ang="T123">
                            <a:pos x="T58" y="T59"/>
                          </a:cxn>
                          <a:cxn ang="T124">
                            <a:pos x="T60" y="T61"/>
                          </a:cxn>
                          <a:cxn ang="T125">
                            <a:pos x="T62" y="T63"/>
                          </a:cxn>
                          <a:cxn ang="T126">
                            <a:pos x="T64" y="T65"/>
                          </a:cxn>
                          <a:cxn ang="T127">
                            <a:pos x="T66" y="T67"/>
                          </a:cxn>
                          <a:cxn ang="T128">
                            <a:pos x="T68" y="T69"/>
                          </a:cxn>
                          <a:cxn ang="T129">
                            <a:pos x="T70" y="T71"/>
                          </a:cxn>
                          <a:cxn ang="T130">
                            <a:pos x="T72" y="T73"/>
                          </a:cxn>
                          <a:cxn ang="T131">
                            <a:pos x="T74" y="T75"/>
                          </a:cxn>
                          <a:cxn ang="T132">
                            <a:pos x="T76" y="T77"/>
                          </a:cxn>
                          <a:cxn ang="T133">
                            <a:pos x="T78" y="T79"/>
                          </a:cxn>
                          <a:cxn ang="T134">
                            <a:pos x="T80" y="T81"/>
                          </a:cxn>
                          <a:cxn ang="T135">
                            <a:pos x="T82" y="T83"/>
                          </a:cxn>
                          <a:cxn ang="T136">
                            <a:pos x="T84" y="T85"/>
                          </a:cxn>
                          <a:cxn ang="T137">
                            <a:pos x="T86" y="T87"/>
                          </a:cxn>
                          <a:cxn ang="T138">
                            <a:pos x="T88" y="T89"/>
                          </a:cxn>
                          <a:cxn ang="T139">
                            <a:pos x="T90" y="T91"/>
                          </a:cxn>
                          <a:cxn ang="T140">
                            <a:pos x="T92" y="T93"/>
                          </a:cxn>
                        </a:cxnLst>
                        <a:rect l="T141" t="T142" r="T143" b="T144"/>
                        <a:pathLst>
                          <a:path w="64" h="58">
                            <a:moveTo>
                              <a:pt x="44" y="22"/>
                            </a:moveTo>
                            <a:cubicBezTo>
                              <a:pt x="42" y="21"/>
                              <a:pt x="45" y="18"/>
                              <a:pt x="47" y="17"/>
                            </a:cubicBezTo>
                            <a:cubicBezTo>
                              <a:pt x="50" y="14"/>
                              <a:pt x="55" y="15"/>
                              <a:pt x="58" y="12"/>
                            </a:cubicBezTo>
                            <a:cubicBezTo>
                              <a:pt x="59" y="11"/>
                              <a:pt x="56" y="9"/>
                              <a:pt x="56" y="8"/>
                            </a:cubicBezTo>
                            <a:cubicBezTo>
                              <a:pt x="58" y="6"/>
                              <a:pt x="62" y="5"/>
                              <a:pt x="62" y="3"/>
                            </a:cubicBezTo>
                            <a:cubicBezTo>
                              <a:pt x="63" y="1"/>
                              <a:pt x="60" y="0"/>
                              <a:pt x="59" y="0"/>
                            </a:cubicBezTo>
                            <a:cubicBezTo>
                              <a:pt x="55" y="1"/>
                              <a:pt x="51" y="3"/>
                              <a:pt x="47" y="3"/>
                            </a:cubicBezTo>
                            <a:cubicBezTo>
                              <a:pt x="44" y="4"/>
                              <a:pt x="42" y="6"/>
                              <a:pt x="39" y="5"/>
                            </a:cubicBezTo>
                            <a:cubicBezTo>
                              <a:pt x="37" y="5"/>
                              <a:pt x="35" y="3"/>
                              <a:pt x="33" y="3"/>
                            </a:cubicBezTo>
                            <a:cubicBezTo>
                              <a:pt x="32" y="2"/>
                              <a:pt x="31" y="4"/>
                              <a:pt x="29" y="4"/>
                            </a:cubicBezTo>
                            <a:cubicBezTo>
                              <a:pt x="28" y="4"/>
                              <a:pt x="27" y="2"/>
                              <a:pt x="26" y="2"/>
                            </a:cubicBezTo>
                            <a:cubicBezTo>
                              <a:pt x="24" y="3"/>
                              <a:pt x="20" y="3"/>
                              <a:pt x="20" y="5"/>
                            </a:cubicBezTo>
                            <a:cubicBezTo>
                              <a:pt x="20" y="7"/>
                              <a:pt x="24" y="6"/>
                              <a:pt x="25" y="8"/>
                            </a:cubicBezTo>
                            <a:cubicBezTo>
                              <a:pt x="26" y="8"/>
                              <a:pt x="25" y="10"/>
                              <a:pt x="24" y="10"/>
                            </a:cubicBezTo>
                            <a:cubicBezTo>
                              <a:pt x="21" y="10"/>
                              <a:pt x="20" y="7"/>
                              <a:pt x="16" y="7"/>
                            </a:cubicBezTo>
                            <a:cubicBezTo>
                              <a:pt x="15" y="7"/>
                              <a:pt x="14" y="9"/>
                              <a:pt x="15" y="10"/>
                            </a:cubicBezTo>
                            <a:cubicBezTo>
                              <a:pt x="17" y="12"/>
                              <a:pt x="19" y="13"/>
                              <a:pt x="22" y="14"/>
                            </a:cubicBezTo>
                            <a:cubicBezTo>
                              <a:pt x="24" y="15"/>
                              <a:pt x="27" y="12"/>
                              <a:pt x="28" y="14"/>
                            </a:cubicBezTo>
                            <a:cubicBezTo>
                              <a:pt x="28" y="16"/>
                              <a:pt x="24" y="17"/>
                              <a:pt x="24" y="19"/>
                            </a:cubicBezTo>
                            <a:cubicBezTo>
                              <a:pt x="23" y="21"/>
                              <a:pt x="28" y="22"/>
                              <a:pt x="27" y="23"/>
                            </a:cubicBezTo>
                            <a:cubicBezTo>
                              <a:pt x="26" y="26"/>
                              <a:pt x="23" y="28"/>
                              <a:pt x="20" y="29"/>
                            </a:cubicBezTo>
                            <a:cubicBezTo>
                              <a:pt x="18" y="30"/>
                              <a:pt x="15" y="30"/>
                              <a:pt x="13" y="28"/>
                            </a:cubicBezTo>
                            <a:cubicBezTo>
                              <a:pt x="11" y="27"/>
                              <a:pt x="10" y="23"/>
                              <a:pt x="8" y="22"/>
                            </a:cubicBezTo>
                            <a:cubicBezTo>
                              <a:pt x="7" y="21"/>
                              <a:pt x="5" y="21"/>
                              <a:pt x="4" y="22"/>
                            </a:cubicBezTo>
                            <a:cubicBezTo>
                              <a:pt x="2" y="23"/>
                              <a:pt x="0" y="26"/>
                              <a:pt x="0" y="28"/>
                            </a:cubicBezTo>
                            <a:cubicBezTo>
                              <a:pt x="0" y="31"/>
                              <a:pt x="1" y="33"/>
                              <a:pt x="2" y="35"/>
                            </a:cubicBezTo>
                            <a:cubicBezTo>
                              <a:pt x="4" y="36"/>
                              <a:pt x="6" y="38"/>
                              <a:pt x="8" y="38"/>
                            </a:cubicBezTo>
                            <a:cubicBezTo>
                              <a:pt x="9" y="39"/>
                              <a:pt x="12" y="38"/>
                              <a:pt x="13" y="39"/>
                            </a:cubicBezTo>
                            <a:cubicBezTo>
                              <a:pt x="16" y="40"/>
                              <a:pt x="18" y="42"/>
                              <a:pt x="20" y="44"/>
                            </a:cubicBezTo>
                            <a:cubicBezTo>
                              <a:pt x="21" y="45"/>
                              <a:pt x="21" y="48"/>
                              <a:pt x="22" y="49"/>
                            </a:cubicBezTo>
                            <a:cubicBezTo>
                              <a:pt x="24" y="51"/>
                              <a:pt x="26" y="50"/>
                              <a:pt x="27" y="51"/>
                            </a:cubicBezTo>
                            <a:cubicBezTo>
                              <a:pt x="28" y="53"/>
                              <a:pt x="27" y="56"/>
                              <a:pt x="28" y="57"/>
                            </a:cubicBezTo>
                            <a:cubicBezTo>
                              <a:pt x="29" y="58"/>
                              <a:pt x="31" y="57"/>
                              <a:pt x="33" y="57"/>
                            </a:cubicBezTo>
                            <a:cubicBezTo>
                              <a:pt x="34" y="57"/>
                              <a:pt x="35" y="58"/>
                              <a:pt x="36" y="58"/>
                            </a:cubicBezTo>
                            <a:cubicBezTo>
                              <a:pt x="38" y="57"/>
                              <a:pt x="40" y="56"/>
                              <a:pt x="41" y="54"/>
                            </a:cubicBezTo>
                            <a:cubicBezTo>
                              <a:pt x="42" y="52"/>
                              <a:pt x="39" y="50"/>
                              <a:pt x="40" y="49"/>
                            </a:cubicBezTo>
                            <a:cubicBezTo>
                              <a:pt x="41" y="47"/>
                              <a:pt x="42" y="51"/>
                              <a:pt x="44" y="51"/>
                            </a:cubicBezTo>
                            <a:cubicBezTo>
                              <a:pt x="46" y="52"/>
                              <a:pt x="49" y="52"/>
                              <a:pt x="52" y="51"/>
                            </a:cubicBezTo>
                            <a:cubicBezTo>
                              <a:pt x="54" y="51"/>
                              <a:pt x="57" y="50"/>
                              <a:pt x="58" y="47"/>
                            </a:cubicBezTo>
                            <a:cubicBezTo>
                              <a:pt x="59" y="45"/>
                              <a:pt x="56" y="42"/>
                              <a:pt x="57" y="39"/>
                            </a:cubicBezTo>
                            <a:cubicBezTo>
                              <a:pt x="58" y="37"/>
                              <a:pt x="62" y="36"/>
                              <a:pt x="63" y="34"/>
                            </a:cubicBezTo>
                            <a:cubicBezTo>
                              <a:pt x="64" y="33"/>
                              <a:pt x="64" y="30"/>
                              <a:pt x="62" y="30"/>
                            </a:cubicBezTo>
                            <a:cubicBezTo>
                              <a:pt x="60" y="28"/>
                              <a:pt x="57" y="31"/>
                              <a:pt x="55" y="30"/>
                            </a:cubicBezTo>
                            <a:cubicBezTo>
                              <a:pt x="54" y="29"/>
                              <a:pt x="57" y="27"/>
                              <a:pt x="57" y="26"/>
                            </a:cubicBezTo>
                            <a:cubicBezTo>
                              <a:pt x="57" y="24"/>
                              <a:pt x="56" y="22"/>
                              <a:pt x="55" y="21"/>
                            </a:cubicBezTo>
                            <a:cubicBezTo>
                              <a:pt x="54" y="20"/>
                              <a:pt x="51" y="19"/>
                              <a:pt x="50" y="19"/>
                            </a:cubicBezTo>
                            <a:cubicBezTo>
                              <a:pt x="47" y="19"/>
                              <a:pt x="46" y="24"/>
                              <a:pt x="44" y="2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60" name="Freeform 3565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811231" y="1678561"/>
                        <a:ext cx="27962" cy="9137"/>
                      </a:xfrm>
                      <a:custGeom>
                        <a:avLst/>
                        <a:gdLst>
                          <a:gd name="T0" fmla="*/ 4 w 21"/>
                          <a:gd name="T1" fmla="*/ 9 h 9"/>
                          <a:gd name="T2" fmla="*/ 1 w 21"/>
                          <a:gd name="T3" fmla="*/ 10 h 9"/>
                          <a:gd name="T4" fmla="*/ 7 w 21"/>
                          <a:gd name="T5" fmla="*/ 11 h 9"/>
                          <a:gd name="T6" fmla="*/ 15 w 21"/>
                          <a:gd name="T7" fmla="*/ 9 h 9"/>
                          <a:gd name="T8" fmla="*/ 21 w 21"/>
                          <a:gd name="T9" fmla="*/ 6 h 9"/>
                          <a:gd name="T10" fmla="*/ 23 w 21"/>
                          <a:gd name="T11" fmla="*/ 2 h 9"/>
                          <a:gd name="T12" fmla="*/ 17 w 21"/>
                          <a:gd name="T13" fmla="*/ 4 h 9"/>
                          <a:gd name="T14" fmla="*/ 8 w 21"/>
                          <a:gd name="T15" fmla="*/ 6 h 9"/>
                          <a:gd name="T16" fmla="*/ 4 w 21"/>
                          <a:gd name="T17" fmla="*/ 9 h 9"/>
                          <a:gd name="T18" fmla="*/ 0 60000 65536"/>
                          <a:gd name="T19" fmla="*/ 0 60000 65536"/>
                          <a:gd name="T20" fmla="*/ 0 60000 65536"/>
                          <a:gd name="T21" fmla="*/ 0 60000 65536"/>
                          <a:gd name="T22" fmla="*/ 0 60000 65536"/>
                          <a:gd name="T23" fmla="*/ 0 60000 65536"/>
                          <a:gd name="T24" fmla="*/ 0 60000 65536"/>
                          <a:gd name="T25" fmla="*/ 0 60000 65536"/>
                          <a:gd name="T26" fmla="*/ 0 60000 65536"/>
                          <a:gd name="T27" fmla="*/ 0 w 21"/>
                          <a:gd name="T28" fmla="*/ 0 h 9"/>
                          <a:gd name="T29" fmla="*/ 21 w 21"/>
                          <a:gd name="T30" fmla="*/ 9 h 9"/>
                        </a:gdLst>
                        <a:ahLst/>
                        <a:cxnLst>
                          <a:cxn ang="T18">
                            <a:pos x="T0" y="T1"/>
                          </a:cxn>
                          <a:cxn ang="T19">
                            <a:pos x="T2" y="T3"/>
                          </a:cxn>
                          <a:cxn ang="T20">
                            <a:pos x="T4" y="T5"/>
                          </a:cxn>
                          <a:cxn ang="T21">
                            <a:pos x="T6" y="T7"/>
                          </a:cxn>
                          <a:cxn ang="T22">
                            <a:pos x="T8" y="T9"/>
                          </a:cxn>
                          <a:cxn ang="T23">
                            <a:pos x="T10" y="T11"/>
                          </a:cxn>
                          <a:cxn ang="T24">
                            <a:pos x="T12" y="T13"/>
                          </a:cxn>
                          <a:cxn ang="T25">
                            <a:pos x="T14" y="T15"/>
                          </a:cxn>
                          <a:cxn ang="T26">
                            <a:pos x="T16" y="T17"/>
                          </a:cxn>
                        </a:cxnLst>
                        <a:rect l="T27" t="T28" r="T29" b="T30"/>
                        <a:pathLst>
                          <a:path w="21" h="9">
                            <a:moveTo>
                              <a:pt x="3" y="7"/>
                            </a:moveTo>
                            <a:cubicBezTo>
                              <a:pt x="2" y="7"/>
                              <a:pt x="0" y="8"/>
                              <a:pt x="1" y="8"/>
                            </a:cubicBezTo>
                            <a:cubicBezTo>
                              <a:pt x="3" y="9"/>
                              <a:pt x="4" y="9"/>
                              <a:pt x="6" y="9"/>
                            </a:cubicBezTo>
                            <a:cubicBezTo>
                              <a:pt x="8" y="8"/>
                              <a:pt x="11" y="8"/>
                              <a:pt x="13" y="7"/>
                            </a:cubicBezTo>
                            <a:cubicBezTo>
                              <a:pt x="15" y="7"/>
                              <a:pt x="16" y="6"/>
                              <a:pt x="18" y="5"/>
                            </a:cubicBezTo>
                            <a:cubicBezTo>
                              <a:pt x="19" y="4"/>
                              <a:pt x="21" y="2"/>
                              <a:pt x="19" y="2"/>
                            </a:cubicBezTo>
                            <a:cubicBezTo>
                              <a:pt x="18" y="0"/>
                              <a:pt x="16" y="2"/>
                              <a:pt x="14" y="3"/>
                            </a:cubicBezTo>
                            <a:cubicBezTo>
                              <a:pt x="11" y="4"/>
                              <a:pt x="9" y="4"/>
                              <a:pt x="7" y="5"/>
                            </a:cubicBezTo>
                            <a:cubicBezTo>
                              <a:pt x="6" y="6"/>
                              <a:pt x="4" y="6"/>
                              <a:pt x="3" y="7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61" name="Freeform 3566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839192" y="1699327"/>
                        <a:ext cx="10067" cy="8307"/>
                      </a:xfrm>
                      <a:custGeom>
                        <a:avLst/>
                        <a:gdLst>
                          <a:gd name="T0" fmla="*/ 6 w 7"/>
                          <a:gd name="T1" fmla="*/ 1 h 9"/>
                          <a:gd name="T2" fmla="*/ 9 w 7"/>
                          <a:gd name="T3" fmla="*/ 4 h 9"/>
                          <a:gd name="T4" fmla="*/ 6 w 7"/>
                          <a:gd name="T5" fmla="*/ 9 h 9"/>
                          <a:gd name="T6" fmla="*/ 1 w 7"/>
                          <a:gd name="T7" fmla="*/ 9 h 9"/>
                          <a:gd name="T8" fmla="*/ 1 w 7"/>
                          <a:gd name="T9" fmla="*/ 3 h 9"/>
                          <a:gd name="T10" fmla="*/ 6 w 7"/>
                          <a:gd name="T11" fmla="*/ 1 h 9"/>
                          <a:gd name="T12" fmla="*/ 0 60000 65536"/>
                          <a:gd name="T13" fmla="*/ 0 60000 65536"/>
                          <a:gd name="T14" fmla="*/ 0 60000 65536"/>
                          <a:gd name="T15" fmla="*/ 0 60000 65536"/>
                          <a:gd name="T16" fmla="*/ 0 60000 65536"/>
                          <a:gd name="T17" fmla="*/ 0 60000 65536"/>
                          <a:gd name="T18" fmla="*/ 0 w 7"/>
                          <a:gd name="T19" fmla="*/ 0 h 9"/>
                          <a:gd name="T20" fmla="*/ 7 w 7"/>
                          <a:gd name="T21" fmla="*/ 9 h 9"/>
                        </a:gdLst>
                        <a:ahLst/>
                        <a:cxnLst>
                          <a:cxn ang="T12">
                            <a:pos x="T0" y="T1"/>
                          </a:cxn>
                          <a:cxn ang="T13">
                            <a:pos x="T2" y="T3"/>
                          </a:cxn>
                          <a:cxn ang="T14">
                            <a:pos x="T4" y="T5"/>
                          </a:cxn>
                          <a:cxn ang="T15">
                            <a:pos x="T6" y="T7"/>
                          </a:cxn>
                          <a:cxn ang="T16">
                            <a:pos x="T8" y="T9"/>
                          </a:cxn>
                          <a:cxn ang="T17">
                            <a:pos x="T10" y="T11"/>
                          </a:cxn>
                        </a:cxnLst>
                        <a:rect l="T18" t="T19" r="T20" b="T21"/>
                        <a:pathLst>
                          <a:path w="7" h="9">
                            <a:moveTo>
                              <a:pt x="5" y="1"/>
                            </a:moveTo>
                            <a:cubicBezTo>
                              <a:pt x="6" y="1"/>
                              <a:pt x="7" y="3"/>
                              <a:pt x="7" y="4"/>
                            </a:cubicBezTo>
                            <a:cubicBezTo>
                              <a:pt x="7" y="6"/>
                              <a:pt x="6" y="7"/>
                              <a:pt x="5" y="8"/>
                            </a:cubicBezTo>
                            <a:cubicBezTo>
                              <a:pt x="4" y="8"/>
                              <a:pt x="2" y="9"/>
                              <a:pt x="1" y="8"/>
                            </a:cubicBezTo>
                            <a:cubicBezTo>
                              <a:pt x="0" y="6"/>
                              <a:pt x="0" y="4"/>
                              <a:pt x="1" y="3"/>
                            </a:cubicBezTo>
                            <a:cubicBezTo>
                              <a:pt x="2" y="1"/>
                              <a:pt x="3" y="0"/>
                              <a:pt x="5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62" name="Freeform 3567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860444" y="1646164"/>
                        <a:ext cx="50332" cy="24920"/>
                      </a:xfrm>
                      <a:custGeom>
                        <a:avLst/>
                        <a:gdLst>
                          <a:gd name="T0" fmla="*/ 44 w 37"/>
                          <a:gd name="T1" fmla="*/ 16 h 25"/>
                          <a:gd name="T2" fmla="*/ 41 w 37"/>
                          <a:gd name="T3" fmla="*/ 28 h 25"/>
                          <a:gd name="T4" fmla="*/ 38 w 37"/>
                          <a:gd name="T5" fmla="*/ 30 h 25"/>
                          <a:gd name="T6" fmla="*/ 26 w 37"/>
                          <a:gd name="T7" fmla="*/ 29 h 25"/>
                          <a:gd name="T8" fmla="*/ 19 w 37"/>
                          <a:gd name="T9" fmla="*/ 29 h 25"/>
                          <a:gd name="T10" fmla="*/ 17 w 37"/>
                          <a:gd name="T11" fmla="*/ 25 h 25"/>
                          <a:gd name="T12" fmla="*/ 13 w 37"/>
                          <a:gd name="T13" fmla="*/ 26 h 25"/>
                          <a:gd name="T14" fmla="*/ 9 w 37"/>
                          <a:gd name="T15" fmla="*/ 24 h 25"/>
                          <a:gd name="T16" fmla="*/ 9 w 37"/>
                          <a:gd name="T17" fmla="*/ 20 h 25"/>
                          <a:gd name="T18" fmla="*/ 5 w 37"/>
                          <a:gd name="T19" fmla="*/ 20 h 25"/>
                          <a:gd name="T20" fmla="*/ 4 w 37"/>
                          <a:gd name="T21" fmla="*/ 18 h 25"/>
                          <a:gd name="T22" fmla="*/ 0 w 37"/>
                          <a:gd name="T23" fmla="*/ 18 h 25"/>
                          <a:gd name="T24" fmla="*/ 4 w 37"/>
                          <a:gd name="T25" fmla="*/ 13 h 25"/>
                          <a:gd name="T26" fmla="*/ 12 w 37"/>
                          <a:gd name="T27" fmla="*/ 8 h 25"/>
                          <a:gd name="T28" fmla="*/ 22 w 37"/>
                          <a:gd name="T29" fmla="*/ 1 h 25"/>
                          <a:gd name="T30" fmla="*/ 29 w 37"/>
                          <a:gd name="T31" fmla="*/ 0 h 25"/>
                          <a:gd name="T32" fmla="*/ 39 w 37"/>
                          <a:gd name="T33" fmla="*/ 4 h 25"/>
                          <a:gd name="T34" fmla="*/ 45 w 37"/>
                          <a:gd name="T35" fmla="*/ 10 h 25"/>
                          <a:gd name="T36" fmla="*/ 44 w 37"/>
                          <a:gd name="T37" fmla="*/ 16 h 25"/>
                          <a:gd name="T38" fmla="*/ 0 60000 65536"/>
                          <a:gd name="T39" fmla="*/ 0 60000 65536"/>
                          <a:gd name="T40" fmla="*/ 0 60000 65536"/>
                          <a:gd name="T41" fmla="*/ 0 60000 65536"/>
                          <a:gd name="T42" fmla="*/ 0 60000 65536"/>
                          <a:gd name="T43" fmla="*/ 0 60000 65536"/>
                          <a:gd name="T44" fmla="*/ 0 60000 65536"/>
                          <a:gd name="T45" fmla="*/ 0 60000 65536"/>
                          <a:gd name="T46" fmla="*/ 0 60000 65536"/>
                          <a:gd name="T47" fmla="*/ 0 60000 65536"/>
                          <a:gd name="T48" fmla="*/ 0 60000 65536"/>
                          <a:gd name="T49" fmla="*/ 0 60000 65536"/>
                          <a:gd name="T50" fmla="*/ 0 60000 65536"/>
                          <a:gd name="T51" fmla="*/ 0 60000 65536"/>
                          <a:gd name="T52" fmla="*/ 0 60000 65536"/>
                          <a:gd name="T53" fmla="*/ 0 60000 65536"/>
                          <a:gd name="T54" fmla="*/ 0 60000 65536"/>
                          <a:gd name="T55" fmla="*/ 0 60000 65536"/>
                          <a:gd name="T56" fmla="*/ 0 60000 65536"/>
                          <a:gd name="T57" fmla="*/ 0 w 37"/>
                          <a:gd name="T58" fmla="*/ 0 h 25"/>
                          <a:gd name="T59" fmla="*/ 37 w 37"/>
                          <a:gd name="T60" fmla="*/ 25 h 25"/>
                        </a:gdLst>
                        <a:ahLst/>
                        <a:cxnLst>
                          <a:cxn ang="T38">
                            <a:pos x="T0" y="T1"/>
                          </a:cxn>
                          <a:cxn ang="T39">
                            <a:pos x="T2" y="T3"/>
                          </a:cxn>
                          <a:cxn ang="T40">
                            <a:pos x="T4" y="T5"/>
                          </a:cxn>
                          <a:cxn ang="T41">
                            <a:pos x="T6" y="T7"/>
                          </a:cxn>
                          <a:cxn ang="T42">
                            <a:pos x="T8" y="T9"/>
                          </a:cxn>
                          <a:cxn ang="T43">
                            <a:pos x="T10" y="T11"/>
                          </a:cxn>
                          <a:cxn ang="T44">
                            <a:pos x="T12" y="T13"/>
                          </a:cxn>
                          <a:cxn ang="T45">
                            <a:pos x="T14" y="T15"/>
                          </a:cxn>
                          <a:cxn ang="T46">
                            <a:pos x="T16" y="T17"/>
                          </a:cxn>
                          <a:cxn ang="T47">
                            <a:pos x="T18" y="T19"/>
                          </a:cxn>
                          <a:cxn ang="T48">
                            <a:pos x="T20" y="T21"/>
                          </a:cxn>
                          <a:cxn ang="T49">
                            <a:pos x="T22" y="T23"/>
                          </a:cxn>
                          <a:cxn ang="T50">
                            <a:pos x="T24" y="T25"/>
                          </a:cxn>
                          <a:cxn ang="T51">
                            <a:pos x="T26" y="T27"/>
                          </a:cxn>
                          <a:cxn ang="T52">
                            <a:pos x="T28" y="T29"/>
                          </a:cxn>
                          <a:cxn ang="T53">
                            <a:pos x="T30" y="T31"/>
                          </a:cxn>
                          <a:cxn ang="T54">
                            <a:pos x="T32" y="T33"/>
                          </a:cxn>
                          <a:cxn ang="T55">
                            <a:pos x="T34" y="T35"/>
                          </a:cxn>
                          <a:cxn ang="T56">
                            <a:pos x="T36" y="T37"/>
                          </a:cxn>
                        </a:cxnLst>
                        <a:rect l="T57" t="T58" r="T59" b="T60"/>
                        <a:pathLst>
                          <a:path w="37" h="25">
                            <a:moveTo>
                              <a:pt x="36" y="13"/>
                            </a:moveTo>
                            <a:cubicBezTo>
                              <a:pt x="35" y="16"/>
                              <a:pt x="35" y="20"/>
                              <a:pt x="34" y="23"/>
                            </a:cubicBezTo>
                            <a:cubicBezTo>
                              <a:pt x="34" y="24"/>
                              <a:pt x="32" y="24"/>
                              <a:pt x="31" y="25"/>
                            </a:cubicBezTo>
                            <a:cubicBezTo>
                              <a:pt x="28" y="25"/>
                              <a:pt x="25" y="25"/>
                              <a:pt x="21" y="24"/>
                            </a:cubicBezTo>
                            <a:cubicBezTo>
                              <a:pt x="20" y="24"/>
                              <a:pt x="18" y="24"/>
                              <a:pt x="16" y="24"/>
                            </a:cubicBezTo>
                            <a:cubicBezTo>
                              <a:pt x="15" y="23"/>
                              <a:pt x="15" y="21"/>
                              <a:pt x="14" y="21"/>
                            </a:cubicBezTo>
                            <a:cubicBezTo>
                              <a:pt x="13" y="21"/>
                              <a:pt x="12" y="22"/>
                              <a:pt x="11" y="22"/>
                            </a:cubicBezTo>
                            <a:cubicBezTo>
                              <a:pt x="9" y="22"/>
                              <a:pt x="8" y="21"/>
                              <a:pt x="7" y="20"/>
                            </a:cubicBezTo>
                            <a:cubicBezTo>
                              <a:pt x="6" y="19"/>
                              <a:pt x="8" y="17"/>
                              <a:pt x="7" y="17"/>
                            </a:cubicBezTo>
                            <a:cubicBezTo>
                              <a:pt x="6" y="16"/>
                              <a:pt x="5" y="17"/>
                              <a:pt x="4" y="17"/>
                            </a:cubicBezTo>
                            <a:cubicBezTo>
                              <a:pt x="3" y="17"/>
                              <a:pt x="3" y="15"/>
                              <a:pt x="3" y="15"/>
                            </a:cubicBezTo>
                            <a:cubicBezTo>
                              <a:pt x="2" y="15"/>
                              <a:pt x="0" y="16"/>
                              <a:pt x="0" y="15"/>
                            </a:cubicBezTo>
                            <a:cubicBezTo>
                              <a:pt x="0" y="13"/>
                              <a:pt x="1" y="12"/>
                              <a:pt x="3" y="11"/>
                            </a:cubicBezTo>
                            <a:cubicBezTo>
                              <a:pt x="5" y="9"/>
                              <a:pt x="8" y="8"/>
                              <a:pt x="10" y="7"/>
                            </a:cubicBezTo>
                            <a:cubicBezTo>
                              <a:pt x="13" y="5"/>
                              <a:pt x="15" y="2"/>
                              <a:pt x="18" y="1"/>
                            </a:cubicBezTo>
                            <a:cubicBezTo>
                              <a:pt x="20" y="0"/>
                              <a:pt x="22" y="0"/>
                              <a:pt x="24" y="0"/>
                            </a:cubicBezTo>
                            <a:cubicBezTo>
                              <a:pt x="27" y="0"/>
                              <a:pt x="30" y="1"/>
                              <a:pt x="32" y="3"/>
                            </a:cubicBezTo>
                            <a:cubicBezTo>
                              <a:pt x="34" y="4"/>
                              <a:pt x="36" y="6"/>
                              <a:pt x="37" y="8"/>
                            </a:cubicBezTo>
                            <a:cubicBezTo>
                              <a:pt x="37" y="10"/>
                              <a:pt x="36" y="11"/>
                              <a:pt x="36" y="13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63" name="Freeform 3568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892881" y="1637857"/>
                        <a:ext cx="7830" cy="7476"/>
                      </a:xfrm>
                      <a:custGeom>
                        <a:avLst/>
                        <a:gdLst>
                          <a:gd name="T0" fmla="*/ 1 w 6"/>
                          <a:gd name="T1" fmla="*/ 1 h 7"/>
                          <a:gd name="T2" fmla="*/ 1 w 6"/>
                          <a:gd name="T3" fmla="*/ 6 h 7"/>
                          <a:gd name="T4" fmla="*/ 6 w 6"/>
                          <a:gd name="T5" fmla="*/ 8 h 7"/>
                          <a:gd name="T6" fmla="*/ 6 w 6"/>
                          <a:gd name="T7" fmla="*/ 1 h 7"/>
                          <a:gd name="T8" fmla="*/ 1 w 6"/>
                          <a:gd name="T9" fmla="*/ 1 h 7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6"/>
                          <a:gd name="T16" fmla="*/ 0 h 7"/>
                          <a:gd name="T17" fmla="*/ 6 w 6"/>
                          <a:gd name="T18" fmla="*/ 7 h 7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6" h="7">
                            <a:moveTo>
                              <a:pt x="1" y="1"/>
                            </a:moveTo>
                            <a:cubicBezTo>
                              <a:pt x="0" y="2"/>
                              <a:pt x="0" y="4"/>
                              <a:pt x="1" y="5"/>
                            </a:cubicBezTo>
                            <a:cubicBezTo>
                              <a:pt x="2" y="6"/>
                              <a:pt x="4" y="7"/>
                              <a:pt x="5" y="6"/>
                            </a:cubicBezTo>
                            <a:cubicBezTo>
                              <a:pt x="6" y="5"/>
                              <a:pt x="6" y="2"/>
                              <a:pt x="5" y="1"/>
                            </a:cubicBezTo>
                            <a:cubicBezTo>
                              <a:pt x="4" y="0"/>
                              <a:pt x="2" y="0"/>
                              <a:pt x="1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64" name="Freeform 3569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857089" y="1645335"/>
                        <a:ext cx="16778" cy="8307"/>
                      </a:xfrm>
                      <a:custGeom>
                        <a:avLst/>
                        <a:gdLst>
                          <a:gd name="T0" fmla="*/ 15 w 13"/>
                          <a:gd name="T1" fmla="*/ 2 h 9"/>
                          <a:gd name="T2" fmla="*/ 13 w 13"/>
                          <a:gd name="T3" fmla="*/ 4 h 9"/>
                          <a:gd name="T4" fmla="*/ 9 w 13"/>
                          <a:gd name="T5" fmla="*/ 2 h 9"/>
                          <a:gd name="T6" fmla="*/ 6 w 13"/>
                          <a:gd name="T7" fmla="*/ 8 h 9"/>
                          <a:gd name="T8" fmla="*/ 1 w 13"/>
                          <a:gd name="T9" fmla="*/ 9 h 9"/>
                          <a:gd name="T10" fmla="*/ 2 w 13"/>
                          <a:gd name="T11" fmla="*/ 3 h 9"/>
                          <a:gd name="T12" fmla="*/ 7 w 13"/>
                          <a:gd name="T13" fmla="*/ 2 h 9"/>
                          <a:gd name="T14" fmla="*/ 12 w 13"/>
                          <a:gd name="T15" fmla="*/ 0 h 9"/>
                          <a:gd name="T16" fmla="*/ 15 w 13"/>
                          <a:gd name="T17" fmla="*/ 2 h 9"/>
                          <a:gd name="T18" fmla="*/ 0 60000 65536"/>
                          <a:gd name="T19" fmla="*/ 0 60000 65536"/>
                          <a:gd name="T20" fmla="*/ 0 60000 65536"/>
                          <a:gd name="T21" fmla="*/ 0 60000 65536"/>
                          <a:gd name="T22" fmla="*/ 0 60000 65536"/>
                          <a:gd name="T23" fmla="*/ 0 60000 65536"/>
                          <a:gd name="T24" fmla="*/ 0 60000 65536"/>
                          <a:gd name="T25" fmla="*/ 0 60000 65536"/>
                          <a:gd name="T26" fmla="*/ 0 60000 65536"/>
                          <a:gd name="T27" fmla="*/ 0 w 13"/>
                          <a:gd name="T28" fmla="*/ 0 h 9"/>
                          <a:gd name="T29" fmla="*/ 13 w 13"/>
                          <a:gd name="T30" fmla="*/ 9 h 9"/>
                        </a:gdLst>
                        <a:ahLst/>
                        <a:cxnLst>
                          <a:cxn ang="T18">
                            <a:pos x="T0" y="T1"/>
                          </a:cxn>
                          <a:cxn ang="T19">
                            <a:pos x="T2" y="T3"/>
                          </a:cxn>
                          <a:cxn ang="T20">
                            <a:pos x="T4" y="T5"/>
                          </a:cxn>
                          <a:cxn ang="T21">
                            <a:pos x="T6" y="T7"/>
                          </a:cxn>
                          <a:cxn ang="T22">
                            <a:pos x="T8" y="T9"/>
                          </a:cxn>
                          <a:cxn ang="T23">
                            <a:pos x="T10" y="T11"/>
                          </a:cxn>
                          <a:cxn ang="T24">
                            <a:pos x="T12" y="T13"/>
                          </a:cxn>
                          <a:cxn ang="T25">
                            <a:pos x="T14" y="T15"/>
                          </a:cxn>
                          <a:cxn ang="T26">
                            <a:pos x="T16" y="T17"/>
                          </a:cxn>
                        </a:cxnLst>
                        <a:rect l="T27" t="T28" r="T29" b="T30"/>
                        <a:pathLst>
                          <a:path w="13" h="9">
                            <a:moveTo>
                              <a:pt x="13" y="2"/>
                            </a:moveTo>
                            <a:cubicBezTo>
                              <a:pt x="13" y="3"/>
                              <a:pt x="12" y="4"/>
                              <a:pt x="11" y="4"/>
                            </a:cubicBezTo>
                            <a:cubicBezTo>
                              <a:pt x="10" y="4"/>
                              <a:pt x="9" y="2"/>
                              <a:pt x="8" y="2"/>
                            </a:cubicBezTo>
                            <a:cubicBezTo>
                              <a:pt x="6" y="3"/>
                              <a:pt x="7" y="6"/>
                              <a:pt x="5" y="7"/>
                            </a:cubicBezTo>
                            <a:cubicBezTo>
                              <a:pt x="4" y="8"/>
                              <a:pt x="2" y="9"/>
                              <a:pt x="1" y="8"/>
                            </a:cubicBezTo>
                            <a:cubicBezTo>
                              <a:pt x="0" y="7"/>
                              <a:pt x="1" y="5"/>
                              <a:pt x="2" y="3"/>
                            </a:cubicBezTo>
                            <a:cubicBezTo>
                              <a:pt x="3" y="2"/>
                              <a:pt x="5" y="3"/>
                              <a:pt x="6" y="2"/>
                            </a:cubicBezTo>
                            <a:cubicBezTo>
                              <a:pt x="7" y="2"/>
                              <a:pt x="8" y="0"/>
                              <a:pt x="10" y="0"/>
                            </a:cubicBezTo>
                            <a:cubicBezTo>
                              <a:pt x="11" y="0"/>
                              <a:pt x="12" y="1"/>
                              <a:pt x="13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65" name="Freeform 3570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696026" y="1686868"/>
                        <a:ext cx="41384" cy="22429"/>
                      </a:xfrm>
                      <a:custGeom>
                        <a:avLst/>
                        <a:gdLst>
                          <a:gd name="T0" fmla="*/ 35 w 31"/>
                          <a:gd name="T1" fmla="*/ 5 h 22"/>
                          <a:gd name="T2" fmla="*/ 37 w 31"/>
                          <a:gd name="T3" fmla="*/ 9 h 22"/>
                          <a:gd name="T4" fmla="*/ 24 w 31"/>
                          <a:gd name="T5" fmla="*/ 21 h 22"/>
                          <a:gd name="T6" fmla="*/ 23 w 31"/>
                          <a:gd name="T7" fmla="*/ 26 h 22"/>
                          <a:gd name="T8" fmla="*/ 18 w 31"/>
                          <a:gd name="T9" fmla="*/ 20 h 22"/>
                          <a:gd name="T10" fmla="*/ 10 w 31"/>
                          <a:gd name="T11" fmla="*/ 12 h 22"/>
                          <a:gd name="T12" fmla="*/ 1 w 31"/>
                          <a:gd name="T13" fmla="*/ 9 h 22"/>
                          <a:gd name="T14" fmla="*/ 5 w 31"/>
                          <a:gd name="T15" fmla="*/ 5 h 22"/>
                          <a:gd name="T16" fmla="*/ 13 w 31"/>
                          <a:gd name="T17" fmla="*/ 4 h 22"/>
                          <a:gd name="T18" fmla="*/ 20 w 31"/>
                          <a:gd name="T19" fmla="*/ 4 h 22"/>
                          <a:gd name="T20" fmla="*/ 26 w 31"/>
                          <a:gd name="T21" fmla="*/ 0 h 22"/>
                          <a:gd name="T22" fmla="*/ 35 w 31"/>
                          <a:gd name="T23" fmla="*/ 5 h 22"/>
                          <a:gd name="T24" fmla="*/ 0 60000 65536"/>
                          <a:gd name="T25" fmla="*/ 0 60000 65536"/>
                          <a:gd name="T26" fmla="*/ 0 60000 65536"/>
                          <a:gd name="T27" fmla="*/ 0 60000 65536"/>
                          <a:gd name="T28" fmla="*/ 0 60000 65536"/>
                          <a:gd name="T29" fmla="*/ 0 60000 65536"/>
                          <a:gd name="T30" fmla="*/ 0 60000 65536"/>
                          <a:gd name="T31" fmla="*/ 0 60000 65536"/>
                          <a:gd name="T32" fmla="*/ 0 60000 65536"/>
                          <a:gd name="T33" fmla="*/ 0 60000 65536"/>
                          <a:gd name="T34" fmla="*/ 0 60000 65536"/>
                          <a:gd name="T35" fmla="*/ 0 60000 65536"/>
                          <a:gd name="T36" fmla="*/ 0 w 31"/>
                          <a:gd name="T37" fmla="*/ 0 h 22"/>
                          <a:gd name="T38" fmla="*/ 31 w 31"/>
                          <a:gd name="T39" fmla="*/ 22 h 22"/>
                        </a:gdLst>
                        <a:ahLst/>
                        <a:cxnLst>
                          <a:cxn ang="T24">
                            <a:pos x="T0" y="T1"/>
                          </a:cxn>
                          <a:cxn ang="T25">
                            <a:pos x="T2" y="T3"/>
                          </a:cxn>
                          <a:cxn ang="T26">
                            <a:pos x="T4" y="T5"/>
                          </a:cxn>
                          <a:cxn ang="T27">
                            <a:pos x="T6" y="T7"/>
                          </a:cxn>
                          <a:cxn ang="T28">
                            <a:pos x="T8" y="T9"/>
                          </a:cxn>
                          <a:cxn ang="T29">
                            <a:pos x="T10" y="T11"/>
                          </a:cxn>
                          <a:cxn ang="T30">
                            <a:pos x="T12" y="T13"/>
                          </a:cxn>
                          <a:cxn ang="T31">
                            <a:pos x="T14" y="T15"/>
                          </a:cxn>
                          <a:cxn ang="T32">
                            <a:pos x="T16" y="T17"/>
                          </a:cxn>
                          <a:cxn ang="T33">
                            <a:pos x="T18" y="T19"/>
                          </a:cxn>
                          <a:cxn ang="T34">
                            <a:pos x="T20" y="T21"/>
                          </a:cxn>
                          <a:cxn ang="T35">
                            <a:pos x="T22" y="T23"/>
                          </a:cxn>
                        </a:cxnLst>
                        <a:rect l="T36" t="T37" r="T38" b="T39"/>
                        <a:pathLst>
                          <a:path w="31" h="22">
                            <a:moveTo>
                              <a:pt x="29" y="4"/>
                            </a:moveTo>
                            <a:cubicBezTo>
                              <a:pt x="30" y="4"/>
                              <a:pt x="31" y="6"/>
                              <a:pt x="31" y="7"/>
                            </a:cubicBezTo>
                            <a:cubicBezTo>
                              <a:pt x="28" y="11"/>
                              <a:pt x="23" y="14"/>
                              <a:pt x="20" y="17"/>
                            </a:cubicBezTo>
                            <a:cubicBezTo>
                              <a:pt x="20" y="18"/>
                              <a:pt x="21" y="22"/>
                              <a:pt x="19" y="21"/>
                            </a:cubicBezTo>
                            <a:cubicBezTo>
                              <a:pt x="17" y="21"/>
                              <a:pt x="16" y="18"/>
                              <a:pt x="15" y="16"/>
                            </a:cubicBezTo>
                            <a:cubicBezTo>
                              <a:pt x="13" y="14"/>
                              <a:pt x="11" y="11"/>
                              <a:pt x="8" y="10"/>
                            </a:cubicBezTo>
                            <a:cubicBezTo>
                              <a:pt x="6" y="8"/>
                              <a:pt x="3" y="9"/>
                              <a:pt x="1" y="7"/>
                            </a:cubicBezTo>
                            <a:cubicBezTo>
                              <a:pt x="0" y="6"/>
                              <a:pt x="3" y="5"/>
                              <a:pt x="4" y="4"/>
                            </a:cubicBezTo>
                            <a:cubicBezTo>
                              <a:pt x="6" y="3"/>
                              <a:pt x="9" y="3"/>
                              <a:pt x="11" y="3"/>
                            </a:cubicBezTo>
                            <a:cubicBezTo>
                              <a:pt x="13" y="2"/>
                              <a:pt x="15" y="3"/>
                              <a:pt x="17" y="3"/>
                            </a:cubicBezTo>
                            <a:cubicBezTo>
                              <a:pt x="19" y="3"/>
                              <a:pt x="20" y="0"/>
                              <a:pt x="22" y="0"/>
                            </a:cubicBezTo>
                            <a:cubicBezTo>
                              <a:pt x="25" y="1"/>
                              <a:pt x="27" y="2"/>
                              <a:pt x="29" y="4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66" name="Freeform 3571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504764" y="1696004"/>
                        <a:ext cx="260609" cy="108817"/>
                      </a:xfrm>
                      <a:custGeom>
                        <a:avLst/>
                        <a:gdLst>
                          <a:gd name="T0" fmla="*/ 189 w 194"/>
                          <a:gd name="T1" fmla="*/ 37 h 109"/>
                          <a:gd name="T2" fmla="*/ 190 w 194"/>
                          <a:gd name="T3" fmla="*/ 60 h 109"/>
                          <a:gd name="T4" fmla="*/ 211 w 194"/>
                          <a:gd name="T5" fmla="*/ 76 h 109"/>
                          <a:gd name="T6" fmla="*/ 231 w 194"/>
                          <a:gd name="T7" fmla="*/ 87 h 109"/>
                          <a:gd name="T8" fmla="*/ 221 w 194"/>
                          <a:gd name="T9" fmla="*/ 96 h 109"/>
                          <a:gd name="T10" fmla="*/ 203 w 194"/>
                          <a:gd name="T11" fmla="*/ 97 h 109"/>
                          <a:gd name="T12" fmla="*/ 193 w 194"/>
                          <a:gd name="T13" fmla="*/ 100 h 109"/>
                          <a:gd name="T14" fmla="*/ 198 w 194"/>
                          <a:gd name="T15" fmla="*/ 111 h 109"/>
                          <a:gd name="T16" fmla="*/ 211 w 194"/>
                          <a:gd name="T17" fmla="*/ 109 h 109"/>
                          <a:gd name="T18" fmla="*/ 187 w 194"/>
                          <a:gd name="T19" fmla="*/ 123 h 109"/>
                          <a:gd name="T20" fmla="*/ 169 w 194"/>
                          <a:gd name="T21" fmla="*/ 120 h 109"/>
                          <a:gd name="T22" fmla="*/ 156 w 194"/>
                          <a:gd name="T23" fmla="*/ 113 h 109"/>
                          <a:gd name="T24" fmla="*/ 153 w 194"/>
                          <a:gd name="T25" fmla="*/ 106 h 109"/>
                          <a:gd name="T26" fmla="*/ 126 w 194"/>
                          <a:gd name="T27" fmla="*/ 119 h 109"/>
                          <a:gd name="T28" fmla="*/ 107 w 194"/>
                          <a:gd name="T29" fmla="*/ 126 h 109"/>
                          <a:gd name="T30" fmla="*/ 79 w 194"/>
                          <a:gd name="T31" fmla="*/ 130 h 109"/>
                          <a:gd name="T32" fmla="*/ 52 w 194"/>
                          <a:gd name="T33" fmla="*/ 119 h 109"/>
                          <a:gd name="T34" fmla="*/ 34 w 194"/>
                          <a:gd name="T35" fmla="*/ 111 h 109"/>
                          <a:gd name="T36" fmla="*/ 17 w 194"/>
                          <a:gd name="T37" fmla="*/ 103 h 109"/>
                          <a:gd name="T38" fmla="*/ 20 w 194"/>
                          <a:gd name="T39" fmla="*/ 88 h 109"/>
                          <a:gd name="T40" fmla="*/ 50 w 194"/>
                          <a:gd name="T41" fmla="*/ 83 h 109"/>
                          <a:gd name="T42" fmla="*/ 79 w 194"/>
                          <a:gd name="T43" fmla="*/ 85 h 109"/>
                          <a:gd name="T44" fmla="*/ 91 w 194"/>
                          <a:gd name="T45" fmla="*/ 81 h 109"/>
                          <a:gd name="T46" fmla="*/ 56 w 194"/>
                          <a:gd name="T47" fmla="*/ 71 h 109"/>
                          <a:gd name="T48" fmla="*/ 23 w 194"/>
                          <a:gd name="T49" fmla="*/ 73 h 109"/>
                          <a:gd name="T50" fmla="*/ 8 w 194"/>
                          <a:gd name="T51" fmla="*/ 65 h 109"/>
                          <a:gd name="T52" fmla="*/ 35 w 194"/>
                          <a:gd name="T53" fmla="*/ 56 h 109"/>
                          <a:gd name="T54" fmla="*/ 50 w 194"/>
                          <a:gd name="T55" fmla="*/ 52 h 109"/>
                          <a:gd name="T56" fmla="*/ 20 w 194"/>
                          <a:gd name="T57" fmla="*/ 56 h 109"/>
                          <a:gd name="T58" fmla="*/ 11 w 194"/>
                          <a:gd name="T59" fmla="*/ 56 h 109"/>
                          <a:gd name="T60" fmla="*/ 5 w 194"/>
                          <a:gd name="T61" fmla="*/ 49 h 109"/>
                          <a:gd name="T62" fmla="*/ 13 w 194"/>
                          <a:gd name="T63" fmla="*/ 37 h 109"/>
                          <a:gd name="T64" fmla="*/ 16 w 194"/>
                          <a:gd name="T65" fmla="*/ 25 h 109"/>
                          <a:gd name="T66" fmla="*/ 47 w 194"/>
                          <a:gd name="T67" fmla="*/ 8 h 109"/>
                          <a:gd name="T68" fmla="*/ 74 w 194"/>
                          <a:gd name="T69" fmla="*/ 1 h 109"/>
                          <a:gd name="T70" fmla="*/ 78 w 194"/>
                          <a:gd name="T71" fmla="*/ 14 h 109"/>
                          <a:gd name="T72" fmla="*/ 70 w 194"/>
                          <a:gd name="T73" fmla="*/ 23 h 109"/>
                          <a:gd name="T74" fmla="*/ 84 w 194"/>
                          <a:gd name="T75" fmla="*/ 19 h 109"/>
                          <a:gd name="T76" fmla="*/ 112 w 194"/>
                          <a:gd name="T77" fmla="*/ 17 h 109"/>
                          <a:gd name="T78" fmla="*/ 101 w 194"/>
                          <a:gd name="T79" fmla="*/ 31 h 109"/>
                          <a:gd name="T80" fmla="*/ 113 w 194"/>
                          <a:gd name="T81" fmla="*/ 31 h 109"/>
                          <a:gd name="T82" fmla="*/ 127 w 194"/>
                          <a:gd name="T83" fmla="*/ 24 h 109"/>
                          <a:gd name="T84" fmla="*/ 131 w 194"/>
                          <a:gd name="T85" fmla="*/ 11 h 109"/>
                          <a:gd name="T86" fmla="*/ 142 w 194"/>
                          <a:gd name="T87" fmla="*/ 36 h 109"/>
                          <a:gd name="T88" fmla="*/ 160 w 194"/>
                          <a:gd name="T89" fmla="*/ 43 h 109"/>
                          <a:gd name="T90" fmla="*/ 156 w 194"/>
                          <a:gd name="T91" fmla="*/ 14 h 109"/>
                          <a:gd name="T92" fmla="*/ 171 w 194"/>
                          <a:gd name="T93" fmla="*/ 6 h 109"/>
                          <a:gd name="T94" fmla="*/ 191 w 194"/>
                          <a:gd name="T95" fmla="*/ 14 h 109"/>
                          <a:gd name="T96" fmla="*/ 0 60000 65536"/>
                          <a:gd name="T97" fmla="*/ 0 60000 65536"/>
                          <a:gd name="T98" fmla="*/ 0 60000 65536"/>
                          <a:gd name="T99" fmla="*/ 0 60000 65536"/>
                          <a:gd name="T100" fmla="*/ 0 60000 65536"/>
                          <a:gd name="T101" fmla="*/ 0 60000 65536"/>
                          <a:gd name="T102" fmla="*/ 0 60000 65536"/>
                          <a:gd name="T103" fmla="*/ 0 60000 65536"/>
                          <a:gd name="T104" fmla="*/ 0 60000 65536"/>
                          <a:gd name="T105" fmla="*/ 0 60000 65536"/>
                          <a:gd name="T106" fmla="*/ 0 60000 65536"/>
                          <a:gd name="T107" fmla="*/ 0 60000 65536"/>
                          <a:gd name="T108" fmla="*/ 0 60000 65536"/>
                          <a:gd name="T109" fmla="*/ 0 60000 65536"/>
                          <a:gd name="T110" fmla="*/ 0 60000 65536"/>
                          <a:gd name="T111" fmla="*/ 0 60000 65536"/>
                          <a:gd name="T112" fmla="*/ 0 60000 65536"/>
                          <a:gd name="T113" fmla="*/ 0 60000 65536"/>
                          <a:gd name="T114" fmla="*/ 0 60000 65536"/>
                          <a:gd name="T115" fmla="*/ 0 60000 65536"/>
                          <a:gd name="T116" fmla="*/ 0 60000 65536"/>
                          <a:gd name="T117" fmla="*/ 0 60000 65536"/>
                          <a:gd name="T118" fmla="*/ 0 60000 65536"/>
                          <a:gd name="T119" fmla="*/ 0 60000 65536"/>
                          <a:gd name="T120" fmla="*/ 0 60000 65536"/>
                          <a:gd name="T121" fmla="*/ 0 60000 65536"/>
                          <a:gd name="T122" fmla="*/ 0 60000 65536"/>
                          <a:gd name="T123" fmla="*/ 0 60000 65536"/>
                          <a:gd name="T124" fmla="*/ 0 60000 65536"/>
                          <a:gd name="T125" fmla="*/ 0 60000 65536"/>
                          <a:gd name="T126" fmla="*/ 0 60000 65536"/>
                          <a:gd name="T127" fmla="*/ 0 60000 65536"/>
                          <a:gd name="T128" fmla="*/ 0 60000 65536"/>
                          <a:gd name="T129" fmla="*/ 0 60000 65536"/>
                          <a:gd name="T130" fmla="*/ 0 60000 65536"/>
                          <a:gd name="T131" fmla="*/ 0 60000 65536"/>
                          <a:gd name="T132" fmla="*/ 0 60000 65536"/>
                          <a:gd name="T133" fmla="*/ 0 60000 65536"/>
                          <a:gd name="T134" fmla="*/ 0 60000 65536"/>
                          <a:gd name="T135" fmla="*/ 0 60000 65536"/>
                          <a:gd name="T136" fmla="*/ 0 60000 65536"/>
                          <a:gd name="T137" fmla="*/ 0 60000 65536"/>
                          <a:gd name="T138" fmla="*/ 0 60000 65536"/>
                          <a:gd name="T139" fmla="*/ 0 60000 65536"/>
                          <a:gd name="T140" fmla="*/ 0 60000 65536"/>
                          <a:gd name="T141" fmla="*/ 0 60000 65536"/>
                          <a:gd name="T142" fmla="*/ 0 60000 65536"/>
                          <a:gd name="T143" fmla="*/ 0 60000 65536"/>
                          <a:gd name="T144" fmla="*/ 0 w 194"/>
                          <a:gd name="T145" fmla="*/ 0 h 109"/>
                          <a:gd name="T146" fmla="*/ 194 w 194"/>
                          <a:gd name="T147" fmla="*/ 109 h 109"/>
                        </a:gdLst>
                        <a:ahLst/>
                        <a:cxnLst>
                          <a:cxn ang="T96">
                            <a:pos x="T0" y="T1"/>
                          </a:cxn>
                          <a:cxn ang="T97">
                            <a:pos x="T2" y="T3"/>
                          </a:cxn>
                          <a:cxn ang="T98">
                            <a:pos x="T4" y="T5"/>
                          </a:cxn>
                          <a:cxn ang="T99">
                            <a:pos x="T6" y="T7"/>
                          </a:cxn>
                          <a:cxn ang="T100">
                            <a:pos x="T8" y="T9"/>
                          </a:cxn>
                          <a:cxn ang="T101">
                            <a:pos x="T10" y="T11"/>
                          </a:cxn>
                          <a:cxn ang="T102">
                            <a:pos x="T12" y="T13"/>
                          </a:cxn>
                          <a:cxn ang="T103">
                            <a:pos x="T14" y="T15"/>
                          </a:cxn>
                          <a:cxn ang="T104">
                            <a:pos x="T16" y="T17"/>
                          </a:cxn>
                          <a:cxn ang="T105">
                            <a:pos x="T18" y="T19"/>
                          </a:cxn>
                          <a:cxn ang="T106">
                            <a:pos x="T20" y="T21"/>
                          </a:cxn>
                          <a:cxn ang="T107">
                            <a:pos x="T22" y="T23"/>
                          </a:cxn>
                          <a:cxn ang="T108">
                            <a:pos x="T24" y="T25"/>
                          </a:cxn>
                          <a:cxn ang="T109">
                            <a:pos x="T26" y="T27"/>
                          </a:cxn>
                          <a:cxn ang="T110">
                            <a:pos x="T28" y="T29"/>
                          </a:cxn>
                          <a:cxn ang="T111">
                            <a:pos x="T30" y="T31"/>
                          </a:cxn>
                          <a:cxn ang="T112">
                            <a:pos x="T32" y="T33"/>
                          </a:cxn>
                          <a:cxn ang="T113">
                            <a:pos x="T34" y="T35"/>
                          </a:cxn>
                          <a:cxn ang="T114">
                            <a:pos x="T36" y="T37"/>
                          </a:cxn>
                          <a:cxn ang="T115">
                            <a:pos x="T38" y="T39"/>
                          </a:cxn>
                          <a:cxn ang="T116">
                            <a:pos x="T40" y="T41"/>
                          </a:cxn>
                          <a:cxn ang="T117">
                            <a:pos x="T42" y="T43"/>
                          </a:cxn>
                          <a:cxn ang="T118">
                            <a:pos x="T44" y="T45"/>
                          </a:cxn>
                          <a:cxn ang="T119">
                            <a:pos x="T46" y="T47"/>
                          </a:cxn>
                          <a:cxn ang="T120">
                            <a:pos x="T48" y="T49"/>
                          </a:cxn>
                          <a:cxn ang="T121">
                            <a:pos x="T50" y="T51"/>
                          </a:cxn>
                          <a:cxn ang="T122">
                            <a:pos x="T52" y="T53"/>
                          </a:cxn>
                          <a:cxn ang="T123">
                            <a:pos x="T54" y="T55"/>
                          </a:cxn>
                          <a:cxn ang="T124">
                            <a:pos x="T56" y="T57"/>
                          </a:cxn>
                          <a:cxn ang="T125">
                            <a:pos x="T58" y="T59"/>
                          </a:cxn>
                          <a:cxn ang="T126">
                            <a:pos x="T60" y="T61"/>
                          </a:cxn>
                          <a:cxn ang="T127">
                            <a:pos x="T62" y="T63"/>
                          </a:cxn>
                          <a:cxn ang="T128">
                            <a:pos x="T64" y="T65"/>
                          </a:cxn>
                          <a:cxn ang="T129">
                            <a:pos x="T66" y="T67"/>
                          </a:cxn>
                          <a:cxn ang="T130">
                            <a:pos x="T68" y="T69"/>
                          </a:cxn>
                          <a:cxn ang="T131">
                            <a:pos x="T70" y="T71"/>
                          </a:cxn>
                          <a:cxn ang="T132">
                            <a:pos x="T72" y="T73"/>
                          </a:cxn>
                          <a:cxn ang="T133">
                            <a:pos x="T74" y="T75"/>
                          </a:cxn>
                          <a:cxn ang="T134">
                            <a:pos x="T76" y="T77"/>
                          </a:cxn>
                          <a:cxn ang="T135">
                            <a:pos x="T78" y="T79"/>
                          </a:cxn>
                          <a:cxn ang="T136">
                            <a:pos x="T80" y="T81"/>
                          </a:cxn>
                          <a:cxn ang="T137">
                            <a:pos x="T82" y="T83"/>
                          </a:cxn>
                          <a:cxn ang="T138">
                            <a:pos x="T84" y="T85"/>
                          </a:cxn>
                          <a:cxn ang="T139">
                            <a:pos x="T86" y="T87"/>
                          </a:cxn>
                          <a:cxn ang="T140">
                            <a:pos x="T88" y="T89"/>
                          </a:cxn>
                          <a:cxn ang="T141">
                            <a:pos x="T90" y="T91"/>
                          </a:cxn>
                          <a:cxn ang="T142">
                            <a:pos x="T92" y="T93"/>
                          </a:cxn>
                          <a:cxn ang="T143">
                            <a:pos x="T94" y="T95"/>
                          </a:cxn>
                        </a:cxnLst>
                        <a:rect l="T144" t="T145" r="T146" b="T147"/>
                        <a:pathLst>
                          <a:path w="194" h="109">
                            <a:moveTo>
                              <a:pt x="159" y="12"/>
                            </a:moveTo>
                            <a:cubicBezTo>
                              <a:pt x="160" y="14"/>
                              <a:pt x="159" y="17"/>
                              <a:pt x="159" y="20"/>
                            </a:cubicBezTo>
                            <a:cubicBezTo>
                              <a:pt x="159" y="24"/>
                              <a:pt x="157" y="27"/>
                              <a:pt x="157" y="31"/>
                            </a:cubicBezTo>
                            <a:cubicBezTo>
                              <a:pt x="158" y="34"/>
                              <a:pt x="160" y="36"/>
                              <a:pt x="162" y="38"/>
                            </a:cubicBezTo>
                            <a:cubicBezTo>
                              <a:pt x="162" y="40"/>
                              <a:pt x="163" y="41"/>
                              <a:pt x="162" y="42"/>
                            </a:cubicBezTo>
                            <a:cubicBezTo>
                              <a:pt x="162" y="45"/>
                              <a:pt x="158" y="47"/>
                              <a:pt x="158" y="50"/>
                            </a:cubicBezTo>
                            <a:cubicBezTo>
                              <a:pt x="158" y="54"/>
                              <a:pt x="161" y="56"/>
                              <a:pt x="164" y="59"/>
                            </a:cubicBezTo>
                            <a:cubicBezTo>
                              <a:pt x="166" y="61"/>
                              <a:pt x="169" y="62"/>
                              <a:pt x="172" y="63"/>
                            </a:cubicBezTo>
                            <a:cubicBezTo>
                              <a:pt x="173" y="64"/>
                              <a:pt x="175" y="62"/>
                              <a:pt x="176" y="63"/>
                            </a:cubicBezTo>
                            <a:cubicBezTo>
                              <a:pt x="179" y="64"/>
                              <a:pt x="181" y="67"/>
                              <a:pt x="184" y="69"/>
                            </a:cubicBezTo>
                            <a:cubicBezTo>
                              <a:pt x="185" y="70"/>
                              <a:pt x="185" y="72"/>
                              <a:pt x="186" y="72"/>
                            </a:cubicBezTo>
                            <a:cubicBezTo>
                              <a:pt x="188" y="73"/>
                              <a:pt x="191" y="71"/>
                              <a:pt x="192" y="72"/>
                            </a:cubicBezTo>
                            <a:cubicBezTo>
                              <a:pt x="194" y="73"/>
                              <a:pt x="193" y="76"/>
                              <a:pt x="192" y="78"/>
                            </a:cubicBezTo>
                            <a:cubicBezTo>
                              <a:pt x="191" y="80"/>
                              <a:pt x="190" y="83"/>
                              <a:pt x="188" y="83"/>
                            </a:cubicBezTo>
                            <a:cubicBezTo>
                              <a:pt x="186" y="84"/>
                              <a:pt x="185" y="81"/>
                              <a:pt x="184" y="80"/>
                            </a:cubicBezTo>
                            <a:cubicBezTo>
                              <a:pt x="182" y="80"/>
                              <a:pt x="182" y="83"/>
                              <a:pt x="181" y="83"/>
                            </a:cubicBezTo>
                            <a:cubicBezTo>
                              <a:pt x="179" y="82"/>
                              <a:pt x="178" y="80"/>
                              <a:pt x="176" y="80"/>
                            </a:cubicBezTo>
                            <a:cubicBezTo>
                              <a:pt x="174" y="79"/>
                              <a:pt x="171" y="79"/>
                              <a:pt x="169" y="81"/>
                            </a:cubicBezTo>
                            <a:cubicBezTo>
                              <a:pt x="168" y="82"/>
                              <a:pt x="171" y="84"/>
                              <a:pt x="169" y="85"/>
                            </a:cubicBezTo>
                            <a:cubicBezTo>
                              <a:pt x="167" y="86"/>
                              <a:pt x="165" y="84"/>
                              <a:pt x="164" y="83"/>
                            </a:cubicBezTo>
                            <a:cubicBezTo>
                              <a:pt x="163" y="83"/>
                              <a:pt x="161" y="82"/>
                              <a:pt x="161" y="83"/>
                            </a:cubicBezTo>
                            <a:cubicBezTo>
                              <a:pt x="161" y="84"/>
                              <a:pt x="162" y="85"/>
                              <a:pt x="162" y="87"/>
                            </a:cubicBezTo>
                            <a:cubicBezTo>
                              <a:pt x="163" y="89"/>
                              <a:pt x="161" y="92"/>
                              <a:pt x="162" y="94"/>
                            </a:cubicBezTo>
                            <a:cubicBezTo>
                              <a:pt x="162" y="95"/>
                              <a:pt x="164" y="93"/>
                              <a:pt x="165" y="92"/>
                            </a:cubicBezTo>
                            <a:cubicBezTo>
                              <a:pt x="167" y="91"/>
                              <a:pt x="167" y="90"/>
                              <a:pt x="169" y="89"/>
                            </a:cubicBezTo>
                            <a:cubicBezTo>
                              <a:pt x="170" y="88"/>
                              <a:pt x="172" y="88"/>
                              <a:pt x="174" y="88"/>
                            </a:cubicBezTo>
                            <a:cubicBezTo>
                              <a:pt x="175" y="89"/>
                              <a:pt x="176" y="90"/>
                              <a:pt x="176" y="91"/>
                            </a:cubicBezTo>
                            <a:cubicBezTo>
                              <a:pt x="176" y="93"/>
                              <a:pt x="176" y="96"/>
                              <a:pt x="175" y="98"/>
                            </a:cubicBezTo>
                            <a:cubicBezTo>
                              <a:pt x="173" y="100"/>
                              <a:pt x="169" y="101"/>
                              <a:pt x="167" y="101"/>
                            </a:cubicBezTo>
                            <a:cubicBezTo>
                              <a:pt x="163" y="102"/>
                              <a:pt x="160" y="103"/>
                              <a:pt x="156" y="102"/>
                            </a:cubicBezTo>
                            <a:cubicBezTo>
                              <a:pt x="153" y="102"/>
                              <a:pt x="150" y="101"/>
                              <a:pt x="147" y="100"/>
                            </a:cubicBezTo>
                            <a:cubicBezTo>
                              <a:pt x="146" y="100"/>
                              <a:pt x="145" y="100"/>
                              <a:pt x="144" y="100"/>
                            </a:cubicBezTo>
                            <a:cubicBezTo>
                              <a:pt x="143" y="100"/>
                              <a:pt x="141" y="101"/>
                              <a:pt x="141" y="100"/>
                            </a:cubicBezTo>
                            <a:cubicBezTo>
                              <a:pt x="140" y="99"/>
                              <a:pt x="142" y="96"/>
                              <a:pt x="141" y="95"/>
                            </a:cubicBezTo>
                            <a:cubicBezTo>
                              <a:pt x="140" y="94"/>
                              <a:pt x="138" y="95"/>
                              <a:pt x="136" y="94"/>
                            </a:cubicBezTo>
                            <a:cubicBezTo>
                              <a:pt x="134" y="94"/>
                              <a:pt x="132" y="95"/>
                              <a:pt x="130" y="94"/>
                            </a:cubicBezTo>
                            <a:cubicBezTo>
                              <a:pt x="129" y="94"/>
                              <a:pt x="129" y="93"/>
                              <a:pt x="128" y="92"/>
                            </a:cubicBezTo>
                            <a:cubicBezTo>
                              <a:pt x="128" y="91"/>
                              <a:pt x="129" y="90"/>
                              <a:pt x="128" y="89"/>
                            </a:cubicBezTo>
                            <a:cubicBezTo>
                              <a:pt x="128" y="89"/>
                              <a:pt x="127" y="88"/>
                              <a:pt x="127" y="88"/>
                            </a:cubicBezTo>
                            <a:cubicBezTo>
                              <a:pt x="124" y="89"/>
                              <a:pt x="122" y="91"/>
                              <a:pt x="120" y="92"/>
                            </a:cubicBezTo>
                            <a:cubicBezTo>
                              <a:pt x="117" y="94"/>
                              <a:pt x="116" y="96"/>
                              <a:pt x="113" y="98"/>
                            </a:cubicBezTo>
                            <a:cubicBezTo>
                              <a:pt x="111" y="99"/>
                              <a:pt x="108" y="99"/>
                              <a:pt x="105" y="99"/>
                            </a:cubicBezTo>
                            <a:cubicBezTo>
                              <a:pt x="104" y="100"/>
                              <a:pt x="102" y="99"/>
                              <a:pt x="100" y="99"/>
                            </a:cubicBezTo>
                            <a:cubicBezTo>
                              <a:pt x="97" y="100"/>
                              <a:pt x="96" y="102"/>
                              <a:pt x="94" y="103"/>
                            </a:cubicBezTo>
                            <a:cubicBezTo>
                              <a:pt x="92" y="104"/>
                              <a:pt x="90" y="105"/>
                              <a:pt x="89" y="105"/>
                            </a:cubicBezTo>
                            <a:cubicBezTo>
                              <a:pt x="87" y="106"/>
                              <a:pt x="85" y="107"/>
                              <a:pt x="82" y="107"/>
                            </a:cubicBezTo>
                            <a:cubicBezTo>
                              <a:pt x="79" y="107"/>
                              <a:pt x="76" y="106"/>
                              <a:pt x="73" y="107"/>
                            </a:cubicBezTo>
                            <a:cubicBezTo>
                              <a:pt x="71" y="107"/>
                              <a:pt x="68" y="108"/>
                              <a:pt x="66" y="108"/>
                            </a:cubicBezTo>
                            <a:cubicBezTo>
                              <a:pt x="61" y="108"/>
                              <a:pt x="56" y="109"/>
                              <a:pt x="51" y="108"/>
                            </a:cubicBezTo>
                            <a:cubicBezTo>
                              <a:pt x="49" y="108"/>
                              <a:pt x="47" y="106"/>
                              <a:pt x="45" y="105"/>
                            </a:cubicBezTo>
                            <a:cubicBezTo>
                              <a:pt x="44" y="103"/>
                              <a:pt x="43" y="101"/>
                              <a:pt x="43" y="99"/>
                            </a:cubicBezTo>
                            <a:cubicBezTo>
                              <a:pt x="43" y="98"/>
                              <a:pt x="45" y="96"/>
                              <a:pt x="45" y="94"/>
                            </a:cubicBezTo>
                            <a:cubicBezTo>
                              <a:pt x="44" y="93"/>
                              <a:pt x="41" y="93"/>
                              <a:pt x="40" y="92"/>
                            </a:cubicBezTo>
                            <a:cubicBezTo>
                              <a:pt x="36" y="92"/>
                              <a:pt x="32" y="93"/>
                              <a:pt x="28" y="92"/>
                            </a:cubicBezTo>
                            <a:cubicBezTo>
                              <a:pt x="25" y="92"/>
                              <a:pt x="23" y="91"/>
                              <a:pt x="20" y="90"/>
                            </a:cubicBezTo>
                            <a:cubicBezTo>
                              <a:pt x="18" y="89"/>
                              <a:pt x="16" y="90"/>
                              <a:pt x="15" y="89"/>
                            </a:cubicBezTo>
                            <a:cubicBezTo>
                              <a:pt x="14" y="88"/>
                              <a:pt x="15" y="87"/>
                              <a:pt x="14" y="86"/>
                            </a:cubicBezTo>
                            <a:cubicBezTo>
                              <a:pt x="13" y="83"/>
                              <a:pt x="10" y="82"/>
                              <a:pt x="9" y="80"/>
                            </a:cubicBezTo>
                            <a:cubicBezTo>
                              <a:pt x="9" y="78"/>
                              <a:pt x="8" y="77"/>
                              <a:pt x="9" y="76"/>
                            </a:cubicBezTo>
                            <a:cubicBezTo>
                              <a:pt x="11" y="74"/>
                              <a:pt x="14" y="74"/>
                              <a:pt x="17" y="73"/>
                            </a:cubicBezTo>
                            <a:cubicBezTo>
                              <a:pt x="20" y="72"/>
                              <a:pt x="23" y="72"/>
                              <a:pt x="26" y="71"/>
                            </a:cubicBezTo>
                            <a:cubicBezTo>
                              <a:pt x="30" y="71"/>
                              <a:pt x="33" y="71"/>
                              <a:pt x="36" y="71"/>
                            </a:cubicBezTo>
                            <a:cubicBezTo>
                              <a:pt x="38" y="70"/>
                              <a:pt x="40" y="69"/>
                              <a:pt x="42" y="69"/>
                            </a:cubicBezTo>
                            <a:cubicBezTo>
                              <a:pt x="46" y="68"/>
                              <a:pt x="49" y="69"/>
                              <a:pt x="52" y="69"/>
                            </a:cubicBezTo>
                            <a:cubicBezTo>
                              <a:pt x="54" y="69"/>
                              <a:pt x="56" y="69"/>
                              <a:pt x="57" y="69"/>
                            </a:cubicBezTo>
                            <a:cubicBezTo>
                              <a:pt x="60" y="70"/>
                              <a:pt x="63" y="71"/>
                              <a:pt x="66" y="71"/>
                            </a:cubicBezTo>
                            <a:cubicBezTo>
                              <a:pt x="67" y="71"/>
                              <a:pt x="68" y="70"/>
                              <a:pt x="69" y="70"/>
                            </a:cubicBezTo>
                            <a:cubicBezTo>
                              <a:pt x="71" y="69"/>
                              <a:pt x="74" y="70"/>
                              <a:pt x="76" y="70"/>
                            </a:cubicBezTo>
                            <a:cubicBezTo>
                              <a:pt x="77" y="70"/>
                              <a:pt x="77" y="68"/>
                              <a:pt x="76" y="67"/>
                            </a:cubicBezTo>
                            <a:cubicBezTo>
                              <a:pt x="73" y="66"/>
                              <a:pt x="69" y="65"/>
                              <a:pt x="65" y="64"/>
                            </a:cubicBezTo>
                            <a:cubicBezTo>
                              <a:pt x="61" y="63"/>
                              <a:pt x="57" y="62"/>
                              <a:pt x="53" y="61"/>
                            </a:cubicBezTo>
                            <a:cubicBezTo>
                              <a:pt x="51" y="60"/>
                              <a:pt x="49" y="59"/>
                              <a:pt x="47" y="59"/>
                            </a:cubicBezTo>
                            <a:cubicBezTo>
                              <a:pt x="44" y="60"/>
                              <a:pt x="43" y="62"/>
                              <a:pt x="40" y="63"/>
                            </a:cubicBezTo>
                            <a:cubicBezTo>
                              <a:pt x="36" y="64"/>
                              <a:pt x="33" y="63"/>
                              <a:pt x="29" y="63"/>
                            </a:cubicBezTo>
                            <a:cubicBezTo>
                              <a:pt x="25" y="62"/>
                              <a:pt x="22" y="61"/>
                              <a:pt x="19" y="61"/>
                            </a:cubicBezTo>
                            <a:cubicBezTo>
                              <a:pt x="16" y="60"/>
                              <a:pt x="14" y="61"/>
                              <a:pt x="12" y="61"/>
                            </a:cubicBezTo>
                            <a:cubicBezTo>
                              <a:pt x="10" y="60"/>
                              <a:pt x="8" y="59"/>
                              <a:pt x="7" y="57"/>
                            </a:cubicBezTo>
                            <a:cubicBezTo>
                              <a:pt x="6" y="56"/>
                              <a:pt x="6" y="55"/>
                              <a:pt x="7" y="54"/>
                            </a:cubicBezTo>
                            <a:cubicBezTo>
                              <a:pt x="9" y="52"/>
                              <a:pt x="12" y="51"/>
                              <a:pt x="15" y="50"/>
                            </a:cubicBezTo>
                            <a:cubicBezTo>
                              <a:pt x="17" y="49"/>
                              <a:pt x="20" y="48"/>
                              <a:pt x="23" y="48"/>
                            </a:cubicBezTo>
                            <a:cubicBezTo>
                              <a:pt x="25" y="47"/>
                              <a:pt x="27" y="48"/>
                              <a:pt x="29" y="47"/>
                            </a:cubicBezTo>
                            <a:cubicBezTo>
                              <a:pt x="31" y="47"/>
                              <a:pt x="32" y="46"/>
                              <a:pt x="34" y="46"/>
                            </a:cubicBezTo>
                            <a:cubicBezTo>
                              <a:pt x="36" y="45"/>
                              <a:pt x="38" y="46"/>
                              <a:pt x="40" y="45"/>
                            </a:cubicBezTo>
                            <a:cubicBezTo>
                              <a:pt x="41" y="45"/>
                              <a:pt x="43" y="44"/>
                              <a:pt x="42" y="43"/>
                            </a:cubicBezTo>
                            <a:cubicBezTo>
                              <a:pt x="40" y="42"/>
                              <a:pt x="38" y="43"/>
                              <a:pt x="35" y="43"/>
                            </a:cubicBezTo>
                            <a:cubicBezTo>
                              <a:pt x="33" y="43"/>
                              <a:pt x="30" y="44"/>
                              <a:pt x="28" y="44"/>
                            </a:cubicBezTo>
                            <a:cubicBezTo>
                              <a:pt x="24" y="45"/>
                              <a:pt x="21" y="47"/>
                              <a:pt x="17" y="47"/>
                            </a:cubicBezTo>
                            <a:cubicBezTo>
                              <a:pt x="17" y="47"/>
                              <a:pt x="17" y="45"/>
                              <a:pt x="16" y="45"/>
                            </a:cubicBezTo>
                            <a:cubicBezTo>
                              <a:pt x="14" y="45"/>
                              <a:pt x="14" y="47"/>
                              <a:pt x="13" y="47"/>
                            </a:cubicBezTo>
                            <a:cubicBezTo>
                              <a:pt x="11" y="48"/>
                              <a:pt x="9" y="48"/>
                              <a:pt x="9" y="47"/>
                            </a:cubicBezTo>
                            <a:cubicBezTo>
                              <a:pt x="9" y="45"/>
                              <a:pt x="13" y="45"/>
                              <a:pt x="13" y="42"/>
                            </a:cubicBezTo>
                            <a:cubicBezTo>
                              <a:pt x="14" y="42"/>
                              <a:pt x="12" y="41"/>
                              <a:pt x="11" y="41"/>
                            </a:cubicBezTo>
                            <a:cubicBezTo>
                              <a:pt x="9" y="40"/>
                              <a:pt x="6" y="41"/>
                              <a:pt x="4" y="41"/>
                            </a:cubicBezTo>
                            <a:cubicBezTo>
                              <a:pt x="3" y="41"/>
                              <a:pt x="1" y="42"/>
                              <a:pt x="1" y="41"/>
                            </a:cubicBezTo>
                            <a:cubicBezTo>
                              <a:pt x="0" y="39"/>
                              <a:pt x="0" y="37"/>
                              <a:pt x="1" y="36"/>
                            </a:cubicBezTo>
                            <a:cubicBezTo>
                              <a:pt x="4" y="33"/>
                              <a:pt x="8" y="33"/>
                              <a:pt x="11" y="31"/>
                            </a:cubicBezTo>
                            <a:cubicBezTo>
                              <a:pt x="12" y="30"/>
                              <a:pt x="15" y="28"/>
                              <a:pt x="16" y="26"/>
                            </a:cubicBezTo>
                            <a:cubicBezTo>
                              <a:pt x="16" y="25"/>
                              <a:pt x="15" y="24"/>
                              <a:pt x="14" y="24"/>
                            </a:cubicBezTo>
                            <a:cubicBezTo>
                              <a:pt x="14" y="23"/>
                              <a:pt x="12" y="22"/>
                              <a:pt x="13" y="21"/>
                            </a:cubicBezTo>
                            <a:cubicBezTo>
                              <a:pt x="14" y="18"/>
                              <a:pt x="17" y="17"/>
                              <a:pt x="19" y="15"/>
                            </a:cubicBezTo>
                            <a:cubicBezTo>
                              <a:pt x="21" y="14"/>
                              <a:pt x="23" y="14"/>
                              <a:pt x="25" y="13"/>
                            </a:cubicBezTo>
                            <a:cubicBezTo>
                              <a:pt x="29" y="11"/>
                              <a:pt x="34" y="9"/>
                              <a:pt x="39" y="7"/>
                            </a:cubicBezTo>
                            <a:cubicBezTo>
                              <a:pt x="41" y="6"/>
                              <a:pt x="43" y="6"/>
                              <a:pt x="46" y="5"/>
                            </a:cubicBezTo>
                            <a:cubicBezTo>
                              <a:pt x="49" y="4"/>
                              <a:pt x="52" y="2"/>
                              <a:pt x="55" y="1"/>
                            </a:cubicBezTo>
                            <a:cubicBezTo>
                              <a:pt x="57" y="0"/>
                              <a:pt x="60" y="0"/>
                              <a:pt x="62" y="1"/>
                            </a:cubicBezTo>
                            <a:cubicBezTo>
                              <a:pt x="64" y="1"/>
                              <a:pt x="66" y="1"/>
                              <a:pt x="67" y="3"/>
                            </a:cubicBezTo>
                            <a:cubicBezTo>
                              <a:pt x="67" y="5"/>
                              <a:pt x="65" y="7"/>
                              <a:pt x="65" y="10"/>
                            </a:cubicBezTo>
                            <a:cubicBezTo>
                              <a:pt x="64" y="10"/>
                              <a:pt x="66" y="12"/>
                              <a:pt x="65" y="12"/>
                            </a:cubicBezTo>
                            <a:cubicBezTo>
                              <a:pt x="64" y="13"/>
                              <a:pt x="62" y="13"/>
                              <a:pt x="61" y="14"/>
                            </a:cubicBezTo>
                            <a:cubicBezTo>
                              <a:pt x="59" y="15"/>
                              <a:pt x="56" y="16"/>
                              <a:pt x="55" y="19"/>
                            </a:cubicBezTo>
                            <a:cubicBezTo>
                              <a:pt x="55" y="20"/>
                              <a:pt x="57" y="19"/>
                              <a:pt x="58" y="19"/>
                            </a:cubicBezTo>
                            <a:cubicBezTo>
                              <a:pt x="60" y="19"/>
                              <a:pt x="62" y="17"/>
                              <a:pt x="64" y="17"/>
                            </a:cubicBezTo>
                            <a:cubicBezTo>
                              <a:pt x="66" y="17"/>
                              <a:pt x="69" y="19"/>
                              <a:pt x="71" y="19"/>
                            </a:cubicBezTo>
                            <a:cubicBezTo>
                              <a:pt x="72" y="18"/>
                              <a:pt x="70" y="17"/>
                              <a:pt x="70" y="16"/>
                            </a:cubicBezTo>
                            <a:cubicBezTo>
                              <a:pt x="72" y="13"/>
                              <a:pt x="73" y="9"/>
                              <a:pt x="76" y="8"/>
                            </a:cubicBezTo>
                            <a:cubicBezTo>
                              <a:pt x="79" y="7"/>
                              <a:pt x="82" y="10"/>
                              <a:pt x="85" y="11"/>
                            </a:cubicBezTo>
                            <a:cubicBezTo>
                              <a:pt x="88" y="12"/>
                              <a:pt x="91" y="12"/>
                              <a:pt x="93" y="14"/>
                            </a:cubicBezTo>
                            <a:cubicBezTo>
                              <a:pt x="94" y="15"/>
                              <a:pt x="94" y="17"/>
                              <a:pt x="93" y="18"/>
                            </a:cubicBezTo>
                            <a:cubicBezTo>
                              <a:pt x="90" y="21"/>
                              <a:pt x="85" y="23"/>
                              <a:pt x="82" y="26"/>
                            </a:cubicBezTo>
                            <a:cubicBezTo>
                              <a:pt x="81" y="26"/>
                              <a:pt x="84" y="26"/>
                              <a:pt x="84" y="26"/>
                            </a:cubicBezTo>
                            <a:cubicBezTo>
                              <a:pt x="86" y="26"/>
                              <a:pt x="87" y="27"/>
                              <a:pt x="89" y="27"/>
                            </a:cubicBezTo>
                            <a:cubicBezTo>
                              <a:pt x="90" y="26"/>
                              <a:pt x="89" y="24"/>
                              <a:pt x="90" y="24"/>
                            </a:cubicBezTo>
                            <a:cubicBezTo>
                              <a:pt x="91" y="24"/>
                              <a:pt x="92" y="26"/>
                              <a:pt x="94" y="26"/>
                            </a:cubicBezTo>
                            <a:cubicBezTo>
                              <a:pt x="95" y="25"/>
                              <a:pt x="95" y="22"/>
                              <a:pt x="96" y="21"/>
                            </a:cubicBezTo>
                            <a:cubicBezTo>
                              <a:pt x="98" y="19"/>
                              <a:pt x="99" y="18"/>
                              <a:pt x="101" y="18"/>
                            </a:cubicBezTo>
                            <a:cubicBezTo>
                              <a:pt x="103" y="18"/>
                              <a:pt x="104" y="21"/>
                              <a:pt x="106" y="20"/>
                            </a:cubicBezTo>
                            <a:cubicBezTo>
                              <a:pt x="108" y="19"/>
                              <a:pt x="108" y="17"/>
                              <a:pt x="108" y="15"/>
                            </a:cubicBezTo>
                            <a:cubicBezTo>
                              <a:pt x="108" y="13"/>
                              <a:pt x="104" y="12"/>
                              <a:pt x="105" y="10"/>
                            </a:cubicBezTo>
                            <a:cubicBezTo>
                              <a:pt x="105" y="9"/>
                              <a:pt x="107" y="9"/>
                              <a:pt x="109" y="9"/>
                            </a:cubicBezTo>
                            <a:cubicBezTo>
                              <a:pt x="112" y="10"/>
                              <a:pt x="115" y="11"/>
                              <a:pt x="117" y="13"/>
                            </a:cubicBezTo>
                            <a:cubicBezTo>
                              <a:pt x="119" y="16"/>
                              <a:pt x="122" y="19"/>
                              <a:pt x="122" y="22"/>
                            </a:cubicBezTo>
                            <a:cubicBezTo>
                              <a:pt x="122" y="25"/>
                              <a:pt x="118" y="27"/>
                              <a:pt x="118" y="30"/>
                            </a:cubicBezTo>
                            <a:cubicBezTo>
                              <a:pt x="118" y="33"/>
                              <a:pt x="121" y="36"/>
                              <a:pt x="123" y="38"/>
                            </a:cubicBezTo>
                            <a:cubicBezTo>
                              <a:pt x="124" y="39"/>
                              <a:pt x="125" y="40"/>
                              <a:pt x="127" y="40"/>
                            </a:cubicBezTo>
                            <a:cubicBezTo>
                              <a:pt x="129" y="40"/>
                              <a:pt x="132" y="38"/>
                              <a:pt x="133" y="36"/>
                            </a:cubicBezTo>
                            <a:cubicBezTo>
                              <a:pt x="134" y="35"/>
                              <a:pt x="133" y="33"/>
                              <a:pt x="132" y="31"/>
                            </a:cubicBezTo>
                            <a:cubicBezTo>
                              <a:pt x="131" y="30"/>
                              <a:pt x="129" y="30"/>
                              <a:pt x="128" y="28"/>
                            </a:cubicBezTo>
                            <a:cubicBezTo>
                              <a:pt x="128" y="23"/>
                              <a:pt x="130" y="17"/>
                              <a:pt x="130" y="12"/>
                            </a:cubicBezTo>
                            <a:cubicBezTo>
                              <a:pt x="131" y="9"/>
                              <a:pt x="131" y="5"/>
                              <a:pt x="132" y="2"/>
                            </a:cubicBezTo>
                            <a:cubicBezTo>
                              <a:pt x="133" y="1"/>
                              <a:pt x="135" y="1"/>
                              <a:pt x="136" y="2"/>
                            </a:cubicBezTo>
                            <a:cubicBezTo>
                              <a:pt x="138" y="2"/>
                              <a:pt x="140" y="5"/>
                              <a:pt x="142" y="5"/>
                            </a:cubicBezTo>
                            <a:cubicBezTo>
                              <a:pt x="144" y="5"/>
                              <a:pt x="143" y="2"/>
                              <a:pt x="144" y="2"/>
                            </a:cubicBezTo>
                            <a:cubicBezTo>
                              <a:pt x="147" y="3"/>
                              <a:pt x="150" y="6"/>
                              <a:pt x="153" y="8"/>
                            </a:cubicBezTo>
                            <a:cubicBezTo>
                              <a:pt x="155" y="9"/>
                              <a:pt x="158" y="10"/>
                              <a:pt x="159" y="1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67" name="Freeform 3572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407456" y="1670254"/>
                        <a:ext cx="171129" cy="78913"/>
                      </a:xfrm>
                      <a:custGeom>
                        <a:avLst/>
                        <a:gdLst>
                          <a:gd name="T0" fmla="*/ 153 w 128"/>
                          <a:gd name="T1" fmla="*/ 28 h 79"/>
                          <a:gd name="T2" fmla="*/ 151 w 128"/>
                          <a:gd name="T3" fmla="*/ 23 h 79"/>
                          <a:gd name="T4" fmla="*/ 141 w 128"/>
                          <a:gd name="T5" fmla="*/ 19 h 79"/>
                          <a:gd name="T6" fmla="*/ 133 w 128"/>
                          <a:gd name="T7" fmla="*/ 11 h 79"/>
                          <a:gd name="T8" fmla="*/ 123 w 128"/>
                          <a:gd name="T9" fmla="*/ 8 h 79"/>
                          <a:gd name="T10" fmla="*/ 116 w 128"/>
                          <a:gd name="T11" fmla="*/ 11 h 79"/>
                          <a:gd name="T12" fmla="*/ 110 w 128"/>
                          <a:gd name="T13" fmla="*/ 16 h 79"/>
                          <a:gd name="T14" fmla="*/ 106 w 128"/>
                          <a:gd name="T15" fmla="*/ 14 h 79"/>
                          <a:gd name="T16" fmla="*/ 106 w 128"/>
                          <a:gd name="T17" fmla="*/ 11 h 79"/>
                          <a:gd name="T18" fmla="*/ 103 w 128"/>
                          <a:gd name="T19" fmla="*/ 10 h 79"/>
                          <a:gd name="T20" fmla="*/ 100 w 128"/>
                          <a:gd name="T21" fmla="*/ 13 h 79"/>
                          <a:gd name="T22" fmla="*/ 98 w 128"/>
                          <a:gd name="T23" fmla="*/ 10 h 79"/>
                          <a:gd name="T24" fmla="*/ 87 w 128"/>
                          <a:gd name="T25" fmla="*/ 6 h 79"/>
                          <a:gd name="T26" fmla="*/ 80 w 128"/>
                          <a:gd name="T27" fmla="*/ 1 h 79"/>
                          <a:gd name="T28" fmla="*/ 69 w 128"/>
                          <a:gd name="T29" fmla="*/ 5 h 79"/>
                          <a:gd name="T30" fmla="*/ 53 w 128"/>
                          <a:gd name="T31" fmla="*/ 5 h 79"/>
                          <a:gd name="T32" fmla="*/ 37 w 128"/>
                          <a:gd name="T33" fmla="*/ 5 h 79"/>
                          <a:gd name="T34" fmla="*/ 35 w 128"/>
                          <a:gd name="T35" fmla="*/ 6 h 79"/>
                          <a:gd name="T36" fmla="*/ 38 w 128"/>
                          <a:gd name="T37" fmla="*/ 16 h 79"/>
                          <a:gd name="T38" fmla="*/ 39 w 128"/>
                          <a:gd name="T39" fmla="*/ 22 h 79"/>
                          <a:gd name="T40" fmla="*/ 38 w 128"/>
                          <a:gd name="T41" fmla="*/ 25 h 79"/>
                          <a:gd name="T42" fmla="*/ 35 w 128"/>
                          <a:gd name="T43" fmla="*/ 30 h 79"/>
                          <a:gd name="T44" fmla="*/ 25 w 128"/>
                          <a:gd name="T45" fmla="*/ 37 h 79"/>
                          <a:gd name="T46" fmla="*/ 23 w 128"/>
                          <a:gd name="T47" fmla="*/ 38 h 79"/>
                          <a:gd name="T48" fmla="*/ 26 w 128"/>
                          <a:gd name="T49" fmla="*/ 42 h 79"/>
                          <a:gd name="T50" fmla="*/ 23 w 128"/>
                          <a:gd name="T51" fmla="*/ 46 h 79"/>
                          <a:gd name="T52" fmla="*/ 19 w 128"/>
                          <a:gd name="T53" fmla="*/ 46 h 79"/>
                          <a:gd name="T54" fmla="*/ 17 w 128"/>
                          <a:gd name="T55" fmla="*/ 54 h 79"/>
                          <a:gd name="T56" fmla="*/ 13 w 128"/>
                          <a:gd name="T57" fmla="*/ 54 h 79"/>
                          <a:gd name="T58" fmla="*/ 6 w 128"/>
                          <a:gd name="T59" fmla="*/ 65 h 79"/>
                          <a:gd name="T60" fmla="*/ 4 w 128"/>
                          <a:gd name="T61" fmla="*/ 69 h 79"/>
                          <a:gd name="T62" fmla="*/ 0 w 128"/>
                          <a:gd name="T63" fmla="*/ 71 h 79"/>
                          <a:gd name="T64" fmla="*/ 4 w 128"/>
                          <a:gd name="T65" fmla="*/ 72 h 79"/>
                          <a:gd name="T66" fmla="*/ 12 w 128"/>
                          <a:gd name="T67" fmla="*/ 71 h 79"/>
                          <a:gd name="T68" fmla="*/ 18 w 128"/>
                          <a:gd name="T69" fmla="*/ 73 h 79"/>
                          <a:gd name="T70" fmla="*/ 23 w 128"/>
                          <a:gd name="T71" fmla="*/ 77 h 79"/>
                          <a:gd name="T72" fmla="*/ 25 w 128"/>
                          <a:gd name="T73" fmla="*/ 83 h 79"/>
                          <a:gd name="T74" fmla="*/ 27 w 128"/>
                          <a:gd name="T75" fmla="*/ 91 h 79"/>
                          <a:gd name="T76" fmla="*/ 35 w 128"/>
                          <a:gd name="T77" fmla="*/ 95 h 79"/>
                          <a:gd name="T78" fmla="*/ 38 w 128"/>
                          <a:gd name="T79" fmla="*/ 91 h 79"/>
                          <a:gd name="T80" fmla="*/ 49 w 128"/>
                          <a:gd name="T81" fmla="*/ 87 h 79"/>
                          <a:gd name="T82" fmla="*/ 50 w 128"/>
                          <a:gd name="T83" fmla="*/ 83 h 79"/>
                          <a:gd name="T84" fmla="*/ 53 w 128"/>
                          <a:gd name="T85" fmla="*/ 87 h 79"/>
                          <a:gd name="T86" fmla="*/ 60 w 128"/>
                          <a:gd name="T87" fmla="*/ 85 h 79"/>
                          <a:gd name="T88" fmla="*/ 66 w 128"/>
                          <a:gd name="T89" fmla="*/ 83 h 79"/>
                          <a:gd name="T90" fmla="*/ 71 w 128"/>
                          <a:gd name="T91" fmla="*/ 73 h 79"/>
                          <a:gd name="T92" fmla="*/ 71 w 128"/>
                          <a:gd name="T93" fmla="*/ 67 h 79"/>
                          <a:gd name="T94" fmla="*/ 78 w 128"/>
                          <a:gd name="T95" fmla="*/ 64 h 79"/>
                          <a:gd name="T96" fmla="*/ 87 w 128"/>
                          <a:gd name="T97" fmla="*/ 61 h 79"/>
                          <a:gd name="T98" fmla="*/ 94 w 128"/>
                          <a:gd name="T99" fmla="*/ 57 h 79"/>
                          <a:gd name="T100" fmla="*/ 96 w 128"/>
                          <a:gd name="T101" fmla="*/ 51 h 79"/>
                          <a:gd name="T102" fmla="*/ 110 w 128"/>
                          <a:gd name="T103" fmla="*/ 44 h 79"/>
                          <a:gd name="T104" fmla="*/ 122 w 128"/>
                          <a:gd name="T105" fmla="*/ 40 h 79"/>
                          <a:gd name="T106" fmla="*/ 131 w 128"/>
                          <a:gd name="T107" fmla="*/ 35 h 79"/>
                          <a:gd name="T108" fmla="*/ 139 w 128"/>
                          <a:gd name="T109" fmla="*/ 32 h 79"/>
                          <a:gd name="T110" fmla="*/ 148 w 128"/>
                          <a:gd name="T111" fmla="*/ 31 h 79"/>
                          <a:gd name="T112" fmla="*/ 153 w 128"/>
                          <a:gd name="T113" fmla="*/ 28 h 79"/>
                          <a:gd name="T114" fmla="*/ 0 60000 65536"/>
                          <a:gd name="T115" fmla="*/ 0 60000 65536"/>
                          <a:gd name="T116" fmla="*/ 0 60000 65536"/>
                          <a:gd name="T117" fmla="*/ 0 60000 65536"/>
                          <a:gd name="T118" fmla="*/ 0 60000 65536"/>
                          <a:gd name="T119" fmla="*/ 0 60000 65536"/>
                          <a:gd name="T120" fmla="*/ 0 60000 65536"/>
                          <a:gd name="T121" fmla="*/ 0 60000 65536"/>
                          <a:gd name="T122" fmla="*/ 0 60000 65536"/>
                          <a:gd name="T123" fmla="*/ 0 60000 65536"/>
                          <a:gd name="T124" fmla="*/ 0 60000 65536"/>
                          <a:gd name="T125" fmla="*/ 0 60000 65536"/>
                          <a:gd name="T126" fmla="*/ 0 60000 65536"/>
                          <a:gd name="T127" fmla="*/ 0 60000 65536"/>
                          <a:gd name="T128" fmla="*/ 0 60000 65536"/>
                          <a:gd name="T129" fmla="*/ 0 60000 65536"/>
                          <a:gd name="T130" fmla="*/ 0 60000 65536"/>
                          <a:gd name="T131" fmla="*/ 0 60000 65536"/>
                          <a:gd name="T132" fmla="*/ 0 60000 65536"/>
                          <a:gd name="T133" fmla="*/ 0 60000 65536"/>
                          <a:gd name="T134" fmla="*/ 0 60000 65536"/>
                          <a:gd name="T135" fmla="*/ 0 60000 65536"/>
                          <a:gd name="T136" fmla="*/ 0 60000 65536"/>
                          <a:gd name="T137" fmla="*/ 0 60000 65536"/>
                          <a:gd name="T138" fmla="*/ 0 60000 65536"/>
                          <a:gd name="T139" fmla="*/ 0 60000 65536"/>
                          <a:gd name="T140" fmla="*/ 0 60000 65536"/>
                          <a:gd name="T141" fmla="*/ 0 60000 65536"/>
                          <a:gd name="T142" fmla="*/ 0 60000 65536"/>
                          <a:gd name="T143" fmla="*/ 0 60000 65536"/>
                          <a:gd name="T144" fmla="*/ 0 60000 65536"/>
                          <a:gd name="T145" fmla="*/ 0 60000 65536"/>
                          <a:gd name="T146" fmla="*/ 0 60000 65536"/>
                          <a:gd name="T147" fmla="*/ 0 60000 65536"/>
                          <a:gd name="T148" fmla="*/ 0 60000 65536"/>
                          <a:gd name="T149" fmla="*/ 0 60000 65536"/>
                          <a:gd name="T150" fmla="*/ 0 60000 65536"/>
                          <a:gd name="T151" fmla="*/ 0 60000 65536"/>
                          <a:gd name="T152" fmla="*/ 0 60000 65536"/>
                          <a:gd name="T153" fmla="*/ 0 60000 65536"/>
                          <a:gd name="T154" fmla="*/ 0 60000 65536"/>
                          <a:gd name="T155" fmla="*/ 0 60000 65536"/>
                          <a:gd name="T156" fmla="*/ 0 60000 65536"/>
                          <a:gd name="T157" fmla="*/ 0 60000 65536"/>
                          <a:gd name="T158" fmla="*/ 0 60000 65536"/>
                          <a:gd name="T159" fmla="*/ 0 60000 65536"/>
                          <a:gd name="T160" fmla="*/ 0 60000 65536"/>
                          <a:gd name="T161" fmla="*/ 0 60000 65536"/>
                          <a:gd name="T162" fmla="*/ 0 60000 65536"/>
                          <a:gd name="T163" fmla="*/ 0 60000 65536"/>
                          <a:gd name="T164" fmla="*/ 0 60000 65536"/>
                          <a:gd name="T165" fmla="*/ 0 60000 65536"/>
                          <a:gd name="T166" fmla="*/ 0 60000 65536"/>
                          <a:gd name="T167" fmla="*/ 0 60000 65536"/>
                          <a:gd name="T168" fmla="*/ 0 60000 65536"/>
                          <a:gd name="T169" fmla="*/ 0 60000 65536"/>
                          <a:gd name="T170" fmla="*/ 0 60000 65536"/>
                          <a:gd name="T171" fmla="*/ 0 w 128"/>
                          <a:gd name="T172" fmla="*/ 0 h 79"/>
                          <a:gd name="T173" fmla="*/ 128 w 128"/>
                          <a:gd name="T174" fmla="*/ 79 h 79"/>
                        </a:gdLst>
                        <a:ahLst/>
                        <a:cxnLst>
                          <a:cxn ang="T114">
                            <a:pos x="T0" y="T1"/>
                          </a:cxn>
                          <a:cxn ang="T115">
                            <a:pos x="T2" y="T3"/>
                          </a:cxn>
                          <a:cxn ang="T116">
                            <a:pos x="T4" y="T5"/>
                          </a:cxn>
                          <a:cxn ang="T117">
                            <a:pos x="T6" y="T7"/>
                          </a:cxn>
                          <a:cxn ang="T118">
                            <a:pos x="T8" y="T9"/>
                          </a:cxn>
                          <a:cxn ang="T119">
                            <a:pos x="T10" y="T11"/>
                          </a:cxn>
                          <a:cxn ang="T120">
                            <a:pos x="T12" y="T13"/>
                          </a:cxn>
                          <a:cxn ang="T121">
                            <a:pos x="T14" y="T15"/>
                          </a:cxn>
                          <a:cxn ang="T122">
                            <a:pos x="T16" y="T17"/>
                          </a:cxn>
                          <a:cxn ang="T123">
                            <a:pos x="T18" y="T19"/>
                          </a:cxn>
                          <a:cxn ang="T124">
                            <a:pos x="T20" y="T21"/>
                          </a:cxn>
                          <a:cxn ang="T125">
                            <a:pos x="T22" y="T23"/>
                          </a:cxn>
                          <a:cxn ang="T126">
                            <a:pos x="T24" y="T25"/>
                          </a:cxn>
                          <a:cxn ang="T127">
                            <a:pos x="T26" y="T27"/>
                          </a:cxn>
                          <a:cxn ang="T128">
                            <a:pos x="T28" y="T29"/>
                          </a:cxn>
                          <a:cxn ang="T129">
                            <a:pos x="T30" y="T31"/>
                          </a:cxn>
                          <a:cxn ang="T130">
                            <a:pos x="T32" y="T33"/>
                          </a:cxn>
                          <a:cxn ang="T131">
                            <a:pos x="T34" y="T35"/>
                          </a:cxn>
                          <a:cxn ang="T132">
                            <a:pos x="T36" y="T37"/>
                          </a:cxn>
                          <a:cxn ang="T133">
                            <a:pos x="T38" y="T39"/>
                          </a:cxn>
                          <a:cxn ang="T134">
                            <a:pos x="T40" y="T41"/>
                          </a:cxn>
                          <a:cxn ang="T135">
                            <a:pos x="T42" y="T43"/>
                          </a:cxn>
                          <a:cxn ang="T136">
                            <a:pos x="T44" y="T45"/>
                          </a:cxn>
                          <a:cxn ang="T137">
                            <a:pos x="T46" y="T47"/>
                          </a:cxn>
                          <a:cxn ang="T138">
                            <a:pos x="T48" y="T49"/>
                          </a:cxn>
                          <a:cxn ang="T139">
                            <a:pos x="T50" y="T51"/>
                          </a:cxn>
                          <a:cxn ang="T140">
                            <a:pos x="T52" y="T53"/>
                          </a:cxn>
                          <a:cxn ang="T141">
                            <a:pos x="T54" y="T55"/>
                          </a:cxn>
                          <a:cxn ang="T142">
                            <a:pos x="T56" y="T57"/>
                          </a:cxn>
                          <a:cxn ang="T143">
                            <a:pos x="T58" y="T59"/>
                          </a:cxn>
                          <a:cxn ang="T144">
                            <a:pos x="T60" y="T61"/>
                          </a:cxn>
                          <a:cxn ang="T145">
                            <a:pos x="T62" y="T63"/>
                          </a:cxn>
                          <a:cxn ang="T146">
                            <a:pos x="T64" y="T65"/>
                          </a:cxn>
                          <a:cxn ang="T147">
                            <a:pos x="T66" y="T67"/>
                          </a:cxn>
                          <a:cxn ang="T148">
                            <a:pos x="T68" y="T69"/>
                          </a:cxn>
                          <a:cxn ang="T149">
                            <a:pos x="T70" y="T71"/>
                          </a:cxn>
                          <a:cxn ang="T150">
                            <a:pos x="T72" y="T73"/>
                          </a:cxn>
                          <a:cxn ang="T151">
                            <a:pos x="T74" y="T75"/>
                          </a:cxn>
                          <a:cxn ang="T152">
                            <a:pos x="T76" y="T77"/>
                          </a:cxn>
                          <a:cxn ang="T153">
                            <a:pos x="T78" y="T79"/>
                          </a:cxn>
                          <a:cxn ang="T154">
                            <a:pos x="T80" y="T81"/>
                          </a:cxn>
                          <a:cxn ang="T155">
                            <a:pos x="T82" y="T83"/>
                          </a:cxn>
                          <a:cxn ang="T156">
                            <a:pos x="T84" y="T85"/>
                          </a:cxn>
                          <a:cxn ang="T157">
                            <a:pos x="T86" y="T87"/>
                          </a:cxn>
                          <a:cxn ang="T158">
                            <a:pos x="T88" y="T89"/>
                          </a:cxn>
                          <a:cxn ang="T159">
                            <a:pos x="T90" y="T91"/>
                          </a:cxn>
                          <a:cxn ang="T160">
                            <a:pos x="T92" y="T93"/>
                          </a:cxn>
                          <a:cxn ang="T161">
                            <a:pos x="T94" y="T95"/>
                          </a:cxn>
                          <a:cxn ang="T162">
                            <a:pos x="T96" y="T97"/>
                          </a:cxn>
                          <a:cxn ang="T163">
                            <a:pos x="T98" y="T99"/>
                          </a:cxn>
                          <a:cxn ang="T164">
                            <a:pos x="T100" y="T101"/>
                          </a:cxn>
                          <a:cxn ang="T165">
                            <a:pos x="T102" y="T103"/>
                          </a:cxn>
                          <a:cxn ang="T166">
                            <a:pos x="T104" y="T105"/>
                          </a:cxn>
                          <a:cxn ang="T167">
                            <a:pos x="T106" y="T107"/>
                          </a:cxn>
                          <a:cxn ang="T168">
                            <a:pos x="T108" y="T109"/>
                          </a:cxn>
                          <a:cxn ang="T169">
                            <a:pos x="T110" y="T111"/>
                          </a:cxn>
                          <a:cxn ang="T170">
                            <a:pos x="T112" y="T113"/>
                          </a:cxn>
                        </a:cxnLst>
                        <a:rect l="T171" t="T172" r="T173" b="T174"/>
                        <a:pathLst>
                          <a:path w="128" h="79">
                            <a:moveTo>
                              <a:pt x="128" y="23"/>
                            </a:moveTo>
                            <a:cubicBezTo>
                              <a:pt x="128" y="21"/>
                              <a:pt x="127" y="20"/>
                              <a:pt x="126" y="19"/>
                            </a:cubicBezTo>
                            <a:cubicBezTo>
                              <a:pt x="124" y="18"/>
                              <a:pt x="121" y="18"/>
                              <a:pt x="118" y="16"/>
                            </a:cubicBezTo>
                            <a:cubicBezTo>
                              <a:pt x="116" y="14"/>
                              <a:pt x="114" y="10"/>
                              <a:pt x="111" y="9"/>
                            </a:cubicBezTo>
                            <a:cubicBezTo>
                              <a:pt x="109" y="7"/>
                              <a:pt x="106" y="7"/>
                              <a:pt x="103" y="7"/>
                            </a:cubicBezTo>
                            <a:cubicBezTo>
                              <a:pt x="101" y="7"/>
                              <a:pt x="99" y="8"/>
                              <a:pt x="97" y="9"/>
                            </a:cubicBezTo>
                            <a:cubicBezTo>
                              <a:pt x="95" y="10"/>
                              <a:pt x="94" y="12"/>
                              <a:pt x="92" y="13"/>
                            </a:cubicBezTo>
                            <a:cubicBezTo>
                              <a:pt x="91" y="13"/>
                              <a:pt x="89" y="13"/>
                              <a:pt x="89" y="12"/>
                            </a:cubicBezTo>
                            <a:cubicBezTo>
                              <a:pt x="88" y="11"/>
                              <a:pt x="90" y="10"/>
                              <a:pt x="89" y="9"/>
                            </a:cubicBezTo>
                            <a:cubicBezTo>
                              <a:pt x="89" y="8"/>
                              <a:pt x="87" y="8"/>
                              <a:pt x="86" y="8"/>
                            </a:cubicBezTo>
                            <a:cubicBezTo>
                              <a:pt x="85" y="8"/>
                              <a:pt x="85" y="11"/>
                              <a:pt x="84" y="11"/>
                            </a:cubicBezTo>
                            <a:cubicBezTo>
                              <a:pt x="83" y="11"/>
                              <a:pt x="83" y="9"/>
                              <a:pt x="82" y="8"/>
                            </a:cubicBezTo>
                            <a:cubicBezTo>
                              <a:pt x="79" y="7"/>
                              <a:pt x="76" y="7"/>
                              <a:pt x="73" y="5"/>
                            </a:cubicBezTo>
                            <a:cubicBezTo>
                              <a:pt x="71" y="4"/>
                              <a:pt x="70" y="1"/>
                              <a:pt x="67" y="1"/>
                            </a:cubicBezTo>
                            <a:cubicBezTo>
                              <a:pt x="64" y="0"/>
                              <a:pt x="61" y="3"/>
                              <a:pt x="58" y="4"/>
                            </a:cubicBezTo>
                            <a:cubicBezTo>
                              <a:pt x="54" y="4"/>
                              <a:pt x="49" y="4"/>
                              <a:pt x="44" y="4"/>
                            </a:cubicBezTo>
                            <a:cubicBezTo>
                              <a:pt x="40" y="4"/>
                              <a:pt x="35" y="4"/>
                              <a:pt x="31" y="4"/>
                            </a:cubicBezTo>
                            <a:cubicBezTo>
                              <a:pt x="30" y="4"/>
                              <a:pt x="29" y="4"/>
                              <a:pt x="29" y="5"/>
                            </a:cubicBezTo>
                            <a:cubicBezTo>
                              <a:pt x="29" y="8"/>
                              <a:pt x="31" y="10"/>
                              <a:pt x="32" y="13"/>
                            </a:cubicBezTo>
                            <a:cubicBezTo>
                              <a:pt x="32" y="15"/>
                              <a:pt x="33" y="16"/>
                              <a:pt x="33" y="18"/>
                            </a:cubicBezTo>
                            <a:cubicBezTo>
                              <a:pt x="33" y="19"/>
                              <a:pt x="33" y="20"/>
                              <a:pt x="32" y="21"/>
                            </a:cubicBezTo>
                            <a:cubicBezTo>
                              <a:pt x="31" y="22"/>
                              <a:pt x="30" y="23"/>
                              <a:pt x="29" y="25"/>
                            </a:cubicBezTo>
                            <a:cubicBezTo>
                              <a:pt x="27" y="27"/>
                              <a:pt x="24" y="29"/>
                              <a:pt x="21" y="31"/>
                            </a:cubicBezTo>
                            <a:cubicBezTo>
                              <a:pt x="21" y="31"/>
                              <a:pt x="19" y="31"/>
                              <a:pt x="19" y="32"/>
                            </a:cubicBezTo>
                            <a:cubicBezTo>
                              <a:pt x="19" y="33"/>
                              <a:pt x="22" y="33"/>
                              <a:pt x="22" y="35"/>
                            </a:cubicBezTo>
                            <a:cubicBezTo>
                              <a:pt x="22" y="36"/>
                              <a:pt x="20" y="37"/>
                              <a:pt x="19" y="38"/>
                            </a:cubicBezTo>
                            <a:cubicBezTo>
                              <a:pt x="18" y="39"/>
                              <a:pt x="17" y="37"/>
                              <a:pt x="16" y="38"/>
                            </a:cubicBezTo>
                            <a:cubicBezTo>
                              <a:pt x="15" y="40"/>
                              <a:pt x="16" y="43"/>
                              <a:pt x="14" y="45"/>
                            </a:cubicBezTo>
                            <a:cubicBezTo>
                              <a:pt x="13" y="46"/>
                              <a:pt x="12" y="45"/>
                              <a:pt x="11" y="45"/>
                            </a:cubicBezTo>
                            <a:cubicBezTo>
                              <a:pt x="8" y="48"/>
                              <a:pt x="7" y="51"/>
                              <a:pt x="5" y="54"/>
                            </a:cubicBezTo>
                            <a:cubicBezTo>
                              <a:pt x="4" y="56"/>
                              <a:pt x="4" y="57"/>
                              <a:pt x="3" y="57"/>
                            </a:cubicBezTo>
                            <a:cubicBezTo>
                              <a:pt x="2" y="58"/>
                              <a:pt x="0" y="58"/>
                              <a:pt x="0" y="59"/>
                            </a:cubicBezTo>
                            <a:cubicBezTo>
                              <a:pt x="0" y="60"/>
                              <a:pt x="2" y="60"/>
                              <a:pt x="3" y="60"/>
                            </a:cubicBezTo>
                            <a:cubicBezTo>
                              <a:pt x="5" y="60"/>
                              <a:pt x="7" y="58"/>
                              <a:pt x="10" y="59"/>
                            </a:cubicBezTo>
                            <a:cubicBezTo>
                              <a:pt x="12" y="59"/>
                              <a:pt x="13" y="60"/>
                              <a:pt x="15" y="61"/>
                            </a:cubicBezTo>
                            <a:cubicBezTo>
                              <a:pt x="16" y="62"/>
                              <a:pt x="18" y="63"/>
                              <a:pt x="19" y="64"/>
                            </a:cubicBezTo>
                            <a:cubicBezTo>
                              <a:pt x="20" y="66"/>
                              <a:pt x="21" y="67"/>
                              <a:pt x="21" y="69"/>
                            </a:cubicBezTo>
                            <a:cubicBezTo>
                              <a:pt x="22" y="71"/>
                              <a:pt x="21" y="74"/>
                              <a:pt x="23" y="76"/>
                            </a:cubicBezTo>
                            <a:cubicBezTo>
                              <a:pt x="24" y="78"/>
                              <a:pt x="27" y="79"/>
                              <a:pt x="29" y="79"/>
                            </a:cubicBezTo>
                            <a:cubicBezTo>
                              <a:pt x="30" y="79"/>
                              <a:pt x="30" y="77"/>
                              <a:pt x="32" y="76"/>
                            </a:cubicBezTo>
                            <a:cubicBezTo>
                              <a:pt x="34" y="74"/>
                              <a:pt x="38" y="74"/>
                              <a:pt x="41" y="72"/>
                            </a:cubicBezTo>
                            <a:cubicBezTo>
                              <a:pt x="41" y="71"/>
                              <a:pt x="41" y="69"/>
                              <a:pt x="42" y="69"/>
                            </a:cubicBezTo>
                            <a:cubicBezTo>
                              <a:pt x="43" y="69"/>
                              <a:pt x="43" y="72"/>
                              <a:pt x="44" y="72"/>
                            </a:cubicBezTo>
                            <a:cubicBezTo>
                              <a:pt x="46" y="72"/>
                              <a:pt x="48" y="72"/>
                              <a:pt x="50" y="71"/>
                            </a:cubicBezTo>
                            <a:cubicBezTo>
                              <a:pt x="52" y="71"/>
                              <a:pt x="54" y="71"/>
                              <a:pt x="55" y="69"/>
                            </a:cubicBezTo>
                            <a:cubicBezTo>
                              <a:pt x="57" y="67"/>
                              <a:pt x="59" y="64"/>
                              <a:pt x="59" y="61"/>
                            </a:cubicBezTo>
                            <a:cubicBezTo>
                              <a:pt x="60" y="59"/>
                              <a:pt x="59" y="58"/>
                              <a:pt x="59" y="56"/>
                            </a:cubicBezTo>
                            <a:cubicBezTo>
                              <a:pt x="61" y="55"/>
                              <a:pt x="63" y="54"/>
                              <a:pt x="65" y="53"/>
                            </a:cubicBezTo>
                            <a:cubicBezTo>
                              <a:pt x="67" y="52"/>
                              <a:pt x="71" y="53"/>
                              <a:pt x="73" y="51"/>
                            </a:cubicBezTo>
                            <a:cubicBezTo>
                              <a:pt x="75" y="50"/>
                              <a:pt x="77" y="48"/>
                              <a:pt x="79" y="47"/>
                            </a:cubicBezTo>
                            <a:cubicBezTo>
                              <a:pt x="80" y="45"/>
                              <a:pt x="79" y="43"/>
                              <a:pt x="80" y="42"/>
                            </a:cubicBezTo>
                            <a:cubicBezTo>
                              <a:pt x="84" y="40"/>
                              <a:pt x="88" y="39"/>
                              <a:pt x="92" y="37"/>
                            </a:cubicBezTo>
                            <a:cubicBezTo>
                              <a:pt x="95" y="36"/>
                              <a:pt x="98" y="35"/>
                              <a:pt x="102" y="33"/>
                            </a:cubicBezTo>
                            <a:cubicBezTo>
                              <a:pt x="105" y="32"/>
                              <a:pt x="107" y="30"/>
                              <a:pt x="110" y="29"/>
                            </a:cubicBezTo>
                            <a:cubicBezTo>
                              <a:pt x="112" y="28"/>
                              <a:pt x="114" y="27"/>
                              <a:pt x="116" y="27"/>
                            </a:cubicBezTo>
                            <a:cubicBezTo>
                              <a:pt x="119" y="26"/>
                              <a:pt x="122" y="27"/>
                              <a:pt x="124" y="26"/>
                            </a:cubicBezTo>
                            <a:cubicBezTo>
                              <a:pt x="126" y="25"/>
                              <a:pt x="127" y="24"/>
                              <a:pt x="128" y="23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68" name="Freeform 3573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560689" y="1617092"/>
                        <a:ext cx="183433" cy="59808"/>
                      </a:xfrm>
                      <a:custGeom>
                        <a:avLst/>
                        <a:gdLst>
                          <a:gd name="T0" fmla="*/ 140 w 137"/>
                          <a:gd name="T1" fmla="*/ 29 h 60"/>
                          <a:gd name="T2" fmla="*/ 128 w 137"/>
                          <a:gd name="T3" fmla="*/ 31 h 60"/>
                          <a:gd name="T4" fmla="*/ 128 w 137"/>
                          <a:gd name="T5" fmla="*/ 20 h 60"/>
                          <a:gd name="T6" fmla="*/ 127 w 137"/>
                          <a:gd name="T7" fmla="*/ 12 h 60"/>
                          <a:gd name="T8" fmla="*/ 126 w 137"/>
                          <a:gd name="T9" fmla="*/ 0 h 60"/>
                          <a:gd name="T10" fmla="*/ 108 w 137"/>
                          <a:gd name="T11" fmla="*/ 11 h 60"/>
                          <a:gd name="T12" fmla="*/ 108 w 137"/>
                          <a:gd name="T13" fmla="*/ 19 h 60"/>
                          <a:gd name="T14" fmla="*/ 104 w 137"/>
                          <a:gd name="T15" fmla="*/ 28 h 60"/>
                          <a:gd name="T16" fmla="*/ 115 w 137"/>
                          <a:gd name="T17" fmla="*/ 32 h 60"/>
                          <a:gd name="T18" fmla="*/ 107 w 137"/>
                          <a:gd name="T19" fmla="*/ 37 h 60"/>
                          <a:gd name="T20" fmla="*/ 92 w 137"/>
                          <a:gd name="T21" fmla="*/ 35 h 60"/>
                          <a:gd name="T22" fmla="*/ 87 w 137"/>
                          <a:gd name="T23" fmla="*/ 31 h 60"/>
                          <a:gd name="T24" fmla="*/ 75 w 137"/>
                          <a:gd name="T25" fmla="*/ 31 h 60"/>
                          <a:gd name="T26" fmla="*/ 72 w 137"/>
                          <a:gd name="T27" fmla="*/ 20 h 60"/>
                          <a:gd name="T28" fmla="*/ 62 w 137"/>
                          <a:gd name="T29" fmla="*/ 17 h 60"/>
                          <a:gd name="T30" fmla="*/ 56 w 137"/>
                          <a:gd name="T31" fmla="*/ 13 h 60"/>
                          <a:gd name="T32" fmla="*/ 47 w 137"/>
                          <a:gd name="T33" fmla="*/ 11 h 60"/>
                          <a:gd name="T34" fmla="*/ 32 w 137"/>
                          <a:gd name="T35" fmla="*/ 17 h 60"/>
                          <a:gd name="T36" fmla="*/ 42 w 137"/>
                          <a:gd name="T37" fmla="*/ 19 h 60"/>
                          <a:gd name="T38" fmla="*/ 29 w 137"/>
                          <a:gd name="T39" fmla="*/ 19 h 60"/>
                          <a:gd name="T40" fmla="*/ 17 w 137"/>
                          <a:gd name="T41" fmla="*/ 29 h 60"/>
                          <a:gd name="T42" fmla="*/ 37 w 137"/>
                          <a:gd name="T43" fmla="*/ 28 h 60"/>
                          <a:gd name="T44" fmla="*/ 29 w 137"/>
                          <a:gd name="T45" fmla="*/ 30 h 60"/>
                          <a:gd name="T46" fmla="*/ 14 w 137"/>
                          <a:gd name="T47" fmla="*/ 31 h 60"/>
                          <a:gd name="T48" fmla="*/ 8 w 137"/>
                          <a:gd name="T49" fmla="*/ 38 h 60"/>
                          <a:gd name="T50" fmla="*/ 30 w 137"/>
                          <a:gd name="T51" fmla="*/ 35 h 60"/>
                          <a:gd name="T52" fmla="*/ 29 w 137"/>
                          <a:gd name="T53" fmla="*/ 38 h 60"/>
                          <a:gd name="T54" fmla="*/ 7 w 137"/>
                          <a:gd name="T55" fmla="*/ 42 h 60"/>
                          <a:gd name="T56" fmla="*/ 1 w 137"/>
                          <a:gd name="T57" fmla="*/ 47 h 60"/>
                          <a:gd name="T58" fmla="*/ 18 w 137"/>
                          <a:gd name="T59" fmla="*/ 47 h 60"/>
                          <a:gd name="T60" fmla="*/ 28 w 137"/>
                          <a:gd name="T61" fmla="*/ 53 h 60"/>
                          <a:gd name="T62" fmla="*/ 34 w 137"/>
                          <a:gd name="T63" fmla="*/ 48 h 60"/>
                          <a:gd name="T64" fmla="*/ 43 w 137"/>
                          <a:gd name="T65" fmla="*/ 50 h 60"/>
                          <a:gd name="T66" fmla="*/ 47 w 137"/>
                          <a:gd name="T67" fmla="*/ 44 h 60"/>
                          <a:gd name="T68" fmla="*/ 50 w 137"/>
                          <a:gd name="T69" fmla="*/ 47 h 60"/>
                          <a:gd name="T70" fmla="*/ 62 w 137"/>
                          <a:gd name="T71" fmla="*/ 49 h 60"/>
                          <a:gd name="T72" fmla="*/ 69 w 137"/>
                          <a:gd name="T73" fmla="*/ 49 h 60"/>
                          <a:gd name="T74" fmla="*/ 81 w 137"/>
                          <a:gd name="T75" fmla="*/ 47 h 60"/>
                          <a:gd name="T76" fmla="*/ 77 w 137"/>
                          <a:gd name="T77" fmla="*/ 54 h 60"/>
                          <a:gd name="T78" fmla="*/ 60 w 137"/>
                          <a:gd name="T79" fmla="*/ 55 h 60"/>
                          <a:gd name="T80" fmla="*/ 51 w 137"/>
                          <a:gd name="T81" fmla="*/ 58 h 60"/>
                          <a:gd name="T82" fmla="*/ 40 w 137"/>
                          <a:gd name="T83" fmla="*/ 65 h 60"/>
                          <a:gd name="T84" fmla="*/ 62 w 137"/>
                          <a:gd name="T85" fmla="*/ 71 h 60"/>
                          <a:gd name="T86" fmla="*/ 83 w 137"/>
                          <a:gd name="T87" fmla="*/ 65 h 60"/>
                          <a:gd name="T88" fmla="*/ 103 w 137"/>
                          <a:gd name="T89" fmla="*/ 56 h 60"/>
                          <a:gd name="T90" fmla="*/ 120 w 137"/>
                          <a:gd name="T91" fmla="*/ 56 h 60"/>
                          <a:gd name="T92" fmla="*/ 130 w 137"/>
                          <a:gd name="T93" fmla="*/ 58 h 60"/>
                          <a:gd name="T94" fmla="*/ 148 w 137"/>
                          <a:gd name="T95" fmla="*/ 50 h 60"/>
                          <a:gd name="T96" fmla="*/ 158 w 137"/>
                          <a:gd name="T97" fmla="*/ 42 h 60"/>
                          <a:gd name="T98" fmla="*/ 158 w 137"/>
                          <a:gd name="T99" fmla="*/ 26 h 60"/>
                          <a:gd name="T100" fmla="*/ 145 w 137"/>
                          <a:gd name="T101" fmla="*/ 26 h 60"/>
                          <a:gd name="T102" fmla="*/ 0 60000 65536"/>
                          <a:gd name="T103" fmla="*/ 0 60000 65536"/>
                          <a:gd name="T104" fmla="*/ 0 60000 65536"/>
                          <a:gd name="T105" fmla="*/ 0 60000 65536"/>
                          <a:gd name="T106" fmla="*/ 0 60000 65536"/>
                          <a:gd name="T107" fmla="*/ 0 60000 65536"/>
                          <a:gd name="T108" fmla="*/ 0 60000 65536"/>
                          <a:gd name="T109" fmla="*/ 0 60000 65536"/>
                          <a:gd name="T110" fmla="*/ 0 60000 65536"/>
                          <a:gd name="T111" fmla="*/ 0 60000 65536"/>
                          <a:gd name="T112" fmla="*/ 0 60000 65536"/>
                          <a:gd name="T113" fmla="*/ 0 60000 65536"/>
                          <a:gd name="T114" fmla="*/ 0 60000 65536"/>
                          <a:gd name="T115" fmla="*/ 0 60000 65536"/>
                          <a:gd name="T116" fmla="*/ 0 60000 65536"/>
                          <a:gd name="T117" fmla="*/ 0 60000 65536"/>
                          <a:gd name="T118" fmla="*/ 0 60000 65536"/>
                          <a:gd name="T119" fmla="*/ 0 60000 65536"/>
                          <a:gd name="T120" fmla="*/ 0 60000 65536"/>
                          <a:gd name="T121" fmla="*/ 0 60000 65536"/>
                          <a:gd name="T122" fmla="*/ 0 60000 65536"/>
                          <a:gd name="T123" fmla="*/ 0 60000 65536"/>
                          <a:gd name="T124" fmla="*/ 0 60000 65536"/>
                          <a:gd name="T125" fmla="*/ 0 60000 65536"/>
                          <a:gd name="T126" fmla="*/ 0 60000 65536"/>
                          <a:gd name="T127" fmla="*/ 0 60000 65536"/>
                          <a:gd name="T128" fmla="*/ 0 60000 65536"/>
                          <a:gd name="T129" fmla="*/ 0 60000 65536"/>
                          <a:gd name="T130" fmla="*/ 0 60000 65536"/>
                          <a:gd name="T131" fmla="*/ 0 60000 65536"/>
                          <a:gd name="T132" fmla="*/ 0 60000 65536"/>
                          <a:gd name="T133" fmla="*/ 0 60000 65536"/>
                          <a:gd name="T134" fmla="*/ 0 60000 65536"/>
                          <a:gd name="T135" fmla="*/ 0 60000 65536"/>
                          <a:gd name="T136" fmla="*/ 0 60000 65536"/>
                          <a:gd name="T137" fmla="*/ 0 60000 65536"/>
                          <a:gd name="T138" fmla="*/ 0 60000 65536"/>
                          <a:gd name="T139" fmla="*/ 0 60000 65536"/>
                          <a:gd name="T140" fmla="*/ 0 60000 65536"/>
                          <a:gd name="T141" fmla="*/ 0 60000 65536"/>
                          <a:gd name="T142" fmla="*/ 0 60000 65536"/>
                          <a:gd name="T143" fmla="*/ 0 60000 65536"/>
                          <a:gd name="T144" fmla="*/ 0 60000 65536"/>
                          <a:gd name="T145" fmla="*/ 0 60000 65536"/>
                          <a:gd name="T146" fmla="*/ 0 60000 65536"/>
                          <a:gd name="T147" fmla="*/ 0 60000 65536"/>
                          <a:gd name="T148" fmla="*/ 0 60000 65536"/>
                          <a:gd name="T149" fmla="*/ 0 60000 65536"/>
                          <a:gd name="T150" fmla="*/ 0 60000 65536"/>
                          <a:gd name="T151" fmla="*/ 0 60000 65536"/>
                          <a:gd name="T152" fmla="*/ 0 60000 65536"/>
                          <a:gd name="T153" fmla="*/ 0 w 137"/>
                          <a:gd name="T154" fmla="*/ 0 h 60"/>
                          <a:gd name="T155" fmla="*/ 137 w 137"/>
                          <a:gd name="T156" fmla="*/ 60 h 60"/>
                        </a:gdLst>
                        <a:ahLst/>
                        <a:cxnLst>
                          <a:cxn ang="T102">
                            <a:pos x="T0" y="T1"/>
                          </a:cxn>
                          <a:cxn ang="T103">
                            <a:pos x="T2" y="T3"/>
                          </a:cxn>
                          <a:cxn ang="T104">
                            <a:pos x="T4" y="T5"/>
                          </a:cxn>
                          <a:cxn ang="T105">
                            <a:pos x="T6" y="T7"/>
                          </a:cxn>
                          <a:cxn ang="T106">
                            <a:pos x="T8" y="T9"/>
                          </a:cxn>
                          <a:cxn ang="T107">
                            <a:pos x="T10" y="T11"/>
                          </a:cxn>
                          <a:cxn ang="T108">
                            <a:pos x="T12" y="T13"/>
                          </a:cxn>
                          <a:cxn ang="T109">
                            <a:pos x="T14" y="T15"/>
                          </a:cxn>
                          <a:cxn ang="T110">
                            <a:pos x="T16" y="T17"/>
                          </a:cxn>
                          <a:cxn ang="T111">
                            <a:pos x="T18" y="T19"/>
                          </a:cxn>
                          <a:cxn ang="T112">
                            <a:pos x="T20" y="T21"/>
                          </a:cxn>
                          <a:cxn ang="T113">
                            <a:pos x="T22" y="T23"/>
                          </a:cxn>
                          <a:cxn ang="T114">
                            <a:pos x="T24" y="T25"/>
                          </a:cxn>
                          <a:cxn ang="T115">
                            <a:pos x="T26" y="T27"/>
                          </a:cxn>
                          <a:cxn ang="T116">
                            <a:pos x="T28" y="T29"/>
                          </a:cxn>
                          <a:cxn ang="T117">
                            <a:pos x="T30" y="T31"/>
                          </a:cxn>
                          <a:cxn ang="T118">
                            <a:pos x="T32" y="T33"/>
                          </a:cxn>
                          <a:cxn ang="T119">
                            <a:pos x="T34" y="T35"/>
                          </a:cxn>
                          <a:cxn ang="T120">
                            <a:pos x="T36" y="T37"/>
                          </a:cxn>
                          <a:cxn ang="T121">
                            <a:pos x="T38" y="T39"/>
                          </a:cxn>
                          <a:cxn ang="T122">
                            <a:pos x="T40" y="T41"/>
                          </a:cxn>
                          <a:cxn ang="T123">
                            <a:pos x="T42" y="T43"/>
                          </a:cxn>
                          <a:cxn ang="T124">
                            <a:pos x="T44" y="T45"/>
                          </a:cxn>
                          <a:cxn ang="T125">
                            <a:pos x="T46" y="T47"/>
                          </a:cxn>
                          <a:cxn ang="T126">
                            <a:pos x="T48" y="T49"/>
                          </a:cxn>
                          <a:cxn ang="T127">
                            <a:pos x="T50" y="T51"/>
                          </a:cxn>
                          <a:cxn ang="T128">
                            <a:pos x="T52" y="T53"/>
                          </a:cxn>
                          <a:cxn ang="T129">
                            <a:pos x="T54" y="T55"/>
                          </a:cxn>
                          <a:cxn ang="T130">
                            <a:pos x="T56" y="T57"/>
                          </a:cxn>
                          <a:cxn ang="T131">
                            <a:pos x="T58" y="T59"/>
                          </a:cxn>
                          <a:cxn ang="T132">
                            <a:pos x="T60" y="T61"/>
                          </a:cxn>
                          <a:cxn ang="T133">
                            <a:pos x="T62" y="T63"/>
                          </a:cxn>
                          <a:cxn ang="T134">
                            <a:pos x="T64" y="T65"/>
                          </a:cxn>
                          <a:cxn ang="T135">
                            <a:pos x="T66" y="T67"/>
                          </a:cxn>
                          <a:cxn ang="T136">
                            <a:pos x="T68" y="T69"/>
                          </a:cxn>
                          <a:cxn ang="T137">
                            <a:pos x="T70" y="T71"/>
                          </a:cxn>
                          <a:cxn ang="T138">
                            <a:pos x="T72" y="T73"/>
                          </a:cxn>
                          <a:cxn ang="T139">
                            <a:pos x="T74" y="T75"/>
                          </a:cxn>
                          <a:cxn ang="T140">
                            <a:pos x="T76" y="T77"/>
                          </a:cxn>
                          <a:cxn ang="T141">
                            <a:pos x="T78" y="T79"/>
                          </a:cxn>
                          <a:cxn ang="T142">
                            <a:pos x="T80" y="T81"/>
                          </a:cxn>
                          <a:cxn ang="T143">
                            <a:pos x="T82" y="T83"/>
                          </a:cxn>
                          <a:cxn ang="T144">
                            <a:pos x="T84" y="T85"/>
                          </a:cxn>
                          <a:cxn ang="T145">
                            <a:pos x="T86" y="T87"/>
                          </a:cxn>
                          <a:cxn ang="T146">
                            <a:pos x="T88" y="T89"/>
                          </a:cxn>
                          <a:cxn ang="T147">
                            <a:pos x="T90" y="T91"/>
                          </a:cxn>
                          <a:cxn ang="T148">
                            <a:pos x="T92" y="T93"/>
                          </a:cxn>
                          <a:cxn ang="T149">
                            <a:pos x="T94" y="T95"/>
                          </a:cxn>
                          <a:cxn ang="T150">
                            <a:pos x="T96" y="T97"/>
                          </a:cxn>
                          <a:cxn ang="T151">
                            <a:pos x="T98" y="T99"/>
                          </a:cxn>
                          <a:cxn ang="T152">
                            <a:pos x="T100" y="T101"/>
                          </a:cxn>
                        </a:cxnLst>
                        <a:rect l="T153" t="T154" r="T155" b="T156"/>
                        <a:pathLst>
                          <a:path w="137" h="60">
                            <a:moveTo>
                              <a:pt x="119" y="29"/>
                            </a:moveTo>
                            <a:cubicBezTo>
                              <a:pt x="117" y="30"/>
                              <a:pt x="118" y="25"/>
                              <a:pt x="117" y="24"/>
                            </a:cubicBezTo>
                            <a:cubicBezTo>
                              <a:pt x="116" y="23"/>
                              <a:pt x="114" y="22"/>
                              <a:pt x="113" y="23"/>
                            </a:cubicBezTo>
                            <a:cubicBezTo>
                              <a:pt x="111" y="23"/>
                              <a:pt x="109" y="27"/>
                              <a:pt x="107" y="26"/>
                            </a:cubicBezTo>
                            <a:cubicBezTo>
                              <a:pt x="106" y="24"/>
                              <a:pt x="110" y="22"/>
                              <a:pt x="110" y="20"/>
                            </a:cubicBezTo>
                            <a:cubicBezTo>
                              <a:pt x="110" y="18"/>
                              <a:pt x="107" y="19"/>
                              <a:pt x="107" y="17"/>
                            </a:cubicBezTo>
                            <a:cubicBezTo>
                              <a:pt x="106" y="16"/>
                              <a:pt x="108" y="15"/>
                              <a:pt x="108" y="14"/>
                            </a:cubicBezTo>
                            <a:cubicBezTo>
                              <a:pt x="108" y="13"/>
                              <a:pt x="106" y="12"/>
                              <a:pt x="106" y="10"/>
                            </a:cubicBezTo>
                            <a:cubicBezTo>
                              <a:pt x="106" y="8"/>
                              <a:pt x="108" y="6"/>
                              <a:pt x="108" y="3"/>
                            </a:cubicBezTo>
                            <a:cubicBezTo>
                              <a:pt x="108" y="2"/>
                              <a:pt x="107" y="0"/>
                              <a:pt x="105" y="0"/>
                            </a:cubicBezTo>
                            <a:cubicBezTo>
                              <a:pt x="103" y="0"/>
                              <a:pt x="101" y="3"/>
                              <a:pt x="98" y="4"/>
                            </a:cubicBezTo>
                            <a:cubicBezTo>
                              <a:pt x="96" y="6"/>
                              <a:pt x="93" y="7"/>
                              <a:pt x="90" y="9"/>
                            </a:cubicBezTo>
                            <a:cubicBezTo>
                              <a:pt x="88" y="10"/>
                              <a:pt x="86" y="12"/>
                              <a:pt x="86" y="14"/>
                            </a:cubicBezTo>
                            <a:cubicBezTo>
                              <a:pt x="86" y="16"/>
                              <a:pt x="89" y="15"/>
                              <a:pt x="90" y="16"/>
                            </a:cubicBezTo>
                            <a:cubicBezTo>
                              <a:pt x="92" y="17"/>
                              <a:pt x="95" y="18"/>
                              <a:pt x="94" y="20"/>
                            </a:cubicBezTo>
                            <a:cubicBezTo>
                              <a:pt x="93" y="22"/>
                              <a:pt x="88" y="20"/>
                              <a:pt x="87" y="23"/>
                            </a:cubicBezTo>
                            <a:cubicBezTo>
                              <a:pt x="86" y="24"/>
                              <a:pt x="90" y="24"/>
                              <a:pt x="91" y="24"/>
                            </a:cubicBezTo>
                            <a:cubicBezTo>
                              <a:pt x="93" y="25"/>
                              <a:pt x="95" y="25"/>
                              <a:pt x="96" y="27"/>
                            </a:cubicBezTo>
                            <a:cubicBezTo>
                              <a:pt x="97" y="28"/>
                              <a:pt x="96" y="30"/>
                              <a:pt x="95" y="31"/>
                            </a:cubicBezTo>
                            <a:cubicBezTo>
                              <a:pt x="93" y="32"/>
                              <a:pt x="91" y="31"/>
                              <a:pt x="89" y="31"/>
                            </a:cubicBezTo>
                            <a:cubicBezTo>
                              <a:pt x="87" y="31"/>
                              <a:pt x="85" y="31"/>
                              <a:pt x="83" y="31"/>
                            </a:cubicBezTo>
                            <a:cubicBezTo>
                              <a:pt x="81" y="30"/>
                              <a:pt x="79" y="29"/>
                              <a:pt x="77" y="29"/>
                            </a:cubicBezTo>
                            <a:cubicBezTo>
                              <a:pt x="75" y="29"/>
                              <a:pt x="74" y="32"/>
                              <a:pt x="72" y="31"/>
                            </a:cubicBezTo>
                            <a:cubicBezTo>
                              <a:pt x="71" y="30"/>
                              <a:pt x="75" y="28"/>
                              <a:pt x="73" y="26"/>
                            </a:cubicBezTo>
                            <a:cubicBezTo>
                              <a:pt x="72" y="25"/>
                              <a:pt x="70" y="26"/>
                              <a:pt x="68" y="26"/>
                            </a:cubicBezTo>
                            <a:cubicBezTo>
                              <a:pt x="66" y="26"/>
                              <a:pt x="63" y="28"/>
                              <a:pt x="63" y="26"/>
                            </a:cubicBezTo>
                            <a:cubicBezTo>
                              <a:pt x="63" y="25"/>
                              <a:pt x="68" y="25"/>
                              <a:pt x="67" y="23"/>
                            </a:cubicBezTo>
                            <a:cubicBezTo>
                              <a:pt x="67" y="20"/>
                              <a:pt x="63" y="19"/>
                              <a:pt x="60" y="17"/>
                            </a:cubicBezTo>
                            <a:cubicBezTo>
                              <a:pt x="59" y="16"/>
                              <a:pt x="59" y="14"/>
                              <a:pt x="57" y="14"/>
                            </a:cubicBezTo>
                            <a:cubicBezTo>
                              <a:pt x="56" y="13"/>
                              <a:pt x="54" y="14"/>
                              <a:pt x="52" y="14"/>
                            </a:cubicBezTo>
                            <a:cubicBezTo>
                              <a:pt x="50" y="15"/>
                              <a:pt x="47" y="17"/>
                              <a:pt x="46" y="15"/>
                            </a:cubicBezTo>
                            <a:cubicBezTo>
                              <a:pt x="44" y="15"/>
                              <a:pt x="47" y="13"/>
                              <a:pt x="47" y="11"/>
                            </a:cubicBezTo>
                            <a:cubicBezTo>
                              <a:pt x="47" y="11"/>
                              <a:pt x="48" y="9"/>
                              <a:pt x="47" y="9"/>
                            </a:cubicBezTo>
                            <a:cubicBezTo>
                              <a:pt x="44" y="9"/>
                              <a:pt x="42" y="9"/>
                              <a:pt x="39" y="9"/>
                            </a:cubicBezTo>
                            <a:cubicBezTo>
                              <a:pt x="37" y="10"/>
                              <a:pt x="34" y="10"/>
                              <a:pt x="32" y="11"/>
                            </a:cubicBezTo>
                            <a:cubicBezTo>
                              <a:pt x="30" y="12"/>
                              <a:pt x="27" y="12"/>
                              <a:pt x="27" y="14"/>
                            </a:cubicBezTo>
                            <a:cubicBezTo>
                              <a:pt x="27" y="16"/>
                              <a:pt x="30" y="15"/>
                              <a:pt x="32" y="16"/>
                            </a:cubicBezTo>
                            <a:cubicBezTo>
                              <a:pt x="33" y="16"/>
                              <a:pt x="36" y="15"/>
                              <a:pt x="35" y="16"/>
                            </a:cubicBezTo>
                            <a:cubicBezTo>
                              <a:pt x="35" y="17"/>
                              <a:pt x="33" y="18"/>
                              <a:pt x="32" y="18"/>
                            </a:cubicBezTo>
                            <a:cubicBezTo>
                              <a:pt x="29" y="18"/>
                              <a:pt x="27" y="15"/>
                              <a:pt x="24" y="16"/>
                            </a:cubicBezTo>
                            <a:cubicBezTo>
                              <a:pt x="21" y="16"/>
                              <a:pt x="18" y="18"/>
                              <a:pt x="16" y="20"/>
                            </a:cubicBezTo>
                            <a:cubicBezTo>
                              <a:pt x="15" y="21"/>
                              <a:pt x="12" y="24"/>
                              <a:pt x="14" y="24"/>
                            </a:cubicBezTo>
                            <a:cubicBezTo>
                              <a:pt x="17" y="26"/>
                              <a:pt x="20" y="23"/>
                              <a:pt x="23" y="23"/>
                            </a:cubicBezTo>
                            <a:cubicBezTo>
                              <a:pt x="26" y="23"/>
                              <a:pt x="29" y="22"/>
                              <a:pt x="31" y="23"/>
                            </a:cubicBezTo>
                            <a:cubicBezTo>
                              <a:pt x="32" y="23"/>
                              <a:pt x="33" y="25"/>
                              <a:pt x="32" y="25"/>
                            </a:cubicBezTo>
                            <a:cubicBezTo>
                              <a:pt x="30" y="26"/>
                              <a:pt x="27" y="25"/>
                              <a:pt x="24" y="25"/>
                            </a:cubicBezTo>
                            <a:cubicBezTo>
                              <a:pt x="22" y="25"/>
                              <a:pt x="20" y="26"/>
                              <a:pt x="18" y="26"/>
                            </a:cubicBezTo>
                            <a:cubicBezTo>
                              <a:pt x="16" y="27"/>
                              <a:pt x="13" y="26"/>
                              <a:pt x="12" y="26"/>
                            </a:cubicBezTo>
                            <a:cubicBezTo>
                              <a:pt x="10" y="27"/>
                              <a:pt x="8" y="28"/>
                              <a:pt x="7" y="30"/>
                            </a:cubicBezTo>
                            <a:cubicBezTo>
                              <a:pt x="7" y="30"/>
                              <a:pt x="7" y="32"/>
                              <a:pt x="7" y="32"/>
                            </a:cubicBezTo>
                            <a:cubicBezTo>
                              <a:pt x="10" y="32"/>
                              <a:pt x="13" y="32"/>
                              <a:pt x="16" y="32"/>
                            </a:cubicBezTo>
                            <a:cubicBezTo>
                              <a:pt x="19" y="31"/>
                              <a:pt x="22" y="29"/>
                              <a:pt x="25" y="29"/>
                            </a:cubicBezTo>
                            <a:cubicBezTo>
                              <a:pt x="26" y="29"/>
                              <a:pt x="29" y="29"/>
                              <a:pt x="29" y="30"/>
                            </a:cubicBezTo>
                            <a:cubicBezTo>
                              <a:pt x="28" y="32"/>
                              <a:pt x="25" y="31"/>
                              <a:pt x="24" y="32"/>
                            </a:cubicBezTo>
                            <a:cubicBezTo>
                              <a:pt x="21" y="33"/>
                              <a:pt x="17" y="35"/>
                              <a:pt x="14" y="35"/>
                            </a:cubicBezTo>
                            <a:cubicBezTo>
                              <a:pt x="11" y="36"/>
                              <a:pt x="9" y="35"/>
                              <a:pt x="6" y="35"/>
                            </a:cubicBezTo>
                            <a:cubicBezTo>
                              <a:pt x="4" y="35"/>
                              <a:pt x="3" y="35"/>
                              <a:pt x="1" y="36"/>
                            </a:cubicBezTo>
                            <a:cubicBezTo>
                              <a:pt x="0" y="37"/>
                              <a:pt x="0" y="39"/>
                              <a:pt x="1" y="39"/>
                            </a:cubicBezTo>
                            <a:cubicBezTo>
                              <a:pt x="3" y="41"/>
                              <a:pt x="6" y="42"/>
                              <a:pt x="9" y="42"/>
                            </a:cubicBezTo>
                            <a:cubicBezTo>
                              <a:pt x="11" y="42"/>
                              <a:pt x="13" y="39"/>
                              <a:pt x="15" y="39"/>
                            </a:cubicBezTo>
                            <a:cubicBezTo>
                              <a:pt x="16" y="40"/>
                              <a:pt x="16" y="43"/>
                              <a:pt x="18" y="44"/>
                            </a:cubicBezTo>
                            <a:cubicBezTo>
                              <a:pt x="19" y="45"/>
                              <a:pt x="21" y="45"/>
                              <a:pt x="23" y="44"/>
                            </a:cubicBezTo>
                            <a:cubicBezTo>
                              <a:pt x="24" y="43"/>
                              <a:pt x="22" y="41"/>
                              <a:pt x="23" y="40"/>
                            </a:cubicBezTo>
                            <a:cubicBezTo>
                              <a:pt x="24" y="39"/>
                              <a:pt x="27" y="39"/>
                              <a:pt x="28" y="40"/>
                            </a:cubicBezTo>
                            <a:cubicBezTo>
                              <a:pt x="29" y="42"/>
                              <a:pt x="25" y="45"/>
                              <a:pt x="27" y="45"/>
                            </a:cubicBezTo>
                            <a:cubicBezTo>
                              <a:pt x="30" y="46"/>
                              <a:pt x="34" y="44"/>
                              <a:pt x="36" y="42"/>
                            </a:cubicBezTo>
                            <a:cubicBezTo>
                              <a:pt x="37" y="41"/>
                              <a:pt x="36" y="39"/>
                              <a:pt x="37" y="37"/>
                            </a:cubicBezTo>
                            <a:cubicBezTo>
                              <a:pt x="37" y="36"/>
                              <a:pt x="38" y="37"/>
                              <a:pt x="39" y="37"/>
                            </a:cubicBezTo>
                            <a:cubicBezTo>
                              <a:pt x="41" y="37"/>
                              <a:pt x="42" y="35"/>
                              <a:pt x="44" y="36"/>
                            </a:cubicBezTo>
                            <a:cubicBezTo>
                              <a:pt x="45" y="36"/>
                              <a:pt x="42" y="38"/>
                              <a:pt x="42" y="39"/>
                            </a:cubicBezTo>
                            <a:cubicBezTo>
                              <a:pt x="41" y="39"/>
                              <a:pt x="39" y="41"/>
                              <a:pt x="40" y="42"/>
                            </a:cubicBezTo>
                            <a:cubicBezTo>
                              <a:pt x="44" y="43"/>
                              <a:pt x="48" y="42"/>
                              <a:pt x="52" y="41"/>
                            </a:cubicBezTo>
                            <a:cubicBezTo>
                              <a:pt x="54" y="41"/>
                              <a:pt x="54" y="39"/>
                              <a:pt x="56" y="39"/>
                            </a:cubicBezTo>
                            <a:cubicBezTo>
                              <a:pt x="57" y="39"/>
                              <a:pt x="57" y="41"/>
                              <a:pt x="58" y="41"/>
                            </a:cubicBezTo>
                            <a:cubicBezTo>
                              <a:pt x="59" y="41"/>
                              <a:pt x="60" y="41"/>
                              <a:pt x="61" y="41"/>
                            </a:cubicBezTo>
                            <a:cubicBezTo>
                              <a:pt x="64" y="40"/>
                              <a:pt x="66" y="39"/>
                              <a:pt x="68" y="39"/>
                            </a:cubicBezTo>
                            <a:cubicBezTo>
                              <a:pt x="69" y="39"/>
                              <a:pt x="72" y="39"/>
                              <a:pt x="71" y="40"/>
                            </a:cubicBezTo>
                            <a:cubicBezTo>
                              <a:pt x="70" y="42"/>
                              <a:pt x="67" y="44"/>
                              <a:pt x="64" y="45"/>
                            </a:cubicBezTo>
                            <a:cubicBezTo>
                              <a:pt x="62" y="46"/>
                              <a:pt x="60" y="44"/>
                              <a:pt x="57" y="45"/>
                            </a:cubicBezTo>
                            <a:cubicBezTo>
                              <a:pt x="55" y="45"/>
                              <a:pt x="52" y="45"/>
                              <a:pt x="50" y="46"/>
                            </a:cubicBezTo>
                            <a:cubicBezTo>
                              <a:pt x="48" y="47"/>
                              <a:pt x="47" y="48"/>
                              <a:pt x="45" y="48"/>
                            </a:cubicBezTo>
                            <a:cubicBezTo>
                              <a:pt x="44" y="48"/>
                              <a:pt x="43" y="48"/>
                              <a:pt x="43" y="48"/>
                            </a:cubicBezTo>
                            <a:cubicBezTo>
                              <a:pt x="39" y="49"/>
                              <a:pt x="36" y="50"/>
                              <a:pt x="33" y="52"/>
                            </a:cubicBezTo>
                            <a:cubicBezTo>
                              <a:pt x="33" y="52"/>
                              <a:pt x="33" y="54"/>
                              <a:pt x="33" y="54"/>
                            </a:cubicBezTo>
                            <a:cubicBezTo>
                              <a:pt x="35" y="57"/>
                              <a:pt x="38" y="59"/>
                              <a:pt x="40" y="59"/>
                            </a:cubicBezTo>
                            <a:cubicBezTo>
                              <a:pt x="44" y="60"/>
                              <a:pt x="48" y="60"/>
                              <a:pt x="52" y="59"/>
                            </a:cubicBezTo>
                            <a:cubicBezTo>
                              <a:pt x="55" y="59"/>
                              <a:pt x="57" y="56"/>
                              <a:pt x="61" y="55"/>
                            </a:cubicBezTo>
                            <a:cubicBezTo>
                              <a:pt x="63" y="54"/>
                              <a:pt x="66" y="55"/>
                              <a:pt x="69" y="54"/>
                            </a:cubicBezTo>
                            <a:cubicBezTo>
                              <a:pt x="71" y="53"/>
                              <a:pt x="71" y="49"/>
                              <a:pt x="73" y="48"/>
                            </a:cubicBezTo>
                            <a:cubicBezTo>
                              <a:pt x="78" y="47"/>
                              <a:pt x="82" y="48"/>
                              <a:pt x="86" y="47"/>
                            </a:cubicBezTo>
                            <a:cubicBezTo>
                              <a:pt x="90" y="46"/>
                              <a:pt x="92" y="42"/>
                              <a:pt x="95" y="42"/>
                            </a:cubicBezTo>
                            <a:cubicBezTo>
                              <a:pt x="97" y="42"/>
                              <a:pt x="98" y="47"/>
                              <a:pt x="100" y="47"/>
                            </a:cubicBezTo>
                            <a:cubicBezTo>
                              <a:pt x="102" y="47"/>
                              <a:pt x="103" y="43"/>
                              <a:pt x="106" y="43"/>
                            </a:cubicBezTo>
                            <a:cubicBezTo>
                              <a:pt x="108" y="43"/>
                              <a:pt x="107" y="48"/>
                              <a:pt x="109" y="48"/>
                            </a:cubicBezTo>
                            <a:cubicBezTo>
                              <a:pt x="112" y="48"/>
                              <a:pt x="114" y="44"/>
                              <a:pt x="116" y="43"/>
                            </a:cubicBezTo>
                            <a:cubicBezTo>
                              <a:pt x="119" y="42"/>
                              <a:pt x="122" y="43"/>
                              <a:pt x="124" y="42"/>
                            </a:cubicBezTo>
                            <a:cubicBezTo>
                              <a:pt x="126" y="41"/>
                              <a:pt x="125" y="38"/>
                              <a:pt x="126" y="37"/>
                            </a:cubicBezTo>
                            <a:cubicBezTo>
                              <a:pt x="127" y="35"/>
                              <a:pt x="131" y="37"/>
                              <a:pt x="132" y="35"/>
                            </a:cubicBezTo>
                            <a:cubicBezTo>
                              <a:pt x="133" y="32"/>
                              <a:pt x="135" y="29"/>
                              <a:pt x="136" y="25"/>
                            </a:cubicBezTo>
                            <a:cubicBezTo>
                              <a:pt x="137" y="24"/>
                              <a:pt x="133" y="23"/>
                              <a:pt x="132" y="22"/>
                            </a:cubicBezTo>
                            <a:cubicBezTo>
                              <a:pt x="129" y="21"/>
                              <a:pt x="127" y="18"/>
                              <a:pt x="125" y="18"/>
                            </a:cubicBezTo>
                            <a:cubicBezTo>
                              <a:pt x="123" y="18"/>
                              <a:pt x="122" y="20"/>
                              <a:pt x="121" y="22"/>
                            </a:cubicBezTo>
                            <a:cubicBezTo>
                              <a:pt x="120" y="24"/>
                              <a:pt x="122" y="28"/>
                              <a:pt x="119" y="29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69" name="Freeform 3574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494697" y="1602139"/>
                        <a:ext cx="117442" cy="41533"/>
                      </a:xfrm>
                      <a:custGeom>
                        <a:avLst/>
                        <a:gdLst>
                          <a:gd name="T0" fmla="*/ 92 w 88"/>
                          <a:gd name="T1" fmla="*/ 0 h 42"/>
                          <a:gd name="T2" fmla="*/ 104 w 88"/>
                          <a:gd name="T3" fmla="*/ 7 h 42"/>
                          <a:gd name="T4" fmla="*/ 103 w 88"/>
                          <a:gd name="T5" fmla="*/ 10 h 42"/>
                          <a:gd name="T6" fmla="*/ 95 w 88"/>
                          <a:gd name="T7" fmla="*/ 12 h 42"/>
                          <a:gd name="T8" fmla="*/ 92 w 88"/>
                          <a:gd name="T9" fmla="*/ 12 h 42"/>
                          <a:gd name="T10" fmla="*/ 94 w 88"/>
                          <a:gd name="T11" fmla="*/ 20 h 42"/>
                          <a:gd name="T12" fmla="*/ 88 w 88"/>
                          <a:gd name="T13" fmla="*/ 20 h 42"/>
                          <a:gd name="T14" fmla="*/ 91 w 88"/>
                          <a:gd name="T15" fmla="*/ 25 h 42"/>
                          <a:gd name="T16" fmla="*/ 79 w 88"/>
                          <a:gd name="T17" fmla="*/ 26 h 42"/>
                          <a:gd name="T18" fmla="*/ 74 w 88"/>
                          <a:gd name="T19" fmla="*/ 35 h 42"/>
                          <a:gd name="T20" fmla="*/ 67 w 88"/>
                          <a:gd name="T21" fmla="*/ 37 h 42"/>
                          <a:gd name="T22" fmla="*/ 62 w 88"/>
                          <a:gd name="T23" fmla="*/ 31 h 42"/>
                          <a:gd name="T24" fmla="*/ 66 w 88"/>
                          <a:gd name="T25" fmla="*/ 25 h 42"/>
                          <a:gd name="T26" fmla="*/ 68 w 88"/>
                          <a:gd name="T27" fmla="*/ 21 h 42"/>
                          <a:gd name="T28" fmla="*/ 62 w 88"/>
                          <a:gd name="T29" fmla="*/ 23 h 42"/>
                          <a:gd name="T30" fmla="*/ 56 w 88"/>
                          <a:gd name="T31" fmla="*/ 29 h 42"/>
                          <a:gd name="T32" fmla="*/ 51 w 88"/>
                          <a:gd name="T33" fmla="*/ 30 h 42"/>
                          <a:gd name="T34" fmla="*/ 56 w 88"/>
                          <a:gd name="T35" fmla="*/ 36 h 42"/>
                          <a:gd name="T36" fmla="*/ 48 w 88"/>
                          <a:gd name="T37" fmla="*/ 39 h 42"/>
                          <a:gd name="T38" fmla="*/ 45 w 88"/>
                          <a:gd name="T39" fmla="*/ 38 h 42"/>
                          <a:gd name="T40" fmla="*/ 44 w 88"/>
                          <a:gd name="T41" fmla="*/ 36 h 42"/>
                          <a:gd name="T42" fmla="*/ 43 w 88"/>
                          <a:gd name="T43" fmla="*/ 38 h 42"/>
                          <a:gd name="T44" fmla="*/ 37 w 88"/>
                          <a:gd name="T45" fmla="*/ 48 h 42"/>
                          <a:gd name="T46" fmla="*/ 29 w 88"/>
                          <a:gd name="T47" fmla="*/ 48 h 42"/>
                          <a:gd name="T48" fmla="*/ 29 w 88"/>
                          <a:gd name="T49" fmla="*/ 38 h 42"/>
                          <a:gd name="T50" fmla="*/ 26 w 88"/>
                          <a:gd name="T51" fmla="*/ 37 h 42"/>
                          <a:gd name="T52" fmla="*/ 23 w 88"/>
                          <a:gd name="T53" fmla="*/ 45 h 42"/>
                          <a:gd name="T54" fmla="*/ 19 w 88"/>
                          <a:gd name="T55" fmla="*/ 45 h 42"/>
                          <a:gd name="T56" fmla="*/ 12 w 88"/>
                          <a:gd name="T57" fmla="*/ 42 h 42"/>
                          <a:gd name="T58" fmla="*/ 5 w 88"/>
                          <a:gd name="T59" fmla="*/ 46 h 42"/>
                          <a:gd name="T60" fmla="*/ 0 w 88"/>
                          <a:gd name="T61" fmla="*/ 43 h 42"/>
                          <a:gd name="T62" fmla="*/ 5 w 88"/>
                          <a:gd name="T63" fmla="*/ 36 h 42"/>
                          <a:gd name="T64" fmla="*/ 14 w 88"/>
                          <a:gd name="T65" fmla="*/ 32 h 42"/>
                          <a:gd name="T66" fmla="*/ 19 w 88"/>
                          <a:gd name="T67" fmla="*/ 33 h 42"/>
                          <a:gd name="T68" fmla="*/ 26 w 88"/>
                          <a:gd name="T69" fmla="*/ 25 h 42"/>
                          <a:gd name="T70" fmla="*/ 37 w 88"/>
                          <a:gd name="T71" fmla="*/ 20 h 42"/>
                          <a:gd name="T72" fmla="*/ 51 w 88"/>
                          <a:gd name="T73" fmla="*/ 11 h 42"/>
                          <a:gd name="T74" fmla="*/ 56 w 88"/>
                          <a:gd name="T75" fmla="*/ 6 h 42"/>
                          <a:gd name="T76" fmla="*/ 67 w 88"/>
                          <a:gd name="T77" fmla="*/ 5 h 42"/>
                          <a:gd name="T78" fmla="*/ 74 w 88"/>
                          <a:gd name="T79" fmla="*/ 5 h 42"/>
                          <a:gd name="T80" fmla="*/ 81 w 88"/>
                          <a:gd name="T81" fmla="*/ 8 h 42"/>
                          <a:gd name="T82" fmla="*/ 86 w 88"/>
                          <a:gd name="T83" fmla="*/ 7 h 42"/>
                          <a:gd name="T84" fmla="*/ 86 w 88"/>
                          <a:gd name="T85" fmla="*/ 2 h 42"/>
                          <a:gd name="T86" fmla="*/ 92 w 88"/>
                          <a:gd name="T87" fmla="*/ 0 h 42"/>
                          <a:gd name="T88" fmla="*/ 0 60000 65536"/>
                          <a:gd name="T89" fmla="*/ 0 60000 65536"/>
                          <a:gd name="T90" fmla="*/ 0 60000 65536"/>
                          <a:gd name="T91" fmla="*/ 0 60000 65536"/>
                          <a:gd name="T92" fmla="*/ 0 60000 65536"/>
                          <a:gd name="T93" fmla="*/ 0 60000 65536"/>
                          <a:gd name="T94" fmla="*/ 0 60000 65536"/>
                          <a:gd name="T95" fmla="*/ 0 60000 65536"/>
                          <a:gd name="T96" fmla="*/ 0 60000 65536"/>
                          <a:gd name="T97" fmla="*/ 0 60000 65536"/>
                          <a:gd name="T98" fmla="*/ 0 60000 65536"/>
                          <a:gd name="T99" fmla="*/ 0 60000 65536"/>
                          <a:gd name="T100" fmla="*/ 0 60000 65536"/>
                          <a:gd name="T101" fmla="*/ 0 60000 65536"/>
                          <a:gd name="T102" fmla="*/ 0 60000 65536"/>
                          <a:gd name="T103" fmla="*/ 0 60000 65536"/>
                          <a:gd name="T104" fmla="*/ 0 60000 65536"/>
                          <a:gd name="T105" fmla="*/ 0 60000 65536"/>
                          <a:gd name="T106" fmla="*/ 0 60000 65536"/>
                          <a:gd name="T107" fmla="*/ 0 60000 65536"/>
                          <a:gd name="T108" fmla="*/ 0 60000 65536"/>
                          <a:gd name="T109" fmla="*/ 0 60000 65536"/>
                          <a:gd name="T110" fmla="*/ 0 60000 65536"/>
                          <a:gd name="T111" fmla="*/ 0 60000 65536"/>
                          <a:gd name="T112" fmla="*/ 0 60000 65536"/>
                          <a:gd name="T113" fmla="*/ 0 60000 65536"/>
                          <a:gd name="T114" fmla="*/ 0 60000 65536"/>
                          <a:gd name="T115" fmla="*/ 0 60000 65536"/>
                          <a:gd name="T116" fmla="*/ 0 60000 65536"/>
                          <a:gd name="T117" fmla="*/ 0 60000 65536"/>
                          <a:gd name="T118" fmla="*/ 0 60000 65536"/>
                          <a:gd name="T119" fmla="*/ 0 60000 65536"/>
                          <a:gd name="T120" fmla="*/ 0 60000 65536"/>
                          <a:gd name="T121" fmla="*/ 0 60000 65536"/>
                          <a:gd name="T122" fmla="*/ 0 60000 65536"/>
                          <a:gd name="T123" fmla="*/ 0 60000 65536"/>
                          <a:gd name="T124" fmla="*/ 0 60000 65536"/>
                          <a:gd name="T125" fmla="*/ 0 60000 65536"/>
                          <a:gd name="T126" fmla="*/ 0 60000 65536"/>
                          <a:gd name="T127" fmla="*/ 0 60000 65536"/>
                          <a:gd name="T128" fmla="*/ 0 60000 65536"/>
                          <a:gd name="T129" fmla="*/ 0 60000 65536"/>
                          <a:gd name="T130" fmla="*/ 0 60000 65536"/>
                          <a:gd name="T131" fmla="*/ 0 60000 65536"/>
                          <a:gd name="T132" fmla="*/ 0 w 88"/>
                          <a:gd name="T133" fmla="*/ 0 h 42"/>
                          <a:gd name="T134" fmla="*/ 88 w 88"/>
                          <a:gd name="T135" fmla="*/ 42 h 42"/>
                        </a:gdLst>
                        <a:ahLst/>
                        <a:cxnLst>
                          <a:cxn ang="T88">
                            <a:pos x="T0" y="T1"/>
                          </a:cxn>
                          <a:cxn ang="T89">
                            <a:pos x="T2" y="T3"/>
                          </a:cxn>
                          <a:cxn ang="T90">
                            <a:pos x="T4" y="T5"/>
                          </a:cxn>
                          <a:cxn ang="T91">
                            <a:pos x="T6" y="T7"/>
                          </a:cxn>
                          <a:cxn ang="T92">
                            <a:pos x="T8" y="T9"/>
                          </a:cxn>
                          <a:cxn ang="T93">
                            <a:pos x="T10" y="T11"/>
                          </a:cxn>
                          <a:cxn ang="T94">
                            <a:pos x="T12" y="T13"/>
                          </a:cxn>
                          <a:cxn ang="T95">
                            <a:pos x="T14" y="T15"/>
                          </a:cxn>
                          <a:cxn ang="T96">
                            <a:pos x="T16" y="T17"/>
                          </a:cxn>
                          <a:cxn ang="T97">
                            <a:pos x="T18" y="T19"/>
                          </a:cxn>
                          <a:cxn ang="T98">
                            <a:pos x="T20" y="T21"/>
                          </a:cxn>
                          <a:cxn ang="T99">
                            <a:pos x="T22" y="T23"/>
                          </a:cxn>
                          <a:cxn ang="T100">
                            <a:pos x="T24" y="T25"/>
                          </a:cxn>
                          <a:cxn ang="T101">
                            <a:pos x="T26" y="T27"/>
                          </a:cxn>
                          <a:cxn ang="T102">
                            <a:pos x="T28" y="T29"/>
                          </a:cxn>
                          <a:cxn ang="T103">
                            <a:pos x="T30" y="T31"/>
                          </a:cxn>
                          <a:cxn ang="T104">
                            <a:pos x="T32" y="T33"/>
                          </a:cxn>
                          <a:cxn ang="T105">
                            <a:pos x="T34" y="T35"/>
                          </a:cxn>
                          <a:cxn ang="T106">
                            <a:pos x="T36" y="T37"/>
                          </a:cxn>
                          <a:cxn ang="T107">
                            <a:pos x="T38" y="T39"/>
                          </a:cxn>
                          <a:cxn ang="T108">
                            <a:pos x="T40" y="T41"/>
                          </a:cxn>
                          <a:cxn ang="T109">
                            <a:pos x="T42" y="T43"/>
                          </a:cxn>
                          <a:cxn ang="T110">
                            <a:pos x="T44" y="T45"/>
                          </a:cxn>
                          <a:cxn ang="T111">
                            <a:pos x="T46" y="T47"/>
                          </a:cxn>
                          <a:cxn ang="T112">
                            <a:pos x="T48" y="T49"/>
                          </a:cxn>
                          <a:cxn ang="T113">
                            <a:pos x="T50" y="T51"/>
                          </a:cxn>
                          <a:cxn ang="T114">
                            <a:pos x="T52" y="T53"/>
                          </a:cxn>
                          <a:cxn ang="T115">
                            <a:pos x="T54" y="T55"/>
                          </a:cxn>
                          <a:cxn ang="T116">
                            <a:pos x="T56" y="T57"/>
                          </a:cxn>
                          <a:cxn ang="T117">
                            <a:pos x="T58" y="T59"/>
                          </a:cxn>
                          <a:cxn ang="T118">
                            <a:pos x="T60" y="T61"/>
                          </a:cxn>
                          <a:cxn ang="T119">
                            <a:pos x="T62" y="T63"/>
                          </a:cxn>
                          <a:cxn ang="T120">
                            <a:pos x="T64" y="T65"/>
                          </a:cxn>
                          <a:cxn ang="T121">
                            <a:pos x="T66" y="T67"/>
                          </a:cxn>
                          <a:cxn ang="T122">
                            <a:pos x="T68" y="T69"/>
                          </a:cxn>
                          <a:cxn ang="T123">
                            <a:pos x="T70" y="T71"/>
                          </a:cxn>
                          <a:cxn ang="T124">
                            <a:pos x="T72" y="T73"/>
                          </a:cxn>
                          <a:cxn ang="T125">
                            <a:pos x="T74" y="T75"/>
                          </a:cxn>
                          <a:cxn ang="T126">
                            <a:pos x="T76" y="T77"/>
                          </a:cxn>
                          <a:cxn ang="T127">
                            <a:pos x="T78" y="T79"/>
                          </a:cxn>
                          <a:cxn ang="T128">
                            <a:pos x="T80" y="T81"/>
                          </a:cxn>
                          <a:cxn ang="T129">
                            <a:pos x="T82" y="T83"/>
                          </a:cxn>
                          <a:cxn ang="T130">
                            <a:pos x="T84" y="T85"/>
                          </a:cxn>
                          <a:cxn ang="T131">
                            <a:pos x="T86" y="T87"/>
                          </a:cxn>
                        </a:cxnLst>
                        <a:rect l="T132" t="T133" r="T134" b="T135"/>
                        <a:pathLst>
                          <a:path w="88" h="42">
                            <a:moveTo>
                              <a:pt x="77" y="0"/>
                            </a:moveTo>
                            <a:cubicBezTo>
                              <a:pt x="81" y="1"/>
                              <a:pt x="85" y="3"/>
                              <a:pt x="87" y="6"/>
                            </a:cubicBezTo>
                            <a:cubicBezTo>
                              <a:pt x="88" y="6"/>
                              <a:pt x="87" y="8"/>
                              <a:pt x="86" y="8"/>
                            </a:cubicBezTo>
                            <a:cubicBezTo>
                              <a:pt x="84" y="9"/>
                              <a:pt x="82" y="10"/>
                              <a:pt x="80" y="10"/>
                            </a:cubicBezTo>
                            <a:cubicBezTo>
                              <a:pt x="79" y="11"/>
                              <a:pt x="77" y="9"/>
                              <a:pt x="77" y="10"/>
                            </a:cubicBezTo>
                            <a:cubicBezTo>
                              <a:pt x="77" y="13"/>
                              <a:pt x="80" y="15"/>
                              <a:pt x="79" y="17"/>
                            </a:cubicBezTo>
                            <a:cubicBezTo>
                              <a:pt x="79" y="19"/>
                              <a:pt x="75" y="16"/>
                              <a:pt x="74" y="17"/>
                            </a:cubicBezTo>
                            <a:cubicBezTo>
                              <a:pt x="73" y="18"/>
                              <a:pt x="77" y="20"/>
                              <a:pt x="76" y="21"/>
                            </a:cubicBezTo>
                            <a:cubicBezTo>
                              <a:pt x="74" y="23"/>
                              <a:pt x="69" y="21"/>
                              <a:pt x="66" y="22"/>
                            </a:cubicBezTo>
                            <a:cubicBezTo>
                              <a:pt x="64" y="24"/>
                              <a:pt x="64" y="27"/>
                              <a:pt x="62" y="29"/>
                            </a:cubicBezTo>
                            <a:cubicBezTo>
                              <a:pt x="60" y="30"/>
                              <a:pt x="58" y="31"/>
                              <a:pt x="56" y="31"/>
                            </a:cubicBezTo>
                            <a:cubicBezTo>
                              <a:pt x="54" y="30"/>
                              <a:pt x="53" y="28"/>
                              <a:pt x="52" y="26"/>
                            </a:cubicBezTo>
                            <a:cubicBezTo>
                              <a:pt x="52" y="24"/>
                              <a:pt x="54" y="23"/>
                              <a:pt x="55" y="21"/>
                            </a:cubicBezTo>
                            <a:cubicBezTo>
                              <a:pt x="56" y="20"/>
                              <a:pt x="58" y="18"/>
                              <a:pt x="57" y="18"/>
                            </a:cubicBezTo>
                            <a:cubicBezTo>
                              <a:pt x="56" y="17"/>
                              <a:pt x="54" y="18"/>
                              <a:pt x="52" y="19"/>
                            </a:cubicBezTo>
                            <a:cubicBezTo>
                              <a:pt x="50" y="21"/>
                              <a:pt x="49" y="23"/>
                              <a:pt x="47" y="24"/>
                            </a:cubicBezTo>
                            <a:cubicBezTo>
                              <a:pt x="46" y="25"/>
                              <a:pt x="43" y="24"/>
                              <a:pt x="43" y="25"/>
                            </a:cubicBezTo>
                            <a:cubicBezTo>
                              <a:pt x="43" y="27"/>
                              <a:pt x="47" y="28"/>
                              <a:pt x="47" y="30"/>
                            </a:cubicBezTo>
                            <a:cubicBezTo>
                              <a:pt x="46" y="32"/>
                              <a:pt x="42" y="33"/>
                              <a:pt x="40" y="33"/>
                            </a:cubicBezTo>
                            <a:cubicBezTo>
                              <a:pt x="39" y="34"/>
                              <a:pt x="39" y="32"/>
                              <a:pt x="38" y="32"/>
                            </a:cubicBezTo>
                            <a:cubicBezTo>
                              <a:pt x="38" y="31"/>
                              <a:pt x="38" y="29"/>
                              <a:pt x="37" y="30"/>
                            </a:cubicBezTo>
                            <a:cubicBezTo>
                              <a:pt x="36" y="30"/>
                              <a:pt x="36" y="32"/>
                              <a:pt x="36" y="32"/>
                            </a:cubicBezTo>
                            <a:cubicBezTo>
                              <a:pt x="34" y="35"/>
                              <a:pt x="34" y="38"/>
                              <a:pt x="31" y="40"/>
                            </a:cubicBezTo>
                            <a:cubicBezTo>
                              <a:pt x="29" y="41"/>
                              <a:pt x="25" y="42"/>
                              <a:pt x="24" y="40"/>
                            </a:cubicBezTo>
                            <a:cubicBezTo>
                              <a:pt x="22" y="38"/>
                              <a:pt x="25" y="35"/>
                              <a:pt x="24" y="32"/>
                            </a:cubicBezTo>
                            <a:cubicBezTo>
                              <a:pt x="24" y="31"/>
                              <a:pt x="22" y="31"/>
                              <a:pt x="22" y="31"/>
                            </a:cubicBezTo>
                            <a:cubicBezTo>
                              <a:pt x="20" y="33"/>
                              <a:pt x="21" y="36"/>
                              <a:pt x="19" y="38"/>
                            </a:cubicBezTo>
                            <a:cubicBezTo>
                              <a:pt x="18" y="39"/>
                              <a:pt x="17" y="39"/>
                              <a:pt x="16" y="38"/>
                            </a:cubicBezTo>
                            <a:cubicBezTo>
                              <a:pt x="13" y="38"/>
                              <a:pt x="12" y="35"/>
                              <a:pt x="10" y="35"/>
                            </a:cubicBezTo>
                            <a:cubicBezTo>
                              <a:pt x="7" y="35"/>
                              <a:pt x="6" y="39"/>
                              <a:pt x="4" y="39"/>
                            </a:cubicBezTo>
                            <a:cubicBezTo>
                              <a:pt x="2" y="40"/>
                              <a:pt x="0" y="38"/>
                              <a:pt x="0" y="36"/>
                            </a:cubicBezTo>
                            <a:cubicBezTo>
                              <a:pt x="0" y="34"/>
                              <a:pt x="2" y="31"/>
                              <a:pt x="4" y="30"/>
                            </a:cubicBezTo>
                            <a:cubicBezTo>
                              <a:pt x="7" y="28"/>
                              <a:pt x="9" y="27"/>
                              <a:pt x="12" y="27"/>
                            </a:cubicBezTo>
                            <a:cubicBezTo>
                              <a:pt x="13" y="27"/>
                              <a:pt x="15" y="29"/>
                              <a:pt x="16" y="28"/>
                            </a:cubicBezTo>
                            <a:cubicBezTo>
                              <a:pt x="19" y="27"/>
                              <a:pt x="20" y="23"/>
                              <a:pt x="22" y="21"/>
                            </a:cubicBezTo>
                            <a:cubicBezTo>
                              <a:pt x="25" y="19"/>
                              <a:pt x="28" y="19"/>
                              <a:pt x="31" y="17"/>
                            </a:cubicBezTo>
                            <a:cubicBezTo>
                              <a:pt x="35" y="15"/>
                              <a:pt x="39" y="12"/>
                              <a:pt x="43" y="9"/>
                            </a:cubicBezTo>
                            <a:cubicBezTo>
                              <a:pt x="44" y="8"/>
                              <a:pt x="45" y="6"/>
                              <a:pt x="47" y="5"/>
                            </a:cubicBezTo>
                            <a:cubicBezTo>
                              <a:pt x="50" y="4"/>
                              <a:pt x="53" y="4"/>
                              <a:pt x="56" y="4"/>
                            </a:cubicBezTo>
                            <a:cubicBezTo>
                              <a:pt x="58" y="3"/>
                              <a:pt x="60" y="3"/>
                              <a:pt x="62" y="4"/>
                            </a:cubicBezTo>
                            <a:cubicBezTo>
                              <a:pt x="64" y="4"/>
                              <a:pt x="66" y="7"/>
                              <a:pt x="68" y="7"/>
                            </a:cubicBezTo>
                            <a:cubicBezTo>
                              <a:pt x="70" y="8"/>
                              <a:pt x="71" y="7"/>
                              <a:pt x="72" y="6"/>
                            </a:cubicBezTo>
                            <a:cubicBezTo>
                              <a:pt x="73" y="5"/>
                              <a:pt x="71" y="3"/>
                              <a:pt x="72" y="2"/>
                            </a:cubicBezTo>
                            <a:cubicBezTo>
                              <a:pt x="73" y="0"/>
                              <a:pt x="75" y="0"/>
                              <a:pt x="77" y="0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70" name="Freeform 3575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540556" y="1636196"/>
                        <a:ext cx="27962" cy="14952"/>
                      </a:xfrm>
                      <a:custGeom>
                        <a:avLst/>
                        <a:gdLst>
                          <a:gd name="T0" fmla="*/ 1 w 21"/>
                          <a:gd name="T1" fmla="*/ 11 h 15"/>
                          <a:gd name="T2" fmla="*/ 1 w 21"/>
                          <a:gd name="T3" fmla="*/ 13 h 15"/>
                          <a:gd name="T4" fmla="*/ 10 w 21"/>
                          <a:gd name="T5" fmla="*/ 18 h 15"/>
                          <a:gd name="T6" fmla="*/ 14 w 21"/>
                          <a:gd name="T7" fmla="*/ 12 h 15"/>
                          <a:gd name="T8" fmla="*/ 25 w 21"/>
                          <a:gd name="T9" fmla="*/ 4 h 15"/>
                          <a:gd name="T10" fmla="*/ 24 w 21"/>
                          <a:gd name="T11" fmla="*/ 1 h 15"/>
                          <a:gd name="T12" fmla="*/ 18 w 21"/>
                          <a:gd name="T13" fmla="*/ 4 h 15"/>
                          <a:gd name="T14" fmla="*/ 10 w 21"/>
                          <a:gd name="T15" fmla="*/ 6 h 15"/>
                          <a:gd name="T16" fmla="*/ 1 w 21"/>
                          <a:gd name="T17" fmla="*/ 11 h 15"/>
                          <a:gd name="T18" fmla="*/ 0 60000 65536"/>
                          <a:gd name="T19" fmla="*/ 0 60000 65536"/>
                          <a:gd name="T20" fmla="*/ 0 60000 65536"/>
                          <a:gd name="T21" fmla="*/ 0 60000 65536"/>
                          <a:gd name="T22" fmla="*/ 0 60000 65536"/>
                          <a:gd name="T23" fmla="*/ 0 60000 65536"/>
                          <a:gd name="T24" fmla="*/ 0 60000 65536"/>
                          <a:gd name="T25" fmla="*/ 0 60000 65536"/>
                          <a:gd name="T26" fmla="*/ 0 60000 65536"/>
                          <a:gd name="T27" fmla="*/ 0 w 21"/>
                          <a:gd name="T28" fmla="*/ 0 h 15"/>
                          <a:gd name="T29" fmla="*/ 21 w 21"/>
                          <a:gd name="T30" fmla="*/ 15 h 15"/>
                        </a:gdLst>
                        <a:ahLst/>
                        <a:cxnLst>
                          <a:cxn ang="T18">
                            <a:pos x="T0" y="T1"/>
                          </a:cxn>
                          <a:cxn ang="T19">
                            <a:pos x="T2" y="T3"/>
                          </a:cxn>
                          <a:cxn ang="T20">
                            <a:pos x="T4" y="T5"/>
                          </a:cxn>
                          <a:cxn ang="T21">
                            <a:pos x="T6" y="T7"/>
                          </a:cxn>
                          <a:cxn ang="T22">
                            <a:pos x="T8" y="T9"/>
                          </a:cxn>
                          <a:cxn ang="T23">
                            <a:pos x="T10" y="T11"/>
                          </a:cxn>
                          <a:cxn ang="T24">
                            <a:pos x="T12" y="T13"/>
                          </a:cxn>
                          <a:cxn ang="T25">
                            <a:pos x="T14" y="T15"/>
                          </a:cxn>
                          <a:cxn ang="T26">
                            <a:pos x="T16" y="T17"/>
                          </a:cxn>
                        </a:cxnLst>
                        <a:rect l="T27" t="T28" r="T29" b="T30"/>
                        <a:pathLst>
                          <a:path w="21" h="15">
                            <a:moveTo>
                              <a:pt x="1" y="9"/>
                            </a:moveTo>
                            <a:cubicBezTo>
                              <a:pt x="0" y="9"/>
                              <a:pt x="0" y="11"/>
                              <a:pt x="1" y="11"/>
                            </a:cubicBezTo>
                            <a:cubicBezTo>
                              <a:pt x="3" y="13"/>
                              <a:pt x="5" y="15"/>
                              <a:pt x="8" y="15"/>
                            </a:cubicBezTo>
                            <a:cubicBezTo>
                              <a:pt x="10" y="15"/>
                              <a:pt x="11" y="12"/>
                              <a:pt x="12" y="10"/>
                            </a:cubicBezTo>
                            <a:cubicBezTo>
                              <a:pt x="15" y="8"/>
                              <a:pt x="19" y="6"/>
                              <a:pt x="21" y="3"/>
                            </a:cubicBezTo>
                            <a:cubicBezTo>
                              <a:pt x="21" y="2"/>
                              <a:pt x="21" y="1"/>
                              <a:pt x="20" y="1"/>
                            </a:cubicBezTo>
                            <a:cubicBezTo>
                              <a:pt x="18" y="0"/>
                              <a:pt x="17" y="2"/>
                              <a:pt x="15" y="3"/>
                            </a:cubicBezTo>
                            <a:cubicBezTo>
                              <a:pt x="13" y="4"/>
                              <a:pt x="10" y="4"/>
                              <a:pt x="8" y="5"/>
                            </a:cubicBezTo>
                            <a:cubicBezTo>
                              <a:pt x="5" y="6"/>
                              <a:pt x="3" y="7"/>
                              <a:pt x="1" y="9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71" name="Freeform 3576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614377" y="1617092"/>
                        <a:ext cx="21252" cy="4984"/>
                      </a:xfrm>
                      <a:custGeom>
                        <a:avLst/>
                        <a:gdLst>
                          <a:gd name="T0" fmla="*/ 2 w 16"/>
                          <a:gd name="T1" fmla="*/ 0 h 5"/>
                          <a:gd name="T2" fmla="*/ 1 w 16"/>
                          <a:gd name="T3" fmla="*/ 4 h 5"/>
                          <a:gd name="T4" fmla="*/ 15 w 16"/>
                          <a:gd name="T5" fmla="*/ 6 h 5"/>
                          <a:gd name="T6" fmla="*/ 19 w 16"/>
                          <a:gd name="T7" fmla="*/ 2 h 5"/>
                          <a:gd name="T8" fmla="*/ 13 w 16"/>
                          <a:gd name="T9" fmla="*/ 1 h 5"/>
                          <a:gd name="T10" fmla="*/ 7 w 16"/>
                          <a:gd name="T11" fmla="*/ 1 h 5"/>
                          <a:gd name="T12" fmla="*/ 2 w 16"/>
                          <a:gd name="T13" fmla="*/ 0 h 5"/>
                          <a:gd name="T14" fmla="*/ 0 60000 65536"/>
                          <a:gd name="T15" fmla="*/ 0 60000 65536"/>
                          <a:gd name="T16" fmla="*/ 0 60000 65536"/>
                          <a:gd name="T17" fmla="*/ 0 60000 65536"/>
                          <a:gd name="T18" fmla="*/ 0 60000 65536"/>
                          <a:gd name="T19" fmla="*/ 0 60000 65536"/>
                          <a:gd name="T20" fmla="*/ 0 60000 65536"/>
                          <a:gd name="T21" fmla="*/ 0 w 16"/>
                          <a:gd name="T22" fmla="*/ 0 h 5"/>
                          <a:gd name="T23" fmla="*/ 16 w 16"/>
                          <a:gd name="T24" fmla="*/ 5 h 5"/>
                        </a:gdLst>
                        <a:ahLst/>
                        <a:cxnLst>
                          <a:cxn ang="T14">
                            <a:pos x="T0" y="T1"/>
                          </a:cxn>
                          <a:cxn ang="T15">
                            <a:pos x="T2" y="T3"/>
                          </a:cxn>
                          <a:cxn ang="T16">
                            <a:pos x="T4" y="T5"/>
                          </a:cxn>
                          <a:cxn ang="T17">
                            <a:pos x="T6" y="T7"/>
                          </a:cxn>
                          <a:cxn ang="T18">
                            <a:pos x="T8" y="T9"/>
                          </a:cxn>
                          <a:cxn ang="T19">
                            <a:pos x="T10" y="T11"/>
                          </a:cxn>
                          <a:cxn ang="T20">
                            <a:pos x="T12" y="T13"/>
                          </a:cxn>
                        </a:cxnLst>
                        <a:rect l="T21" t="T22" r="T23" b="T24"/>
                        <a:pathLst>
                          <a:path w="16" h="5">
                            <a:moveTo>
                              <a:pt x="2" y="0"/>
                            </a:moveTo>
                            <a:cubicBezTo>
                              <a:pt x="1" y="1"/>
                              <a:pt x="0" y="3"/>
                              <a:pt x="1" y="3"/>
                            </a:cubicBezTo>
                            <a:cubicBezTo>
                              <a:pt x="4" y="5"/>
                              <a:pt x="9" y="5"/>
                              <a:pt x="13" y="5"/>
                            </a:cubicBezTo>
                            <a:cubicBezTo>
                              <a:pt x="14" y="5"/>
                              <a:pt x="16" y="3"/>
                              <a:pt x="16" y="2"/>
                            </a:cubicBezTo>
                            <a:cubicBezTo>
                              <a:pt x="15" y="1"/>
                              <a:pt x="13" y="1"/>
                              <a:pt x="11" y="1"/>
                            </a:cubicBezTo>
                            <a:cubicBezTo>
                              <a:pt x="9" y="0"/>
                              <a:pt x="7" y="1"/>
                              <a:pt x="6" y="1"/>
                            </a:cubicBezTo>
                            <a:cubicBezTo>
                              <a:pt x="4" y="1"/>
                              <a:pt x="3" y="0"/>
                              <a:pt x="2" y="0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72" name="Freeform 3577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623324" y="1590510"/>
                        <a:ext cx="19015" cy="9968"/>
                      </a:xfrm>
                      <a:custGeom>
                        <a:avLst/>
                        <a:gdLst>
                          <a:gd name="T0" fmla="*/ 0 w 14"/>
                          <a:gd name="T1" fmla="*/ 2 h 10"/>
                          <a:gd name="T2" fmla="*/ 0 w 14"/>
                          <a:gd name="T3" fmla="*/ 5 h 10"/>
                          <a:gd name="T4" fmla="*/ 7 w 14"/>
                          <a:gd name="T5" fmla="*/ 8 h 10"/>
                          <a:gd name="T6" fmla="*/ 10 w 14"/>
                          <a:gd name="T7" fmla="*/ 12 h 10"/>
                          <a:gd name="T8" fmla="*/ 16 w 14"/>
                          <a:gd name="T9" fmla="*/ 8 h 10"/>
                          <a:gd name="T10" fmla="*/ 13 w 14"/>
                          <a:gd name="T11" fmla="*/ 4 h 10"/>
                          <a:gd name="T12" fmla="*/ 11 w 14"/>
                          <a:gd name="T13" fmla="*/ 1 h 10"/>
                          <a:gd name="T14" fmla="*/ 4 w 14"/>
                          <a:gd name="T15" fmla="*/ 1 h 10"/>
                          <a:gd name="T16" fmla="*/ 0 w 14"/>
                          <a:gd name="T17" fmla="*/ 2 h 10"/>
                          <a:gd name="T18" fmla="*/ 0 60000 65536"/>
                          <a:gd name="T19" fmla="*/ 0 60000 65536"/>
                          <a:gd name="T20" fmla="*/ 0 60000 65536"/>
                          <a:gd name="T21" fmla="*/ 0 60000 65536"/>
                          <a:gd name="T22" fmla="*/ 0 60000 65536"/>
                          <a:gd name="T23" fmla="*/ 0 60000 65536"/>
                          <a:gd name="T24" fmla="*/ 0 60000 65536"/>
                          <a:gd name="T25" fmla="*/ 0 60000 65536"/>
                          <a:gd name="T26" fmla="*/ 0 60000 65536"/>
                          <a:gd name="T27" fmla="*/ 0 w 14"/>
                          <a:gd name="T28" fmla="*/ 0 h 10"/>
                          <a:gd name="T29" fmla="*/ 14 w 14"/>
                          <a:gd name="T30" fmla="*/ 10 h 10"/>
                        </a:gdLst>
                        <a:ahLst/>
                        <a:cxnLst>
                          <a:cxn ang="T18">
                            <a:pos x="T0" y="T1"/>
                          </a:cxn>
                          <a:cxn ang="T19">
                            <a:pos x="T2" y="T3"/>
                          </a:cxn>
                          <a:cxn ang="T20">
                            <a:pos x="T4" y="T5"/>
                          </a:cxn>
                          <a:cxn ang="T21">
                            <a:pos x="T6" y="T7"/>
                          </a:cxn>
                          <a:cxn ang="T22">
                            <a:pos x="T8" y="T9"/>
                          </a:cxn>
                          <a:cxn ang="T23">
                            <a:pos x="T10" y="T11"/>
                          </a:cxn>
                          <a:cxn ang="T24">
                            <a:pos x="T12" y="T13"/>
                          </a:cxn>
                          <a:cxn ang="T25">
                            <a:pos x="T14" y="T15"/>
                          </a:cxn>
                          <a:cxn ang="T26">
                            <a:pos x="T16" y="T17"/>
                          </a:cxn>
                        </a:cxnLst>
                        <a:rect l="T27" t="T28" r="T29" b="T30"/>
                        <a:pathLst>
                          <a:path w="14" h="10">
                            <a:moveTo>
                              <a:pt x="0" y="2"/>
                            </a:moveTo>
                            <a:cubicBezTo>
                              <a:pt x="0" y="3"/>
                              <a:pt x="0" y="4"/>
                              <a:pt x="0" y="4"/>
                            </a:cubicBezTo>
                            <a:cubicBezTo>
                              <a:pt x="2" y="6"/>
                              <a:pt x="4" y="6"/>
                              <a:pt x="6" y="7"/>
                            </a:cubicBezTo>
                            <a:cubicBezTo>
                              <a:pt x="7" y="8"/>
                              <a:pt x="7" y="10"/>
                              <a:pt x="8" y="10"/>
                            </a:cubicBezTo>
                            <a:cubicBezTo>
                              <a:pt x="10" y="9"/>
                              <a:pt x="13" y="9"/>
                              <a:pt x="13" y="7"/>
                            </a:cubicBezTo>
                            <a:cubicBezTo>
                              <a:pt x="14" y="6"/>
                              <a:pt x="12" y="4"/>
                              <a:pt x="11" y="3"/>
                            </a:cubicBezTo>
                            <a:cubicBezTo>
                              <a:pt x="10" y="2"/>
                              <a:pt x="10" y="1"/>
                              <a:pt x="9" y="1"/>
                            </a:cubicBezTo>
                            <a:cubicBezTo>
                              <a:pt x="7" y="0"/>
                              <a:pt x="5" y="1"/>
                              <a:pt x="3" y="1"/>
                            </a:cubicBezTo>
                            <a:cubicBezTo>
                              <a:pt x="2" y="1"/>
                              <a:pt x="1" y="1"/>
                              <a:pt x="0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73" name="Freeform 3578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644576" y="1588018"/>
                        <a:ext cx="57044" cy="20767"/>
                      </a:xfrm>
                      <a:custGeom>
                        <a:avLst/>
                        <a:gdLst>
                          <a:gd name="T0" fmla="*/ 2 w 42"/>
                          <a:gd name="T1" fmla="*/ 7 h 21"/>
                          <a:gd name="T2" fmla="*/ 0 w 42"/>
                          <a:gd name="T3" fmla="*/ 17 h 21"/>
                          <a:gd name="T4" fmla="*/ 6 w 42"/>
                          <a:gd name="T5" fmla="*/ 23 h 21"/>
                          <a:gd name="T6" fmla="*/ 12 w 42"/>
                          <a:gd name="T7" fmla="*/ 25 h 21"/>
                          <a:gd name="T8" fmla="*/ 23 w 42"/>
                          <a:gd name="T9" fmla="*/ 20 h 21"/>
                          <a:gd name="T10" fmla="*/ 29 w 42"/>
                          <a:gd name="T11" fmla="*/ 21 h 21"/>
                          <a:gd name="T12" fmla="*/ 34 w 42"/>
                          <a:gd name="T13" fmla="*/ 20 h 21"/>
                          <a:gd name="T14" fmla="*/ 41 w 42"/>
                          <a:gd name="T15" fmla="*/ 17 h 21"/>
                          <a:gd name="T16" fmla="*/ 41 w 42"/>
                          <a:gd name="T17" fmla="*/ 13 h 21"/>
                          <a:gd name="T18" fmla="*/ 34 w 42"/>
                          <a:gd name="T19" fmla="*/ 12 h 21"/>
                          <a:gd name="T20" fmla="*/ 29 w 42"/>
                          <a:gd name="T21" fmla="*/ 11 h 21"/>
                          <a:gd name="T22" fmla="*/ 36 w 42"/>
                          <a:gd name="T23" fmla="*/ 7 h 21"/>
                          <a:gd name="T24" fmla="*/ 46 w 42"/>
                          <a:gd name="T25" fmla="*/ 7 h 21"/>
                          <a:gd name="T26" fmla="*/ 50 w 42"/>
                          <a:gd name="T27" fmla="*/ 2 h 21"/>
                          <a:gd name="T28" fmla="*/ 45 w 42"/>
                          <a:gd name="T29" fmla="*/ 0 h 21"/>
                          <a:gd name="T30" fmla="*/ 32 w 42"/>
                          <a:gd name="T31" fmla="*/ 1 h 21"/>
                          <a:gd name="T32" fmla="*/ 19 w 42"/>
                          <a:gd name="T33" fmla="*/ 4 h 21"/>
                          <a:gd name="T34" fmla="*/ 11 w 42"/>
                          <a:gd name="T35" fmla="*/ 6 h 21"/>
                          <a:gd name="T36" fmla="*/ 2 w 42"/>
                          <a:gd name="T37" fmla="*/ 7 h 21"/>
                          <a:gd name="T38" fmla="*/ 0 60000 65536"/>
                          <a:gd name="T39" fmla="*/ 0 60000 65536"/>
                          <a:gd name="T40" fmla="*/ 0 60000 65536"/>
                          <a:gd name="T41" fmla="*/ 0 60000 65536"/>
                          <a:gd name="T42" fmla="*/ 0 60000 65536"/>
                          <a:gd name="T43" fmla="*/ 0 60000 65536"/>
                          <a:gd name="T44" fmla="*/ 0 60000 65536"/>
                          <a:gd name="T45" fmla="*/ 0 60000 65536"/>
                          <a:gd name="T46" fmla="*/ 0 60000 65536"/>
                          <a:gd name="T47" fmla="*/ 0 60000 65536"/>
                          <a:gd name="T48" fmla="*/ 0 60000 65536"/>
                          <a:gd name="T49" fmla="*/ 0 60000 65536"/>
                          <a:gd name="T50" fmla="*/ 0 60000 65536"/>
                          <a:gd name="T51" fmla="*/ 0 60000 65536"/>
                          <a:gd name="T52" fmla="*/ 0 60000 65536"/>
                          <a:gd name="T53" fmla="*/ 0 60000 65536"/>
                          <a:gd name="T54" fmla="*/ 0 60000 65536"/>
                          <a:gd name="T55" fmla="*/ 0 60000 65536"/>
                          <a:gd name="T56" fmla="*/ 0 60000 65536"/>
                          <a:gd name="T57" fmla="*/ 0 w 42"/>
                          <a:gd name="T58" fmla="*/ 0 h 21"/>
                          <a:gd name="T59" fmla="*/ 42 w 42"/>
                          <a:gd name="T60" fmla="*/ 21 h 21"/>
                        </a:gdLst>
                        <a:ahLst/>
                        <a:cxnLst>
                          <a:cxn ang="T38">
                            <a:pos x="T0" y="T1"/>
                          </a:cxn>
                          <a:cxn ang="T39">
                            <a:pos x="T2" y="T3"/>
                          </a:cxn>
                          <a:cxn ang="T40">
                            <a:pos x="T4" y="T5"/>
                          </a:cxn>
                          <a:cxn ang="T41">
                            <a:pos x="T6" y="T7"/>
                          </a:cxn>
                          <a:cxn ang="T42">
                            <a:pos x="T8" y="T9"/>
                          </a:cxn>
                          <a:cxn ang="T43">
                            <a:pos x="T10" y="T11"/>
                          </a:cxn>
                          <a:cxn ang="T44">
                            <a:pos x="T12" y="T13"/>
                          </a:cxn>
                          <a:cxn ang="T45">
                            <a:pos x="T14" y="T15"/>
                          </a:cxn>
                          <a:cxn ang="T46">
                            <a:pos x="T16" y="T17"/>
                          </a:cxn>
                          <a:cxn ang="T47">
                            <a:pos x="T18" y="T19"/>
                          </a:cxn>
                          <a:cxn ang="T48">
                            <a:pos x="T20" y="T21"/>
                          </a:cxn>
                          <a:cxn ang="T49">
                            <a:pos x="T22" y="T23"/>
                          </a:cxn>
                          <a:cxn ang="T50">
                            <a:pos x="T24" y="T25"/>
                          </a:cxn>
                          <a:cxn ang="T51">
                            <a:pos x="T26" y="T27"/>
                          </a:cxn>
                          <a:cxn ang="T52">
                            <a:pos x="T28" y="T29"/>
                          </a:cxn>
                          <a:cxn ang="T53">
                            <a:pos x="T30" y="T31"/>
                          </a:cxn>
                          <a:cxn ang="T54">
                            <a:pos x="T32" y="T33"/>
                          </a:cxn>
                          <a:cxn ang="T55">
                            <a:pos x="T34" y="T35"/>
                          </a:cxn>
                          <a:cxn ang="T56">
                            <a:pos x="T36" y="T37"/>
                          </a:cxn>
                        </a:cxnLst>
                        <a:rect l="T57" t="T58" r="T59" b="T60"/>
                        <a:pathLst>
                          <a:path w="42" h="21">
                            <a:moveTo>
                              <a:pt x="2" y="6"/>
                            </a:moveTo>
                            <a:cubicBezTo>
                              <a:pt x="0" y="8"/>
                              <a:pt x="0" y="11"/>
                              <a:pt x="0" y="14"/>
                            </a:cubicBezTo>
                            <a:cubicBezTo>
                              <a:pt x="1" y="16"/>
                              <a:pt x="3" y="18"/>
                              <a:pt x="5" y="19"/>
                            </a:cubicBezTo>
                            <a:cubicBezTo>
                              <a:pt x="7" y="20"/>
                              <a:pt x="9" y="21"/>
                              <a:pt x="10" y="21"/>
                            </a:cubicBezTo>
                            <a:cubicBezTo>
                              <a:pt x="13" y="20"/>
                              <a:pt x="16" y="17"/>
                              <a:pt x="19" y="17"/>
                            </a:cubicBezTo>
                            <a:cubicBezTo>
                              <a:pt x="21" y="17"/>
                              <a:pt x="22" y="18"/>
                              <a:pt x="24" y="18"/>
                            </a:cubicBezTo>
                            <a:cubicBezTo>
                              <a:pt x="26" y="19"/>
                              <a:pt x="27" y="18"/>
                              <a:pt x="28" y="17"/>
                            </a:cubicBezTo>
                            <a:cubicBezTo>
                              <a:pt x="30" y="17"/>
                              <a:pt x="32" y="16"/>
                              <a:pt x="34" y="14"/>
                            </a:cubicBezTo>
                            <a:cubicBezTo>
                              <a:pt x="34" y="13"/>
                              <a:pt x="35" y="12"/>
                              <a:pt x="34" y="11"/>
                            </a:cubicBezTo>
                            <a:cubicBezTo>
                              <a:pt x="32" y="10"/>
                              <a:pt x="30" y="11"/>
                              <a:pt x="28" y="10"/>
                            </a:cubicBezTo>
                            <a:cubicBezTo>
                              <a:pt x="27" y="10"/>
                              <a:pt x="23" y="10"/>
                              <a:pt x="24" y="9"/>
                            </a:cubicBezTo>
                            <a:cubicBezTo>
                              <a:pt x="25" y="7"/>
                              <a:pt x="28" y="7"/>
                              <a:pt x="30" y="6"/>
                            </a:cubicBezTo>
                            <a:cubicBezTo>
                              <a:pt x="33" y="6"/>
                              <a:pt x="35" y="6"/>
                              <a:pt x="38" y="6"/>
                            </a:cubicBezTo>
                            <a:cubicBezTo>
                              <a:pt x="39" y="5"/>
                              <a:pt x="42" y="4"/>
                              <a:pt x="41" y="2"/>
                            </a:cubicBezTo>
                            <a:cubicBezTo>
                              <a:pt x="41" y="1"/>
                              <a:pt x="39" y="1"/>
                              <a:pt x="37" y="0"/>
                            </a:cubicBezTo>
                            <a:cubicBezTo>
                              <a:pt x="33" y="0"/>
                              <a:pt x="30" y="1"/>
                              <a:pt x="26" y="1"/>
                            </a:cubicBezTo>
                            <a:cubicBezTo>
                              <a:pt x="23" y="2"/>
                              <a:pt x="20" y="2"/>
                              <a:pt x="16" y="3"/>
                            </a:cubicBezTo>
                            <a:cubicBezTo>
                              <a:pt x="14" y="4"/>
                              <a:pt x="11" y="4"/>
                              <a:pt x="9" y="5"/>
                            </a:cubicBezTo>
                            <a:cubicBezTo>
                              <a:pt x="6" y="6"/>
                              <a:pt x="4" y="5"/>
                              <a:pt x="2" y="6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74" name="Freeform 3579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651286" y="1572236"/>
                        <a:ext cx="53687" cy="13290"/>
                      </a:xfrm>
                      <a:custGeom>
                        <a:avLst/>
                        <a:gdLst>
                          <a:gd name="T0" fmla="*/ 42 w 40"/>
                          <a:gd name="T1" fmla="*/ 1 h 13"/>
                          <a:gd name="T2" fmla="*/ 47 w 40"/>
                          <a:gd name="T3" fmla="*/ 7 h 13"/>
                          <a:gd name="T4" fmla="*/ 47 w 40"/>
                          <a:gd name="T5" fmla="*/ 15 h 13"/>
                          <a:gd name="T6" fmla="*/ 42 w 40"/>
                          <a:gd name="T7" fmla="*/ 15 h 13"/>
                          <a:gd name="T8" fmla="*/ 36 w 40"/>
                          <a:gd name="T9" fmla="*/ 15 h 13"/>
                          <a:gd name="T10" fmla="*/ 29 w 40"/>
                          <a:gd name="T11" fmla="*/ 12 h 13"/>
                          <a:gd name="T12" fmla="*/ 25 w 40"/>
                          <a:gd name="T13" fmla="*/ 16 h 13"/>
                          <a:gd name="T14" fmla="*/ 20 w 40"/>
                          <a:gd name="T15" fmla="*/ 15 h 13"/>
                          <a:gd name="T16" fmla="*/ 16 w 40"/>
                          <a:gd name="T17" fmla="*/ 11 h 13"/>
                          <a:gd name="T18" fmla="*/ 7 w 40"/>
                          <a:gd name="T19" fmla="*/ 15 h 13"/>
                          <a:gd name="T20" fmla="*/ 1 w 40"/>
                          <a:gd name="T21" fmla="*/ 15 h 13"/>
                          <a:gd name="T22" fmla="*/ 2 w 40"/>
                          <a:gd name="T23" fmla="*/ 10 h 13"/>
                          <a:gd name="T24" fmla="*/ 18 w 40"/>
                          <a:gd name="T25" fmla="*/ 6 h 13"/>
                          <a:gd name="T26" fmla="*/ 25 w 40"/>
                          <a:gd name="T27" fmla="*/ 6 h 13"/>
                          <a:gd name="T28" fmla="*/ 34 w 40"/>
                          <a:gd name="T29" fmla="*/ 1 h 13"/>
                          <a:gd name="T30" fmla="*/ 42 w 40"/>
                          <a:gd name="T31" fmla="*/ 1 h 13"/>
                          <a:gd name="T32" fmla="*/ 0 60000 65536"/>
                          <a:gd name="T33" fmla="*/ 0 60000 65536"/>
                          <a:gd name="T34" fmla="*/ 0 60000 65536"/>
                          <a:gd name="T35" fmla="*/ 0 60000 65536"/>
                          <a:gd name="T36" fmla="*/ 0 60000 65536"/>
                          <a:gd name="T37" fmla="*/ 0 60000 65536"/>
                          <a:gd name="T38" fmla="*/ 0 60000 65536"/>
                          <a:gd name="T39" fmla="*/ 0 60000 65536"/>
                          <a:gd name="T40" fmla="*/ 0 60000 65536"/>
                          <a:gd name="T41" fmla="*/ 0 60000 65536"/>
                          <a:gd name="T42" fmla="*/ 0 60000 65536"/>
                          <a:gd name="T43" fmla="*/ 0 60000 65536"/>
                          <a:gd name="T44" fmla="*/ 0 60000 65536"/>
                          <a:gd name="T45" fmla="*/ 0 60000 65536"/>
                          <a:gd name="T46" fmla="*/ 0 60000 65536"/>
                          <a:gd name="T47" fmla="*/ 0 60000 65536"/>
                          <a:gd name="T48" fmla="*/ 0 w 40"/>
                          <a:gd name="T49" fmla="*/ 0 h 13"/>
                          <a:gd name="T50" fmla="*/ 40 w 40"/>
                          <a:gd name="T51" fmla="*/ 13 h 13"/>
                        </a:gdLst>
                        <a:ahLst/>
                        <a:cxnLst>
                          <a:cxn ang="T32">
                            <a:pos x="T0" y="T1"/>
                          </a:cxn>
                          <a:cxn ang="T33">
                            <a:pos x="T2" y="T3"/>
                          </a:cxn>
                          <a:cxn ang="T34">
                            <a:pos x="T4" y="T5"/>
                          </a:cxn>
                          <a:cxn ang="T35">
                            <a:pos x="T6" y="T7"/>
                          </a:cxn>
                          <a:cxn ang="T36">
                            <a:pos x="T8" y="T9"/>
                          </a:cxn>
                          <a:cxn ang="T37">
                            <a:pos x="T10" y="T11"/>
                          </a:cxn>
                          <a:cxn ang="T38">
                            <a:pos x="T12" y="T13"/>
                          </a:cxn>
                          <a:cxn ang="T39">
                            <a:pos x="T14" y="T15"/>
                          </a:cxn>
                          <a:cxn ang="T40">
                            <a:pos x="T16" y="T17"/>
                          </a:cxn>
                          <a:cxn ang="T41">
                            <a:pos x="T18" y="T19"/>
                          </a:cxn>
                          <a:cxn ang="T42">
                            <a:pos x="T20" y="T21"/>
                          </a:cxn>
                          <a:cxn ang="T43">
                            <a:pos x="T22" y="T23"/>
                          </a:cxn>
                          <a:cxn ang="T44">
                            <a:pos x="T24" y="T25"/>
                          </a:cxn>
                          <a:cxn ang="T45">
                            <a:pos x="T26" y="T27"/>
                          </a:cxn>
                          <a:cxn ang="T46">
                            <a:pos x="T28" y="T29"/>
                          </a:cxn>
                          <a:cxn ang="T47">
                            <a:pos x="T30" y="T31"/>
                          </a:cxn>
                        </a:cxnLst>
                        <a:rect l="T48" t="T49" r="T50" b="T51"/>
                        <a:pathLst>
                          <a:path w="40" h="13">
                            <a:moveTo>
                              <a:pt x="35" y="1"/>
                            </a:moveTo>
                            <a:cubicBezTo>
                              <a:pt x="37" y="2"/>
                              <a:pt x="39" y="4"/>
                              <a:pt x="39" y="6"/>
                            </a:cubicBezTo>
                            <a:cubicBezTo>
                              <a:pt x="40" y="8"/>
                              <a:pt x="40" y="11"/>
                              <a:pt x="39" y="12"/>
                            </a:cubicBezTo>
                            <a:cubicBezTo>
                              <a:pt x="38" y="13"/>
                              <a:pt x="36" y="12"/>
                              <a:pt x="35" y="12"/>
                            </a:cubicBezTo>
                            <a:cubicBezTo>
                              <a:pt x="33" y="12"/>
                              <a:pt x="31" y="13"/>
                              <a:pt x="30" y="12"/>
                            </a:cubicBezTo>
                            <a:cubicBezTo>
                              <a:pt x="28" y="12"/>
                              <a:pt x="26" y="9"/>
                              <a:pt x="24" y="10"/>
                            </a:cubicBezTo>
                            <a:cubicBezTo>
                              <a:pt x="23" y="10"/>
                              <a:pt x="22" y="12"/>
                              <a:pt x="21" y="13"/>
                            </a:cubicBezTo>
                            <a:cubicBezTo>
                              <a:pt x="19" y="13"/>
                              <a:pt x="18" y="12"/>
                              <a:pt x="17" y="12"/>
                            </a:cubicBezTo>
                            <a:cubicBezTo>
                              <a:pt x="15" y="11"/>
                              <a:pt x="15" y="9"/>
                              <a:pt x="13" y="9"/>
                            </a:cubicBezTo>
                            <a:cubicBezTo>
                              <a:pt x="10" y="9"/>
                              <a:pt x="9" y="11"/>
                              <a:pt x="6" y="12"/>
                            </a:cubicBezTo>
                            <a:cubicBezTo>
                              <a:pt x="5" y="13"/>
                              <a:pt x="2" y="13"/>
                              <a:pt x="1" y="12"/>
                            </a:cubicBezTo>
                            <a:cubicBezTo>
                              <a:pt x="0" y="11"/>
                              <a:pt x="1" y="9"/>
                              <a:pt x="2" y="8"/>
                            </a:cubicBezTo>
                            <a:cubicBezTo>
                              <a:pt x="6" y="6"/>
                              <a:pt x="11" y="6"/>
                              <a:pt x="15" y="5"/>
                            </a:cubicBezTo>
                            <a:cubicBezTo>
                              <a:pt x="17" y="5"/>
                              <a:pt x="19" y="5"/>
                              <a:pt x="21" y="5"/>
                            </a:cubicBezTo>
                            <a:cubicBezTo>
                              <a:pt x="24" y="4"/>
                              <a:pt x="26" y="2"/>
                              <a:pt x="28" y="1"/>
                            </a:cubicBezTo>
                            <a:cubicBezTo>
                              <a:pt x="30" y="0"/>
                              <a:pt x="33" y="0"/>
                              <a:pt x="35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75" name="Freeform 3580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741884" y="1650318"/>
                        <a:ext cx="20133" cy="11629"/>
                      </a:xfrm>
                      <a:custGeom>
                        <a:avLst/>
                        <a:gdLst>
                          <a:gd name="T0" fmla="*/ 8 w 15"/>
                          <a:gd name="T1" fmla="*/ 1 h 12"/>
                          <a:gd name="T2" fmla="*/ 14 w 15"/>
                          <a:gd name="T3" fmla="*/ 1 h 12"/>
                          <a:gd name="T4" fmla="*/ 17 w 15"/>
                          <a:gd name="T5" fmla="*/ 9 h 12"/>
                          <a:gd name="T6" fmla="*/ 11 w 15"/>
                          <a:gd name="T7" fmla="*/ 14 h 12"/>
                          <a:gd name="T8" fmla="*/ 5 w 15"/>
                          <a:gd name="T9" fmla="*/ 12 h 12"/>
                          <a:gd name="T10" fmla="*/ 0 w 15"/>
                          <a:gd name="T11" fmla="*/ 9 h 12"/>
                          <a:gd name="T12" fmla="*/ 5 w 15"/>
                          <a:gd name="T13" fmla="*/ 2 h 12"/>
                          <a:gd name="T14" fmla="*/ 8 w 15"/>
                          <a:gd name="T15" fmla="*/ 1 h 12"/>
                          <a:gd name="T16" fmla="*/ 0 60000 65536"/>
                          <a:gd name="T17" fmla="*/ 0 60000 65536"/>
                          <a:gd name="T18" fmla="*/ 0 60000 65536"/>
                          <a:gd name="T19" fmla="*/ 0 60000 65536"/>
                          <a:gd name="T20" fmla="*/ 0 60000 65536"/>
                          <a:gd name="T21" fmla="*/ 0 60000 65536"/>
                          <a:gd name="T22" fmla="*/ 0 60000 65536"/>
                          <a:gd name="T23" fmla="*/ 0 60000 65536"/>
                          <a:gd name="T24" fmla="*/ 0 w 15"/>
                          <a:gd name="T25" fmla="*/ 0 h 12"/>
                          <a:gd name="T26" fmla="*/ 15 w 15"/>
                          <a:gd name="T27" fmla="*/ 12 h 12"/>
                        </a:gdLst>
                        <a:ahLst/>
                        <a:cxnLst>
                          <a:cxn ang="T16">
                            <a:pos x="T0" y="T1"/>
                          </a:cxn>
                          <a:cxn ang="T17">
                            <a:pos x="T2" y="T3"/>
                          </a:cxn>
                          <a:cxn ang="T18">
                            <a:pos x="T4" y="T5"/>
                          </a:cxn>
                          <a:cxn ang="T19">
                            <a:pos x="T6" y="T7"/>
                          </a:cxn>
                          <a:cxn ang="T20">
                            <a:pos x="T8" y="T9"/>
                          </a:cxn>
                          <a:cxn ang="T21">
                            <a:pos x="T10" y="T11"/>
                          </a:cxn>
                          <a:cxn ang="T22">
                            <a:pos x="T12" y="T13"/>
                          </a:cxn>
                          <a:cxn ang="T23">
                            <a:pos x="T14" y="T15"/>
                          </a:cxn>
                        </a:cxnLst>
                        <a:rect l="T24" t="T25" r="T26" b="T27"/>
                        <a:pathLst>
                          <a:path w="15" h="12">
                            <a:moveTo>
                              <a:pt x="7" y="1"/>
                            </a:moveTo>
                            <a:cubicBezTo>
                              <a:pt x="9" y="1"/>
                              <a:pt x="11" y="0"/>
                              <a:pt x="12" y="1"/>
                            </a:cubicBezTo>
                            <a:cubicBezTo>
                              <a:pt x="14" y="3"/>
                              <a:pt x="15" y="6"/>
                              <a:pt x="14" y="8"/>
                            </a:cubicBezTo>
                            <a:cubicBezTo>
                              <a:pt x="14" y="10"/>
                              <a:pt x="11" y="11"/>
                              <a:pt x="9" y="12"/>
                            </a:cubicBezTo>
                            <a:cubicBezTo>
                              <a:pt x="7" y="12"/>
                              <a:pt x="5" y="11"/>
                              <a:pt x="4" y="10"/>
                            </a:cubicBezTo>
                            <a:cubicBezTo>
                              <a:pt x="2" y="9"/>
                              <a:pt x="0" y="9"/>
                              <a:pt x="0" y="8"/>
                            </a:cubicBezTo>
                            <a:cubicBezTo>
                              <a:pt x="1" y="5"/>
                              <a:pt x="3" y="3"/>
                              <a:pt x="4" y="2"/>
                            </a:cubicBezTo>
                            <a:cubicBezTo>
                              <a:pt x="5" y="1"/>
                              <a:pt x="6" y="1"/>
                              <a:pt x="7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76" name="Freeform 3581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749714" y="1596324"/>
                        <a:ext cx="20133" cy="16614"/>
                      </a:xfrm>
                      <a:custGeom>
                        <a:avLst/>
                        <a:gdLst>
                          <a:gd name="T0" fmla="*/ 4 w 15"/>
                          <a:gd name="T1" fmla="*/ 1 h 17"/>
                          <a:gd name="T2" fmla="*/ 12 w 15"/>
                          <a:gd name="T3" fmla="*/ 7 h 17"/>
                          <a:gd name="T4" fmla="*/ 18 w 15"/>
                          <a:gd name="T5" fmla="*/ 15 h 17"/>
                          <a:gd name="T6" fmla="*/ 12 w 15"/>
                          <a:gd name="T7" fmla="*/ 19 h 17"/>
                          <a:gd name="T8" fmla="*/ 6 w 15"/>
                          <a:gd name="T9" fmla="*/ 13 h 17"/>
                          <a:gd name="T10" fmla="*/ 0 w 15"/>
                          <a:gd name="T11" fmla="*/ 4 h 17"/>
                          <a:gd name="T12" fmla="*/ 0 w 15"/>
                          <a:gd name="T13" fmla="*/ 1 h 17"/>
                          <a:gd name="T14" fmla="*/ 4 w 15"/>
                          <a:gd name="T15" fmla="*/ 1 h 17"/>
                          <a:gd name="T16" fmla="*/ 0 60000 65536"/>
                          <a:gd name="T17" fmla="*/ 0 60000 65536"/>
                          <a:gd name="T18" fmla="*/ 0 60000 65536"/>
                          <a:gd name="T19" fmla="*/ 0 60000 65536"/>
                          <a:gd name="T20" fmla="*/ 0 60000 65536"/>
                          <a:gd name="T21" fmla="*/ 0 60000 65536"/>
                          <a:gd name="T22" fmla="*/ 0 60000 65536"/>
                          <a:gd name="T23" fmla="*/ 0 60000 65536"/>
                          <a:gd name="T24" fmla="*/ 0 w 15"/>
                          <a:gd name="T25" fmla="*/ 0 h 17"/>
                          <a:gd name="T26" fmla="*/ 15 w 15"/>
                          <a:gd name="T27" fmla="*/ 17 h 17"/>
                        </a:gdLst>
                        <a:ahLst/>
                        <a:cxnLst>
                          <a:cxn ang="T16">
                            <a:pos x="T0" y="T1"/>
                          </a:cxn>
                          <a:cxn ang="T17">
                            <a:pos x="T2" y="T3"/>
                          </a:cxn>
                          <a:cxn ang="T18">
                            <a:pos x="T4" y="T5"/>
                          </a:cxn>
                          <a:cxn ang="T19">
                            <a:pos x="T6" y="T7"/>
                          </a:cxn>
                          <a:cxn ang="T20">
                            <a:pos x="T8" y="T9"/>
                          </a:cxn>
                          <a:cxn ang="T21">
                            <a:pos x="T10" y="T11"/>
                          </a:cxn>
                          <a:cxn ang="T22">
                            <a:pos x="T12" y="T13"/>
                          </a:cxn>
                          <a:cxn ang="T23">
                            <a:pos x="T14" y="T15"/>
                          </a:cxn>
                        </a:cxnLst>
                        <a:rect l="T24" t="T25" r="T26" b="T27"/>
                        <a:pathLst>
                          <a:path w="15" h="17">
                            <a:moveTo>
                              <a:pt x="3" y="1"/>
                            </a:moveTo>
                            <a:cubicBezTo>
                              <a:pt x="6" y="2"/>
                              <a:pt x="8" y="4"/>
                              <a:pt x="10" y="6"/>
                            </a:cubicBezTo>
                            <a:cubicBezTo>
                              <a:pt x="12" y="8"/>
                              <a:pt x="15" y="10"/>
                              <a:pt x="15" y="13"/>
                            </a:cubicBezTo>
                            <a:cubicBezTo>
                              <a:pt x="15" y="15"/>
                              <a:pt x="11" y="17"/>
                              <a:pt x="10" y="16"/>
                            </a:cubicBezTo>
                            <a:cubicBezTo>
                              <a:pt x="7" y="16"/>
                              <a:pt x="6" y="13"/>
                              <a:pt x="5" y="11"/>
                            </a:cubicBezTo>
                            <a:cubicBezTo>
                              <a:pt x="3" y="8"/>
                              <a:pt x="1" y="6"/>
                              <a:pt x="0" y="3"/>
                            </a:cubicBezTo>
                            <a:cubicBezTo>
                              <a:pt x="0" y="2"/>
                              <a:pt x="0" y="1"/>
                              <a:pt x="0" y="1"/>
                            </a:cubicBezTo>
                            <a:cubicBezTo>
                              <a:pt x="1" y="0"/>
                              <a:pt x="3" y="0"/>
                              <a:pt x="3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77" name="Freeform 3582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757544" y="1620414"/>
                        <a:ext cx="25725" cy="9968"/>
                      </a:xfrm>
                      <a:custGeom>
                        <a:avLst/>
                        <a:gdLst>
                          <a:gd name="T0" fmla="*/ 13 w 19"/>
                          <a:gd name="T1" fmla="*/ 2 h 10"/>
                          <a:gd name="T2" fmla="*/ 22 w 19"/>
                          <a:gd name="T3" fmla="*/ 10 h 10"/>
                          <a:gd name="T4" fmla="*/ 16 w 19"/>
                          <a:gd name="T5" fmla="*/ 12 h 10"/>
                          <a:gd name="T6" fmla="*/ 7 w 19"/>
                          <a:gd name="T7" fmla="*/ 10 h 10"/>
                          <a:gd name="T8" fmla="*/ 1 w 19"/>
                          <a:gd name="T9" fmla="*/ 2 h 10"/>
                          <a:gd name="T10" fmla="*/ 13 w 19"/>
                          <a:gd name="T11" fmla="*/ 2 h 10"/>
                          <a:gd name="T12" fmla="*/ 0 60000 65536"/>
                          <a:gd name="T13" fmla="*/ 0 60000 65536"/>
                          <a:gd name="T14" fmla="*/ 0 60000 65536"/>
                          <a:gd name="T15" fmla="*/ 0 60000 65536"/>
                          <a:gd name="T16" fmla="*/ 0 60000 65536"/>
                          <a:gd name="T17" fmla="*/ 0 60000 65536"/>
                          <a:gd name="T18" fmla="*/ 0 w 19"/>
                          <a:gd name="T19" fmla="*/ 0 h 10"/>
                          <a:gd name="T20" fmla="*/ 19 w 19"/>
                          <a:gd name="T21" fmla="*/ 10 h 10"/>
                        </a:gdLst>
                        <a:ahLst/>
                        <a:cxnLst>
                          <a:cxn ang="T12">
                            <a:pos x="T0" y="T1"/>
                          </a:cxn>
                          <a:cxn ang="T13">
                            <a:pos x="T2" y="T3"/>
                          </a:cxn>
                          <a:cxn ang="T14">
                            <a:pos x="T4" y="T5"/>
                          </a:cxn>
                          <a:cxn ang="T15">
                            <a:pos x="T6" y="T7"/>
                          </a:cxn>
                          <a:cxn ang="T16">
                            <a:pos x="T8" y="T9"/>
                          </a:cxn>
                          <a:cxn ang="T17">
                            <a:pos x="T10" y="T11"/>
                          </a:cxn>
                        </a:cxnLst>
                        <a:rect l="T18" t="T19" r="T20" b="T21"/>
                        <a:pathLst>
                          <a:path w="19" h="10">
                            <a:moveTo>
                              <a:pt x="11" y="2"/>
                            </a:moveTo>
                            <a:cubicBezTo>
                              <a:pt x="14" y="3"/>
                              <a:pt x="18" y="5"/>
                              <a:pt x="18" y="8"/>
                            </a:cubicBezTo>
                            <a:cubicBezTo>
                              <a:pt x="19" y="10"/>
                              <a:pt x="15" y="10"/>
                              <a:pt x="13" y="10"/>
                            </a:cubicBezTo>
                            <a:cubicBezTo>
                              <a:pt x="11" y="10"/>
                              <a:pt x="8" y="10"/>
                              <a:pt x="6" y="8"/>
                            </a:cubicBezTo>
                            <a:cubicBezTo>
                              <a:pt x="4" y="7"/>
                              <a:pt x="0" y="4"/>
                              <a:pt x="1" y="2"/>
                            </a:cubicBezTo>
                            <a:cubicBezTo>
                              <a:pt x="4" y="0"/>
                              <a:pt x="8" y="1"/>
                              <a:pt x="11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78" name="Freeform 3583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759780" y="1630382"/>
                        <a:ext cx="29080" cy="5815"/>
                      </a:xfrm>
                      <a:custGeom>
                        <a:avLst/>
                        <a:gdLst>
                          <a:gd name="T0" fmla="*/ 24 w 21"/>
                          <a:gd name="T1" fmla="*/ 0 h 6"/>
                          <a:gd name="T2" fmla="*/ 26 w 21"/>
                          <a:gd name="T3" fmla="*/ 1 h 6"/>
                          <a:gd name="T4" fmla="*/ 20 w 21"/>
                          <a:gd name="T5" fmla="*/ 6 h 6"/>
                          <a:gd name="T6" fmla="*/ 7 w 21"/>
                          <a:gd name="T7" fmla="*/ 7 h 6"/>
                          <a:gd name="T8" fmla="*/ 1 w 21"/>
                          <a:gd name="T9" fmla="*/ 6 h 6"/>
                          <a:gd name="T10" fmla="*/ 1 w 21"/>
                          <a:gd name="T11" fmla="*/ 2 h 6"/>
                          <a:gd name="T12" fmla="*/ 15 w 21"/>
                          <a:gd name="T13" fmla="*/ 1 h 6"/>
                          <a:gd name="T14" fmla="*/ 24 w 21"/>
                          <a:gd name="T15" fmla="*/ 0 h 6"/>
                          <a:gd name="T16" fmla="*/ 0 60000 65536"/>
                          <a:gd name="T17" fmla="*/ 0 60000 65536"/>
                          <a:gd name="T18" fmla="*/ 0 60000 65536"/>
                          <a:gd name="T19" fmla="*/ 0 60000 65536"/>
                          <a:gd name="T20" fmla="*/ 0 60000 65536"/>
                          <a:gd name="T21" fmla="*/ 0 60000 65536"/>
                          <a:gd name="T22" fmla="*/ 0 60000 65536"/>
                          <a:gd name="T23" fmla="*/ 0 60000 65536"/>
                          <a:gd name="T24" fmla="*/ 0 w 21"/>
                          <a:gd name="T25" fmla="*/ 0 h 6"/>
                          <a:gd name="T26" fmla="*/ 21 w 21"/>
                          <a:gd name="T27" fmla="*/ 6 h 6"/>
                        </a:gdLst>
                        <a:ahLst/>
                        <a:cxnLst>
                          <a:cxn ang="T16">
                            <a:pos x="T0" y="T1"/>
                          </a:cxn>
                          <a:cxn ang="T17">
                            <a:pos x="T2" y="T3"/>
                          </a:cxn>
                          <a:cxn ang="T18">
                            <a:pos x="T4" y="T5"/>
                          </a:cxn>
                          <a:cxn ang="T19">
                            <a:pos x="T6" y="T7"/>
                          </a:cxn>
                          <a:cxn ang="T20">
                            <a:pos x="T8" y="T9"/>
                          </a:cxn>
                          <a:cxn ang="T21">
                            <a:pos x="T10" y="T11"/>
                          </a:cxn>
                          <a:cxn ang="T22">
                            <a:pos x="T12" y="T13"/>
                          </a:cxn>
                          <a:cxn ang="T23">
                            <a:pos x="T14" y="T15"/>
                          </a:cxn>
                        </a:cxnLst>
                        <a:rect l="T24" t="T25" r="T26" b="T27"/>
                        <a:pathLst>
                          <a:path w="21" h="6">
                            <a:moveTo>
                              <a:pt x="19" y="0"/>
                            </a:moveTo>
                            <a:cubicBezTo>
                              <a:pt x="20" y="0"/>
                              <a:pt x="21" y="1"/>
                              <a:pt x="21" y="1"/>
                            </a:cubicBezTo>
                            <a:cubicBezTo>
                              <a:pt x="20" y="3"/>
                              <a:pt x="18" y="4"/>
                              <a:pt x="16" y="5"/>
                            </a:cubicBezTo>
                            <a:cubicBezTo>
                              <a:pt x="13" y="6"/>
                              <a:pt x="9" y="6"/>
                              <a:pt x="6" y="6"/>
                            </a:cubicBezTo>
                            <a:cubicBezTo>
                              <a:pt x="4" y="6"/>
                              <a:pt x="2" y="6"/>
                              <a:pt x="1" y="5"/>
                            </a:cubicBezTo>
                            <a:cubicBezTo>
                              <a:pt x="0" y="4"/>
                              <a:pt x="0" y="2"/>
                              <a:pt x="1" y="2"/>
                            </a:cubicBezTo>
                            <a:cubicBezTo>
                              <a:pt x="4" y="0"/>
                              <a:pt x="8" y="2"/>
                              <a:pt x="12" y="1"/>
                            </a:cubicBezTo>
                            <a:cubicBezTo>
                              <a:pt x="14" y="1"/>
                              <a:pt x="17" y="0"/>
                              <a:pt x="19" y="0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79" name="Freeform 3584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764254" y="1636196"/>
                        <a:ext cx="25725" cy="5815"/>
                      </a:xfrm>
                      <a:custGeom>
                        <a:avLst/>
                        <a:gdLst>
                          <a:gd name="T0" fmla="*/ 10 w 19"/>
                          <a:gd name="T1" fmla="*/ 2 h 6"/>
                          <a:gd name="T2" fmla="*/ 18 w 19"/>
                          <a:gd name="T3" fmla="*/ 0 h 6"/>
                          <a:gd name="T4" fmla="*/ 22 w 19"/>
                          <a:gd name="T5" fmla="*/ 1 h 6"/>
                          <a:gd name="T6" fmla="*/ 12 w 19"/>
                          <a:gd name="T7" fmla="*/ 4 h 6"/>
                          <a:gd name="T8" fmla="*/ 5 w 19"/>
                          <a:gd name="T9" fmla="*/ 7 h 6"/>
                          <a:gd name="T10" fmla="*/ 1 w 19"/>
                          <a:gd name="T11" fmla="*/ 5 h 6"/>
                          <a:gd name="T12" fmla="*/ 10 w 19"/>
                          <a:gd name="T13" fmla="*/ 2 h 6"/>
                          <a:gd name="T14" fmla="*/ 0 60000 65536"/>
                          <a:gd name="T15" fmla="*/ 0 60000 65536"/>
                          <a:gd name="T16" fmla="*/ 0 60000 65536"/>
                          <a:gd name="T17" fmla="*/ 0 60000 65536"/>
                          <a:gd name="T18" fmla="*/ 0 60000 65536"/>
                          <a:gd name="T19" fmla="*/ 0 60000 65536"/>
                          <a:gd name="T20" fmla="*/ 0 60000 65536"/>
                          <a:gd name="T21" fmla="*/ 0 w 19"/>
                          <a:gd name="T22" fmla="*/ 0 h 6"/>
                          <a:gd name="T23" fmla="*/ 19 w 19"/>
                          <a:gd name="T24" fmla="*/ 6 h 6"/>
                        </a:gdLst>
                        <a:ahLst/>
                        <a:cxnLst>
                          <a:cxn ang="T14">
                            <a:pos x="T0" y="T1"/>
                          </a:cxn>
                          <a:cxn ang="T15">
                            <a:pos x="T2" y="T3"/>
                          </a:cxn>
                          <a:cxn ang="T16">
                            <a:pos x="T4" y="T5"/>
                          </a:cxn>
                          <a:cxn ang="T17">
                            <a:pos x="T6" y="T7"/>
                          </a:cxn>
                          <a:cxn ang="T18">
                            <a:pos x="T8" y="T9"/>
                          </a:cxn>
                          <a:cxn ang="T19">
                            <a:pos x="T10" y="T11"/>
                          </a:cxn>
                          <a:cxn ang="T20">
                            <a:pos x="T12" y="T13"/>
                          </a:cxn>
                        </a:cxnLst>
                        <a:rect l="T21" t="T22" r="T23" b="T24"/>
                        <a:pathLst>
                          <a:path w="19" h="6">
                            <a:moveTo>
                              <a:pt x="8" y="2"/>
                            </a:moveTo>
                            <a:cubicBezTo>
                              <a:pt x="10" y="2"/>
                              <a:pt x="13" y="0"/>
                              <a:pt x="15" y="0"/>
                            </a:cubicBezTo>
                            <a:cubicBezTo>
                              <a:pt x="16" y="0"/>
                              <a:pt x="19" y="0"/>
                              <a:pt x="18" y="1"/>
                            </a:cubicBezTo>
                            <a:cubicBezTo>
                              <a:pt x="16" y="2"/>
                              <a:pt x="13" y="2"/>
                              <a:pt x="10" y="3"/>
                            </a:cubicBezTo>
                            <a:cubicBezTo>
                              <a:pt x="8" y="4"/>
                              <a:pt x="6" y="6"/>
                              <a:pt x="4" y="6"/>
                            </a:cubicBezTo>
                            <a:cubicBezTo>
                              <a:pt x="3" y="6"/>
                              <a:pt x="0" y="4"/>
                              <a:pt x="1" y="4"/>
                            </a:cubicBezTo>
                            <a:cubicBezTo>
                              <a:pt x="3" y="2"/>
                              <a:pt x="6" y="3"/>
                              <a:pt x="8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80" name="Freeform 3585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773202" y="1638689"/>
                        <a:ext cx="19015" cy="7476"/>
                      </a:xfrm>
                      <a:custGeom>
                        <a:avLst/>
                        <a:gdLst>
                          <a:gd name="T0" fmla="*/ 0 w 14"/>
                          <a:gd name="T1" fmla="*/ 6 h 7"/>
                          <a:gd name="T2" fmla="*/ 5 w 14"/>
                          <a:gd name="T3" fmla="*/ 8 h 7"/>
                          <a:gd name="T4" fmla="*/ 11 w 14"/>
                          <a:gd name="T5" fmla="*/ 4 h 7"/>
                          <a:gd name="T6" fmla="*/ 17 w 14"/>
                          <a:gd name="T7" fmla="*/ 1 h 7"/>
                          <a:gd name="T8" fmla="*/ 15 w 14"/>
                          <a:gd name="T9" fmla="*/ 0 h 7"/>
                          <a:gd name="T10" fmla="*/ 5 w 14"/>
                          <a:gd name="T11" fmla="*/ 3 h 7"/>
                          <a:gd name="T12" fmla="*/ 0 w 14"/>
                          <a:gd name="T13" fmla="*/ 6 h 7"/>
                          <a:gd name="T14" fmla="*/ 0 60000 65536"/>
                          <a:gd name="T15" fmla="*/ 0 60000 65536"/>
                          <a:gd name="T16" fmla="*/ 0 60000 65536"/>
                          <a:gd name="T17" fmla="*/ 0 60000 65536"/>
                          <a:gd name="T18" fmla="*/ 0 60000 65536"/>
                          <a:gd name="T19" fmla="*/ 0 60000 65536"/>
                          <a:gd name="T20" fmla="*/ 0 60000 65536"/>
                          <a:gd name="T21" fmla="*/ 0 w 14"/>
                          <a:gd name="T22" fmla="*/ 0 h 7"/>
                          <a:gd name="T23" fmla="*/ 14 w 14"/>
                          <a:gd name="T24" fmla="*/ 7 h 7"/>
                        </a:gdLst>
                        <a:ahLst/>
                        <a:cxnLst>
                          <a:cxn ang="T14">
                            <a:pos x="T0" y="T1"/>
                          </a:cxn>
                          <a:cxn ang="T15">
                            <a:pos x="T2" y="T3"/>
                          </a:cxn>
                          <a:cxn ang="T16">
                            <a:pos x="T4" y="T5"/>
                          </a:cxn>
                          <a:cxn ang="T17">
                            <a:pos x="T6" y="T7"/>
                          </a:cxn>
                          <a:cxn ang="T18">
                            <a:pos x="T8" y="T9"/>
                          </a:cxn>
                          <a:cxn ang="T19">
                            <a:pos x="T10" y="T11"/>
                          </a:cxn>
                          <a:cxn ang="T20">
                            <a:pos x="T12" y="T13"/>
                          </a:cxn>
                        </a:cxnLst>
                        <a:rect l="T21" t="T22" r="T23" b="T24"/>
                        <a:pathLst>
                          <a:path w="14" h="7">
                            <a:moveTo>
                              <a:pt x="0" y="5"/>
                            </a:moveTo>
                            <a:cubicBezTo>
                              <a:pt x="0" y="7"/>
                              <a:pt x="3" y="6"/>
                              <a:pt x="4" y="6"/>
                            </a:cubicBezTo>
                            <a:cubicBezTo>
                              <a:pt x="6" y="5"/>
                              <a:pt x="7" y="4"/>
                              <a:pt x="9" y="3"/>
                            </a:cubicBezTo>
                            <a:cubicBezTo>
                              <a:pt x="11" y="2"/>
                              <a:pt x="13" y="2"/>
                              <a:pt x="14" y="1"/>
                            </a:cubicBezTo>
                            <a:cubicBezTo>
                              <a:pt x="14" y="0"/>
                              <a:pt x="13" y="0"/>
                              <a:pt x="12" y="0"/>
                            </a:cubicBezTo>
                            <a:cubicBezTo>
                              <a:pt x="9" y="0"/>
                              <a:pt x="6" y="1"/>
                              <a:pt x="4" y="2"/>
                            </a:cubicBezTo>
                            <a:cubicBezTo>
                              <a:pt x="2" y="3"/>
                              <a:pt x="0" y="4"/>
                              <a:pt x="0" y="5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81" name="Freeform 3586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778794" y="1622075"/>
                        <a:ext cx="79413" cy="39872"/>
                      </a:xfrm>
                      <a:custGeom>
                        <a:avLst/>
                        <a:gdLst>
                          <a:gd name="T0" fmla="*/ 26 w 59"/>
                          <a:gd name="T1" fmla="*/ 34 h 40"/>
                          <a:gd name="T2" fmla="*/ 24 w 59"/>
                          <a:gd name="T3" fmla="*/ 37 h 40"/>
                          <a:gd name="T4" fmla="*/ 28 w 59"/>
                          <a:gd name="T5" fmla="*/ 40 h 40"/>
                          <a:gd name="T6" fmla="*/ 24 w 59"/>
                          <a:gd name="T7" fmla="*/ 41 h 40"/>
                          <a:gd name="T8" fmla="*/ 25 w 59"/>
                          <a:gd name="T9" fmla="*/ 47 h 40"/>
                          <a:gd name="T10" fmla="*/ 31 w 59"/>
                          <a:gd name="T11" fmla="*/ 47 h 40"/>
                          <a:gd name="T12" fmla="*/ 36 w 59"/>
                          <a:gd name="T13" fmla="*/ 44 h 40"/>
                          <a:gd name="T14" fmla="*/ 40 w 59"/>
                          <a:gd name="T15" fmla="*/ 47 h 40"/>
                          <a:gd name="T16" fmla="*/ 46 w 59"/>
                          <a:gd name="T17" fmla="*/ 47 h 40"/>
                          <a:gd name="T18" fmla="*/ 55 w 59"/>
                          <a:gd name="T19" fmla="*/ 46 h 40"/>
                          <a:gd name="T20" fmla="*/ 55 w 59"/>
                          <a:gd name="T21" fmla="*/ 42 h 40"/>
                          <a:gd name="T22" fmla="*/ 60 w 59"/>
                          <a:gd name="T23" fmla="*/ 43 h 40"/>
                          <a:gd name="T24" fmla="*/ 58 w 59"/>
                          <a:gd name="T25" fmla="*/ 38 h 40"/>
                          <a:gd name="T26" fmla="*/ 58 w 59"/>
                          <a:gd name="T27" fmla="*/ 34 h 40"/>
                          <a:gd name="T28" fmla="*/ 61 w 59"/>
                          <a:gd name="T29" fmla="*/ 31 h 40"/>
                          <a:gd name="T30" fmla="*/ 66 w 59"/>
                          <a:gd name="T31" fmla="*/ 35 h 40"/>
                          <a:gd name="T32" fmla="*/ 69 w 59"/>
                          <a:gd name="T33" fmla="*/ 29 h 40"/>
                          <a:gd name="T34" fmla="*/ 65 w 59"/>
                          <a:gd name="T35" fmla="*/ 25 h 40"/>
                          <a:gd name="T36" fmla="*/ 69 w 59"/>
                          <a:gd name="T37" fmla="*/ 17 h 40"/>
                          <a:gd name="T38" fmla="*/ 70 w 59"/>
                          <a:gd name="T39" fmla="*/ 11 h 40"/>
                          <a:gd name="T40" fmla="*/ 71 w 59"/>
                          <a:gd name="T41" fmla="*/ 5 h 40"/>
                          <a:gd name="T42" fmla="*/ 65 w 59"/>
                          <a:gd name="T43" fmla="*/ 0 h 40"/>
                          <a:gd name="T44" fmla="*/ 60 w 59"/>
                          <a:gd name="T45" fmla="*/ 1 h 40"/>
                          <a:gd name="T46" fmla="*/ 57 w 59"/>
                          <a:gd name="T47" fmla="*/ 6 h 40"/>
                          <a:gd name="T48" fmla="*/ 47 w 59"/>
                          <a:gd name="T49" fmla="*/ 1 h 40"/>
                          <a:gd name="T50" fmla="*/ 34 w 59"/>
                          <a:gd name="T51" fmla="*/ 2 h 40"/>
                          <a:gd name="T52" fmla="*/ 31 w 59"/>
                          <a:gd name="T53" fmla="*/ 7 h 40"/>
                          <a:gd name="T54" fmla="*/ 36 w 59"/>
                          <a:gd name="T55" fmla="*/ 8 h 40"/>
                          <a:gd name="T56" fmla="*/ 35 w 59"/>
                          <a:gd name="T57" fmla="*/ 12 h 40"/>
                          <a:gd name="T58" fmla="*/ 41 w 59"/>
                          <a:gd name="T59" fmla="*/ 12 h 40"/>
                          <a:gd name="T60" fmla="*/ 39 w 59"/>
                          <a:gd name="T61" fmla="*/ 17 h 40"/>
                          <a:gd name="T62" fmla="*/ 42 w 59"/>
                          <a:gd name="T63" fmla="*/ 22 h 40"/>
                          <a:gd name="T64" fmla="*/ 32 w 59"/>
                          <a:gd name="T65" fmla="*/ 18 h 40"/>
                          <a:gd name="T66" fmla="*/ 26 w 59"/>
                          <a:gd name="T67" fmla="*/ 8 h 40"/>
                          <a:gd name="T68" fmla="*/ 18 w 59"/>
                          <a:gd name="T69" fmla="*/ 6 h 40"/>
                          <a:gd name="T70" fmla="*/ 13 w 59"/>
                          <a:gd name="T71" fmla="*/ 12 h 40"/>
                          <a:gd name="T72" fmla="*/ 19 w 59"/>
                          <a:gd name="T73" fmla="*/ 14 h 40"/>
                          <a:gd name="T74" fmla="*/ 16 w 59"/>
                          <a:gd name="T75" fmla="*/ 18 h 40"/>
                          <a:gd name="T76" fmla="*/ 20 w 59"/>
                          <a:gd name="T77" fmla="*/ 18 h 40"/>
                          <a:gd name="T78" fmla="*/ 22 w 59"/>
                          <a:gd name="T79" fmla="*/ 24 h 40"/>
                          <a:gd name="T80" fmla="*/ 14 w 59"/>
                          <a:gd name="T81" fmla="*/ 23 h 40"/>
                          <a:gd name="T82" fmla="*/ 7 w 59"/>
                          <a:gd name="T83" fmla="*/ 28 h 40"/>
                          <a:gd name="T84" fmla="*/ 1 w 59"/>
                          <a:gd name="T85" fmla="*/ 29 h 40"/>
                          <a:gd name="T86" fmla="*/ 1 w 59"/>
                          <a:gd name="T87" fmla="*/ 34 h 40"/>
                          <a:gd name="T88" fmla="*/ 13 w 59"/>
                          <a:gd name="T89" fmla="*/ 31 h 40"/>
                          <a:gd name="T90" fmla="*/ 18 w 59"/>
                          <a:gd name="T91" fmla="*/ 29 h 40"/>
                          <a:gd name="T92" fmla="*/ 26 w 59"/>
                          <a:gd name="T93" fmla="*/ 29 h 40"/>
                          <a:gd name="T94" fmla="*/ 34 w 59"/>
                          <a:gd name="T95" fmla="*/ 26 h 40"/>
                          <a:gd name="T96" fmla="*/ 43 w 59"/>
                          <a:gd name="T97" fmla="*/ 26 h 40"/>
                          <a:gd name="T98" fmla="*/ 39 w 59"/>
                          <a:gd name="T99" fmla="*/ 29 h 40"/>
                          <a:gd name="T100" fmla="*/ 34 w 59"/>
                          <a:gd name="T101" fmla="*/ 32 h 40"/>
                          <a:gd name="T102" fmla="*/ 26 w 59"/>
                          <a:gd name="T103" fmla="*/ 34 h 40"/>
                          <a:gd name="T104" fmla="*/ 0 60000 65536"/>
                          <a:gd name="T105" fmla="*/ 0 60000 65536"/>
                          <a:gd name="T106" fmla="*/ 0 60000 65536"/>
                          <a:gd name="T107" fmla="*/ 0 60000 65536"/>
                          <a:gd name="T108" fmla="*/ 0 60000 65536"/>
                          <a:gd name="T109" fmla="*/ 0 60000 65536"/>
                          <a:gd name="T110" fmla="*/ 0 60000 65536"/>
                          <a:gd name="T111" fmla="*/ 0 60000 65536"/>
                          <a:gd name="T112" fmla="*/ 0 60000 65536"/>
                          <a:gd name="T113" fmla="*/ 0 60000 65536"/>
                          <a:gd name="T114" fmla="*/ 0 60000 65536"/>
                          <a:gd name="T115" fmla="*/ 0 60000 65536"/>
                          <a:gd name="T116" fmla="*/ 0 60000 65536"/>
                          <a:gd name="T117" fmla="*/ 0 60000 65536"/>
                          <a:gd name="T118" fmla="*/ 0 60000 65536"/>
                          <a:gd name="T119" fmla="*/ 0 60000 65536"/>
                          <a:gd name="T120" fmla="*/ 0 60000 65536"/>
                          <a:gd name="T121" fmla="*/ 0 60000 65536"/>
                          <a:gd name="T122" fmla="*/ 0 60000 65536"/>
                          <a:gd name="T123" fmla="*/ 0 60000 65536"/>
                          <a:gd name="T124" fmla="*/ 0 60000 65536"/>
                          <a:gd name="T125" fmla="*/ 0 60000 65536"/>
                          <a:gd name="T126" fmla="*/ 0 60000 65536"/>
                          <a:gd name="T127" fmla="*/ 0 60000 65536"/>
                          <a:gd name="T128" fmla="*/ 0 60000 65536"/>
                          <a:gd name="T129" fmla="*/ 0 60000 65536"/>
                          <a:gd name="T130" fmla="*/ 0 60000 65536"/>
                          <a:gd name="T131" fmla="*/ 0 60000 65536"/>
                          <a:gd name="T132" fmla="*/ 0 60000 65536"/>
                          <a:gd name="T133" fmla="*/ 0 60000 65536"/>
                          <a:gd name="T134" fmla="*/ 0 60000 65536"/>
                          <a:gd name="T135" fmla="*/ 0 60000 65536"/>
                          <a:gd name="T136" fmla="*/ 0 60000 65536"/>
                          <a:gd name="T137" fmla="*/ 0 60000 65536"/>
                          <a:gd name="T138" fmla="*/ 0 60000 65536"/>
                          <a:gd name="T139" fmla="*/ 0 60000 65536"/>
                          <a:gd name="T140" fmla="*/ 0 60000 65536"/>
                          <a:gd name="T141" fmla="*/ 0 60000 65536"/>
                          <a:gd name="T142" fmla="*/ 0 60000 65536"/>
                          <a:gd name="T143" fmla="*/ 0 60000 65536"/>
                          <a:gd name="T144" fmla="*/ 0 60000 65536"/>
                          <a:gd name="T145" fmla="*/ 0 60000 65536"/>
                          <a:gd name="T146" fmla="*/ 0 60000 65536"/>
                          <a:gd name="T147" fmla="*/ 0 60000 65536"/>
                          <a:gd name="T148" fmla="*/ 0 60000 65536"/>
                          <a:gd name="T149" fmla="*/ 0 60000 65536"/>
                          <a:gd name="T150" fmla="*/ 0 60000 65536"/>
                          <a:gd name="T151" fmla="*/ 0 60000 65536"/>
                          <a:gd name="T152" fmla="*/ 0 60000 65536"/>
                          <a:gd name="T153" fmla="*/ 0 60000 65536"/>
                          <a:gd name="T154" fmla="*/ 0 60000 65536"/>
                          <a:gd name="T155" fmla="*/ 0 60000 65536"/>
                          <a:gd name="T156" fmla="*/ 0 w 59"/>
                          <a:gd name="T157" fmla="*/ 0 h 40"/>
                          <a:gd name="T158" fmla="*/ 59 w 59"/>
                          <a:gd name="T159" fmla="*/ 40 h 40"/>
                        </a:gdLst>
                        <a:ahLst/>
                        <a:cxnLst>
                          <a:cxn ang="T104">
                            <a:pos x="T0" y="T1"/>
                          </a:cxn>
                          <a:cxn ang="T105">
                            <a:pos x="T2" y="T3"/>
                          </a:cxn>
                          <a:cxn ang="T106">
                            <a:pos x="T4" y="T5"/>
                          </a:cxn>
                          <a:cxn ang="T107">
                            <a:pos x="T6" y="T7"/>
                          </a:cxn>
                          <a:cxn ang="T108">
                            <a:pos x="T8" y="T9"/>
                          </a:cxn>
                          <a:cxn ang="T109">
                            <a:pos x="T10" y="T11"/>
                          </a:cxn>
                          <a:cxn ang="T110">
                            <a:pos x="T12" y="T13"/>
                          </a:cxn>
                          <a:cxn ang="T111">
                            <a:pos x="T14" y="T15"/>
                          </a:cxn>
                          <a:cxn ang="T112">
                            <a:pos x="T16" y="T17"/>
                          </a:cxn>
                          <a:cxn ang="T113">
                            <a:pos x="T18" y="T19"/>
                          </a:cxn>
                          <a:cxn ang="T114">
                            <a:pos x="T20" y="T21"/>
                          </a:cxn>
                          <a:cxn ang="T115">
                            <a:pos x="T22" y="T23"/>
                          </a:cxn>
                          <a:cxn ang="T116">
                            <a:pos x="T24" y="T25"/>
                          </a:cxn>
                          <a:cxn ang="T117">
                            <a:pos x="T26" y="T27"/>
                          </a:cxn>
                          <a:cxn ang="T118">
                            <a:pos x="T28" y="T29"/>
                          </a:cxn>
                          <a:cxn ang="T119">
                            <a:pos x="T30" y="T31"/>
                          </a:cxn>
                          <a:cxn ang="T120">
                            <a:pos x="T32" y="T33"/>
                          </a:cxn>
                          <a:cxn ang="T121">
                            <a:pos x="T34" y="T35"/>
                          </a:cxn>
                          <a:cxn ang="T122">
                            <a:pos x="T36" y="T37"/>
                          </a:cxn>
                          <a:cxn ang="T123">
                            <a:pos x="T38" y="T39"/>
                          </a:cxn>
                          <a:cxn ang="T124">
                            <a:pos x="T40" y="T41"/>
                          </a:cxn>
                          <a:cxn ang="T125">
                            <a:pos x="T42" y="T43"/>
                          </a:cxn>
                          <a:cxn ang="T126">
                            <a:pos x="T44" y="T45"/>
                          </a:cxn>
                          <a:cxn ang="T127">
                            <a:pos x="T46" y="T47"/>
                          </a:cxn>
                          <a:cxn ang="T128">
                            <a:pos x="T48" y="T49"/>
                          </a:cxn>
                          <a:cxn ang="T129">
                            <a:pos x="T50" y="T51"/>
                          </a:cxn>
                          <a:cxn ang="T130">
                            <a:pos x="T52" y="T53"/>
                          </a:cxn>
                          <a:cxn ang="T131">
                            <a:pos x="T54" y="T55"/>
                          </a:cxn>
                          <a:cxn ang="T132">
                            <a:pos x="T56" y="T57"/>
                          </a:cxn>
                          <a:cxn ang="T133">
                            <a:pos x="T58" y="T59"/>
                          </a:cxn>
                          <a:cxn ang="T134">
                            <a:pos x="T60" y="T61"/>
                          </a:cxn>
                          <a:cxn ang="T135">
                            <a:pos x="T62" y="T63"/>
                          </a:cxn>
                          <a:cxn ang="T136">
                            <a:pos x="T64" y="T65"/>
                          </a:cxn>
                          <a:cxn ang="T137">
                            <a:pos x="T66" y="T67"/>
                          </a:cxn>
                          <a:cxn ang="T138">
                            <a:pos x="T68" y="T69"/>
                          </a:cxn>
                          <a:cxn ang="T139">
                            <a:pos x="T70" y="T71"/>
                          </a:cxn>
                          <a:cxn ang="T140">
                            <a:pos x="T72" y="T73"/>
                          </a:cxn>
                          <a:cxn ang="T141">
                            <a:pos x="T74" y="T75"/>
                          </a:cxn>
                          <a:cxn ang="T142">
                            <a:pos x="T76" y="T77"/>
                          </a:cxn>
                          <a:cxn ang="T143">
                            <a:pos x="T78" y="T79"/>
                          </a:cxn>
                          <a:cxn ang="T144">
                            <a:pos x="T80" y="T81"/>
                          </a:cxn>
                          <a:cxn ang="T145">
                            <a:pos x="T82" y="T83"/>
                          </a:cxn>
                          <a:cxn ang="T146">
                            <a:pos x="T84" y="T85"/>
                          </a:cxn>
                          <a:cxn ang="T147">
                            <a:pos x="T86" y="T87"/>
                          </a:cxn>
                          <a:cxn ang="T148">
                            <a:pos x="T88" y="T89"/>
                          </a:cxn>
                          <a:cxn ang="T149">
                            <a:pos x="T90" y="T91"/>
                          </a:cxn>
                          <a:cxn ang="T150">
                            <a:pos x="T92" y="T93"/>
                          </a:cxn>
                          <a:cxn ang="T151">
                            <a:pos x="T94" y="T95"/>
                          </a:cxn>
                          <a:cxn ang="T152">
                            <a:pos x="T96" y="T97"/>
                          </a:cxn>
                          <a:cxn ang="T153">
                            <a:pos x="T98" y="T99"/>
                          </a:cxn>
                          <a:cxn ang="T154">
                            <a:pos x="T100" y="T101"/>
                          </a:cxn>
                          <a:cxn ang="T155">
                            <a:pos x="T102" y="T103"/>
                          </a:cxn>
                        </a:cxnLst>
                        <a:rect l="T156" t="T157" r="T158" b="T159"/>
                        <a:pathLst>
                          <a:path w="59" h="40">
                            <a:moveTo>
                              <a:pt x="22" y="28"/>
                            </a:moveTo>
                            <a:cubicBezTo>
                              <a:pt x="21" y="28"/>
                              <a:pt x="19" y="31"/>
                              <a:pt x="20" y="31"/>
                            </a:cubicBezTo>
                            <a:cubicBezTo>
                              <a:pt x="20" y="33"/>
                              <a:pt x="23" y="32"/>
                              <a:pt x="23" y="33"/>
                            </a:cubicBezTo>
                            <a:cubicBezTo>
                              <a:pt x="23" y="34"/>
                              <a:pt x="21" y="33"/>
                              <a:pt x="20" y="34"/>
                            </a:cubicBezTo>
                            <a:cubicBezTo>
                              <a:pt x="20" y="35"/>
                              <a:pt x="19" y="38"/>
                              <a:pt x="21" y="39"/>
                            </a:cubicBezTo>
                            <a:cubicBezTo>
                              <a:pt x="22" y="40"/>
                              <a:pt x="25" y="40"/>
                              <a:pt x="26" y="39"/>
                            </a:cubicBezTo>
                            <a:cubicBezTo>
                              <a:pt x="28" y="39"/>
                              <a:pt x="28" y="37"/>
                              <a:pt x="30" y="37"/>
                            </a:cubicBezTo>
                            <a:cubicBezTo>
                              <a:pt x="31" y="37"/>
                              <a:pt x="32" y="39"/>
                              <a:pt x="33" y="39"/>
                            </a:cubicBezTo>
                            <a:cubicBezTo>
                              <a:pt x="34" y="39"/>
                              <a:pt x="36" y="39"/>
                              <a:pt x="38" y="39"/>
                            </a:cubicBezTo>
                            <a:cubicBezTo>
                              <a:pt x="40" y="39"/>
                              <a:pt x="43" y="39"/>
                              <a:pt x="46" y="38"/>
                            </a:cubicBezTo>
                            <a:cubicBezTo>
                              <a:pt x="47" y="38"/>
                              <a:pt x="45" y="36"/>
                              <a:pt x="46" y="35"/>
                            </a:cubicBezTo>
                            <a:cubicBezTo>
                              <a:pt x="47" y="35"/>
                              <a:pt x="49" y="37"/>
                              <a:pt x="50" y="36"/>
                            </a:cubicBezTo>
                            <a:cubicBezTo>
                              <a:pt x="51" y="35"/>
                              <a:pt x="48" y="34"/>
                              <a:pt x="48" y="32"/>
                            </a:cubicBezTo>
                            <a:cubicBezTo>
                              <a:pt x="48" y="31"/>
                              <a:pt x="48" y="29"/>
                              <a:pt x="48" y="28"/>
                            </a:cubicBezTo>
                            <a:cubicBezTo>
                              <a:pt x="49" y="27"/>
                              <a:pt x="50" y="25"/>
                              <a:pt x="51" y="26"/>
                            </a:cubicBezTo>
                            <a:cubicBezTo>
                              <a:pt x="53" y="26"/>
                              <a:pt x="54" y="30"/>
                              <a:pt x="55" y="29"/>
                            </a:cubicBezTo>
                            <a:cubicBezTo>
                              <a:pt x="57" y="29"/>
                              <a:pt x="57" y="26"/>
                              <a:pt x="57" y="24"/>
                            </a:cubicBezTo>
                            <a:cubicBezTo>
                              <a:pt x="57" y="22"/>
                              <a:pt x="54" y="22"/>
                              <a:pt x="54" y="21"/>
                            </a:cubicBezTo>
                            <a:cubicBezTo>
                              <a:pt x="54" y="18"/>
                              <a:pt x="56" y="17"/>
                              <a:pt x="57" y="14"/>
                            </a:cubicBezTo>
                            <a:cubicBezTo>
                              <a:pt x="57" y="13"/>
                              <a:pt x="58" y="11"/>
                              <a:pt x="58" y="9"/>
                            </a:cubicBezTo>
                            <a:cubicBezTo>
                              <a:pt x="58" y="7"/>
                              <a:pt x="59" y="5"/>
                              <a:pt x="59" y="4"/>
                            </a:cubicBezTo>
                            <a:cubicBezTo>
                              <a:pt x="58" y="2"/>
                              <a:pt x="56" y="1"/>
                              <a:pt x="54" y="0"/>
                            </a:cubicBezTo>
                            <a:cubicBezTo>
                              <a:pt x="53" y="0"/>
                              <a:pt x="51" y="1"/>
                              <a:pt x="50" y="1"/>
                            </a:cubicBezTo>
                            <a:cubicBezTo>
                              <a:pt x="49" y="2"/>
                              <a:pt x="48" y="5"/>
                              <a:pt x="47" y="5"/>
                            </a:cubicBezTo>
                            <a:cubicBezTo>
                              <a:pt x="44" y="5"/>
                              <a:pt x="42" y="1"/>
                              <a:pt x="39" y="1"/>
                            </a:cubicBezTo>
                            <a:cubicBezTo>
                              <a:pt x="36" y="0"/>
                              <a:pt x="32" y="1"/>
                              <a:pt x="28" y="2"/>
                            </a:cubicBezTo>
                            <a:cubicBezTo>
                              <a:pt x="27" y="3"/>
                              <a:pt x="25" y="4"/>
                              <a:pt x="26" y="6"/>
                            </a:cubicBezTo>
                            <a:cubicBezTo>
                              <a:pt x="26" y="7"/>
                              <a:pt x="29" y="6"/>
                              <a:pt x="30" y="7"/>
                            </a:cubicBezTo>
                            <a:cubicBezTo>
                              <a:pt x="31" y="8"/>
                              <a:pt x="28" y="9"/>
                              <a:pt x="29" y="10"/>
                            </a:cubicBezTo>
                            <a:cubicBezTo>
                              <a:pt x="30" y="11"/>
                              <a:pt x="33" y="9"/>
                              <a:pt x="34" y="10"/>
                            </a:cubicBezTo>
                            <a:cubicBezTo>
                              <a:pt x="35" y="11"/>
                              <a:pt x="32" y="12"/>
                              <a:pt x="32" y="14"/>
                            </a:cubicBezTo>
                            <a:cubicBezTo>
                              <a:pt x="32" y="15"/>
                              <a:pt x="36" y="17"/>
                              <a:pt x="35" y="18"/>
                            </a:cubicBezTo>
                            <a:cubicBezTo>
                              <a:pt x="32" y="18"/>
                              <a:pt x="29" y="17"/>
                              <a:pt x="27" y="15"/>
                            </a:cubicBezTo>
                            <a:cubicBezTo>
                              <a:pt x="25" y="13"/>
                              <a:pt x="25" y="9"/>
                              <a:pt x="22" y="7"/>
                            </a:cubicBezTo>
                            <a:cubicBezTo>
                              <a:pt x="20" y="6"/>
                              <a:pt x="18" y="5"/>
                              <a:pt x="15" y="5"/>
                            </a:cubicBezTo>
                            <a:cubicBezTo>
                              <a:pt x="13" y="6"/>
                              <a:pt x="10" y="8"/>
                              <a:pt x="11" y="10"/>
                            </a:cubicBezTo>
                            <a:cubicBezTo>
                              <a:pt x="11" y="12"/>
                              <a:pt x="15" y="10"/>
                              <a:pt x="16" y="12"/>
                            </a:cubicBezTo>
                            <a:cubicBezTo>
                              <a:pt x="16" y="13"/>
                              <a:pt x="12" y="14"/>
                              <a:pt x="13" y="15"/>
                            </a:cubicBezTo>
                            <a:cubicBezTo>
                              <a:pt x="14" y="17"/>
                              <a:pt x="16" y="14"/>
                              <a:pt x="17" y="15"/>
                            </a:cubicBezTo>
                            <a:cubicBezTo>
                              <a:pt x="19" y="16"/>
                              <a:pt x="19" y="19"/>
                              <a:pt x="18" y="20"/>
                            </a:cubicBezTo>
                            <a:cubicBezTo>
                              <a:pt x="16" y="21"/>
                              <a:pt x="14" y="18"/>
                              <a:pt x="12" y="19"/>
                            </a:cubicBezTo>
                            <a:cubicBezTo>
                              <a:pt x="10" y="19"/>
                              <a:pt x="8" y="22"/>
                              <a:pt x="6" y="23"/>
                            </a:cubicBezTo>
                            <a:cubicBezTo>
                              <a:pt x="5" y="24"/>
                              <a:pt x="2" y="23"/>
                              <a:pt x="1" y="24"/>
                            </a:cubicBezTo>
                            <a:cubicBezTo>
                              <a:pt x="0" y="25"/>
                              <a:pt x="0" y="28"/>
                              <a:pt x="1" y="28"/>
                            </a:cubicBezTo>
                            <a:cubicBezTo>
                              <a:pt x="5" y="29"/>
                              <a:pt x="8" y="27"/>
                              <a:pt x="11" y="26"/>
                            </a:cubicBezTo>
                            <a:cubicBezTo>
                              <a:pt x="13" y="25"/>
                              <a:pt x="14" y="24"/>
                              <a:pt x="15" y="24"/>
                            </a:cubicBezTo>
                            <a:cubicBezTo>
                              <a:pt x="17" y="24"/>
                              <a:pt x="20" y="24"/>
                              <a:pt x="22" y="24"/>
                            </a:cubicBezTo>
                            <a:cubicBezTo>
                              <a:pt x="24" y="24"/>
                              <a:pt x="26" y="23"/>
                              <a:pt x="28" y="22"/>
                            </a:cubicBezTo>
                            <a:cubicBezTo>
                              <a:pt x="31" y="22"/>
                              <a:pt x="33" y="21"/>
                              <a:pt x="36" y="22"/>
                            </a:cubicBezTo>
                            <a:cubicBezTo>
                              <a:pt x="37" y="23"/>
                              <a:pt x="33" y="23"/>
                              <a:pt x="32" y="24"/>
                            </a:cubicBezTo>
                            <a:cubicBezTo>
                              <a:pt x="30" y="25"/>
                              <a:pt x="30" y="27"/>
                              <a:pt x="28" y="27"/>
                            </a:cubicBezTo>
                            <a:cubicBezTo>
                              <a:pt x="26" y="28"/>
                              <a:pt x="24" y="28"/>
                              <a:pt x="22" y="28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82" name="Freeform 3587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804519" y="1620414"/>
                        <a:ext cx="17895" cy="4984"/>
                      </a:xfrm>
                      <a:custGeom>
                        <a:avLst/>
                        <a:gdLst>
                          <a:gd name="T0" fmla="*/ 0 w 13"/>
                          <a:gd name="T1" fmla="*/ 5 h 5"/>
                          <a:gd name="T2" fmla="*/ 0 w 13"/>
                          <a:gd name="T3" fmla="*/ 6 h 5"/>
                          <a:gd name="T4" fmla="*/ 6 w 13"/>
                          <a:gd name="T5" fmla="*/ 6 h 5"/>
                          <a:gd name="T6" fmla="*/ 15 w 13"/>
                          <a:gd name="T7" fmla="*/ 1 h 5"/>
                          <a:gd name="T8" fmla="*/ 12 w 13"/>
                          <a:gd name="T9" fmla="*/ 1 h 5"/>
                          <a:gd name="T10" fmla="*/ 6 w 13"/>
                          <a:gd name="T11" fmla="*/ 1 h 5"/>
                          <a:gd name="T12" fmla="*/ 4 w 13"/>
                          <a:gd name="T13" fmla="*/ 4 h 5"/>
                          <a:gd name="T14" fmla="*/ 0 w 13"/>
                          <a:gd name="T15" fmla="*/ 5 h 5"/>
                          <a:gd name="T16" fmla="*/ 0 60000 65536"/>
                          <a:gd name="T17" fmla="*/ 0 60000 65536"/>
                          <a:gd name="T18" fmla="*/ 0 60000 65536"/>
                          <a:gd name="T19" fmla="*/ 0 60000 65536"/>
                          <a:gd name="T20" fmla="*/ 0 60000 65536"/>
                          <a:gd name="T21" fmla="*/ 0 60000 65536"/>
                          <a:gd name="T22" fmla="*/ 0 60000 65536"/>
                          <a:gd name="T23" fmla="*/ 0 60000 65536"/>
                          <a:gd name="T24" fmla="*/ 0 w 13"/>
                          <a:gd name="T25" fmla="*/ 0 h 5"/>
                          <a:gd name="T26" fmla="*/ 13 w 13"/>
                          <a:gd name="T27" fmla="*/ 5 h 5"/>
                        </a:gdLst>
                        <a:ahLst/>
                        <a:cxnLst>
                          <a:cxn ang="T16">
                            <a:pos x="T0" y="T1"/>
                          </a:cxn>
                          <a:cxn ang="T17">
                            <a:pos x="T2" y="T3"/>
                          </a:cxn>
                          <a:cxn ang="T18">
                            <a:pos x="T4" y="T5"/>
                          </a:cxn>
                          <a:cxn ang="T19">
                            <a:pos x="T6" y="T7"/>
                          </a:cxn>
                          <a:cxn ang="T20">
                            <a:pos x="T8" y="T9"/>
                          </a:cxn>
                          <a:cxn ang="T21">
                            <a:pos x="T10" y="T11"/>
                          </a:cxn>
                          <a:cxn ang="T22">
                            <a:pos x="T12" y="T13"/>
                          </a:cxn>
                          <a:cxn ang="T23">
                            <a:pos x="T14" y="T15"/>
                          </a:cxn>
                        </a:cxnLst>
                        <a:rect l="T24" t="T25" r="T26" b="T27"/>
                        <a:pathLst>
                          <a:path w="13" h="5">
                            <a:moveTo>
                              <a:pt x="0" y="4"/>
                            </a:moveTo>
                            <a:cubicBezTo>
                              <a:pt x="0" y="4"/>
                              <a:pt x="0" y="5"/>
                              <a:pt x="0" y="5"/>
                            </a:cubicBezTo>
                            <a:cubicBezTo>
                              <a:pt x="2" y="5"/>
                              <a:pt x="3" y="5"/>
                              <a:pt x="5" y="5"/>
                            </a:cubicBezTo>
                            <a:cubicBezTo>
                              <a:pt x="7" y="4"/>
                              <a:pt x="10" y="3"/>
                              <a:pt x="12" y="1"/>
                            </a:cubicBezTo>
                            <a:cubicBezTo>
                              <a:pt x="13" y="1"/>
                              <a:pt x="11" y="1"/>
                              <a:pt x="10" y="1"/>
                            </a:cubicBezTo>
                            <a:cubicBezTo>
                              <a:pt x="9" y="1"/>
                              <a:pt x="7" y="0"/>
                              <a:pt x="5" y="1"/>
                            </a:cubicBezTo>
                            <a:cubicBezTo>
                              <a:pt x="4" y="1"/>
                              <a:pt x="4" y="3"/>
                              <a:pt x="3" y="3"/>
                            </a:cubicBezTo>
                            <a:cubicBezTo>
                              <a:pt x="2" y="4"/>
                              <a:pt x="1" y="3"/>
                              <a:pt x="0" y="4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83" name="Freeform 3588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802283" y="1592171"/>
                        <a:ext cx="21252" cy="5815"/>
                      </a:xfrm>
                      <a:custGeom>
                        <a:avLst/>
                        <a:gdLst>
                          <a:gd name="T0" fmla="*/ 0 w 16"/>
                          <a:gd name="T1" fmla="*/ 4 h 6"/>
                          <a:gd name="T2" fmla="*/ 6 w 16"/>
                          <a:gd name="T3" fmla="*/ 7 h 6"/>
                          <a:gd name="T4" fmla="*/ 13 w 16"/>
                          <a:gd name="T5" fmla="*/ 4 h 6"/>
                          <a:gd name="T6" fmla="*/ 18 w 16"/>
                          <a:gd name="T7" fmla="*/ 5 h 6"/>
                          <a:gd name="T8" fmla="*/ 12 w 16"/>
                          <a:gd name="T9" fmla="*/ 1 h 6"/>
                          <a:gd name="T10" fmla="*/ 6 w 16"/>
                          <a:gd name="T11" fmla="*/ 1 h 6"/>
                          <a:gd name="T12" fmla="*/ 0 w 16"/>
                          <a:gd name="T13" fmla="*/ 4 h 6"/>
                          <a:gd name="T14" fmla="*/ 0 60000 65536"/>
                          <a:gd name="T15" fmla="*/ 0 60000 65536"/>
                          <a:gd name="T16" fmla="*/ 0 60000 65536"/>
                          <a:gd name="T17" fmla="*/ 0 60000 65536"/>
                          <a:gd name="T18" fmla="*/ 0 60000 65536"/>
                          <a:gd name="T19" fmla="*/ 0 60000 65536"/>
                          <a:gd name="T20" fmla="*/ 0 60000 65536"/>
                          <a:gd name="T21" fmla="*/ 0 w 16"/>
                          <a:gd name="T22" fmla="*/ 0 h 6"/>
                          <a:gd name="T23" fmla="*/ 16 w 16"/>
                          <a:gd name="T24" fmla="*/ 6 h 6"/>
                        </a:gdLst>
                        <a:ahLst/>
                        <a:cxnLst>
                          <a:cxn ang="T14">
                            <a:pos x="T0" y="T1"/>
                          </a:cxn>
                          <a:cxn ang="T15">
                            <a:pos x="T2" y="T3"/>
                          </a:cxn>
                          <a:cxn ang="T16">
                            <a:pos x="T4" y="T5"/>
                          </a:cxn>
                          <a:cxn ang="T17">
                            <a:pos x="T6" y="T7"/>
                          </a:cxn>
                          <a:cxn ang="T18">
                            <a:pos x="T8" y="T9"/>
                          </a:cxn>
                          <a:cxn ang="T19">
                            <a:pos x="T10" y="T11"/>
                          </a:cxn>
                          <a:cxn ang="T20">
                            <a:pos x="T12" y="T13"/>
                          </a:cxn>
                        </a:cxnLst>
                        <a:rect l="T21" t="T22" r="T23" b="T24"/>
                        <a:pathLst>
                          <a:path w="16" h="6">
                            <a:moveTo>
                              <a:pt x="0" y="3"/>
                            </a:moveTo>
                            <a:cubicBezTo>
                              <a:pt x="0" y="5"/>
                              <a:pt x="3" y="6"/>
                              <a:pt x="5" y="6"/>
                            </a:cubicBezTo>
                            <a:cubicBezTo>
                              <a:pt x="7" y="6"/>
                              <a:pt x="9" y="4"/>
                              <a:pt x="11" y="3"/>
                            </a:cubicBezTo>
                            <a:cubicBezTo>
                              <a:pt x="13" y="3"/>
                              <a:pt x="16" y="5"/>
                              <a:pt x="15" y="4"/>
                            </a:cubicBezTo>
                            <a:cubicBezTo>
                              <a:pt x="14" y="2"/>
                              <a:pt x="12" y="1"/>
                              <a:pt x="10" y="1"/>
                            </a:cubicBezTo>
                            <a:cubicBezTo>
                              <a:pt x="9" y="0"/>
                              <a:pt x="7" y="0"/>
                              <a:pt x="5" y="1"/>
                            </a:cubicBezTo>
                            <a:cubicBezTo>
                              <a:pt x="3" y="1"/>
                              <a:pt x="0" y="1"/>
                              <a:pt x="0" y="3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84" name="Freeform 3589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764254" y="1556453"/>
                        <a:ext cx="87243" cy="41533"/>
                      </a:xfrm>
                      <a:custGeom>
                        <a:avLst/>
                        <a:gdLst>
                          <a:gd name="T0" fmla="*/ 68 w 65"/>
                          <a:gd name="T1" fmla="*/ 33 h 42"/>
                          <a:gd name="T2" fmla="*/ 77 w 65"/>
                          <a:gd name="T3" fmla="*/ 39 h 42"/>
                          <a:gd name="T4" fmla="*/ 73 w 65"/>
                          <a:gd name="T5" fmla="*/ 45 h 42"/>
                          <a:gd name="T6" fmla="*/ 62 w 65"/>
                          <a:gd name="T7" fmla="*/ 49 h 42"/>
                          <a:gd name="T8" fmla="*/ 56 w 65"/>
                          <a:gd name="T9" fmla="*/ 44 h 42"/>
                          <a:gd name="T10" fmla="*/ 52 w 65"/>
                          <a:gd name="T11" fmla="*/ 36 h 42"/>
                          <a:gd name="T12" fmla="*/ 44 w 65"/>
                          <a:gd name="T13" fmla="*/ 35 h 42"/>
                          <a:gd name="T14" fmla="*/ 34 w 65"/>
                          <a:gd name="T15" fmla="*/ 35 h 42"/>
                          <a:gd name="T16" fmla="*/ 29 w 65"/>
                          <a:gd name="T17" fmla="*/ 31 h 42"/>
                          <a:gd name="T18" fmla="*/ 16 w 65"/>
                          <a:gd name="T19" fmla="*/ 36 h 42"/>
                          <a:gd name="T20" fmla="*/ 6 w 65"/>
                          <a:gd name="T21" fmla="*/ 30 h 42"/>
                          <a:gd name="T22" fmla="*/ 8 w 65"/>
                          <a:gd name="T23" fmla="*/ 25 h 42"/>
                          <a:gd name="T24" fmla="*/ 19 w 65"/>
                          <a:gd name="T25" fmla="*/ 27 h 42"/>
                          <a:gd name="T26" fmla="*/ 26 w 65"/>
                          <a:gd name="T27" fmla="*/ 27 h 42"/>
                          <a:gd name="T28" fmla="*/ 25 w 65"/>
                          <a:gd name="T29" fmla="*/ 23 h 42"/>
                          <a:gd name="T30" fmla="*/ 28 w 65"/>
                          <a:gd name="T31" fmla="*/ 20 h 42"/>
                          <a:gd name="T32" fmla="*/ 18 w 65"/>
                          <a:gd name="T33" fmla="*/ 19 h 42"/>
                          <a:gd name="T34" fmla="*/ 20 w 65"/>
                          <a:gd name="T35" fmla="*/ 15 h 42"/>
                          <a:gd name="T36" fmla="*/ 16 w 65"/>
                          <a:gd name="T37" fmla="*/ 15 h 42"/>
                          <a:gd name="T38" fmla="*/ 10 w 65"/>
                          <a:gd name="T39" fmla="*/ 19 h 42"/>
                          <a:gd name="T40" fmla="*/ 11 w 65"/>
                          <a:gd name="T41" fmla="*/ 13 h 42"/>
                          <a:gd name="T42" fmla="*/ 10 w 65"/>
                          <a:gd name="T43" fmla="*/ 12 h 42"/>
                          <a:gd name="T44" fmla="*/ 5 w 65"/>
                          <a:gd name="T45" fmla="*/ 15 h 42"/>
                          <a:gd name="T46" fmla="*/ 0 w 65"/>
                          <a:gd name="T47" fmla="*/ 8 h 42"/>
                          <a:gd name="T48" fmla="*/ 6 w 65"/>
                          <a:gd name="T49" fmla="*/ 5 h 42"/>
                          <a:gd name="T50" fmla="*/ 6 w 65"/>
                          <a:gd name="T51" fmla="*/ 1 h 42"/>
                          <a:gd name="T52" fmla="*/ 13 w 65"/>
                          <a:gd name="T53" fmla="*/ 5 h 42"/>
                          <a:gd name="T54" fmla="*/ 24 w 65"/>
                          <a:gd name="T55" fmla="*/ 0 h 42"/>
                          <a:gd name="T56" fmla="*/ 35 w 65"/>
                          <a:gd name="T57" fmla="*/ 2 h 42"/>
                          <a:gd name="T58" fmla="*/ 38 w 65"/>
                          <a:gd name="T59" fmla="*/ 11 h 42"/>
                          <a:gd name="T60" fmla="*/ 40 w 65"/>
                          <a:gd name="T61" fmla="*/ 14 h 42"/>
                          <a:gd name="T62" fmla="*/ 48 w 65"/>
                          <a:gd name="T63" fmla="*/ 11 h 42"/>
                          <a:gd name="T64" fmla="*/ 56 w 65"/>
                          <a:gd name="T65" fmla="*/ 17 h 42"/>
                          <a:gd name="T66" fmla="*/ 56 w 65"/>
                          <a:gd name="T67" fmla="*/ 20 h 42"/>
                          <a:gd name="T68" fmla="*/ 66 w 65"/>
                          <a:gd name="T69" fmla="*/ 19 h 42"/>
                          <a:gd name="T70" fmla="*/ 71 w 65"/>
                          <a:gd name="T71" fmla="*/ 26 h 42"/>
                          <a:gd name="T72" fmla="*/ 68 w 65"/>
                          <a:gd name="T73" fmla="*/ 33 h 42"/>
                          <a:gd name="T74" fmla="*/ 0 60000 65536"/>
                          <a:gd name="T75" fmla="*/ 0 60000 65536"/>
                          <a:gd name="T76" fmla="*/ 0 60000 65536"/>
                          <a:gd name="T77" fmla="*/ 0 60000 65536"/>
                          <a:gd name="T78" fmla="*/ 0 60000 65536"/>
                          <a:gd name="T79" fmla="*/ 0 60000 65536"/>
                          <a:gd name="T80" fmla="*/ 0 60000 65536"/>
                          <a:gd name="T81" fmla="*/ 0 60000 65536"/>
                          <a:gd name="T82" fmla="*/ 0 60000 65536"/>
                          <a:gd name="T83" fmla="*/ 0 60000 65536"/>
                          <a:gd name="T84" fmla="*/ 0 60000 65536"/>
                          <a:gd name="T85" fmla="*/ 0 60000 65536"/>
                          <a:gd name="T86" fmla="*/ 0 60000 65536"/>
                          <a:gd name="T87" fmla="*/ 0 60000 65536"/>
                          <a:gd name="T88" fmla="*/ 0 60000 65536"/>
                          <a:gd name="T89" fmla="*/ 0 60000 65536"/>
                          <a:gd name="T90" fmla="*/ 0 60000 65536"/>
                          <a:gd name="T91" fmla="*/ 0 60000 65536"/>
                          <a:gd name="T92" fmla="*/ 0 60000 65536"/>
                          <a:gd name="T93" fmla="*/ 0 60000 65536"/>
                          <a:gd name="T94" fmla="*/ 0 60000 65536"/>
                          <a:gd name="T95" fmla="*/ 0 60000 65536"/>
                          <a:gd name="T96" fmla="*/ 0 60000 65536"/>
                          <a:gd name="T97" fmla="*/ 0 60000 65536"/>
                          <a:gd name="T98" fmla="*/ 0 60000 65536"/>
                          <a:gd name="T99" fmla="*/ 0 60000 65536"/>
                          <a:gd name="T100" fmla="*/ 0 60000 65536"/>
                          <a:gd name="T101" fmla="*/ 0 60000 65536"/>
                          <a:gd name="T102" fmla="*/ 0 60000 65536"/>
                          <a:gd name="T103" fmla="*/ 0 60000 65536"/>
                          <a:gd name="T104" fmla="*/ 0 60000 65536"/>
                          <a:gd name="T105" fmla="*/ 0 60000 65536"/>
                          <a:gd name="T106" fmla="*/ 0 60000 65536"/>
                          <a:gd name="T107" fmla="*/ 0 60000 65536"/>
                          <a:gd name="T108" fmla="*/ 0 60000 65536"/>
                          <a:gd name="T109" fmla="*/ 0 60000 65536"/>
                          <a:gd name="T110" fmla="*/ 0 60000 65536"/>
                          <a:gd name="T111" fmla="*/ 0 w 65"/>
                          <a:gd name="T112" fmla="*/ 0 h 42"/>
                          <a:gd name="T113" fmla="*/ 65 w 65"/>
                          <a:gd name="T114" fmla="*/ 42 h 42"/>
                        </a:gdLst>
                        <a:ahLst/>
                        <a:cxnLst>
                          <a:cxn ang="T74">
                            <a:pos x="T0" y="T1"/>
                          </a:cxn>
                          <a:cxn ang="T75">
                            <a:pos x="T2" y="T3"/>
                          </a:cxn>
                          <a:cxn ang="T76">
                            <a:pos x="T4" y="T5"/>
                          </a:cxn>
                          <a:cxn ang="T77">
                            <a:pos x="T6" y="T7"/>
                          </a:cxn>
                          <a:cxn ang="T78">
                            <a:pos x="T8" y="T9"/>
                          </a:cxn>
                          <a:cxn ang="T79">
                            <a:pos x="T10" y="T11"/>
                          </a:cxn>
                          <a:cxn ang="T80">
                            <a:pos x="T12" y="T13"/>
                          </a:cxn>
                          <a:cxn ang="T81">
                            <a:pos x="T14" y="T15"/>
                          </a:cxn>
                          <a:cxn ang="T82">
                            <a:pos x="T16" y="T17"/>
                          </a:cxn>
                          <a:cxn ang="T83">
                            <a:pos x="T18" y="T19"/>
                          </a:cxn>
                          <a:cxn ang="T84">
                            <a:pos x="T20" y="T21"/>
                          </a:cxn>
                          <a:cxn ang="T85">
                            <a:pos x="T22" y="T23"/>
                          </a:cxn>
                          <a:cxn ang="T86">
                            <a:pos x="T24" y="T25"/>
                          </a:cxn>
                          <a:cxn ang="T87">
                            <a:pos x="T26" y="T27"/>
                          </a:cxn>
                          <a:cxn ang="T88">
                            <a:pos x="T28" y="T29"/>
                          </a:cxn>
                          <a:cxn ang="T89">
                            <a:pos x="T30" y="T31"/>
                          </a:cxn>
                          <a:cxn ang="T90">
                            <a:pos x="T32" y="T33"/>
                          </a:cxn>
                          <a:cxn ang="T91">
                            <a:pos x="T34" y="T35"/>
                          </a:cxn>
                          <a:cxn ang="T92">
                            <a:pos x="T36" y="T37"/>
                          </a:cxn>
                          <a:cxn ang="T93">
                            <a:pos x="T38" y="T39"/>
                          </a:cxn>
                          <a:cxn ang="T94">
                            <a:pos x="T40" y="T41"/>
                          </a:cxn>
                          <a:cxn ang="T95">
                            <a:pos x="T42" y="T43"/>
                          </a:cxn>
                          <a:cxn ang="T96">
                            <a:pos x="T44" y="T45"/>
                          </a:cxn>
                          <a:cxn ang="T97">
                            <a:pos x="T46" y="T47"/>
                          </a:cxn>
                          <a:cxn ang="T98">
                            <a:pos x="T48" y="T49"/>
                          </a:cxn>
                          <a:cxn ang="T99">
                            <a:pos x="T50" y="T51"/>
                          </a:cxn>
                          <a:cxn ang="T100">
                            <a:pos x="T52" y="T53"/>
                          </a:cxn>
                          <a:cxn ang="T101">
                            <a:pos x="T54" y="T55"/>
                          </a:cxn>
                          <a:cxn ang="T102">
                            <a:pos x="T56" y="T57"/>
                          </a:cxn>
                          <a:cxn ang="T103">
                            <a:pos x="T58" y="T59"/>
                          </a:cxn>
                          <a:cxn ang="T104">
                            <a:pos x="T60" y="T61"/>
                          </a:cxn>
                          <a:cxn ang="T105">
                            <a:pos x="T62" y="T63"/>
                          </a:cxn>
                          <a:cxn ang="T106">
                            <a:pos x="T64" y="T65"/>
                          </a:cxn>
                          <a:cxn ang="T107">
                            <a:pos x="T66" y="T67"/>
                          </a:cxn>
                          <a:cxn ang="T108">
                            <a:pos x="T68" y="T69"/>
                          </a:cxn>
                          <a:cxn ang="T109">
                            <a:pos x="T70" y="T71"/>
                          </a:cxn>
                          <a:cxn ang="T110">
                            <a:pos x="T72" y="T73"/>
                          </a:cxn>
                        </a:cxnLst>
                        <a:rect l="T111" t="T112" r="T113" b="T114"/>
                        <a:pathLst>
                          <a:path w="65" h="42">
                            <a:moveTo>
                              <a:pt x="57" y="28"/>
                            </a:moveTo>
                            <a:cubicBezTo>
                              <a:pt x="59" y="30"/>
                              <a:pt x="63" y="30"/>
                              <a:pt x="64" y="33"/>
                            </a:cubicBezTo>
                            <a:cubicBezTo>
                              <a:pt x="65" y="35"/>
                              <a:pt x="63" y="38"/>
                              <a:pt x="61" y="38"/>
                            </a:cubicBezTo>
                            <a:cubicBezTo>
                              <a:pt x="58" y="38"/>
                              <a:pt x="54" y="39"/>
                              <a:pt x="52" y="41"/>
                            </a:cubicBezTo>
                            <a:cubicBezTo>
                              <a:pt x="50" y="42"/>
                              <a:pt x="48" y="38"/>
                              <a:pt x="47" y="37"/>
                            </a:cubicBezTo>
                            <a:cubicBezTo>
                              <a:pt x="45" y="35"/>
                              <a:pt x="45" y="31"/>
                              <a:pt x="43" y="30"/>
                            </a:cubicBezTo>
                            <a:cubicBezTo>
                              <a:pt x="42" y="28"/>
                              <a:pt x="39" y="29"/>
                              <a:pt x="37" y="29"/>
                            </a:cubicBezTo>
                            <a:cubicBezTo>
                              <a:pt x="34" y="29"/>
                              <a:pt x="31" y="29"/>
                              <a:pt x="28" y="29"/>
                            </a:cubicBezTo>
                            <a:cubicBezTo>
                              <a:pt x="26" y="28"/>
                              <a:pt x="26" y="26"/>
                              <a:pt x="24" y="26"/>
                            </a:cubicBezTo>
                            <a:cubicBezTo>
                              <a:pt x="20" y="27"/>
                              <a:pt x="17" y="30"/>
                              <a:pt x="13" y="30"/>
                            </a:cubicBezTo>
                            <a:cubicBezTo>
                              <a:pt x="10" y="30"/>
                              <a:pt x="7" y="27"/>
                              <a:pt x="5" y="25"/>
                            </a:cubicBezTo>
                            <a:cubicBezTo>
                              <a:pt x="4" y="24"/>
                              <a:pt x="5" y="21"/>
                              <a:pt x="7" y="21"/>
                            </a:cubicBezTo>
                            <a:cubicBezTo>
                              <a:pt x="10" y="21"/>
                              <a:pt x="13" y="23"/>
                              <a:pt x="16" y="23"/>
                            </a:cubicBezTo>
                            <a:cubicBezTo>
                              <a:pt x="18" y="24"/>
                              <a:pt x="20" y="24"/>
                              <a:pt x="22" y="23"/>
                            </a:cubicBezTo>
                            <a:cubicBezTo>
                              <a:pt x="23" y="22"/>
                              <a:pt x="21" y="20"/>
                              <a:pt x="21" y="19"/>
                            </a:cubicBezTo>
                            <a:cubicBezTo>
                              <a:pt x="21" y="18"/>
                              <a:pt x="24" y="17"/>
                              <a:pt x="23" y="17"/>
                            </a:cubicBezTo>
                            <a:cubicBezTo>
                              <a:pt x="20" y="16"/>
                              <a:pt x="17" y="18"/>
                              <a:pt x="15" y="16"/>
                            </a:cubicBezTo>
                            <a:cubicBezTo>
                              <a:pt x="14" y="15"/>
                              <a:pt x="17" y="14"/>
                              <a:pt x="17" y="13"/>
                            </a:cubicBezTo>
                            <a:cubicBezTo>
                              <a:pt x="17" y="12"/>
                              <a:pt x="15" y="12"/>
                              <a:pt x="13" y="13"/>
                            </a:cubicBezTo>
                            <a:cubicBezTo>
                              <a:pt x="11" y="14"/>
                              <a:pt x="10" y="17"/>
                              <a:pt x="8" y="16"/>
                            </a:cubicBezTo>
                            <a:cubicBezTo>
                              <a:pt x="6" y="16"/>
                              <a:pt x="9" y="13"/>
                              <a:pt x="9" y="11"/>
                            </a:cubicBezTo>
                            <a:cubicBezTo>
                              <a:pt x="9" y="10"/>
                              <a:pt x="9" y="9"/>
                              <a:pt x="8" y="10"/>
                            </a:cubicBezTo>
                            <a:cubicBezTo>
                              <a:pt x="6" y="10"/>
                              <a:pt x="5" y="13"/>
                              <a:pt x="4" y="13"/>
                            </a:cubicBezTo>
                            <a:cubicBezTo>
                              <a:pt x="2" y="12"/>
                              <a:pt x="0" y="9"/>
                              <a:pt x="0" y="7"/>
                            </a:cubicBezTo>
                            <a:cubicBezTo>
                              <a:pt x="1" y="5"/>
                              <a:pt x="4" y="6"/>
                              <a:pt x="5" y="4"/>
                            </a:cubicBezTo>
                            <a:cubicBezTo>
                              <a:pt x="6" y="3"/>
                              <a:pt x="4" y="1"/>
                              <a:pt x="5" y="1"/>
                            </a:cubicBezTo>
                            <a:cubicBezTo>
                              <a:pt x="7" y="1"/>
                              <a:pt x="8" y="4"/>
                              <a:pt x="11" y="4"/>
                            </a:cubicBezTo>
                            <a:cubicBezTo>
                              <a:pt x="14" y="4"/>
                              <a:pt x="17" y="0"/>
                              <a:pt x="20" y="0"/>
                            </a:cubicBezTo>
                            <a:cubicBezTo>
                              <a:pt x="23" y="0"/>
                              <a:pt x="26" y="0"/>
                              <a:pt x="29" y="2"/>
                            </a:cubicBezTo>
                            <a:cubicBezTo>
                              <a:pt x="31" y="4"/>
                              <a:pt x="31" y="6"/>
                              <a:pt x="32" y="9"/>
                            </a:cubicBezTo>
                            <a:cubicBezTo>
                              <a:pt x="33" y="10"/>
                              <a:pt x="32" y="12"/>
                              <a:pt x="33" y="12"/>
                            </a:cubicBezTo>
                            <a:cubicBezTo>
                              <a:pt x="35" y="12"/>
                              <a:pt x="38" y="9"/>
                              <a:pt x="40" y="9"/>
                            </a:cubicBezTo>
                            <a:cubicBezTo>
                              <a:pt x="43" y="9"/>
                              <a:pt x="45" y="12"/>
                              <a:pt x="47" y="14"/>
                            </a:cubicBezTo>
                            <a:cubicBezTo>
                              <a:pt x="48" y="15"/>
                              <a:pt x="47" y="16"/>
                              <a:pt x="47" y="17"/>
                            </a:cubicBezTo>
                            <a:cubicBezTo>
                              <a:pt x="50" y="17"/>
                              <a:pt x="53" y="15"/>
                              <a:pt x="55" y="16"/>
                            </a:cubicBezTo>
                            <a:cubicBezTo>
                              <a:pt x="57" y="17"/>
                              <a:pt x="58" y="20"/>
                              <a:pt x="59" y="22"/>
                            </a:cubicBezTo>
                            <a:cubicBezTo>
                              <a:pt x="59" y="24"/>
                              <a:pt x="56" y="26"/>
                              <a:pt x="57" y="28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85" name="Freeform 3590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860444" y="1538178"/>
                        <a:ext cx="20133" cy="13290"/>
                      </a:xfrm>
                      <a:custGeom>
                        <a:avLst/>
                        <a:gdLst>
                          <a:gd name="T0" fmla="*/ 6 w 15"/>
                          <a:gd name="T1" fmla="*/ 1 h 13"/>
                          <a:gd name="T2" fmla="*/ 1 w 15"/>
                          <a:gd name="T3" fmla="*/ 10 h 13"/>
                          <a:gd name="T4" fmla="*/ 8 w 15"/>
                          <a:gd name="T5" fmla="*/ 12 h 13"/>
                          <a:gd name="T6" fmla="*/ 12 w 15"/>
                          <a:gd name="T7" fmla="*/ 16 h 13"/>
                          <a:gd name="T8" fmla="*/ 16 w 15"/>
                          <a:gd name="T9" fmla="*/ 12 h 13"/>
                          <a:gd name="T10" fmla="*/ 16 w 15"/>
                          <a:gd name="T11" fmla="*/ 4 h 13"/>
                          <a:gd name="T12" fmla="*/ 10 w 15"/>
                          <a:gd name="T13" fmla="*/ 4 h 13"/>
                          <a:gd name="T14" fmla="*/ 6 w 15"/>
                          <a:gd name="T15" fmla="*/ 1 h 13"/>
                          <a:gd name="T16" fmla="*/ 0 60000 65536"/>
                          <a:gd name="T17" fmla="*/ 0 60000 65536"/>
                          <a:gd name="T18" fmla="*/ 0 60000 65536"/>
                          <a:gd name="T19" fmla="*/ 0 60000 65536"/>
                          <a:gd name="T20" fmla="*/ 0 60000 65536"/>
                          <a:gd name="T21" fmla="*/ 0 60000 65536"/>
                          <a:gd name="T22" fmla="*/ 0 60000 65536"/>
                          <a:gd name="T23" fmla="*/ 0 60000 65536"/>
                          <a:gd name="T24" fmla="*/ 0 w 15"/>
                          <a:gd name="T25" fmla="*/ 0 h 13"/>
                          <a:gd name="T26" fmla="*/ 15 w 15"/>
                          <a:gd name="T27" fmla="*/ 13 h 13"/>
                        </a:gdLst>
                        <a:ahLst/>
                        <a:cxnLst>
                          <a:cxn ang="T16">
                            <a:pos x="T0" y="T1"/>
                          </a:cxn>
                          <a:cxn ang="T17">
                            <a:pos x="T2" y="T3"/>
                          </a:cxn>
                          <a:cxn ang="T18">
                            <a:pos x="T4" y="T5"/>
                          </a:cxn>
                          <a:cxn ang="T19">
                            <a:pos x="T6" y="T7"/>
                          </a:cxn>
                          <a:cxn ang="T20">
                            <a:pos x="T8" y="T9"/>
                          </a:cxn>
                          <a:cxn ang="T21">
                            <a:pos x="T10" y="T11"/>
                          </a:cxn>
                          <a:cxn ang="T22">
                            <a:pos x="T12" y="T13"/>
                          </a:cxn>
                          <a:cxn ang="T23">
                            <a:pos x="T14" y="T15"/>
                          </a:cxn>
                        </a:cxnLst>
                        <a:rect l="T24" t="T25" r="T26" b="T27"/>
                        <a:pathLst>
                          <a:path w="15" h="13">
                            <a:moveTo>
                              <a:pt x="5" y="1"/>
                            </a:moveTo>
                            <a:cubicBezTo>
                              <a:pt x="2" y="2"/>
                              <a:pt x="0" y="5"/>
                              <a:pt x="1" y="8"/>
                            </a:cubicBezTo>
                            <a:cubicBezTo>
                              <a:pt x="1" y="10"/>
                              <a:pt x="5" y="9"/>
                              <a:pt x="7" y="10"/>
                            </a:cubicBezTo>
                            <a:cubicBezTo>
                              <a:pt x="8" y="11"/>
                              <a:pt x="9" y="13"/>
                              <a:pt x="10" y="13"/>
                            </a:cubicBezTo>
                            <a:cubicBezTo>
                              <a:pt x="12" y="13"/>
                              <a:pt x="13" y="11"/>
                              <a:pt x="13" y="10"/>
                            </a:cubicBezTo>
                            <a:cubicBezTo>
                              <a:pt x="14" y="8"/>
                              <a:pt x="15" y="5"/>
                              <a:pt x="13" y="3"/>
                            </a:cubicBezTo>
                            <a:cubicBezTo>
                              <a:pt x="12" y="2"/>
                              <a:pt x="10" y="4"/>
                              <a:pt x="8" y="3"/>
                            </a:cubicBezTo>
                            <a:cubicBezTo>
                              <a:pt x="7" y="3"/>
                              <a:pt x="6" y="0"/>
                              <a:pt x="5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86" name="Freeform 3591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866037" y="1568913"/>
                        <a:ext cx="46977" cy="29073"/>
                      </a:xfrm>
                      <a:custGeom>
                        <a:avLst/>
                        <a:gdLst>
                          <a:gd name="T0" fmla="*/ 6 w 35"/>
                          <a:gd name="T1" fmla="*/ 0 h 29"/>
                          <a:gd name="T2" fmla="*/ 22 w 35"/>
                          <a:gd name="T3" fmla="*/ 5 h 29"/>
                          <a:gd name="T4" fmla="*/ 28 w 35"/>
                          <a:gd name="T5" fmla="*/ 8 h 29"/>
                          <a:gd name="T6" fmla="*/ 34 w 35"/>
                          <a:gd name="T7" fmla="*/ 11 h 29"/>
                          <a:gd name="T8" fmla="*/ 41 w 35"/>
                          <a:gd name="T9" fmla="*/ 16 h 29"/>
                          <a:gd name="T10" fmla="*/ 36 w 35"/>
                          <a:gd name="T11" fmla="*/ 21 h 29"/>
                          <a:gd name="T12" fmla="*/ 37 w 35"/>
                          <a:gd name="T13" fmla="*/ 28 h 29"/>
                          <a:gd name="T14" fmla="*/ 24 w 35"/>
                          <a:gd name="T15" fmla="*/ 33 h 29"/>
                          <a:gd name="T16" fmla="*/ 18 w 35"/>
                          <a:gd name="T17" fmla="*/ 30 h 29"/>
                          <a:gd name="T18" fmla="*/ 10 w 35"/>
                          <a:gd name="T19" fmla="*/ 35 h 29"/>
                          <a:gd name="T20" fmla="*/ 8 w 35"/>
                          <a:gd name="T21" fmla="*/ 29 h 29"/>
                          <a:gd name="T22" fmla="*/ 4 w 35"/>
                          <a:gd name="T23" fmla="*/ 24 h 29"/>
                          <a:gd name="T24" fmla="*/ 0 w 35"/>
                          <a:gd name="T25" fmla="*/ 12 h 29"/>
                          <a:gd name="T26" fmla="*/ 2 w 35"/>
                          <a:gd name="T27" fmla="*/ 2 h 29"/>
                          <a:gd name="T28" fmla="*/ 6 w 35"/>
                          <a:gd name="T29" fmla="*/ 0 h 29"/>
                          <a:gd name="T30" fmla="*/ 0 60000 65536"/>
                          <a:gd name="T31" fmla="*/ 0 60000 65536"/>
                          <a:gd name="T32" fmla="*/ 0 60000 65536"/>
                          <a:gd name="T33" fmla="*/ 0 60000 65536"/>
                          <a:gd name="T34" fmla="*/ 0 60000 65536"/>
                          <a:gd name="T35" fmla="*/ 0 60000 65536"/>
                          <a:gd name="T36" fmla="*/ 0 60000 65536"/>
                          <a:gd name="T37" fmla="*/ 0 60000 65536"/>
                          <a:gd name="T38" fmla="*/ 0 60000 65536"/>
                          <a:gd name="T39" fmla="*/ 0 60000 65536"/>
                          <a:gd name="T40" fmla="*/ 0 60000 65536"/>
                          <a:gd name="T41" fmla="*/ 0 60000 65536"/>
                          <a:gd name="T42" fmla="*/ 0 60000 65536"/>
                          <a:gd name="T43" fmla="*/ 0 60000 65536"/>
                          <a:gd name="T44" fmla="*/ 0 60000 65536"/>
                          <a:gd name="T45" fmla="*/ 0 w 35"/>
                          <a:gd name="T46" fmla="*/ 0 h 29"/>
                          <a:gd name="T47" fmla="*/ 35 w 35"/>
                          <a:gd name="T48" fmla="*/ 29 h 29"/>
                        </a:gdLst>
                        <a:ahLst/>
                        <a:cxnLst>
                          <a:cxn ang="T30">
                            <a:pos x="T0" y="T1"/>
                          </a:cxn>
                          <a:cxn ang="T31">
                            <a:pos x="T2" y="T3"/>
                          </a:cxn>
                          <a:cxn ang="T32">
                            <a:pos x="T4" y="T5"/>
                          </a:cxn>
                          <a:cxn ang="T33">
                            <a:pos x="T6" y="T7"/>
                          </a:cxn>
                          <a:cxn ang="T34">
                            <a:pos x="T8" y="T9"/>
                          </a:cxn>
                          <a:cxn ang="T35">
                            <a:pos x="T10" y="T11"/>
                          </a:cxn>
                          <a:cxn ang="T36">
                            <a:pos x="T12" y="T13"/>
                          </a:cxn>
                          <a:cxn ang="T37">
                            <a:pos x="T14" y="T15"/>
                          </a:cxn>
                          <a:cxn ang="T38">
                            <a:pos x="T16" y="T17"/>
                          </a:cxn>
                          <a:cxn ang="T39">
                            <a:pos x="T18" y="T19"/>
                          </a:cxn>
                          <a:cxn ang="T40">
                            <a:pos x="T20" y="T21"/>
                          </a:cxn>
                          <a:cxn ang="T41">
                            <a:pos x="T22" y="T23"/>
                          </a:cxn>
                          <a:cxn ang="T42">
                            <a:pos x="T24" y="T25"/>
                          </a:cxn>
                          <a:cxn ang="T43">
                            <a:pos x="T26" y="T27"/>
                          </a:cxn>
                          <a:cxn ang="T44">
                            <a:pos x="T28" y="T29"/>
                          </a:cxn>
                        </a:cxnLst>
                        <a:rect l="T45" t="T46" r="T47" b="T48"/>
                        <a:pathLst>
                          <a:path w="35" h="29">
                            <a:moveTo>
                              <a:pt x="5" y="0"/>
                            </a:moveTo>
                            <a:cubicBezTo>
                              <a:pt x="10" y="0"/>
                              <a:pt x="14" y="2"/>
                              <a:pt x="18" y="4"/>
                            </a:cubicBezTo>
                            <a:cubicBezTo>
                              <a:pt x="20" y="5"/>
                              <a:pt x="21" y="6"/>
                              <a:pt x="23" y="7"/>
                            </a:cubicBezTo>
                            <a:cubicBezTo>
                              <a:pt x="25" y="8"/>
                              <a:pt x="26" y="9"/>
                              <a:pt x="28" y="9"/>
                            </a:cubicBezTo>
                            <a:cubicBezTo>
                              <a:pt x="30" y="10"/>
                              <a:pt x="33" y="10"/>
                              <a:pt x="34" y="13"/>
                            </a:cubicBezTo>
                            <a:cubicBezTo>
                              <a:pt x="35" y="14"/>
                              <a:pt x="31" y="15"/>
                              <a:pt x="30" y="17"/>
                            </a:cubicBezTo>
                            <a:cubicBezTo>
                              <a:pt x="30" y="19"/>
                              <a:pt x="32" y="22"/>
                              <a:pt x="31" y="23"/>
                            </a:cubicBezTo>
                            <a:cubicBezTo>
                              <a:pt x="28" y="26"/>
                              <a:pt x="24" y="26"/>
                              <a:pt x="20" y="27"/>
                            </a:cubicBezTo>
                            <a:cubicBezTo>
                              <a:pt x="18" y="27"/>
                              <a:pt x="16" y="25"/>
                              <a:pt x="15" y="25"/>
                            </a:cubicBezTo>
                            <a:cubicBezTo>
                              <a:pt x="12" y="26"/>
                              <a:pt x="11" y="29"/>
                              <a:pt x="8" y="29"/>
                            </a:cubicBezTo>
                            <a:cubicBezTo>
                              <a:pt x="7" y="29"/>
                              <a:pt x="8" y="26"/>
                              <a:pt x="7" y="24"/>
                            </a:cubicBezTo>
                            <a:cubicBezTo>
                              <a:pt x="6" y="23"/>
                              <a:pt x="4" y="22"/>
                              <a:pt x="3" y="20"/>
                            </a:cubicBezTo>
                            <a:cubicBezTo>
                              <a:pt x="1" y="17"/>
                              <a:pt x="0" y="14"/>
                              <a:pt x="0" y="10"/>
                            </a:cubicBezTo>
                            <a:cubicBezTo>
                              <a:pt x="0" y="8"/>
                              <a:pt x="1" y="5"/>
                              <a:pt x="2" y="2"/>
                            </a:cubicBezTo>
                            <a:cubicBezTo>
                              <a:pt x="2" y="1"/>
                              <a:pt x="4" y="0"/>
                              <a:pt x="5" y="0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87" name="Freeform 3592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886169" y="1598817"/>
                        <a:ext cx="46977" cy="9137"/>
                      </a:xfrm>
                      <a:custGeom>
                        <a:avLst/>
                        <a:gdLst>
                          <a:gd name="T0" fmla="*/ 11 w 35"/>
                          <a:gd name="T1" fmla="*/ 0 h 9"/>
                          <a:gd name="T2" fmla="*/ 1 w 35"/>
                          <a:gd name="T3" fmla="*/ 2 h 9"/>
                          <a:gd name="T4" fmla="*/ 2 w 35"/>
                          <a:gd name="T5" fmla="*/ 9 h 9"/>
                          <a:gd name="T6" fmla="*/ 22 w 35"/>
                          <a:gd name="T7" fmla="*/ 9 h 9"/>
                          <a:gd name="T8" fmla="*/ 35 w 35"/>
                          <a:gd name="T9" fmla="*/ 10 h 9"/>
                          <a:gd name="T10" fmla="*/ 38 w 35"/>
                          <a:gd name="T11" fmla="*/ 5 h 9"/>
                          <a:gd name="T12" fmla="*/ 41 w 35"/>
                          <a:gd name="T13" fmla="*/ 2 h 9"/>
                          <a:gd name="T14" fmla="*/ 36 w 35"/>
                          <a:gd name="T15" fmla="*/ 0 h 9"/>
                          <a:gd name="T16" fmla="*/ 30 w 35"/>
                          <a:gd name="T17" fmla="*/ 1 h 9"/>
                          <a:gd name="T18" fmla="*/ 16 w 35"/>
                          <a:gd name="T19" fmla="*/ 0 h 9"/>
                          <a:gd name="T20" fmla="*/ 11 w 35"/>
                          <a:gd name="T21" fmla="*/ 0 h 9"/>
                          <a:gd name="T22" fmla="*/ 0 60000 65536"/>
                          <a:gd name="T23" fmla="*/ 0 60000 65536"/>
                          <a:gd name="T24" fmla="*/ 0 60000 65536"/>
                          <a:gd name="T25" fmla="*/ 0 60000 65536"/>
                          <a:gd name="T26" fmla="*/ 0 60000 65536"/>
                          <a:gd name="T27" fmla="*/ 0 60000 65536"/>
                          <a:gd name="T28" fmla="*/ 0 60000 65536"/>
                          <a:gd name="T29" fmla="*/ 0 60000 65536"/>
                          <a:gd name="T30" fmla="*/ 0 60000 65536"/>
                          <a:gd name="T31" fmla="*/ 0 60000 65536"/>
                          <a:gd name="T32" fmla="*/ 0 60000 65536"/>
                          <a:gd name="T33" fmla="*/ 0 w 35"/>
                          <a:gd name="T34" fmla="*/ 0 h 9"/>
                          <a:gd name="T35" fmla="*/ 35 w 35"/>
                          <a:gd name="T36" fmla="*/ 9 h 9"/>
                        </a:gdLst>
                        <a:ahLst/>
                        <a:cxnLst>
                          <a:cxn ang="T22">
                            <a:pos x="T0" y="T1"/>
                          </a:cxn>
                          <a:cxn ang="T23">
                            <a:pos x="T2" y="T3"/>
                          </a:cxn>
                          <a:cxn ang="T24">
                            <a:pos x="T4" y="T5"/>
                          </a:cxn>
                          <a:cxn ang="T25">
                            <a:pos x="T6" y="T7"/>
                          </a:cxn>
                          <a:cxn ang="T26">
                            <a:pos x="T8" y="T9"/>
                          </a:cxn>
                          <a:cxn ang="T27">
                            <a:pos x="T10" y="T11"/>
                          </a:cxn>
                          <a:cxn ang="T28">
                            <a:pos x="T12" y="T13"/>
                          </a:cxn>
                          <a:cxn ang="T29">
                            <a:pos x="T14" y="T15"/>
                          </a:cxn>
                          <a:cxn ang="T30">
                            <a:pos x="T16" y="T17"/>
                          </a:cxn>
                          <a:cxn ang="T31">
                            <a:pos x="T18" y="T19"/>
                          </a:cxn>
                          <a:cxn ang="T32">
                            <a:pos x="T20" y="T21"/>
                          </a:cxn>
                        </a:cxnLst>
                        <a:rect l="T33" t="T34" r="T35" b="T36"/>
                        <a:pathLst>
                          <a:path w="35" h="9">
                            <a:moveTo>
                              <a:pt x="9" y="0"/>
                            </a:moveTo>
                            <a:cubicBezTo>
                              <a:pt x="6" y="0"/>
                              <a:pt x="3" y="0"/>
                              <a:pt x="1" y="2"/>
                            </a:cubicBezTo>
                            <a:cubicBezTo>
                              <a:pt x="0" y="3"/>
                              <a:pt x="0" y="6"/>
                              <a:pt x="2" y="7"/>
                            </a:cubicBezTo>
                            <a:cubicBezTo>
                              <a:pt x="7" y="8"/>
                              <a:pt x="13" y="7"/>
                              <a:pt x="18" y="7"/>
                            </a:cubicBezTo>
                            <a:cubicBezTo>
                              <a:pt x="22" y="7"/>
                              <a:pt x="25" y="9"/>
                              <a:pt x="29" y="8"/>
                            </a:cubicBezTo>
                            <a:cubicBezTo>
                              <a:pt x="30" y="7"/>
                              <a:pt x="31" y="5"/>
                              <a:pt x="32" y="4"/>
                            </a:cubicBezTo>
                            <a:cubicBezTo>
                              <a:pt x="33" y="3"/>
                              <a:pt x="35" y="3"/>
                              <a:pt x="34" y="2"/>
                            </a:cubicBezTo>
                            <a:cubicBezTo>
                              <a:pt x="34" y="0"/>
                              <a:pt x="32" y="0"/>
                              <a:pt x="30" y="0"/>
                            </a:cubicBezTo>
                            <a:cubicBezTo>
                              <a:pt x="28" y="0"/>
                              <a:pt x="27" y="1"/>
                              <a:pt x="25" y="1"/>
                            </a:cubicBezTo>
                            <a:cubicBezTo>
                              <a:pt x="21" y="1"/>
                              <a:pt x="17" y="0"/>
                              <a:pt x="13" y="0"/>
                            </a:cubicBezTo>
                            <a:cubicBezTo>
                              <a:pt x="11" y="0"/>
                              <a:pt x="10" y="0"/>
                              <a:pt x="9" y="0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88" name="Freeform 3593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959990" y="1601309"/>
                        <a:ext cx="16778" cy="9137"/>
                      </a:xfrm>
                      <a:custGeom>
                        <a:avLst/>
                        <a:gdLst>
                          <a:gd name="T0" fmla="*/ 4 w 12"/>
                          <a:gd name="T1" fmla="*/ 1 h 9"/>
                          <a:gd name="T2" fmla="*/ 0 w 12"/>
                          <a:gd name="T3" fmla="*/ 5 h 9"/>
                          <a:gd name="T4" fmla="*/ 5 w 12"/>
                          <a:gd name="T5" fmla="*/ 10 h 9"/>
                          <a:gd name="T6" fmla="*/ 11 w 12"/>
                          <a:gd name="T7" fmla="*/ 10 h 9"/>
                          <a:gd name="T8" fmla="*/ 14 w 12"/>
                          <a:gd name="T9" fmla="*/ 4 h 9"/>
                          <a:gd name="T10" fmla="*/ 8 w 12"/>
                          <a:gd name="T11" fmla="*/ 2 h 9"/>
                          <a:gd name="T12" fmla="*/ 4 w 12"/>
                          <a:gd name="T13" fmla="*/ 1 h 9"/>
                          <a:gd name="T14" fmla="*/ 0 60000 65536"/>
                          <a:gd name="T15" fmla="*/ 0 60000 65536"/>
                          <a:gd name="T16" fmla="*/ 0 60000 65536"/>
                          <a:gd name="T17" fmla="*/ 0 60000 65536"/>
                          <a:gd name="T18" fmla="*/ 0 60000 65536"/>
                          <a:gd name="T19" fmla="*/ 0 60000 65536"/>
                          <a:gd name="T20" fmla="*/ 0 60000 65536"/>
                          <a:gd name="T21" fmla="*/ 0 w 12"/>
                          <a:gd name="T22" fmla="*/ 0 h 9"/>
                          <a:gd name="T23" fmla="*/ 12 w 12"/>
                          <a:gd name="T24" fmla="*/ 9 h 9"/>
                        </a:gdLst>
                        <a:ahLst/>
                        <a:cxnLst>
                          <a:cxn ang="T14">
                            <a:pos x="T0" y="T1"/>
                          </a:cxn>
                          <a:cxn ang="T15">
                            <a:pos x="T2" y="T3"/>
                          </a:cxn>
                          <a:cxn ang="T16">
                            <a:pos x="T4" y="T5"/>
                          </a:cxn>
                          <a:cxn ang="T17">
                            <a:pos x="T6" y="T7"/>
                          </a:cxn>
                          <a:cxn ang="T18">
                            <a:pos x="T8" y="T9"/>
                          </a:cxn>
                          <a:cxn ang="T19">
                            <a:pos x="T10" y="T11"/>
                          </a:cxn>
                          <a:cxn ang="T20">
                            <a:pos x="T12" y="T13"/>
                          </a:cxn>
                        </a:cxnLst>
                        <a:rect l="T21" t="T22" r="T23" b="T24"/>
                        <a:pathLst>
                          <a:path w="12" h="9">
                            <a:moveTo>
                              <a:pt x="3" y="1"/>
                            </a:moveTo>
                            <a:cubicBezTo>
                              <a:pt x="2" y="1"/>
                              <a:pt x="0" y="3"/>
                              <a:pt x="0" y="4"/>
                            </a:cubicBezTo>
                            <a:cubicBezTo>
                              <a:pt x="0" y="6"/>
                              <a:pt x="2" y="8"/>
                              <a:pt x="4" y="8"/>
                            </a:cubicBezTo>
                            <a:cubicBezTo>
                              <a:pt x="5" y="9"/>
                              <a:pt x="8" y="9"/>
                              <a:pt x="9" y="8"/>
                            </a:cubicBezTo>
                            <a:cubicBezTo>
                              <a:pt x="11" y="7"/>
                              <a:pt x="12" y="5"/>
                              <a:pt x="11" y="3"/>
                            </a:cubicBezTo>
                            <a:cubicBezTo>
                              <a:pt x="10" y="2"/>
                              <a:pt x="8" y="2"/>
                              <a:pt x="6" y="2"/>
                            </a:cubicBezTo>
                            <a:cubicBezTo>
                              <a:pt x="5" y="1"/>
                              <a:pt x="4" y="0"/>
                              <a:pt x="3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89" name="Freeform 3594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869392" y="1613769"/>
                        <a:ext cx="237120" cy="63130"/>
                      </a:xfrm>
                      <a:custGeom>
                        <a:avLst/>
                        <a:gdLst>
                          <a:gd name="T0" fmla="*/ 205 w 177"/>
                          <a:gd name="T1" fmla="*/ 42 h 63"/>
                          <a:gd name="T2" fmla="*/ 210 w 177"/>
                          <a:gd name="T3" fmla="*/ 51 h 63"/>
                          <a:gd name="T4" fmla="*/ 202 w 177"/>
                          <a:gd name="T5" fmla="*/ 59 h 63"/>
                          <a:gd name="T6" fmla="*/ 210 w 177"/>
                          <a:gd name="T7" fmla="*/ 62 h 63"/>
                          <a:gd name="T8" fmla="*/ 200 w 177"/>
                          <a:gd name="T9" fmla="*/ 62 h 63"/>
                          <a:gd name="T10" fmla="*/ 201 w 177"/>
                          <a:gd name="T11" fmla="*/ 70 h 63"/>
                          <a:gd name="T12" fmla="*/ 187 w 177"/>
                          <a:gd name="T13" fmla="*/ 69 h 63"/>
                          <a:gd name="T14" fmla="*/ 168 w 177"/>
                          <a:gd name="T15" fmla="*/ 72 h 63"/>
                          <a:gd name="T16" fmla="*/ 158 w 177"/>
                          <a:gd name="T17" fmla="*/ 71 h 63"/>
                          <a:gd name="T18" fmla="*/ 140 w 177"/>
                          <a:gd name="T19" fmla="*/ 71 h 63"/>
                          <a:gd name="T20" fmla="*/ 135 w 177"/>
                          <a:gd name="T21" fmla="*/ 71 h 63"/>
                          <a:gd name="T22" fmla="*/ 128 w 177"/>
                          <a:gd name="T23" fmla="*/ 74 h 63"/>
                          <a:gd name="T24" fmla="*/ 121 w 177"/>
                          <a:gd name="T25" fmla="*/ 72 h 63"/>
                          <a:gd name="T26" fmla="*/ 115 w 177"/>
                          <a:gd name="T27" fmla="*/ 74 h 63"/>
                          <a:gd name="T28" fmla="*/ 93 w 177"/>
                          <a:gd name="T29" fmla="*/ 63 h 63"/>
                          <a:gd name="T30" fmla="*/ 86 w 177"/>
                          <a:gd name="T31" fmla="*/ 65 h 63"/>
                          <a:gd name="T32" fmla="*/ 72 w 177"/>
                          <a:gd name="T33" fmla="*/ 70 h 63"/>
                          <a:gd name="T34" fmla="*/ 60 w 177"/>
                          <a:gd name="T35" fmla="*/ 69 h 63"/>
                          <a:gd name="T36" fmla="*/ 50 w 177"/>
                          <a:gd name="T37" fmla="*/ 55 h 63"/>
                          <a:gd name="T38" fmla="*/ 50 w 177"/>
                          <a:gd name="T39" fmla="*/ 52 h 63"/>
                          <a:gd name="T40" fmla="*/ 56 w 177"/>
                          <a:gd name="T41" fmla="*/ 41 h 63"/>
                          <a:gd name="T42" fmla="*/ 50 w 177"/>
                          <a:gd name="T43" fmla="*/ 29 h 63"/>
                          <a:gd name="T44" fmla="*/ 42 w 177"/>
                          <a:gd name="T45" fmla="*/ 24 h 63"/>
                          <a:gd name="T46" fmla="*/ 20 w 177"/>
                          <a:gd name="T47" fmla="*/ 24 h 63"/>
                          <a:gd name="T48" fmla="*/ 22 w 177"/>
                          <a:gd name="T49" fmla="*/ 19 h 63"/>
                          <a:gd name="T50" fmla="*/ 8 w 177"/>
                          <a:gd name="T51" fmla="*/ 16 h 63"/>
                          <a:gd name="T52" fmla="*/ 4 w 177"/>
                          <a:gd name="T53" fmla="*/ 13 h 63"/>
                          <a:gd name="T54" fmla="*/ 6 w 177"/>
                          <a:gd name="T55" fmla="*/ 8 h 63"/>
                          <a:gd name="T56" fmla="*/ 10 w 177"/>
                          <a:gd name="T57" fmla="*/ 1 h 63"/>
                          <a:gd name="T58" fmla="*/ 29 w 177"/>
                          <a:gd name="T59" fmla="*/ 1 h 63"/>
                          <a:gd name="T60" fmla="*/ 43 w 177"/>
                          <a:gd name="T61" fmla="*/ 4 h 63"/>
                          <a:gd name="T62" fmla="*/ 48 w 177"/>
                          <a:gd name="T63" fmla="*/ 11 h 63"/>
                          <a:gd name="T64" fmla="*/ 52 w 177"/>
                          <a:gd name="T65" fmla="*/ 12 h 63"/>
                          <a:gd name="T66" fmla="*/ 72 w 177"/>
                          <a:gd name="T67" fmla="*/ 10 h 63"/>
                          <a:gd name="T68" fmla="*/ 80 w 177"/>
                          <a:gd name="T69" fmla="*/ 18 h 63"/>
                          <a:gd name="T70" fmla="*/ 71 w 177"/>
                          <a:gd name="T71" fmla="*/ 18 h 63"/>
                          <a:gd name="T72" fmla="*/ 91 w 177"/>
                          <a:gd name="T73" fmla="*/ 21 h 63"/>
                          <a:gd name="T74" fmla="*/ 93 w 177"/>
                          <a:gd name="T75" fmla="*/ 27 h 63"/>
                          <a:gd name="T76" fmla="*/ 66 w 177"/>
                          <a:gd name="T77" fmla="*/ 21 h 63"/>
                          <a:gd name="T78" fmla="*/ 77 w 177"/>
                          <a:gd name="T79" fmla="*/ 29 h 63"/>
                          <a:gd name="T80" fmla="*/ 71 w 177"/>
                          <a:gd name="T81" fmla="*/ 35 h 63"/>
                          <a:gd name="T82" fmla="*/ 85 w 177"/>
                          <a:gd name="T83" fmla="*/ 35 h 63"/>
                          <a:gd name="T84" fmla="*/ 87 w 177"/>
                          <a:gd name="T85" fmla="*/ 41 h 63"/>
                          <a:gd name="T86" fmla="*/ 84 w 177"/>
                          <a:gd name="T87" fmla="*/ 45 h 63"/>
                          <a:gd name="T88" fmla="*/ 91 w 177"/>
                          <a:gd name="T89" fmla="*/ 48 h 63"/>
                          <a:gd name="T90" fmla="*/ 95 w 177"/>
                          <a:gd name="T91" fmla="*/ 43 h 63"/>
                          <a:gd name="T92" fmla="*/ 104 w 177"/>
                          <a:gd name="T93" fmla="*/ 46 h 63"/>
                          <a:gd name="T94" fmla="*/ 111 w 177"/>
                          <a:gd name="T95" fmla="*/ 46 h 63"/>
                          <a:gd name="T96" fmla="*/ 125 w 177"/>
                          <a:gd name="T97" fmla="*/ 47 h 63"/>
                          <a:gd name="T98" fmla="*/ 135 w 177"/>
                          <a:gd name="T99" fmla="*/ 49 h 63"/>
                          <a:gd name="T100" fmla="*/ 144 w 177"/>
                          <a:gd name="T101" fmla="*/ 41 h 63"/>
                          <a:gd name="T102" fmla="*/ 162 w 177"/>
                          <a:gd name="T103" fmla="*/ 35 h 63"/>
                          <a:gd name="T104" fmla="*/ 181 w 177"/>
                          <a:gd name="T105" fmla="*/ 34 h 63"/>
                          <a:gd name="T106" fmla="*/ 196 w 177"/>
                          <a:gd name="T107" fmla="*/ 37 h 63"/>
                          <a:gd name="T108" fmla="*/ 0 60000 65536"/>
                          <a:gd name="T109" fmla="*/ 0 60000 65536"/>
                          <a:gd name="T110" fmla="*/ 0 60000 65536"/>
                          <a:gd name="T111" fmla="*/ 0 60000 65536"/>
                          <a:gd name="T112" fmla="*/ 0 60000 65536"/>
                          <a:gd name="T113" fmla="*/ 0 60000 65536"/>
                          <a:gd name="T114" fmla="*/ 0 60000 65536"/>
                          <a:gd name="T115" fmla="*/ 0 60000 65536"/>
                          <a:gd name="T116" fmla="*/ 0 60000 65536"/>
                          <a:gd name="T117" fmla="*/ 0 60000 65536"/>
                          <a:gd name="T118" fmla="*/ 0 60000 65536"/>
                          <a:gd name="T119" fmla="*/ 0 60000 65536"/>
                          <a:gd name="T120" fmla="*/ 0 60000 65536"/>
                          <a:gd name="T121" fmla="*/ 0 60000 65536"/>
                          <a:gd name="T122" fmla="*/ 0 60000 65536"/>
                          <a:gd name="T123" fmla="*/ 0 60000 65536"/>
                          <a:gd name="T124" fmla="*/ 0 60000 65536"/>
                          <a:gd name="T125" fmla="*/ 0 60000 65536"/>
                          <a:gd name="T126" fmla="*/ 0 60000 65536"/>
                          <a:gd name="T127" fmla="*/ 0 60000 65536"/>
                          <a:gd name="T128" fmla="*/ 0 60000 65536"/>
                          <a:gd name="T129" fmla="*/ 0 60000 65536"/>
                          <a:gd name="T130" fmla="*/ 0 60000 65536"/>
                          <a:gd name="T131" fmla="*/ 0 60000 65536"/>
                          <a:gd name="T132" fmla="*/ 0 60000 65536"/>
                          <a:gd name="T133" fmla="*/ 0 60000 65536"/>
                          <a:gd name="T134" fmla="*/ 0 60000 65536"/>
                          <a:gd name="T135" fmla="*/ 0 60000 65536"/>
                          <a:gd name="T136" fmla="*/ 0 60000 65536"/>
                          <a:gd name="T137" fmla="*/ 0 60000 65536"/>
                          <a:gd name="T138" fmla="*/ 0 60000 65536"/>
                          <a:gd name="T139" fmla="*/ 0 60000 65536"/>
                          <a:gd name="T140" fmla="*/ 0 60000 65536"/>
                          <a:gd name="T141" fmla="*/ 0 60000 65536"/>
                          <a:gd name="T142" fmla="*/ 0 60000 65536"/>
                          <a:gd name="T143" fmla="*/ 0 60000 65536"/>
                          <a:gd name="T144" fmla="*/ 0 60000 65536"/>
                          <a:gd name="T145" fmla="*/ 0 60000 65536"/>
                          <a:gd name="T146" fmla="*/ 0 60000 65536"/>
                          <a:gd name="T147" fmla="*/ 0 60000 65536"/>
                          <a:gd name="T148" fmla="*/ 0 60000 65536"/>
                          <a:gd name="T149" fmla="*/ 0 60000 65536"/>
                          <a:gd name="T150" fmla="*/ 0 60000 65536"/>
                          <a:gd name="T151" fmla="*/ 0 60000 65536"/>
                          <a:gd name="T152" fmla="*/ 0 60000 65536"/>
                          <a:gd name="T153" fmla="*/ 0 60000 65536"/>
                          <a:gd name="T154" fmla="*/ 0 60000 65536"/>
                          <a:gd name="T155" fmla="*/ 0 60000 65536"/>
                          <a:gd name="T156" fmla="*/ 0 60000 65536"/>
                          <a:gd name="T157" fmla="*/ 0 60000 65536"/>
                          <a:gd name="T158" fmla="*/ 0 60000 65536"/>
                          <a:gd name="T159" fmla="*/ 0 60000 65536"/>
                          <a:gd name="T160" fmla="*/ 0 60000 65536"/>
                          <a:gd name="T161" fmla="*/ 0 60000 65536"/>
                          <a:gd name="T162" fmla="*/ 0 w 177"/>
                          <a:gd name="T163" fmla="*/ 0 h 63"/>
                          <a:gd name="T164" fmla="*/ 177 w 177"/>
                          <a:gd name="T165" fmla="*/ 63 h 63"/>
                        </a:gdLst>
                        <a:ahLst/>
                        <a:cxnLst>
                          <a:cxn ang="T108">
                            <a:pos x="T0" y="T1"/>
                          </a:cxn>
                          <a:cxn ang="T109">
                            <a:pos x="T2" y="T3"/>
                          </a:cxn>
                          <a:cxn ang="T110">
                            <a:pos x="T4" y="T5"/>
                          </a:cxn>
                          <a:cxn ang="T111">
                            <a:pos x="T6" y="T7"/>
                          </a:cxn>
                          <a:cxn ang="T112">
                            <a:pos x="T8" y="T9"/>
                          </a:cxn>
                          <a:cxn ang="T113">
                            <a:pos x="T10" y="T11"/>
                          </a:cxn>
                          <a:cxn ang="T114">
                            <a:pos x="T12" y="T13"/>
                          </a:cxn>
                          <a:cxn ang="T115">
                            <a:pos x="T14" y="T15"/>
                          </a:cxn>
                          <a:cxn ang="T116">
                            <a:pos x="T16" y="T17"/>
                          </a:cxn>
                          <a:cxn ang="T117">
                            <a:pos x="T18" y="T19"/>
                          </a:cxn>
                          <a:cxn ang="T118">
                            <a:pos x="T20" y="T21"/>
                          </a:cxn>
                          <a:cxn ang="T119">
                            <a:pos x="T22" y="T23"/>
                          </a:cxn>
                          <a:cxn ang="T120">
                            <a:pos x="T24" y="T25"/>
                          </a:cxn>
                          <a:cxn ang="T121">
                            <a:pos x="T26" y="T27"/>
                          </a:cxn>
                          <a:cxn ang="T122">
                            <a:pos x="T28" y="T29"/>
                          </a:cxn>
                          <a:cxn ang="T123">
                            <a:pos x="T30" y="T31"/>
                          </a:cxn>
                          <a:cxn ang="T124">
                            <a:pos x="T32" y="T33"/>
                          </a:cxn>
                          <a:cxn ang="T125">
                            <a:pos x="T34" y="T35"/>
                          </a:cxn>
                          <a:cxn ang="T126">
                            <a:pos x="T36" y="T37"/>
                          </a:cxn>
                          <a:cxn ang="T127">
                            <a:pos x="T38" y="T39"/>
                          </a:cxn>
                          <a:cxn ang="T128">
                            <a:pos x="T40" y="T41"/>
                          </a:cxn>
                          <a:cxn ang="T129">
                            <a:pos x="T42" y="T43"/>
                          </a:cxn>
                          <a:cxn ang="T130">
                            <a:pos x="T44" y="T45"/>
                          </a:cxn>
                          <a:cxn ang="T131">
                            <a:pos x="T46" y="T47"/>
                          </a:cxn>
                          <a:cxn ang="T132">
                            <a:pos x="T48" y="T49"/>
                          </a:cxn>
                          <a:cxn ang="T133">
                            <a:pos x="T50" y="T51"/>
                          </a:cxn>
                          <a:cxn ang="T134">
                            <a:pos x="T52" y="T53"/>
                          </a:cxn>
                          <a:cxn ang="T135">
                            <a:pos x="T54" y="T55"/>
                          </a:cxn>
                          <a:cxn ang="T136">
                            <a:pos x="T56" y="T57"/>
                          </a:cxn>
                          <a:cxn ang="T137">
                            <a:pos x="T58" y="T59"/>
                          </a:cxn>
                          <a:cxn ang="T138">
                            <a:pos x="T60" y="T61"/>
                          </a:cxn>
                          <a:cxn ang="T139">
                            <a:pos x="T62" y="T63"/>
                          </a:cxn>
                          <a:cxn ang="T140">
                            <a:pos x="T64" y="T65"/>
                          </a:cxn>
                          <a:cxn ang="T141">
                            <a:pos x="T66" y="T67"/>
                          </a:cxn>
                          <a:cxn ang="T142">
                            <a:pos x="T68" y="T69"/>
                          </a:cxn>
                          <a:cxn ang="T143">
                            <a:pos x="T70" y="T71"/>
                          </a:cxn>
                          <a:cxn ang="T144">
                            <a:pos x="T72" y="T73"/>
                          </a:cxn>
                          <a:cxn ang="T145">
                            <a:pos x="T74" y="T75"/>
                          </a:cxn>
                          <a:cxn ang="T146">
                            <a:pos x="T76" y="T77"/>
                          </a:cxn>
                          <a:cxn ang="T147">
                            <a:pos x="T78" y="T79"/>
                          </a:cxn>
                          <a:cxn ang="T148">
                            <a:pos x="T80" y="T81"/>
                          </a:cxn>
                          <a:cxn ang="T149">
                            <a:pos x="T82" y="T83"/>
                          </a:cxn>
                          <a:cxn ang="T150">
                            <a:pos x="T84" y="T85"/>
                          </a:cxn>
                          <a:cxn ang="T151">
                            <a:pos x="T86" y="T87"/>
                          </a:cxn>
                          <a:cxn ang="T152">
                            <a:pos x="T88" y="T89"/>
                          </a:cxn>
                          <a:cxn ang="T153">
                            <a:pos x="T90" y="T91"/>
                          </a:cxn>
                          <a:cxn ang="T154">
                            <a:pos x="T92" y="T93"/>
                          </a:cxn>
                          <a:cxn ang="T155">
                            <a:pos x="T94" y="T95"/>
                          </a:cxn>
                          <a:cxn ang="T156">
                            <a:pos x="T96" y="T97"/>
                          </a:cxn>
                          <a:cxn ang="T157">
                            <a:pos x="T98" y="T99"/>
                          </a:cxn>
                          <a:cxn ang="T158">
                            <a:pos x="T100" y="T101"/>
                          </a:cxn>
                          <a:cxn ang="T159">
                            <a:pos x="T102" y="T103"/>
                          </a:cxn>
                          <a:cxn ang="T160">
                            <a:pos x="T104" y="T105"/>
                          </a:cxn>
                          <a:cxn ang="T161">
                            <a:pos x="T106" y="T107"/>
                          </a:cxn>
                        </a:cxnLst>
                        <a:rect l="T162" t="T163" r="T164" b="T165"/>
                        <a:pathLst>
                          <a:path w="177" h="63">
                            <a:moveTo>
                              <a:pt x="173" y="33"/>
                            </a:moveTo>
                            <a:cubicBezTo>
                              <a:pt x="174" y="33"/>
                              <a:pt x="170" y="35"/>
                              <a:pt x="171" y="35"/>
                            </a:cubicBezTo>
                            <a:cubicBezTo>
                              <a:pt x="173" y="36"/>
                              <a:pt x="176" y="34"/>
                              <a:pt x="176" y="35"/>
                            </a:cubicBezTo>
                            <a:cubicBezTo>
                              <a:pt x="177" y="37"/>
                              <a:pt x="176" y="40"/>
                              <a:pt x="175" y="42"/>
                            </a:cubicBezTo>
                            <a:cubicBezTo>
                              <a:pt x="173" y="44"/>
                              <a:pt x="169" y="44"/>
                              <a:pt x="168" y="46"/>
                            </a:cubicBezTo>
                            <a:cubicBezTo>
                              <a:pt x="167" y="47"/>
                              <a:pt x="168" y="49"/>
                              <a:pt x="169" y="49"/>
                            </a:cubicBezTo>
                            <a:cubicBezTo>
                              <a:pt x="171" y="49"/>
                              <a:pt x="173" y="45"/>
                              <a:pt x="174" y="46"/>
                            </a:cubicBezTo>
                            <a:cubicBezTo>
                              <a:pt x="176" y="46"/>
                              <a:pt x="176" y="49"/>
                              <a:pt x="175" y="51"/>
                            </a:cubicBezTo>
                            <a:cubicBezTo>
                              <a:pt x="174" y="52"/>
                              <a:pt x="172" y="54"/>
                              <a:pt x="171" y="54"/>
                            </a:cubicBezTo>
                            <a:cubicBezTo>
                              <a:pt x="169" y="54"/>
                              <a:pt x="169" y="50"/>
                              <a:pt x="167" y="51"/>
                            </a:cubicBezTo>
                            <a:cubicBezTo>
                              <a:pt x="166" y="51"/>
                              <a:pt x="167" y="53"/>
                              <a:pt x="167" y="54"/>
                            </a:cubicBezTo>
                            <a:cubicBezTo>
                              <a:pt x="168" y="55"/>
                              <a:pt x="169" y="57"/>
                              <a:pt x="168" y="58"/>
                            </a:cubicBezTo>
                            <a:cubicBezTo>
                              <a:pt x="167" y="59"/>
                              <a:pt x="164" y="58"/>
                              <a:pt x="162" y="58"/>
                            </a:cubicBezTo>
                            <a:cubicBezTo>
                              <a:pt x="160" y="58"/>
                              <a:pt x="158" y="57"/>
                              <a:pt x="156" y="57"/>
                            </a:cubicBezTo>
                            <a:cubicBezTo>
                              <a:pt x="154" y="57"/>
                              <a:pt x="152" y="59"/>
                              <a:pt x="150" y="60"/>
                            </a:cubicBezTo>
                            <a:cubicBezTo>
                              <a:pt x="147" y="60"/>
                              <a:pt x="143" y="61"/>
                              <a:pt x="140" y="60"/>
                            </a:cubicBezTo>
                            <a:cubicBezTo>
                              <a:pt x="137" y="58"/>
                              <a:pt x="138" y="52"/>
                              <a:pt x="135" y="52"/>
                            </a:cubicBezTo>
                            <a:cubicBezTo>
                              <a:pt x="133" y="52"/>
                              <a:pt x="135" y="58"/>
                              <a:pt x="132" y="59"/>
                            </a:cubicBezTo>
                            <a:cubicBezTo>
                              <a:pt x="130" y="61"/>
                              <a:pt x="126" y="59"/>
                              <a:pt x="123" y="59"/>
                            </a:cubicBezTo>
                            <a:cubicBezTo>
                              <a:pt x="121" y="59"/>
                              <a:pt x="119" y="60"/>
                              <a:pt x="117" y="59"/>
                            </a:cubicBezTo>
                            <a:cubicBezTo>
                              <a:pt x="116" y="59"/>
                              <a:pt x="116" y="56"/>
                              <a:pt x="115" y="56"/>
                            </a:cubicBezTo>
                            <a:cubicBezTo>
                              <a:pt x="114" y="56"/>
                              <a:pt x="114" y="59"/>
                              <a:pt x="113" y="59"/>
                            </a:cubicBezTo>
                            <a:cubicBezTo>
                              <a:pt x="111" y="59"/>
                              <a:pt x="111" y="55"/>
                              <a:pt x="110" y="56"/>
                            </a:cubicBezTo>
                            <a:cubicBezTo>
                              <a:pt x="108" y="57"/>
                              <a:pt x="109" y="61"/>
                              <a:pt x="107" y="61"/>
                            </a:cubicBezTo>
                            <a:cubicBezTo>
                              <a:pt x="105" y="61"/>
                              <a:pt x="105" y="58"/>
                              <a:pt x="103" y="58"/>
                            </a:cubicBezTo>
                            <a:cubicBezTo>
                              <a:pt x="102" y="57"/>
                              <a:pt x="102" y="60"/>
                              <a:pt x="101" y="60"/>
                            </a:cubicBezTo>
                            <a:cubicBezTo>
                              <a:pt x="99" y="60"/>
                              <a:pt x="98" y="57"/>
                              <a:pt x="96" y="58"/>
                            </a:cubicBezTo>
                            <a:cubicBezTo>
                              <a:pt x="95" y="58"/>
                              <a:pt x="97" y="61"/>
                              <a:pt x="96" y="61"/>
                            </a:cubicBezTo>
                            <a:cubicBezTo>
                              <a:pt x="90" y="62"/>
                              <a:pt x="83" y="63"/>
                              <a:pt x="78" y="61"/>
                            </a:cubicBezTo>
                            <a:cubicBezTo>
                              <a:pt x="76" y="60"/>
                              <a:pt x="80" y="54"/>
                              <a:pt x="78" y="52"/>
                            </a:cubicBezTo>
                            <a:cubicBezTo>
                              <a:pt x="76" y="51"/>
                              <a:pt x="76" y="56"/>
                              <a:pt x="74" y="56"/>
                            </a:cubicBezTo>
                            <a:cubicBezTo>
                              <a:pt x="73" y="57"/>
                              <a:pt x="73" y="53"/>
                              <a:pt x="72" y="54"/>
                            </a:cubicBezTo>
                            <a:cubicBezTo>
                              <a:pt x="70" y="54"/>
                              <a:pt x="72" y="58"/>
                              <a:pt x="70" y="58"/>
                            </a:cubicBezTo>
                            <a:cubicBezTo>
                              <a:pt x="67" y="59"/>
                              <a:pt x="63" y="59"/>
                              <a:pt x="60" y="58"/>
                            </a:cubicBezTo>
                            <a:cubicBezTo>
                              <a:pt x="57" y="57"/>
                              <a:pt x="56" y="52"/>
                              <a:pt x="53" y="52"/>
                            </a:cubicBezTo>
                            <a:cubicBezTo>
                              <a:pt x="52" y="52"/>
                              <a:pt x="52" y="57"/>
                              <a:pt x="50" y="57"/>
                            </a:cubicBezTo>
                            <a:cubicBezTo>
                              <a:pt x="48" y="57"/>
                              <a:pt x="45" y="55"/>
                              <a:pt x="43" y="53"/>
                            </a:cubicBezTo>
                            <a:cubicBezTo>
                              <a:pt x="42" y="51"/>
                              <a:pt x="42" y="48"/>
                              <a:pt x="42" y="46"/>
                            </a:cubicBezTo>
                            <a:cubicBezTo>
                              <a:pt x="43" y="45"/>
                              <a:pt x="45" y="45"/>
                              <a:pt x="45" y="44"/>
                            </a:cubicBezTo>
                            <a:cubicBezTo>
                              <a:pt x="45" y="43"/>
                              <a:pt x="42" y="44"/>
                              <a:pt x="42" y="43"/>
                            </a:cubicBezTo>
                            <a:cubicBezTo>
                              <a:pt x="41" y="41"/>
                              <a:pt x="42" y="38"/>
                              <a:pt x="43" y="36"/>
                            </a:cubicBezTo>
                            <a:cubicBezTo>
                              <a:pt x="44" y="35"/>
                              <a:pt x="46" y="35"/>
                              <a:pt x="47" y="34"/>
                            </a:cubicBezTo>
                            <a:cubicBezTo>
                              <a:pt x="47" y="32"/>
                              <a:pt x="47" y="30"/>
                              <a:pt x="47" y="29"/>
                            </a:cubicBezTo>
                            <a:cubicBezTo>
                              <a:pt x="46" y="27"/>
                              <a:pt x="44" y="26"/>
                              <a:pt x="42" y="24"/>
                            </a:cubicBezTo>
                            <a:cubicBezTo>
                              <a:pt x="41" y="23"/>
                              <a:pt x="42" y="20"/>
                              <a:pt x="41" y="19"/>
                            </a:cubicBezTo>
                            <a:cubicBezTo>
                              <a:pt x="39" y="18"/>
                              <a:pt x="37" y="20"/>
                              <a:pt x="35" y="20"/>
                            </a:cubicBezTo>
                            <a:cubicBezTo>
                              <a:pt x="30" y="19"/>
                              <a:pt x="25" y="18"/>
                              <a:pt x="20" y="18"/>
                            </a:cubicBezTo>
                            <a:cubicBezTo>
                              <a:pt x="19" y="18"/>
                              <a:pt x="18" y="20"/>
                              <a:pt x="17" y="20"/>
                            </a:cubicBezTo>
                            <a:cubicBezTo>
                              <a:pt x="16" y="20"/>
                              <a:pt x="14" y="19"/>
                              <a:pt x="14" y="18"/>
                            </a:cubicBezTo>
                            <a:cubicBezTo>
                              <a:pt x="15" y="17"/>
                              <a:pt x="19" y="17"/>
                              <a:pt x="18" y="16"/>
                            </a:cubicBezTo>
                            <a:cubicBezTo>
                              <a:pt x="16" y="14"/>
                              <a:pt x="13" y="16"/>
                              <a:pt x="10" y="15"/>
                            </a:cubicBezTo>
                            <a:cubicBezTo>
                              <a:pt x="9" y="15"/>
                              <a:pt x="7" y="15"/>
                              <a:pt x="7" y="13"/>
                            </a:cubicBezTo>
                            <a:cubicBezTo>
                              <a:pt x="6" y="12"/>
                              <a:pt x="10" y="12"/>
                              <a:pt x="9" y="12"/>
                            </a:cubicBezTo>
                            <a:cubicBezTo>
                              <a:pt x="8" y="10"/>
                              <a:pt x="5" y="12"/>
                              <a:pt x="3" y="11"/>
                            </a:cubicBezTo>
                            <a:cubicBezTo>
                              <a:pt x="2" y="10"/>
                              <a:pt x="0" y="9"/>
                              <a:pt x="0" y="8"/>
                            </a:cubicBezTo>
                            <a:cubicBezTo>
                              <a:pt x="1" y="6"/>
                              <a:pt x="5" y="9"/>
                              <a:pt x="5" y="7"/>
                            </a:cubicBezTo>
                            <a:cubicBezTo>
                              <a:pt x="6" y="6"/>
                              <a:pt x="1" y="5"/>
                              <a:pt x="2" y="4"/>
                            </a:cubicBezTo>
                            <a:cubicBezTo>
                              <a:pt x="3" y="2"/>
                              <a:pt x="6" y="2"/>
                              <a:pt x="8" y="1"/>
                            </a:cubicBezTo>
                            <a:cubicBezTo>
                              <a:pt x="10" y="1"/>
                              <a:pt x="13" y="0"/>
                              <a:pt x="15" y="0"/>
                            </a:cubicBezTo>
                            <a:cubicBezTo>
                              <a:pt x="18" y="0"/>
                              <a:pt x="21" y="0"/>
                              <a:pt x="24" y="1"/>
                            </a:cubicBezTo>
                            <a:cubicBezTo>
                              <a:pt x="27" y="2"/>
                              <a:pt x="29" y="4"/>
                              <a:pt x="32" y="4"/>
                            </a:cubicBezTo>
                            <a:cubicBezTo>
                              <a:pt x="33" y="4"/>
                              <a:pt x="34" y="3"/>
                              <a:pt x="36" y="3"/>
                            </a:cubicBezTo>
                            <a:cubicBezTo>
                              <a:pt x="37" y="4"/>
                              <a:pt x="39" y="5"/>
                              <a:pt x="40" y="6"/>
                            </a:cubicBezTo>
                            <a:cubicBezTo>
                              <a:pt x="41" y="7"/>
                              <a:pt x="40" y="8"/>
                              <a:pt x="40" y="9"/>
                            </a:cubicBezTo>
                            <a:cubicBezTo>
                              <a:pt x="39" y="11"/>
                              <a:pt x="35" y="14"/>
                              <a:pt x="37" y="15"/>
                            </a:cubicBezTo>
                            <a:cubicBezTo>
                              <a:pt x="40" y="15"/>
                              <a:pt x="41" y="11"/>
                              <a:pt x="43" y="10"/>
                            </a:cubicBezTo>
                            <a:cubicBezTo>
                              <a:pt x="45" y="9"/>
                              <a:pt x="48" y="11"/>
                              <a:pt x="50" y="11"/>
                            </a:cubicBezTo>
                            <a:cubicBezTo>
                              <a:pt x="53" y="11"/>
                              <a:pt x="56" y="8"/>
                              <a:pt x="60" y="8"/>
                            </a:cubicBezTo>
                            <a:cubicBezTo>
                              <a:pt x="63" y="8"/>
                              <a:pt x="66" y="11"/>
                              <a:pt x="68" y="13"/>
                            </a:cubicBezTo>
                            <a:cubicBezTo>
                              <a:pt x="69" y="14"/>
                              <a:pt x="67" y="15"/>
                              <a:pt x="67" y="15"/>
                            </a:cubicBezTo>
                            <a:cubicBezTo>
                              <a:pt x="64" y="15"/>
                              <a:pt x="62" y="13"/>
                              <a:pt x="59" y="13"/>
                            </a:cubicBezTo>
                            <a:cubicBezTo>
                              <a:pt x="59" y="13"/>
                              <a:pt x="59" y="15"/>
                              <a:pt x="59" y="15"/>
                            </a:cubicBezTo>
                            <a:cubicBezTo>
                              <a:pt x="64" y="17"/>
                              <a:pt x="68" y="17"/>
                              <a:pt x="72" y="17"/>
                            </a:cubicBezTo>
                            <a:cubicBezTo>
                              <a:pt x="74" y="17"/>
                              <a:pt x="75" y="17"/>
                              <a:pt x="76" y="17"/>
                            </a:cubicBezTo>
                            <a:cubicBezTo>
                              <a:pt x="77" y="17"/>
                              <a:pt x="79" y="17"/>
                              <a:pt x="79" y="17"/>
                            </a:cubicBezTo>
                            <a:cubicBezTo>
                              <a:pt x="80" y="19"/>
                              <a:pt x="80" y="21"/>
                              <a:pt x="78" y="22"/>
                            </a:cubicBezTo>
                            <a:cubicBezTo>
                              <a:pt x="75" y="23"/>
                              <a:pt x="71" y="22"/>
                              <a:pt x="67" y="21"/>
                            </a:cubicBezTo>
                            <a:cubicBezTo>
                              <a:pt x="63" y="21"/>
                              <a:pt x="59" y="18"/>
                              <a:pt x="55" y="17"/>
                            </a:cubicBezTo>
                            <a:cubicBezTo>
                              <a:pt x="55" y="17"/>
                              <a:pt x="55" y="19"/>
                              <a:pt x="55" y="20"/>
                            </a:cubicBezTo>
                            <a:cubicBezTo>
                              <a:pt x="58" y="22"/>
                              <a:pt x="63" y="21"/>
                              <a:pt x="64" y="24"/>
                            </a:cubicBezTo>
                            <a:cubicBezTo>
                              <a:pt x="65" y="26"/>
                              <a:pt x="59" y="25"/>
                              <a:pt x="57" y="27"/>
                            </a:cubicBezTo>
                            <a:cubicBezTo>
                              <a:pt x="56" y="27"/>
                              <a:pt x="58" y="29"/>
                              <a:pt x="59" y="29"/>
                            </a:cubicBezTo>
                            <a:cubicBezTo>
                              <a:pt x="62" y="29"/>
                              <a:pt x="65" y="26"/>
                              <a:pt x="68" y="26"/>
                            </a:cubicBezTo>
                            <a:cubicBezTo>
                              <a:pt x="70" y="26"/>
                              <a:pt x="70" y="28"/>
                              <a:pt x="71" y="29"/>
                            </a:cubicBezTo>
                            <a:cubicBezTo>
                              <a:pt x="73" y="30"/>
                              <a:pt x="76" y="29"/>
                              <a:pt x="77" y="31"/>
                            </a:cubicBezTo>
                            <a:cubicBezTo>
                              <a:pt x="77" y="32"/>
                              <a:pt x="75" y="34"/>
                              <a:pt x="73" y="34"/>
                            </a:cubicBezTo>
                            <a:cubicBezTo>
                              <a:pt x="72" y="35"/>
                              <a:pt x="71" y="34"/>
                              <a:pt x="70" y="35"/>
                            </a:cubicBezTo>
                            <a:cubicBezTo>
                              <a:pt x="70" y="35"/>
                              <a:pt x="70" y="37"/>
                              <a:pt x="70" y="37"/>
                            </a:cubicBezTo>
                            <a:cubicBezTo>
                              <a:pt x="72" y="37"/>
                              <a:pt x="74" y="35"/>
                              <a:pt x="75" y="36"/>
                            </a:cubicBezTo>
                            <a:cubicBezTo>
                              <a:pt x="77" y="37"/>
                              <a:pt x="75" y="39"/>
                              <a:pt x="76" y="40"/>
                            </a:cubicBezTo>
                            <a:cubicBezTo>
                              <a:pt x="77" y="40"/>
                              <a:pt x="79" y="41"/>
                              <a:pt x="79" y="40"/>
                            </a:cubicBezTo>
                            <a:cubicBezTo>
                              <a:pt x="80" y="39"/>
                              <a:pt x="79" y="37"/>
                              <a:pt x="79" y="36"/>
                            </a:cubicBezTo>
                            <a:cubicBezTo>
                              <a:pt x="80" y="35"/>
                              <a:pt x="81" y="34"/>
                              <a:pt x="82" y="34"/>
                            </a:cubicBezTo>
                            <a:cubicBezTo>
                              <a:pt x="84" y="35"/>
                              <a:pt x="85" y="38"/>
                              <a:pt x="87" y="38"/>
                            </a:cubicBezTo>
                            <a:cubicBezTo>
                              <a:pt x="89" y="39"/>
                              <a:pt x="89" y="36"/>
                              <a:pt x="90" y="36"/>
                            </a:cubicBezTo>
                            <a:cubicBezTo>
                              <a:pt x="91" y="36"/>
                              <a:pt x="92" y="38"/>
                              <a:pt x="93" y="38"/>
                            </a:cubicBezTo>
                            <a:cubicBezTo>
                              <a:pt x="94" y="37"/>
                              <a:pt x="94" y="34"/>
                              <a:pt x="95" y="34"/>
                            </a:cubicBezTo>
                            <a:cubicBezTo>
                              <a:pt x="98" y="35"/>
                              <a:pt x="101" y="37"/>
                              <a:pt x="104" y="39"/>
                            </a:cubicBezTo>
                            <a:cubicBezTo>
                              <a:pt x="104" y="39"/>
                              <a:pt x="103" y="41"/>
                              <a:pt x="104" y="41"/>
                            </a:cubicBezTo>
                            <a:cubicBezTo>
                              <a:pt x="107" y="42"/>
                              <a:pt x="111" y="43"/>
                              <a:pt x="113" y="41"/>
                            </a:cubicBezTo>
                            <a:cubicBezTo>
                              <a:pt x="114" y="40"/>
                              <a:pt x="107" y="38"/>
                              <a:pt x="108" y="37"/>
                            </a:cubicBezTo>
                            <a:cubicBezTo>
                              <a:pt x="111" y="34"/>
                              <a:pt x="116" y="35"/>
                              <a:pt x="120" y="34"/>
                            </a:cubicBezTo>
                            <a:cubicBezTo>
                              <a:pt x="124" y="33"/>
                              <a:pt x="129" y="31"/>
                              <a:pt x="133" y="30"/>
                            </a:cubicBezTo>
                            <a:cubicBezTo>
                              <a:pt x="134" y="29"/>
                              <a:pt x="135" y="29"/>
                              <a:pt x="135" y="29"/>
                            </a:cubicBezTo>
                            <a:cubicBezTo>
                              <a:pt x="137" y="29"/>
                              <a:pt x="139" y="30"/>
                              <a:pt x="141" y="30"/>
                            </a:cubicBezTo>
                            <a:cubicBezTo>
                              <a:pt x="144" y="30"/>
                              <a:pt x="148" y="28"/>
                              <a:pt x="151" y="28"/>
                            </a:cubicBezTo>
                            <a:cubicBezTo>
                              <a:pt x="155" y="28"/>
                              <a:pt x="160" y="28"/>
                              <a:pt x="164" y="29"/>
                            </a:cubicBezTo>
                            <a:cubicBezTo>
                              <a:pt x="165" y="29"/>
                              <a:pt x="164" y="31"/>
                              <a:pt x="164" y="31"/>
                            </a:cubicBezTo>
                            <a:cubicBezTo>
                              <a:pt x="167" y="32"/>
                              <a:pt x="171" y="31"/>
                              <a:pt x="173" y="33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90" name="Freeform 3595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961108" y="1616260"/>
                        <a:ext cx="10067" cy="12461"/>
                      </a:xfrm>
                      <a:custGeom>
                        <a:avLst/>
                        <a:gdLst>
                          <a:gd name="T0" fmla="*/ 0 w 7"/>
                          <a:gd name="T1" fmla="*/ 2 h 13"/>
                          <a:gd name="T2" fmla="*/ 8 w 7"/>
                          <a:gd name="T3" fmla="*/ 1 h 13"/>
                          <a:gd name="T4" fmla="*/ 6 w 7"/>
                          <a:gd name="T5" fmla="*/ 14 h 13"/>
                          <a:gd name="T6" fmla="*/ 4 w 7"/>
                          <a:gd name="T7" fmla="*/ 13 h 13"/>
                          <a:gd name="T8" fmla="*/ 0 w 7"/>
                          <a:gd name="T9" fmla="*/ 2 h 1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7"/>
                          <a:gd name="T16" fmla="*/ 0 h 13"/>
                          <a:gd name="T17" fmla="*/ 7 w 7"/>
                          <a:gd name="T18" fmla="*/ 13 h 1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7" h="13">
                            <a:moveTo>
                              <a:pt x="0" y="2"/>
                            </a:moveTo>
                            <a:cubicBezTo>
                              <a:pt x="1" y="2"/>
                              <a:pt x="5" y="0"/>
                              <a:pt x="6" y="1"/>
                            </a:cubicBezTo>
                            <a:cubicBezTo>
                              <a:pt x="6" y="4"/>
                              <a:pt x="7" y="8"/>
                              <a:pt x="5" y="12"/>
                            </a:cubicBezTo>
                            <a:cubicBezTo>
                              <a:pt x="5" y="13"/>
                              <a:pt x="3" y="12"/>
                              <a:pt x="3" y="11"/>
                            </a:cubicBezTo>
                            <a:cubicBezTo>
                              <a:pt x="1" y="8"/>
                              <a:pt x="0" y="5"/>
                              <a:pt x="0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91" name="Freeform 3596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909658" y="1503290"/>
                        <a:ext cx="150997" cy="87220"/>
                      </a:xfrm>
                      <a:custGeom>
                        <a:avLst/>
                        <a:gdLst>
                          <a:gd name="T0" fmla="*/ 63 w 113"/>
                          <a:gd name="T1" fmla="*/ 5 h 87"/>
                          <a:gd name="T2" fmla="*/ 81 w 113"/>
                          <a:gd name="T3" fmla="*/ 31 h 87"/>
                          <a:gd name="T4" fmla="*/ 100 w 113"/>
                          <a:gd name="T5" fmla="*/ 43 h 87"/>
                          <a:gd name="T6" fmla="*/ 111 w 113"/>
                          <a:gd name="T7" fmla="*/ 37 h 87"/>
                          <a:gd name="T8" fmla="*/ 111 w 113"/>
                          <a:gd name="T9" fmla="*/ 49 h 87"/>
                          <a:gd name="T10" fmla="*/ 118 w 113"/>
                          <a:gd name="T11" fmla="*/ 54 h 87"/>
                          <a:gd name="T12" fmla="*/ 127 w 113"/>
                          <a:gd name="T13" fmla="*/ 58 h 87"/>
                          <a:gd name="T14" fmla="*/ 112 w 113"/>
                          <a:gd name="T15" fmla="*/ 74 h 87"/>
                          <a:gd name="T16" fmla="*/ 104 w 113"/>
                          <a:gd name="T17" fmla="*/ 76 h 87"/>
                          <a:gd name="T18" fmla="*/ 92 w 113"/>
                          <a:gd name="T19" fmla="*/ 76 h 87"/>
                          <a:gd name="T20" fmla="*/ 90 w 113"/>
                          <a:gd name="T21" fmla="*/ 92 h 87"/>
                          <a:gd name="T22" fmla="*/ 79 w 113"/>
                          <a:gd name="T23" fmla="*/ 99 h 87"/>
                          <a:gd name="T24" fmla="*/ 63 w 113"/>
                          <a:gd name="T25" fmla="*/ 92 h 87"/>
                          <a:gd name="T26" fmla="*/ 59 w 113"/>
                          <a:gd name="T27" fmla="*/ 97 h 87"/>
                          <a:gd name="T28" fmla="*/ 42 w 113"/>
                          <a:gd name="T29" fmla="*/ 101 h 87"/>
                          <a:gd name="T30" fmla="*/ 41 w 113"/>
                          <a:gd name="T31" fmla="*/ 92 h 87"/>
                          <a:gd name="T32" fmla="*/ 29 w 113"/>
                          <a:gd name="T33" fmla="*/ 84 h 87"/>
                          <a:gd name="T34" fmla="*/ 24 w 113"/>
                          <a:gd name="T35" fmla="*/ 78 h 87"/>
                          <a:gd name="T36" fmla="*/ 54 w 113"/>
                          <a:gd name="T37" fmla="*/ 70 h 87"/>
                          <a:gd name="T38" fmla="*/ 47 w 113"/>
                          <a:gd name="T39" fmla="*/ 68 h 87"/>
                          <a:gd name="T40" fmla="*/ 41 w 113"/>
                          <a:gd name="T41" fmla="*/ 62 h 87"/>
                          <a:gd name="T42" fmla="*/ 25 w 113"/>
                          <a:gd name="T43" fmla="*/ 64 h 87"/>
                          <a:gd name="T44" fmla="*/ 8 w 113"/>
                          <a:gd name="T45" fmla="*/ 59 h 87"/>
                          <a:gd name="T46" fmla="*/ 20 w 113"/>
                          <a:gd name="T47" fmla="*/ 54 h 87"/>
                          <a:gd name="T48" fmla="*/ 1 w 113"/>
                          <a:gd name="T49" fmla="*/ 47 h 87"/>
                          <a:gd name="T50" fmla="*/ 24 w 113"/>
                          <a:gd name="T51" fmla="*/ 47 h 87"/>
                          <a:gd name="T52" fmla="*/ 17 w 113"/>
                          <a:gd name="T53" fmla="*/ 42 h 87"/>
                          <a:gd name="T54" fmla="*/ 11 w 113"/>
                          <a:gd name="T55" fmla="*/ 33 h 87"/>
                          <a:gd name="T56" fmla="*/ 35 w 113"/>
                          <a:gd name="T57" fmla="*/ 30 h 87"/>
                          <a:gd name="T58" fmla="*/ 22 w 113"/>
                          <a:gd name="T59" fmla="*/ 22 h 87"/>
                          <a:gd name="T60" fmla="*/ 38 w 113"/>
                          <a:gd name="T61" fmla="*/ 17 h 87"/>
                          <a:gd name="T62" fmla="*/ 49 w 113"/>
                          <a:gd name="T63" fmla="*/ 10 h 87"/>
                          <a:gd name="T64" fmla="*/ 33 w 113"/>
                          <a:gd name="T65" fmla="*/ 5 h 87"/>
                          <a:gd name="T66" fmla="*/ 0 60000 65536"/>
                          <a:gd name="T67" fmla="*/ 0 60000 65536"/>
                          <a:gd name="T68" fmla="*/ 0 60000 65536"/>
                          <a:gd name="T69" fmla="*/ 0 60000 65536"/>
                          <a:gd name="T70" fmla="*/ 0 60000 65536"/>
                          <a:gd name="T71" fmla="*/ 0 60000 65536"/>
                          <a:gd name="T72" fmla="*/ 0 60000 65536"/>
                          <a:gd name="T73" fmla="*/ 0 60000 65536"/>
                          <a:gd name="T74" fmla="*/ 0 60000 65536"/>
                          <a:gd name="T75" fmla="*/ 0 60000 65536"/>
                          <a:gd name="T76" fmla="*/ 0 60000 65536"/>
                          <a:gd name="T77" fmla="*/ 0 60000 65536"/>
                          <a:gd name="T78" fmla="*/ 0 60000 65536"/>
                          <a:gd name="T79" fmla="*/ 0 60000 65536"/>
                          <a:gd name="T80" fmla="*/ 0 60000 65536"/>
                          <a:gd name="T81" fmla="*/ 0 60000 65536"/>
                          <a:gd name="T82" fmla="*/ 0 60000 65536"/>
                          <a:gd name="T83" fmla="*/ 0 60000 65536"/>
                          <a:gd name="T84" fmla="*/ 0 60000 65536"/>
                          <a:gd name="T85" fmla="*/ 0 60000 65536"/>
                          <a:gd name="T86" fmla="*/ 0 60000 65536"/>
                          <a:gd name="T87" fmla="*/ 0 60000 65536"/>
                          <a:gd name="T88" fmla="*/ 0 60000 65536"/>
                          <a:gd name="T89" fmla="*/ 0 60000 65536"/>
                          <a:gd name="T90" fmla="*/ 0 60000 65536"/>
                          <a:gd name="T91" fmla="*/ 0 60000 65536"/>
                          <a:gd name="T92" fmla="*/ 0 60000 65536"/>
                          <a:gd name="T93" fmla="*/ 0 60000 65536"/>
                          <a:gd name="T94" fmla="*/ 0 60000 65536"/>
                          <a:gd name="T95" fmla="*/ 0 60000 65536"/>
                          <a:gd name="T96" fmla="*/ 0 60000 65536"/>
                          <a:gd name="T97" fmla="*/ 0 60000 65536"/>
                          <a:gd name="T98" fmla="*/ 0 60000 65536"/>
                          <a:gd name="T99" fmla="*/ 0 w 113"/>
                          <a:gd name="T100" fmla="*/ 0 h 87"/>
                          <a:gd name="T101" fmla="*/ 113 w 113"/>
                          <a:gd name="T102" fmla="*/ 87 h 87"/>
                        </a:gdLst>
                        <a:ahLst/>
                        <a:cxnLst>
                          <a:cxn ang="T66">
                            <a:pos x="T0" y="T1"/>
                          </a:cxn>
                          <a:cxn ang="T67">
                            <a:pos x="T2" y="T3"/>
                          </a:cxn>
                          <a:cxn ang="T68">
                            <a:pos x="T4" y="T5"/>
                          </a:cxn>
                          <a:cxn ang="T69">
                            <a:pos x="T6" y="T7"/>
                          </a:cxn>
                          <a:cxn ang="T70">
                            <a:pos x="T8" y="T9"/>
                          </a:cxn>
                          <a:cxn ang="T71">
                            <a:pos x="T10" y="T11"/>
                          </a:cxn>
                          <a:cxn ang="T72">
                            <a:pos x="T12" y="T13"/>
                          </a:cxn>
                          <a:cxn ang="T73">
                            <a:pos x="T14" y="T15"/>
                          </a:cxn>
                          <a:cxn ang="T74">
                            <a:pos x="T16" y="T17"/>
                          </a:cxn>
                          <a:cxn ang="T75">
                            <a:pos x="T18" y="T19"/>
                          </a:cxn>
                          <a:cxn ang="T76">
                            <a:pos x="T20" y="T21"/>
                          </a:cxn>
                          <a:cxn ang="T77">
                            <a:pos x="T22" y="T23"/>
                          </a:cxn>
                          <a:cxn ang="T78">
                            <a:pos x="T24" y="T25"/>
                          </a:cxn>
                          <a:cxn ang="T79">
                            <a:pos x="T26" y="T27"/>
                          </a:cxn>
                          <a:cxn ang="T80">
                            <a:pos x="T28" y="T29"/>
                          </a:cxn>
                          <a:cxn ang="T81">
                            <a:pos x="T30" y="T31"/>
                          </a:cxn>
                          <a:cxn ang="T82">
                            <a:pos x="T32" y="T33"/>
                          </a:cxn>
                          <a:cxn ang="T83">
                            <a:pos x="T34" y="T35"/>
                          </a:cxn>
                          <a:cxn ang="T84">
                            <a:pos x="T36" y="T37"/>
                          </a:cxn>
                          <a:cxn ang="T85">
                            <a:pos x="T38" y="T39"/>
                          </a:cxn>
                          <a:cxn ang="T86">
                            <a:pos x="T40" y="T41"/>
                          </a:cxn>
                          <a:cxn ang="T87">
                            <a:pos x="T42" y="T43"/>
                          </a:cxn>
                          <a:cxn ang="T88">
                            <a:pos x="T44" y="T45"/>
                          </a:cxn>
                          <a:cxn ang="T89">
                            <a:pos x="T46" y="T47"/>
                          </a:cxn>
                          <a:cxn ang="T90">
                            <a:pos x="T48" y="T49"/>
                          </a:cxn>
                          <a:cxn ang="T91">
                            <a:pos x="T50" y="T51"/>
                          </a:cxn>
                          <a:cxn ang="T92">
                            <a:pos x="T52" y="T53"/>
                          </a:cxn>
                          <a:cxn ang="T93">
                            <a:pos x="T54" y="T55"/>
                          </a:cxn>
                          <a:cxn ang="T94">
                            <a:pos x="T56" y="T57"/>
                          </a:cxn>
                          <a:cxn ang="T95">
                            <a:pos x="T58" y="T59"/>
                          </a:cxn>
                          <a:cxn ang="T96">
                            <a:pos x="T60" y="T61"/>
                          </a:cxn>
                          <a:cxn ang="T97">
                            <a:pos x="T62" y="T63"/>
                          </a:cxn>
                          <a:cxn ang="T98">
                            <a:pos x="T64" y="T65"/>
                          </a:cxn>
                        </a:cxnLst>
                        <a:rect l="T99" t="T100" r="T101" b="T102"/>
                        <a:pathLst>
                          <a:path w="113" h="87">
                            <a:moveTo>
                              <a:pt x="31" y="2"/>
                            </a:moveTo>
                            <a:cubicBezTo>
                              <a:pt x="39" y="2"/>
                              <a:pt x="47" y="0"/>
                              <a:pt x="53" y="4"/>
                            </a:cubicBezTo>
                            <a:cubicBezTo>
                              <a:pt x="59" y="7"/>
                              <a:pt x="59" y="16"/>
                              <a:pt x="62" y="21"/>
                            </a:cubicBezTo>
                            <a:cubicBezTo>
                              <a:pt x="64" y="23"/>
                              <a:pt x="66" y="25"/>
                              <a:pt x="68" y="26"/>
                            </a:cubicBezTo>
                            <a:cubicBezTo>
                              <a:pt x="71" y="27"/>
                              <a:pt x="74" y="25"/>
                              <a:pt x="76" y="26"/>
                            </a:cubicBezTo>
                            <a:cubicBezTo>
                              <a:pt x="80" y="28"/>
                              <a:pt x="80" y="35"/>
                              <a:pt x="84" y="36"/>
                            </a:cubicBezTo>
                            <a:cubicBezTo>
                              <a:pt x="86" y="37"/>
                              <a:pt x="83" y="30"/>
                              <a:pt x="85" y="29"/>
                            </a:cubicBezTo>
                            <a:cubicBezTo>
                              <a:pt x="88" y="28"/>
                              <a:pt x="92" y="28"/>
                              <a:pt x="93" y="31"/>
                            </a:cubicBezTo>
                            <a:cubicBezTo>
                              <a:pt x="94" y="33"/>
                              <a:pt x="89" y="34"/>
                              <a:pt x="89" y="36"/>
                            </a:cubicBezTo>
                            <a:cubicBezTo>
                              <a:pt x="89" y="38"/>
                              <a:pt x="94" y="39"/>
                              <a:pt x="93" y="41"/>
                            </a:cubicBezTo>
                            <a:cubicBezTo>
                              <a:pt x="93" y="44"/>
                              <a:pt x="84" y="47"/>
                              <a:pt x="87" y="49"/>
                            </a:cubicBezTo>
                            <a:cubicBezTo>
                              <a:pt x="90" y="51"/>
                              <a:pt x="94" y="45"/>
                              <a:pt x="99" y="45"/>
                            </a:cubicBezTo>
                            <a:cubicBezTo>
                              <a:pt x="100" y="45"/>
                              <a:pt x="101" y="48"/>
                              <a:pt x="103" y="48"/>
                            </a:cubicBezTo>
                            <a:cubicBezTo>
                              <a:pt x="104" y="49"/>
                              <a:pt x="105" y="47"/>
                              <a:pt x="106" y="48"/>
                            </a:cubicBezTo>
                            <a:cubicBezTo>
                              <a:pt x="108" y="50"/>
                              <a:pt x="113" y="54"/>
                              <a:pt x="111" y="56"/>
                            </a:cubicBezTo>
                            <a:cubicBezTo>
                              <a:pt x="107" y="60"/>
                              <a:pt x="100" y="59"/>
                              <a:pt x="94" y="61"/>
                            </a:cubicBezTo>
                            <a:cubicBezTo>
                              <a:pt x="92" y="62"/>
                              <a:pt x="91" y="64"/>
                              <a:pt x="90" y="65"/>
                            </a:cubicBezTo>
                            <a:cubicBezTo>
                              <a:pt x="89" y="65"/>
                              <a:pt x="88" y="62"/>
                              <a:pt x="87" y="63"/>
                            </a:cubicBezTo>
                            <a:cubicBezTo>
                              <a:pt x="84" y="66"/>
                              <a:pt x="84" y="73"/>
                              <a:pt x="80" y="73"/>
                            </a:cubicBezTo>
                            <a:cubicBezTo>
                              <a:pt x="76" y="73"/>
                              <a:pt x="79" y="66"/>
                              <a:pt x="77" y="63"/>
                            </a:cubicBezTo>
                            <a:cubicBezTo>
                              <a:pt x="76" y="62"/>
                              <a:pt x="75" y="65"/>
                              <a:pt x="75" y="66"/>
                            </a:cubicBezTo>
                            <a:cubicBezTo>
                              <a:pt x="74" y="70"/>
                              <a:pt x="77" y="74"/>
                              <a:pt x="75" y="76"/>
                            </a:cubicBezTo>
                            <a:cubicBezTo>
                              <a:pt x="74" y="78"/>
                              <a:pt x="71" y="73"/>
                              <a:pt x="69" y="74"/>
                            </a:cubicBezTo>
                            <a:cubicBezTo>
                              <a:pt x="66" y="76"/>
                              <a:pt x="69" y="82"/>
                              <a:pt x="66" y="82"/>
                            </a:cubicBezTo>
                            <a:cubicBezTo>
                              <a:pt x="62" y="83"/>
                              <a:pt x="60" y="78"/>
                              <a:pt x="57" y="76"/>
                            </a:cubicBezTo>
                            <a:cubicBezTo>
                              <a:pt x="55" y="75"/>
                              <a:pt x="52" y="74"/>
                              <a:pt x="53" y="76"/>
                            </a:cubicBezTo>
                            <a:cubicBezTo>
                              <a:pt x="54" y="79"/>
                              <a:pt x="62" y="80"/>
                              <a:pt x="60" y="83"/>
                            </a:cubicBezTo>
                            <a:cubicBezTo>
                              <a:pt x="58" y="86"/>
                              <a:pt x="53" y="79"/>
                              <a:pt x="49" y="80"/>
                            </a:cubicBezTo>
                            <a:cubicBezTo>
                              <a:pt x="47" y="80"/>
                              <a:pt x="51" y="85"/>
                              <a:pt x="49" y="86"/>
                            </a:cubicBezTo>
                            <a:cubicBezTo>
                              <a:pt x="45" y="87"/>
                              <a:pt x="40" y="85"/>
                              <a:pt x="35" y="84"/>
                            </a:cubicBezTo>
                            <a:cubicBezTo>
                              <a:pt x="32" y="83"/>
                              <a:pt x="26" y="83"/>
                              <a:pt x="26" y="79"/>
                            </a:cubicBezTo>
                            <a:cubicBezTo>
                              <a:pt x="25" y="76"/>
                              <a:pt x="35" y="79"/>
                              <a:pt x="34" y="76"/>
                            </a:cubicBezTo>
                            <a:cubicBezTo>
                              <a:pt x="34" y="73"/>
                              <a:pt x="28" y="76"/>
                              <a:pt x="25" y="74"/>
                            </a:cubicBezTo>
                            <a:cubicBezTo>
                              <a:pt x="24" y="73"/>
                              <a:pt x="24" y="72"/>
                              <a:pt x="24" y="70"/>
                            </a:cubicBezTo>
                            <a:cubicBezTo>
                              <a:pt x="24" y="69"/>
                              <a:pt x="27" y="69"/>
                              <a:pt x="26" y="68"/>
                            </a:cubicBezTo>
                            <a:cubicBezTo>
                              <a:pt x="25" y="66"/>
                              <a:pt x="19" y="67"/>
                              <a:pt x="20" y="65"/>
                            </a:cubicBezTo>
                            <a:cubicBezTo>
                              <a:pt x="22" y="61"/>
                              <a:pt x="27" y="59"/>
                              <a:pt x="31" y="58"/>
                            </a:cubicBezTo>
                            <a:cubicBezTo>
                              <a:pt x="35" y="57"/>
                              <a:pt x="40" y="58"/>
                              <a:pt x="45" y="58"/>
                            </a:cubicBezTo>
                            <a:cubicBezTo>
                              <a:pt x="46" y="58"/>
                              <a:pt x="50" y="57"/>
                              <a:pt x="49" y="56"/>
                            </a:cubicBezTo>
                            <a:cubicBezTo>
                              <a:pt x="46" y="55"/>
                              <a:pt x="42" y="57"/>
                              <a:pt x="39" y="56"/>
                            </a:cubicBezTo>
                            <a:cubicBezTo>
                              <a:pt x="38" y="55"/>
                              <a:pt x="42" y="54"/>
                              <a:pt x="41" y="52"/>
                            </a:cubicBezTo>
                            <a:cubicBezTo>
                              <a:pt x="40" y="51"/>
                              <a:pt x="37" y="50"/>
                              <a:pt x="34" y="51"/>
                            </a:cubicBezTo>
                            <a:cubicBezTo>
                              <a:pt x="31" y="51"/>
                              <a:pt x="29" y="54"/>
                              <a:pt x="26" y="55"/>
                            </a:cubicBezTo>
                            <a:cubicBezTo>
                              <a:pt x="24" y="55"/>
                              <a:pt x="23" y="53"/>
                              <a:pt x="21" y="53"/>
                            </a:cubicBezTo>
                            <a:cubicBezTo>
                              <a:pt x="18" y="53"/>
                              <a:pt x="15" y="57"/>
                              <a:pt x="12" y="56"/>
                            </a:cubicBezTo>
                            <a:cubicBezTo>
                              <a:pt x="9" y="55"/>
                              <a:pt x="5" y="51"/>
                              <a:pt x="7" y="49"/>
                            </a:cubicBezTo>
                            <a:cubicBezTo>
                              <a:pt x="10" y="46"/>
                              <a:pt x="16" y="49"/>
                              <a:pt x="20" y="48"/>
                            </a:cubicBezTo>
                            <a:cubicBezTo>
                              <a:pt x="22" y="47"/>
                              <a:pt x="19" y="45"/>
                              <a:pt x="17" y="45"/>
                            </a:cubicBezTo>
                            <a:cubicBezTo>
                              <a:pt x="14" y="45"/>
                              <a:pt x="10" y="48"/>
                              <a:pt x="6" y="47"/>
                            </a:cubicBezTo>
                            <a:cubicBezTo>
                              <a:pt x="3" y="46"/>
                              <a:pt x="2" y="42"/>
                              <a:pt x="1" y="39"/>
                            </a:cubicBezTo>
                            <a:cubicBezTo>
                              <a:pt x="0" y="38"/>
                              <a:pt x="0" y="35"/>
                              <a:pt x="2" y="35"/>
                            </a:cubicBezTo>
                            <a:cubicBezTo>
                              <a:pt x="8" y="35"/>
                              <a:pt x="14" y="40"/>
                              <a:pt x="20" y="39"/>
                            </a:cubicBezTo>
                            <a:cubicBezTo>
                              <a:pt x="22" y="39"/>
                              <a:pt x="25" y="35"/>
                              <a:pt x="23" y="34"/>
                            </a:cubicBezTo>
                            <a:cubicBezTo>
                              <a:pt x="20" y="32"/>
                              <a:pt x="17" y="35"/>
                              <a:pt x="14" y="35"/>
                            </a:cubicBezTo>
                            <a:cubicBezTo>
                              <a:pt x="11" y="34"/>
                              <a:pt x="9" y="33"/>
                              <a:pt x="8" y="31"/>
                            </a:cubicBezTo>
                            <a:cubicBezTo>
                              <a:pt x="7" y="30"/>
                              <a:pt x="8" y="28"/>
                              <a:pt x="9" y="27"/>
                            </a:cubicBezTo>
                            <a:cubicBezTo>
                              <a:pt x="12" y="25"/>
                              <a:pt x="16" y="25"/>
                              <a:pt x="20" y="25"/>
                            </a:cubicBezTo>
                            <a:cubicBezTo>
                              <a:pt x="23" y="25"/>
                              <a:pt x="27" y="27"/>
                              <a:pt x="29" y="25"/>
                            </a:cubicBezTo>
                            <a:cubicBezTo>
                              <a:pt x="30" y="23"/>
                              <a:pt x="26" y="22"/>
                              <a:pt x="24" y="21"/>
                            </a:cubicBezTo>
                            <a:cubicBezTo>
                              <a:pt x="22" y="20"/>
                              <a:pt x="18" y="20"/>
                              <a:pt x="18" y="18"/>
                            </a:cubicBezTo>
                            <a:cubicBezTo>
                              <a:pt x="19" y="15"/>
                              <a:pt x="22" y="13"/>
                              <a:pt x="25" y="13"/>
                            </a:cubicBezTo>
                            <a:cubicBezTo>
                              <a:pt x="28" y="12"/>
                              <a:pt x="30" y="15"/>
                              <a:pt x="32" y="14"/>
                            </a:cubicBezTo>
                            <a:cubicBezTo>
                              <a:pt x="36" y="14"/>
                              <a:pt x="40" y="12"/>
                              <a:pt x="43" y="10"/>
                            </a:cubicBezTo>
                            <a:cubicBezTo>
                              <a:pt x="44" y="9"/>
                              <a:pt x="42" y="8"/>
                              <a:pt x="41" y="8"/>
                            </a:cubicBezTo>
                            <a:cubicBezTo>
                              <a:pt x="37" y="7"/>
                              <a:pt x="33" y="9"/>
                              <a:pt x="29" y="8"/>
                            </a:cubicBezTo>
                            <a:cubicBezTo>
                              <a:pt x="28" y="8"/>
                              <a:pt x="28" y="5"/>
                              <a:pt x="28" y="4"/>
                            </a:cubicBezTo>
                            <a:cubicBezTo>
                              <a:pt x="28" y="3"/>
                              <a:pt x="30" y="2"/>
                              <a:pt x="31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92" name="Freeform 3597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972293" y="1459265"/>
                        <a:ext cx="440686" cy="177762"/>
                      </a:xfrm>
                      <a:custGeom>
                        <a:avLst/>
                        <a:gdLst>
                          <a:gd name="T0" fmla="*/ 68 w 328"/>
                          <a:gd name="T1" fmla="*/ 99 h 178"/>
                          <a:gd name="T2" fmla="*/ 88 w 328"/>
                          <a:gd name="T3" fmla="*/ 120 h 178"/>
                          <a:gd name="T4" fmla="*/ 77 w 328"/>
                          <a:gd name="T5" fmla="*/ 130 h 178"/>
                          <a:gd name="T6" fmla="*/ 100 w 328"/>
                          <a:gd name="T7" fmla="*/ 137 h 178"/>
                          <a:gd name="T8" fmla="*/ 70 w 328"/>
                          <a:gd name="T9" fmla="*/ 133 h 178"/>
                          <a:gd name="T10" fmla="*/ 40 w 328"/>
                          <a:gd name="T11" fmla="*/ 155 h 178"/>
                          <a:gd name="T12" fmla="*/ 71 w 328"/>
                          <a:gd name="T13" fmla="*/ 145 h 178"/>
                          <a:gd name="T14" fmla="*/ 60 w 328"/>
                          <a:gd name="T15" fmla="*/ 164 h 178"/>
                          <a:gd name="T16" fmla="*/ 68 w 328"/>
                          <a:gd name="T17" fmla="*/ 174 h 178"/>
                          <a:gd name="T18" fmla="*/ 96 w 328"/>
                          <a:gd name="T19" fmla="*/ 167 h 178"/>
                          <a:gd name="T20" fmla="*/ 54 w 328"/>
                          <a:gd name="T21" fmla="*/ 177 h 178"/>
                          <a:gd name="T22" fmla="*/ 30 w 328"/>
                          <a:gd name="T23" fmla="*/ 176 h 178"/>
                          <a:gd name="T24" fmla="*/ 22 w 328"/>
                          <a:gd name="T25" fmla="*/ 185 h 178"/>
                          <a:gd name="T26" fmla="*/ 11 w 328"/>
                          <a:gd name="T27" fmla="*/ 201 h 178"/>
                          <a:gd name="T28" fmla="*/ 20 w 328"/>
                          <a:gd name="T29" fmla="*/ 208 h 178"/>
                          <a:gd name="T30" fmla="*/ 48 w 328"/>
                          <a:gd name="T31" fmla="*/ 208 h 178"/>
                          <a:gd name="T32" fmla="*/ 60 w 328"/>
                          <a:gd name="T33" fmla="*/ 206 h 178"/>
                          <a:gd name="T34" fmla="*/ 85 w 328"/>
                          <a:gd name="T35" fmla="*/ 198 h 178"/>
                          <a:gd name="T36" fmla="*/ 94 w 328"/>
                          <a:gd name="T37" fmla="*/ 196 h 178"/>
                          <a:gd name="T38" fmla="*/ 108 w 328"/>
                          <a:gd name="T39" fmla="*/ 213 h 178"/>
                          <a:gd name="T40" fmla="*/ 151 w 328"/>
                          <a:gd name="T41" fmla="*/ 198 h 178"/>
                          <a:gd name="T42" fmla="*/ 131 w 328"/>
                          <a:gd name="T43" fmla="*/ 182 h 178"/>
                          <a:gd name="T44" fmla="*/ 103 w 328"/>
                          <a:gd name="T45" fmla="*/ 180 h 178"/>
                          <a:gd name="T46" fmla="*/ 126 w 328"/>
                          <a:gd name="T47" fmla="*/ 179 h 178"/>
                          <a:gd name="T48" fmla="*/ 172 w 328"/>
                          <a:gd name="T49" fmla="*/ 161 h 178"/>
                          <a:gd name="T50" fmla="*/ 199 w 328"/>
                          <a:gd name="T51" fmla="*/ 142 h 178"/>
                          <a:gd name="T52" fmla="*/ 171 w 328"/>
                          <a:gd name="T53" fmla="*/ 127 h 178"/>
                          <a:gd name="T54" fmla="*/ 209 w 328"/>
                          <a:gd name="T55" fmla="*/ 129 h 178"/>
                          <a:gd name="T56" fmla="*/ 209 w 328"/>
                          <a:gd name="T57" fmla="*/ 115 h 178"/>
                          <a:gd name="T58" fmla="*/ 225 w 328"/>
                          <a:gd name="T59" fmla="*/ 106 h 178"/>
                          <a:gd name="T60" fmla="*/ 245 w 328"/>
                          <a:gd name="T61" fmla="*/ 96 h 178"/>
                          <a:gd name="T62" fmla="*/ 308 w 328"/>
                          <a:gd name="T63" fmla="*/ 72 h 178"/>
                          <a:gd name="T64" fmla="*/ 332 w 328"/>
                          <a:gd name="T65" fmla="*/ 54 h 178"/>
                          <a:gd name="T66" fmla="*/ 342 w 328"/>
                          <a:gd name="T67" fmla="*/ 47 h 178"/>
                          <a:gd name="T68" fmla="*/ 384 w 328"/>
                          <a:gd name="T69" fmla="*/ 22 h 178"/>
                          <a:gd name="T70" fmla="*/ 342 w 328"/>
                          <a:gd name="T71" fmla="*/ 11 h 178"/>
                          <a:gd name="T72" fmla="*/ 324 w 328"/>
                          <a:gd name="T73" fmla="*/ 6 h 178"/>
                          <a:gd name="T74" fmla="*/ 268 w 328"/>
                          <a:gd name="T75" fmla="*/ 7 h 178"/>
                          <a:gd name="T76" fmla="*/ 240 w 328"/>
                          <a:gd name="T77" fmla="*/ 14 h 178"/>
                          <a:gd name="T78" fmla="*/ 192 w 328"/>
                          <a:gd name="T79" fmla="*/ 2 h 178"/>
                          <a:gd name="T80" fmla="*/ 174 w 328"/>
                          <a:gd name="T81" fmla="*/ 12 h 178"/>
                          <a:gd name="T82" fmla="*/ 155 w 328"/>
                          <a:gd name="T83" fmla="*/ 18 h 178"/>
                          <a:gd name="T84" fmla="*/ 133 w 328"/>
                          <a:gd name="T85" fmla="*/ 18 h 178"/>
                          <a:gd name="T86" fmla="*/ 150 w 328"/>
                          <a:gd name="T87" fmla="*/ 35 h 178"/>
                          <a:gd name="T88" fmla="*/ 121 w 328"/>
                          <a:gd name="T89" fmla="*/ 35 h 178"/>
                          <a:gd name="T90" fmla="*/ 78 w 328"/>
                          <a:gd name="T91" fmla="*/ 23 h 178"/>
                          <a:gd name="T92" fmla="*/ 70 w 328"/>
                          <a:gd name="T93" fmla="*/ 38 h 178"/>
                          <a:gd name="T94" fmla="*/ 84 w 328"/>
                          <a:gd name="T95" fmla="*/ 60 h 178"/>
                          <a:gd name="T96" fmla="*/ 42 w 328"/>
                          <a:gd name="T97" fmla="*/ 70 h 178"/>
                          <a:gd name="T98" fmla="*/ 91 w 328"/>
                          <a:gd name="T99" fmla="*/ 66 h 178"/>
                          <a:gd name="T100" fmla="*/ 76 w 328"/>
                          <a:gd name="T101" fmla="*/ 79 h 178"/>
                          <a:gd name="T102" fmla="*/ 108 w 328"/>
                          <a:gd name="T103" fmla="*/ 81 h 178"/>
                          <a:gd name="T104" fmla="*/ 127 w 328"/>
                          <a:gd name="T105" fmla="*/ 85 h 178"/>
                          <a:gd name="T106" fmla="*/ 183 w 328"/>
                          <a:gd name="T107" fmla="*/ 54 h 178"/>
                          <a:gd name="T108" fmla="*/ 197 w 328"/>
                          <a:gd name="T109" fmla="*/ 71 h 178"/>
                          <a:gd name="T110" fmla="*/ 145 w 328"/>
                          <a:gd name="T111" fmla="*/ 82 h 178"/>
                          <a:gd name="T112" fmla="*/ 141 w 328"/>
                          <a:gd name="T113" fmla="*/ 88 h 178"/>
                          <a:gd name="T114" fmla="*/ 123 w 328"/>
                          <a:gd name="T115" fmla="*/ 107 h 178"/>
                          <a:gd name="T116" fmla="*/ 118 w 328"/>
                          <a:gd name="T117" fmla="*/ 111 h 178"/>
                          <a:gd name="T118" fmla="*/ 0 60000 65536"/>
                          <a:gd name="T119" fmla="*/ 0 60000 65536"/>
                          <a:gd name="T120" fmla="*/ 0 60000 65536"/>
                          <a:gd name="T121" fmla="*/ 0 60000 65536"/>
                          <a:gd name="T122" fmla="*/ 0 60000 65536"/>
                          <a:gd name="T123" fmla="*/ 0 60000 65536"/>
                          <a:gd name="T124" fmla="*/ 0 60000 65536"/>
                          <a:gd name="T125" fmla="*/ 0 60000 65536"/>
                          <a:gd name="T126" fmla="*/ 0 60000 65536"/>
                          <a:gd name="T127" fmla="*/ 0 60000 65536"/>
                          <a:gd name="T128" fmla="*/ 0 60000 65536"/>
                          <a:gd name="T129" fmla="*/ 0 60000 65536"/>
                          <a:gd name="T130" fmla="*/ 0 60000 65536"/>
                          <a:gd name="T131" fmla="*/ 0 60000 65536"/>
                          <a:gd name="T132" fmla="*/ 0 60000 65536"/>
                          <a:gd name="T133" fmla="*/ 0 60000 65536"/>
                          <a:gd name="T134" fmla="*/ 0 60000 65536"/>
                          <a:gd name="T135" fmla="*/ 0 60000 65536"/>
                          <a:gd name="T136" fmla="*/ 0 60000 65536"/>
                          <a:gd name="T137" fmla="*/ 0 60000 65536"/>
                          <a:gd name="T138" fmla="*/ 0 60000 65536"/>
                          <a:gd name="T139" fmla="*/ 0 60000 65536"/>
                          <a:gd name="T140" fmla="*/ 0 60000 65536"/>
                          <a:gd name="T141" fmla="*/ 0 60000 65536"/>
                          <a:gd name="T142" fmla="*/ 0 60000 65536"/>
                          <a:gd name="T143" fmla="*/ 0 60000 65536"/>
                          <a:gd name="T144" fmla="*/ 0 60000 65536"/>
                          <a:gd name="T145" fmla="*/ 0 60000 65536"/>
                          <a:gd name="T146" fmla="*/ 0 60000 65536"/>
                          <a:gd name="T147" fmla="*/ 0 60000 65536"/>
                          <a:gd name="T148" fmla="*/ 0 60000 65536"/>
                          <a:gd name="T149" fmla="*/ 0 60000 65536"/>
                          <a:gd name="T150" fmla="*/ 0 60000 65536"/>
                          <a:gd name="T151" fmla="*/ 0 60000 65536"/>
                          <a:gd name="T152" fmla="*/ 0 60000 65536"/>
                          <a:gd name="T153" fmla="*/ 0 60000 65536"/>
                          <a:gd name="T154" fmla="*/ 0 60000 65536"/>
                          <a:gd name="T155" fmla="*/ 0 60000 65536"/>
                          <a:gd name="T156" fmla="*/ 0 60000 65536"/>
                          <a:gd name="T157" fmla="*/ 0 60000 65536"/>
                          <a:gd name="T158" fmla="*/ 0 60000 65536"/>
                          <a:gd name="T159" fmla="*/ 0 60000 65536"/>
                          <a:gd name="T160" fmla="*/ 0 60000 65536"/>
                          <a:gd name="T161" fmla="*/ 0 60000 65536"/>
                          <a:gd name="T162" fmla="*/ 0 60000 65536"/>
                          <a:gd name="T163" fmla="*/ 0 60000 65536"/>
                          <a:gd name="T164" fmla="*/ 0 60000 65536"/>
                          <a:gd name="T165" fmla="*/ 0 60000 65536"/>
                          <a:gd name="T166" fmla="*/ 0 60000 65536"/>
                          <a:gd name="T167" fmla="*/ 0 60000 65536"/>
                          <a:gd name="T168" fmla="*/ 0 60000 65536"/>
                          <a:gd name="T169" fmla="*/ 0 60000 65536"/>
                          <a:gd name="T170" fmla="*/ 0 60000 65536"/>
                          <a:gd name="T171" fmla="*/ 0 60000 65536"/>
                          <a:gd name="T172" fmla="*/ 0 60000 65536"/>
                          <a:gd name="T173" fmla="*/ 0 60000 65536"/>
                          <a:gd name="T174" fmla="*/ 0 60000 65536"/>
                          <a:gd name="T175" fmla="*/ 0 60000 65536"/>
                          <a:gd name="T176" fmla="*/ 0 60000 65536"/>
                          <a:gd name="T177" fmla="*/ 0 w 328"/>
                          <a:gd name="T178" fmla="*/ 0 h 178"/>
                          <a:gd name="T179" fmla="*/ 328 w 328"/>
                          <a:gd name="T180" fmla="*/ 178 h 178"/>
                        </a:gdLst>
                        <a:ahLst/>
                        <a:cxnLst>
                          <a:cxn ang="T118">
                            <a:pos x="T0" y="T1"/>
                          </a:cxn>
                          <a:cxn ang="T119">
                            <a:pos x="T2" y="T3"/>
                          </a:cxn>
                          <a:cxn ang="T120">
                            <a:pos x="T4" y="T5"/>
                          </a:cxn>
                          <a:cxn ang="T121">
                            <a:pos x="T6" y="T7"/>
                          </a:cxn>
                          <a:cxn ang="T122">
                            <a:pos x="T8" y="T9"/>
                          </a:cxn>
                          <a:cxn ang="T123">
                            <a:pos x="T10" y="T11"/>
                          </a:cxn>
                          <a:cxn ang="T124">
                            <a:pos x="T12" y="T13"/>
                          </a:cxn>
                          <a:cxn ang="T125">
                            <a:pos x="T14" y="T15"/>
                          </a:cxn>
                          <a:cxn ang="T126">
                            <a:pos x="T16" y="T17"/>
                          </a:cxn>
                          <a:cxn ang="T127">
                            <a:pos x="T18" y="T19"/>
                          </a:cxn>
                          <a:cxn ang="T128">
                            <a:pos x="T20" y="T21"/>
                          </a:cxn>
                          <a:cxn ang="T129">
                            <a:pos x="T22" y="T23"/>
                          </a:cxn>
                          <a:cxn ang="T130">
                            <a:pos x="T24" y="T25"/>
                          </a:cxn>
                          <a:cxn ang="T131">
                            <a:pos x="T26" y="T27"/>
                          </a:cxn>
                          <a:cxn ang="T132">
                            <a:pos x="T28" y="T29"/>
                          </a:cxn>
                          <a:cxn ang="T133">
                            <a:pos x="T30" y="T31"/>
                          </a:cxn>
                          <a:cxn ang="T134">
                            <a:pos x="T32" y="T33"/>
                          </a:cxn>
                          <a:cxn ang="T135">
                            <a:pos x="T34" y="T35"/>
                          </a:cxn>
                          <a:cxn ang="T136">
                            <a:pos x="T36" y="T37"/>
                          </a:cxn>
                          <a:cxn ang="T137">
                            <a:pos x="T38" y="T39"/>
                          </a:cxn>
                          <a:cxn ang="T138">
                            <a:pos x="T40" y="T41"/>
                          </a:cxn>
                          <a:cxn ang="T139">
                            <a:pos x="T42" y="T43"/>
                          </a:cxn>
                          <a:cxn ang="T140">
                            <a:pos x="T44" y="T45"/>
                          </a:cxn>
                          <a:cxn ang="T141">
                            <a:pos x="T46" y="T47"/>
                          </a:cxn>
                          <a:cxn ang="T142">
                            <a:pos x="T48" y="T49"/>
                          </a:cxn>
                          <a:cxn ang="T143">
                            <a:pos x="T50" y="T51"/>
                          </a:cxn>
                          <a:cxn ang="T144">
                            <a:pos x="T52" y="T53"/>
                          </a:cxn>
                          <a:cxn ang="T145">
                            <a:pos x="T54" y="T55"/>
                          </a:cxn>
                          <a:cxn ang="T146">
                            <a:pos x="T56" y="T57"/>
                          </a:cxn>
                          <a:cxn ang="T147">
                            <a:pos x="T58" y="T59"/>
                          </a:cxn>
                          <a:cxn ang="T148">
                            <a:pos x="T60" y="T61"/>
                          </a:cxn>
                          <a:cxn ang="T149">
                            <a:pos x="T62" y="T63"/>
                          </a:cxn>
                          <a:cxn ang="T150">
                            <a:pos x="T64" y="T65"/>
                          </a:cxn>
                          <a:cxn ang="T151">
                            <a:pos x="T66" y="T67"/>
                          </a:cxn>
                          <a:cxn ang="T152">
                            <a:pos x="T68" y="T69"/>
                          </a:cxn>
                          <a:cxn ang="T153">
                            <a:pos x="T70" y="T71"/>
                          </a:cxn>
                          <a:cxn ang="T154">
                            <a:pos x="T72" y="T73"/>
                          </a:cxn>
                          <a:cxn ang="T155">
                            <a:pos x="T74" y="T75"/>
                          </a:cxn>
                          <a:cxn ang="T156">
                            <a:pos x="T76" y="T77"/>
                          </a:cxn>
                          <a:cxn ang="T157">
                            <a:pos x="T78" y="T79"/>
                          </a:cxn>
                          <a:cxn ang="T158">
                            <a:pos x="T80" y="T81"/>
                          </a:cxn>
                          <a:cxn ang="T159">
                            <a:pos x="T82" y="T83"/>
                          </a:cxn>
                          <a:cxn ang="T160">
                            <a:pos x="T84" y="T85"/>
                          </a:cxn>
                          <a:cxn ang="T161">
                            <a:pos x="T86" y="T87"/>
                          </a:cxn>
                          <a:cxn ang="T162">
                            <a:pos x="T88" y="T89"/>
                          </a:cxn>
                          <a:cxn ang="T163">
                            <a:pos x="T90" y="T91"/>
                          </a:cxn>
                          <a:cxn ang="T164">
                            <a:pos x="T92" y="T93"/>
                          </a:cxn>
                          <a:cxn ang="T165">
                            <a:pos x="T94" y="T95"/>
                          </a:cxn>
                          <a:cxn ang="T166">
                            <a:pos x="T96" y="T97"/>
                          </a:cxn>
                          <a:cxn ang="T167">
                            <a:pos x="T98" y="T99"/>
                          </a:cxn>
                          <a:cxn ang="T168">
                            <a:pos x="T100" y="T101"/>
                          </a:cxn>
                          <a:cxn ang="T169">
                            <a:pos x="T102" y="T103"/>
                          </a:cxn>
                          <a:cxn ang="T170">
                            <a:pos x="T104" y="T105"/>
                          </a:cxn>
                          <a:cxn ang="T171">
                            <a:pos x="T106" y="T107"/>
                          </a:cxn>
                          <a:cxn ang="T172">
                            <a:pos x="T108" y="T109"/>
                          </a:cxn>
                          <a:cxn ang="T173">
                            <a:pos x="T110" y="T111"/>
                          </a:cxn>
                          <a:cxn ang="T174">
                            <a:pos x="T112" y="T113"/>
                          </a:cxn>
                          <a:cxn ang="T175">
                            <a:pos x="T114" y="T115"/>
                          </a:cxn>
                          <a:cxn ang="T176">
                            <a:pos x="T116" y="T117"/>
                          </a:cxn>
                        </a:cxnLst>
                        <a:rect l="T177" t="T178" r="T179" b="T180"/>
                        <a:pathLst>
                          <a:path w="328" h="178">
                            <a:moveTo>
                              <a:pt x="82" y="78"/>
                            </a:moveTo>
                            <a:cubicBezTo>
                              <a:pt x="78" y="76"/>
                              <a:pt x="75" y="76"/>
                              <a:pt x="71" y="76"/>
                            </a:cubicBezTo>
                            <a:cubicBezTo>
                              <a:pt x="67" y="76"/>
                              <a:pt x="63" y="74"/>
                              <a:pt x="58" y="75"/>
                            </a:cubicBezTo>
                            <a:cubicBezTo>
                              <a:pt x="57" y="75"/>
                              <a:pt x="56" y="77"/>
                              <a:pt x="55" y="78"/>
                            </a:cubicBezTo>
                            <a:cubicBezTo>
                              <a:pt x="55" y="79"/>
                              <a:pt x="57" y="81"/>
                              <a:pt x="57" y="82"/>
                            </a:cubicBezTo>
                            <a:cubicBezTo>
                              <a:pt x="57" y="83"/>
                              <a:pt x="55" y="83"/>
                              <a:pt x="54" y="84"/>
                            </a:cubicBezTo>
                            <a:cubicBezTo>
                              <a:pt x="54" y="85"/>
                              <a:pt x="53" y="87"/>
                              <a:pt x="54" y="88"/>
                            </a:cubicBezTo>
                            <a:cubicBezTo>
                              <a:pt x="57" y="90"/>
                              <a:pt x="60" y="90"/>
                              <a:pt x="63" y="91"/>
                            </a:cubicBezTo>
                            <a:cubicBezTo>
                              <a:pt x="65" y="92"/>
                              <a:pt x="67" y="93"/>
                              <a:pt x="69" y="95"/>
                            </a:cubicBezTo>
                            <a:cubicBezTo>
                              <a:pt x="70" y="96"/>
                              <a:pt x="71" y="98"/>
                              <a:pt x="73" y="100"/>
                            </a:cubicBezTo>
                            <a:cubicBezTo>
                              <a:pt x="74" y="101"/>
                              <a:pt x="76" y="102"/>
                              <a:pt x="78" y="104"/>
                            </a:cubicBezTo>
                            <a:cubicBezTo>
                              <a:pt x="79" y="105"/>
                              <a:pt x="82" y="107"/>
                              <a:pt x="80" y="107"/>
                            </a:cubicBezTo>
                            <a:cubicBezTo>
                              <a:pt x="78" y="108"/>
                              <a:pt x="75" y="106"/>
                              <a:pt x="72" y="105"/>
                            </a:cubicBezTo>
                            <a:cubicBezTo>
                              <a:pt x="70" y="105"/>
                              <a:pt x="67" y="104"/>
                              <a:pt x="65" y="104"/>
                            </a:cubicBezTo>
                            <a:cubicBezTo>
                              <a:pt x="64" y="105"/>
                              <a:pt x="63" y="107"/>
                              <a:pt x="64" y="108"/>
                            </a:cubicBezTo>
                            <a:cubicBezTo>
                              <a:pt x="66" y="110"/>
                              <a:pt x="69" y="111"/>
                              <a:pt x="71" y="111"/>
                            </a:cubicBezTo>
                            <a:cubicBezTo>
                              <a:pt x="76" y="111"/>
                              <a:pt x="81" y="110"/>
                              <a:pt x="86" y="110"/>
                            </a:cubicBezTo>
                            <a:cubicBezTo>
                              <a:pt x="89" y="110"/>
                              <a:pt x="92" y="109"/>
                              <a:pt x="95" y="110"/>
                            </a:cubicBezTo>
                            <a:cubicBezTo>
                              <a:pt x="96" y="110"/>
                              <a:pt x="96" y="113"/>
                              <a:pt x="95" y="113"/>
                            </a:cubicBezTo>
                            <a:cubicBezTo>
                              <a:pt x="91" y="115"/>
                              <a:pt x="87" y="113"/>
                              <a:pt x="83" y="114"/>
                            </a:cubicBezTo>
                            <a:cubicBezTo>
                              <a:pt x="82" y="115"/>
                              <a:pt x="87" y="115"/>
                              <a:pt x="88" y="117"/>
                            </a:cubicBezTo>
                            <a:cubicBezTo>
                              <a:pt x="88" y="117"/>
                              <a:pt x="88" y="119"/>
                              <a:pt x="87" y="119"/>
                            </a:cubicBezTo>
                            <a:cubicBezTo>
                              <a:pt x="84" y="119"/>
                              <a:pt x="81" y="116"/>
                              <a:pt x="77" y="115"/>
                            </a:cubicBezTo>
                            <a:cubicBezTo>
                              <a:pt x="73" y="114"/>
                              <a:pt x="69" y="115"/>
                              <a:pt x="66" y="114"/>
                            </a:cubicBezTo>
                            <a:cubicBezTo>
                              <a:pt x="63" y="113"/>
                              <a:pt x="61" y="111"/>
                              <a:pt x="58" y="111"/>
                            </a:cubicBezTo>
                            <a:cubicBezTo>
                              <a:pt x="57" y="111"/>
                              <a:pt x="55" y="112"/>
                              <a:pt x="53" y="113"/>
                            </a:cubicBezTo>
                            <a:cubicBezTo>
                              <a:pt x="49" y="114"/>
                              <a:pt x="44" y="113"/>
                              <a:pt x="40" y="114"/>
                            </a:cubicBezTo>
                            <a:cubicBezTo>
                              <a:pt x="39" y="115"/>
                              <a:pt x="40" y="118"/>
                              <a:pt x="40" y="119"/>
                            </a:cubicBezTo>
                            <a:cubicBezTo>
                              <a:pt x="38" y="121"/>
                              <a:pt x="35" y="121"/>
                              <a:pt x="33" y="123"/>
                            </a:cubicBezTo>
                            <a:cubicBezTo>
                              <a:pt x="32" y="125"/>
                              <a:pt x="32" y="127"/>
                              <a:pt x="33" y="129"/>
                            </a:cubicBezTo>
                            <a:cubicBezTo>
                              <a:pt x="35" y="130"/>
                              <a:pt x="37" y="130"/>
                              <a:pt x="39" y="130"/>
                            </a:cubicBezTo>
                            <a:cubicBezTo>
                              <a:pt x="41" y="130"/>
                              <a:pt x="42" y="128"/>
                              <a:pt x="44" y="128"/>
                            </a:cubicBezTo>
                            <a:cubicBezTo>
                              <a:pt x="45" y="128"/>
                              <a:pt x="44" y="130"/>
                              <a:pt x="45" y="130"/>
                            </a:cubicBezTo>
                            <a:cubicBezTo>
                              <a:pt x="47" y="130"/>
                              <a:pt x="49" y="129"/>
                              <a:pt x="51" y="128"/>
                            </a:cubicBezTo>
                            <a:cubicBezTo>
                              <a:pt x="54" y="126"/>
                              <a:pt x="56" y="123"/>
                              <a:pt x="59" y="121"/>
                            </a:cubicBezTo>
                            <a:cubicBezTo>
                              <a:pt x="60" y="120"/>
                              <a:pt x="61" y="120"/>
                              <a:pt x="61" y="121"/>
                            </a:cubicBezTo>
                            <a:cubicBezTo>
                              <a:pt x="61" y="123"/>
                              <a:pt x="58" y="125"/>
                              <a:pt x="58" y="126"/>
                            </a:cubicBezTo>
                            <a:cubicBezTo>
                              <a:pt x="59" y="128"/>
                              <a:pt x="65" y="126"/>
                              <a:pt x="64" y="128"/>
                            </a:cubicBezTo>
                            <a:cubicBezTo>
                              <a:pt x="62" y="129"/>
                              <a:pt x="58" y="127"/>
                              <a:pt x="56" y="129"/>
                            </a:cubicBezTo>
                            <a:cubicBezTo>
                              <a:pt x="53" y="130"/>
                              <a:pt x="51" y="133"/>
                              <a:pt x="50" y="136"/>
                            </a:cubicBezTo>
                            <a:cubicBezTo>
                              <a:pt x="50" y="137"/>
                              <a:pt x="53" y="135"/>
                              <a:pt x="53" y="136"/>
                            </a:cubicBezTo>
                            <a:cubicBezTo>
                              <a:pt x="54" y="137"/>
                              <a:pt x="53" y="138"/>
                              <a:pt x="53" y="139"/>
                            </a:cubicBezTo>
                            <a:cubicBezTo>
                              <a:pt x="53" y="140"/>
                              <a:pt x="52" y="141"/>
                              <a:pt x="53" y="142"/>
                            </a:cubicBezTo>
                            <a:cubicBezTo>
                              <a:pt x="53" y="143"/>
                              <a:pt x="55" y="141"/>
                              <a:pt x="55" y="142"/>
                            </a:cubicBezTo>
                            <a:cubicBezTo>
                              <a:pt x="56" y="143"/>
                              <a:pt x="56" y="145"/>
                              <a:pt x="57" y="145"/>
                            </a:cubicBezTo>
                            <a:cubicBezTo>
                              <a:pt x="59" y="146"/>
                              <a:pt x="62" y="146"/>
                              <a:pt x="64" y="146"/>
                            </a:cubicBezTo>
                            <a:cubicBezTo>
                              <a:pt x="68" y="145"/>
                              <a:pt x="71" y="143"/>
                              <a:pt x="74" y="142"/>
                            </a:cubicBezTo>
                            <a:cubicBezTo>
                              <a:pt x="77" y="139"/>
                              <a:pt x="80" y="135"/>
                              <a:pt x="84" y="132"/>
                            </a:cubicBezTo>
                            <a:cubicBezTo>
                              <a:pt x="84" y="132"/>
                              <a:pt x="86" y="131"/>
                              <a:pt x="86" y="132"/>
                            </a:cubicBezTo>
                            <a:cubicBezTo>
                              <a:pt x="85" y="135"/>
                              <a:pt x="82" y="137"/>
                              <a:pt x="80" y="139"/>
                            </a:cubicBezTo>
                            <a:cubicBezTo>
                              <a:pt x="78" y="141"/>
                              <a:pt x="76" y="143"/>
                              <a:pt x="74" y="145"/>
                            </a:cubicBezTo>
                            <a:cubicBezTo>
                              <a:pt x="73" y="146"/>
                              <a:pt x="71" y="147"/>
                              <a:pt x="69" y="148"/>
                            </a:cubicBezTo>
                            <a:cubicBezTo>
                              <a:pt x="66" y="148"/>
                              <a:pt x="62" y="147"/>
                              <a:pt x="59" y="148"/>
                            </a:cubicBezTo>
                            <a:cubicBezTo>
                              <a:pt x="58" y="149"/>
                              <a:pt x="60" y="152"/>
                              <a:pt x="59" y="151"/>
                            </a:cubicBezTo>
                            <a:cubicBezTo>
                              <a:pt x="54" y="151"/>
                              <a:pt x="49" y="150"/>
                              <a:pt x="45" y="147"/>
                            </a:cubicBezTo>
                            <a:cubicBezTo>
                              <a:pt x="42" y="145"/>
                              <a:pt x="42" y="139"/>
                              <a:pt x="39" y="136"/>
                            </a:cubicBezTo>
                            <a:cubicBezTo>
                              <a:pt x="37" y="134"/>
                              <a:pt x="34" y="135"/>
                              <a:pt x="32" y="135"/>
                            </a:cubicBezTo>
                            <a:cubicBezTo>
                              <a:pt x="28" y="136"/>
                              <a:pt x="25" y="136"/>
                              <a:pt x="22" y="138"/>
                            </a:cubicBezTo>
                            <a:cubicBezTo>
                              <a:pt x="20" y="139"/>
                              <a:pt x="21" y="142"/>
                              <a:pt x="22" y="143"/>
                            </a:cubicBezTo>
                            <a:cubicBezTo>
                              <a:pt x="22" y="145"/>
                              <a:pt x="24" y="145"/>
                              <a:pt x="25" y="146"/>
                            </a:cubicBezTo>
                            <a:cubicBezTo>
                              <a:pt x="25" y="147"/>
                              <a:pt x="25" y="149"/>
                              <a:pt x="26" y="149"/>
                            </a:cubicBezTo>
                            <a:cubicBezTo>
                              <a:pt x="28" y="150"/>
                              <a:pt x="30" y="148"/>
                              <a:pt x="31" y="149"/>
                            </a:cubicBezTo>
                            <a:cubicBezTo>
                              <a:pt x="32" y="150"/>
                              <a:pt x="34" y="151"/>
                              <a:pt x="33" y="153"/>
                            </a:cubicBezTo>
                            <a:cubicBezTo>
                              <a:pt x="32" y="154"/>
                              <a:pt x="30" y="153"/>
                              <a:pt x="29" y="153"/>
                            </a:cubicBezTo>
                            <a:cubicBezTo>
                              <a:pt x="25" y="154"/>
                              <a:pt x="21" y="153"/>
                              <a:pt x="18" y="154"/>
                            </a:cubicBezTo>
                            <a:cubicBezTo>
                              <a:pt x="16" y="154"/>
                              <a:pt x="14" y="155"/>
                              <a:pt x="13" y="155"/>
                            </a:cubicBezTo>
                            <a:cubicBezTo>
                              <a:pt x="9" y="157"/>
                              <a:pt x="4" y="158"/>
                              <a:pt x="1" y="161"/>
                            </a:cubicBezTo>
                            <a:cubicBezTo>
                              <a:pt x="0" y="163"/>
                              <a:pt x="0" y="165"/>
                              <a:pt x="1" y="167"/>
                            </a:cubicBezTo>
                            <a:cubicBezTo>
                              <a:pt x="2" y="169"/>
                              <a:pt x="5" y="172"/>
                              <a:pt x="8" y="172"/>
                            </a:cubicBezTo>
                            <a:cubicBezTo>
                              <a:pt x="9" y="172"/>
                              <a:pt x="8" y="167"/>
                              <a:pt x="9" y="167"/>
                            </a:cubicBezTo>
                            <a:cubicBezTo>
                              <a:pt x="11" y="168"/>
                              <a:pt x="9" y="174"/>
                              <a:pt x="10" y="172"/>
                            </a:cubicBezTo>
                            <a:cubicBezTo>
                              <a:pt x="12" y="170"/>
                              <a:pt x="10" y="167"/>
                              <a:pt x="12" y="164"/>
                            </a:cubicBezTo>
                            <a:cubicBezTo>
                              <a:pt x="12" y="164"/>
                              <a:pt x="13" y="165"/>
                              <a:pt x="13" y="166"/>
                            </a:cubicBezTo>
                            <a:cubicBezTo>
                              <a:pt x="14" y="168"/>
                              <a:pt x="12" y="171"/>
                              <a:pt x="13" y="173"/>
                            </a:cubicBezTo>
                            <a:cubicBezTo>
                              <a:pt x="13" y="174"/>
                              <a:pt x="16" y="174"/>
                              <a:pt x="17" y="173"/>
                            </a:cubicBezTo>
                            <a:cubicBezTo>
                              <a:pt x="19" y="172"/>
                              <a:pt x="21" y="169"/>
                              <a:pt x="23" y="169"/>
                            </a:cubicBezTo>
                            <a:cubicBezTo>
                              <a:pt x="25" y="169"/>
                              <a:pt x="26" y="173"/>
                              <a:pt x="27" y="173"/>
                            </a:cubicBezTo>
                            <a:cubicBezTo>
                              <a:pt x="30" y="173"/>
                              <a:pt x="31" y="169"/>
                              <a:pt x="33" y="169"/>
                            </a:cubicBezTo>
                            <a:cubicBezTo>
                              <a:pt x="34" y="169"/>
                              <a:pt x="32" y="172"/>
                              <a:pt x="33" y="173"/>
                            </a:cubicBezTo>
                            <a:cubicBezTo>
                              <a:pt x="35" y="174"/>
                              <a:pt x="38" y="173"/>
                              <a:pt x="40" y="173"/>
                            </a:cubicBezTo>
                            <a:cubicBezTo>
                              <a:pt x="41" y="174"/>
                              <a:pt x="41" y="176"/>
                              <a:pt x="42" y="176"/>
                            </a:cubicBezTo>
                            <a:cubicBezTo>
                              <a:pt x="45" y="176"/>
                              <a:pt x="48" y="176"/>
                              <a:pt x="51" y="175"/>
                            </a:cubicBezTo>
                            <a:cubicBezTo>
                              <a:pt x="52" y="174"/>
                              <a:pt x="48" y="174"/>
                              <a:pt x="48" y="173"/>
                            </a:cubicBezTo>
                            <a:cubicBezTo>
                              <a:pt x="47" y="172"/>
                              <a:pt x="47" y="170"/>
                              <a:pt x="48" y="169"/>
                            </a:cubicBezTo>
                            <a:cubicBezTo>
                              <a:pt x="49" y="169"/>
                              <a:pt x="49" y="171"/>
                              <a:pt x="50" y="171"/>
                            </a:cubicBezTo>
                            <a:cubicBezTo>
                              <a:pt x="53" y="171"/>
                              <a:pt x="55" y="169"/>
                              <a:pt x="58" y="169"/>
                            </a:cubicBezTo>
                            <a:cubicBezTo>
                              <a:pt x="59" y="169"/>
                              <a:pt x="59" y="171"/>
                              <a:pt x="60" y="171"/>
                            </a:cubicBezTo>
                            <a:cubicBezTo>
                              <a:pt x="63" y="172"/>
                              <a:pt x="66" y="173"/>
                              <a:pt x="69" y="171"/>
                            </a:cubicBezTo>
                            <a:cubicBezTo>
                              <a:pt x="70" y="170"/>
                              <a:pt x="68" y="166"/>
                              <a:pt x="69" y="164"/>
                            </a:cubicBezTo>
                            <a:cubicBezTo>
                              <a:pt x="70" y="164"/>
                              <a:pt x="71" y="164"/>
                              <a:pt x="71" y="165"/>
                            </a:cubicBezTo>
                            <a:cubicBezTo>
                              <a:pt x="72" y="167"/>
                              <a:pt x="71" y="171"/>
                              <a:pt x="72" y="173"/>
                            </a:cubicBezTo>
                            <a:cubicBezTo>
                              <a:pt x="73" y="174"/>
                              <a:pt x="76" y="173"/>
                              <a:pt x="77" y="173"/>
                            </a:cubicBezTo>
                            <a:cubicBezTo>
                              <a:pt x="79" y="172"/>
                              <a:pt x="81" y="170"/>
                              <a:pt x="81" y="168"/>
                            </a:cubicBezTo>
                            <a:cubicBezTo>
                              <a:pt x="81" y="167"/>
                              <a:pt x="79" y="167"/>
                              <a:pt x="78" y="166"/>
                            </a:cubicBezTo>
                            <a:cubicBezTo>
                              <a:pt x="78" y="165"/>
                              <a:pt x="77" y="163"/>
                              <a:pt x="78" y="163"/>
                            </a:cubicBezTo>
                            <a:cubicBezTo>
                              <a:pt x="80" y="163"/>
                              <a:pt x="83" y="164"/>
                              <a:pt x="84" y="166"/>
                            </a:cubicBezTo>
                            <a:cubicBezTo>
                              <a:pt x="85" y="167"/>
                              <a:pt x="82" y="170"/>
                              <a:pt x="83" y="171"/>
                            </a:cubicBezTo>
                            <a:cubicBezTo>
                              <a:pt x="85" y="173"/>
                              <a:pt x="88" y="171"/>
                              <a:pt x="90" y="171"/>
                            </a:cubicBezTo>
                            <a:cubicBezTo>
                              <a:pt x="91" y="171"/>
                              <a:pt x="93" y="171"/>
                              <a:pt x="93" y="172"/>
                            </a:cubicBezTo>
                            <a:cubicBezTo>
                              <a:pt x="93" y="173"/>
                              <a:pt x="88" y="176"/>
                              <a:pt x="90" y="177"/>
                            </a:cubicBezTo>
                            <a:cubicBezTo>
                              <a:pt x="93" y="178"/>
                              <a:pt x="95" y="175"/>
                              <a:pt x="98" y="175"/>
                            </a:cubicBezTo>
                            <a:cubicBezTo>
                              <a:pt x="101" y="174"/>
                              <a:pt x="105" y="174"/>
                              <a:pt x="108" y="173"/>
                            </a:cubicBezTo>
                            <a:cubicBezTo>
                              <a:pt x="110" y="173"/>
                              <a:pt x="112" y="169"/>
                              <a:pt x="114" y="169"/>
                            </a:cubicBezTo>
                            <a:cubicBezTo>
                              <a:pt x="116" y="169"/>
                              <a:pt x="116" y="174"/>
                              <a:pt x="117" y="173"/>
                            </a:cubicBezTo>
                            <a:cubicBezTo>
                              <a:pt x="121" y="172"/>
                              <a:pt x="124" y="168"/>
                              <a:pt x="126" y="165"/>
                            </a:cubicBezTo>
                            <a:cubicBezTo>
                              <a:pt x="127" y="162"/>
                              <a:pt x="128" y="157"/>
                              <a:pt x="126" y="157"/>
                            </a:cubicBezTo>
                            <a:cubicBezTo>
                              <a:pt x="122" y="156"/>
                              <a:pt x="120" y="162"/>
                              <a:pt x="116" y="163"/>
                            </a:cubicBezTo>
                            <a:cubicBezTo>
                              <a:pt x="114" y="163"/>
                              <a:pt x="113" y="160"/>
                              <a:pt x="113" y="159"/>
                            </a:cubicBezTo>
                            <a:cubicBezTo>
                              <a:pt x="113" y="157"/>
                              <a:pt x="116" y="155"/>
                              <a:pt x="115" y="154"/>
                            </a:cubicBezTo>
                            <a:cubicBezTo>
                              <a:pt x="114" y="152"/>
                              <a:pt x="111" y="151"/>
                              <a:pt x="109" y="151"/>
                            </a:cubicBezTo>
                            <a:cubicBezTo>
                              <a:pt x="107" y="151"/>
                              <a:pt x="106" y="153"/>
                              <a:pt x="104" y="153"/>
                            </a:cubicBezTo>
                            <a:cubicBezTo>
                              <a:pt x="104" y="153"/>
                              <a:pt x="105" y="151"/>
                              <a:pt x="104" y="151"/>
                            </a:cubicBezTo>
                            <a:cubicBezTo>
                              <a:pt x="101" y="150"/>
                              <a:pt x="98" y="149"/>
                              <a:pt x="95" y="150"/>
                            </a:cubicBezTo>
                            <a:cubicBezTo>
                              <a:pt x="92" y="150"/>
                              <a:pt x="90" y="154"/>
                              <a:pt x="87" y="154"/>
                            </a:cubicBezTo>
                            <a:cubicBezTo>
                              <a:pt x="85" y="154"/>
                              <a:pt x="85" y="151"/>
                              <a:pt x="86" y="150"/>
                            </a:cubicBezTo>
                            <a:cubicBezTo>
                              <a:pt x="87" y="148"/>
                              <a:pt x="90" y="150"/>
                              <a:pt x="92" y="148"/>
                            </a:cubicBezTo>
                            <a:cubicBezTo>
                              <a:pt x="92" y="148"/>
                              <a:pt x="89" y="148"/>
                              <a:pt x="89" y="147"/>
                            </a:cubicBezTo>
                            <a:cubicBezTo>
                              <a:pt x="88" y="146"/>
                              <a:pt x="88" y="142"/>
                              <a:pt x="90" y="142"/>
                            </a:cubicBezTo>
                            <a:cubicBezTo>
                              <a:pt x="92" y="142"/>
                              <a:pt x="93" y="146"/>
                              <a:pt x="95" y="147"/>
                            </a:cubicBezTo>
                            <a:cubicBezTo>
                              <a:pt x="98" y="148"/>
                              <a:pt x="102" y="149"/>
                              <a:pt x="105" y="149"/>
                            </a:cubicBezTo>
                            <a:cubicBezTo>
                              <a:pt x="109" y="150"/>
                              <a:pt x="113" y="150"/>
                              <a:pt x="117" y="150"/>
                            </a:cubicBezTo>
                            <a:cubicBezTo>
                              <a:pt x="121" y="149"/>
                              <a:pt x="126" y="148"/>
                              <a:pt x="129" y="145"/>
                            </a:cubicBezTo>
                            <a:cubicBezTo>
                              <a:pt x="130" y="144"/>
                              <a:pt x="127" y="142"/>
                              <a:pt x="127" y="140"/>
                            </a:cubicBezTo>
                            <a:cubicBezTo>
                              <a:pt x="128" y="138"/>
                              <a:pt x="130" y="134"/>
                              <a:pt x="132" y="133"/>
                            </a:cubicBezTo>
                            <a:cubicBezTo>
                              <a:pt x="136" y="132"/>
                              <a:pt x="140" y="134"/>
                              <a:pt x="143" y="134"/>
                            </a:cubicBezTo>
                            <a:cubicBezTo>
                              <a:pt x="145" y="134"/>
                              <a:pt x="147" y="132"/>
                              <a:pt x="149" y="132"/>
                            </a:cubicBezTo>
                            <a:cubicBezTo>
                              <a:pt x="151" y="132"/>
                              <a:pt x="152" y="134"/>
                              <a:pt x="153" y="134"/>
                            </a:cubicBezTo>
                            <a:cubicBezTo>
                              <a:pt x="157" y="131"/>
                              <a:pt x="163" y="128"/>
                              <a:pt x="163" y="123"/>
                            </a:cubicBezTo>
                            <a:cubicBezTo>
                              <a:pt x="162" y="119"/>
                              <a:pt x="148" y="122"/>
                              <a:pt x="151" y="118"/>
                            </a:cubicBezTo>
                            <a:cubicBezTo>
                              <a:pt x="154" y="114"/>
                              <a:pt x="162" y="121"/>
                              <a:pt x="166" y="118"/>
                            </a:cubicBezTo>
                            <a:cubicBezTo>
                              <a:pt x="169" y="117"/>
                              <a:pt x="171" y="113"/>
                              <a:pt x="169" y="111"/>
                            </a:cubicBezTo>
                            <a:cubicBezTo>
                              <a:pt x="167" y="108"/>
                              <a:pt x="162" y="111"/>
                              <a:pt x="158" y="110"/>
                            </a:cubicBezTo>
                            <a:cubicBezTo>
                              <a:pt x="158" y="109"/>
                              <a:pt x="159" y="107"/>
                              <a:pt x="158" y="107"/>
                            </a:cubicBezTo>
                            <a:cubicBezTo>
                              <a:pt x="154" y="106"/>
                              <a:pt x="149" y="108"/>
                              <a:pt x="145" y="107"/>
                            </a:cubicBezTo>
                            <a:cubicBezTo>
                              <a:pt x="143" y="107"/>
                              <a:pt x="141" y="106"/>
                              <a:pt x="142" y="106"/>
                            </a:cubicBezTo>
                            <a:cubicBezTo>
                              <a:pt x="146" y="105"/>
                              <a:pt x="154" y="108"/>
                              <a:pt x="154" y="104"/>
                            </a:cubicBezTo>
                            <a:cubicBezTo>
                              <a:pt x="155" y="100"/>
                              <a:pt x="146" y="104"/>
                              <a:pt x="142" y="102"/>
                            </a:cubicBezTo>
                            <a:cubicBezTo>
                              <a:pt x="140" y="101"/>
                              <a:pt x="148" y="102"/>
                              <a:pt x="151" y="102"/>
                            </a:cubicBezTo>
                            <a:cubicBezTo>
                              <a:pt x="154" y="102"/>
                              <a:pt x="158" y="103"/>
                              <a:pt x="161" y="104"/>
                            </a:cubicBezTo>
                            <a:cubicBezTo>
                              <a:pt x="166" y="105"/>
                              <a:pt x="170" y="108"/>
                              <a:pt x="174" y="107"/>
                            </a:cubicBezTo>
                            <a:cubicBezTo>
                              <a:pt x="176" y="106"/>
                              <a:pt x="174" y="101"/>
                              <a:pt x="172" y="101"/>
                            </a:cubicBezTo>
                            <a:cubicBezTo>
                              <a:pt x="167" y="99"/>
                              <a:pt x="160" y="102"/>
                              <a:pt x="154" y="100"/>
                            </a:cubicBezTo>
                            <a:cubicBezTo>
                              <a:pt x="152" y="100"/>
                              <a:pt x="153" y="96"/>
                              <a:pt x="154" y="96"/>
                            </a:cubicBezTo>
                            <a:cubicBezTo>
                              <a:pt x="156" y="95"/>
                              <a:pt x="159" y="96"/>
                              <a:pt x="162" y="96"/>
                            </a:cubicBezTo>
                            <a:cubicBezTo>
                              <a:pt x="166" y="96"/>
                              <a:pt x="170" y="96"/>
                              <a:pt x="174" y="96"/>
                            </a:cubicBezTo>
                            <a:cubicBezTo>
                              <a:pt x="177" y="96"/>
                              <a:pt x="181" y="96"/>
                              <a:pt x="184" y="95"/>
                            </a:cubicBezTo>
                            <a:cubicBezTo>
                              <a:pt x="186" y="94"/>
                              <a:pt x="185" y="90"/>
                              <a:pt x="184" y="90"/>
                            </a:cubicBezTo>
                            <a:cubicBezTo>
                              <a:pt x="180" y="88"/>
                              <a:pt x="175" y="91"/>
                              <a:pt x="171" y="89"/>
                            </a:cubicBezTo>
                            <a:cubicBezTo>
                              <a:pt x="169" y="88"/>
                              <a:pt x="173" y="85"/>
                              <a:pt x="175" y="85"/>
                            </a:cubicBezTo>
                            <a:cubicBezTo>
                              <a:pt x="179" y="84"/>
                              <a:pt x="183" y="86"/>
                              <a:pt x="187" y="88"/>
                            </a:cubicBezTo>
                            <a:cubicBezTo>
                              <a:pt x="190" y="89"/>
                              <a:pt x="192" y="93"/>
                              <a:pt x="195" y="93"/>
                            </a:cubicBezTo>
                            <a:cubicBezTo>
                              <a:pt x="201" y="93"/>
                              <a:pt x="206" y="91"/>
                              <a:pt x="210" y="89"/>
                            </a:cubicBezTo>
                            <a:cubicBezTo>
                              <a:pt x="212" y="88"/>
                              <a:pt x="216" y="85"/>
                              <a:pt x="214" y="83"/>
                            </a:cubicBezTo>
                            <a:cubicBezTo>
                              <a:pt x="212" y="81"/>
                              <a:pt x="207" y="83"/>
                              <a:pt x="204" y="82"/>
                            </a:cubicBezTo>
                            <a:cubicBezTo>
                              <a:pt x="204" y="82"/>
                              <a:pt x="204" y="80"/>
                              <a:pt x="204" y="80"/>
                            </a:cubicBezTo>
                            <a:cubicBezTo>
                              <a:pt x="210" y="79"/>
                              <a:pt x="217" y="82"/>
                              <a:pt x="222" y="79"/>
                            </a:cubicBezTo>
                            <a:cubicBezTo>
                              <a:pt x="225" y="77"/>
                              <a:pt x="214" y="75"/>
                              <a:pt x="217" y="73"/>
                            </a:cubicBezTo>
                            <a:cubicBezTo>
                              <a:pt x="220" y="72"/>
                              <a:pt x="223" y="76"/>
                              <a:pt x="227" y="76"/>
                            </a:cubicBezTo>
                            <a:cubicBezTo>
                              <a:pt x="230" y="76"/>
                              <a:pt x="232" y="73"/>
                              <a:pt x="235" y="71"/>
                            </a:cubicBezTo>
                            <a:cubicBezTo>
                              <a:pt x="242" y="68"/>
                              <a:pt x="249" y="64"/>
                              <a:pt x="256" y="60"/>
                            </a:cubicBezTo>
                            <a:cubicBezTo>
                              <a:pt x="261" y="57"/>
                              <a:pt x="266" y="54"/>
                              <a:pt x="271" y="52"/>
                            </a:cubicBezTo>
                            <a:cubicBezTo>
                              <a:pt x="274" y="51"/>
                              <a:pt x="277" y="51"/>
                              <a:pt x="280" y="50"/>
                            </a:cubicBezTo>
                            <a:cubicBezTo>
                              <a:pt x="283" y="49"/>
                              <a:pt x="286" y="47"/>
                              <a:pt x="287" y="45"/>
                            </a:cubicBezTo>
                            <a:cubicBezTo>
                              <a:pt x="288" y="43"/>
                              <a:pt x="284" y="45"/>
                              <a:pt x="283" y="45"/>
                            </a:cubicBezTo>
                            <a:cubicBezTo>
                              <a:pt x="280" y="45"/>
                              <a:pt x="278" y="45"/>
                              <a:pt x="276" y="45"/>
                            </a:cubicBezTo>
                            <a:cubicBezTo>
                              <a:pt x="270" y="46"/>
                              <a:pt x="264" y="48"/>
                              <a:pt x="258" y="49"/>
                            </a:cubicBezTo>
                            <a:cubicBezTo>
                              <a:pt x="250" y="51"/>
                              <a:pt x="242" y="52"/>
                              <a:pt x="233" y="53"/>
                            </a:cubicBezTo>
                            <a:cubicBezTo>
                              <a:pt x="232" y="53"/>
                              <a:pt x="234" y="51"/>
                              <a:pt x="236" y="50"/>
                            </a:cubicBezTo>
                            <a:cubicBezTo>
                              <a:pt x="246" y="47"/>
                              <a:pt x="257" y="45"/>
                              <a:pt x="268" y="43"/>
                            </a:cubicBezTo>
                            <a:cubicBezTo>
                              <a:pt x="274" y="41"/>
                              <a:pt x="280" y="40"/>
                              <a:pt x="285" y="39"/>
                            </a:cubicBezTo>
                            <a:cubicBezTo>
                              <a:pt x="289" y="38"/>
                              <a:pt x="294" y="38"/>
                              <a:pt x="297" y="37"/>
                            </a:cubicBezTo>
                            <a:cubicBezTo>
                              <a:pt x="302" y="35"/>
                              <a:pt x="306" y="33"/>
                              <a:pt x="310" y="31"/>
                            </a:cubicBezTo>
                            <a:cubicBezTo>
                              <a:pt x="314" y="29"/>
                              <a:pt x="319" y="27"/>
                              <a:pt x="322" y="25"/>
                            </a:cubicBezTo>
                            <a:cubicBezTo>
                              <a:pt x="325" y="23"/>
                              <a:pt x="328" y="20"/>
                              <a:pt x="327" y="18"/>
                            </a:cubicBezTo>
                            <a:cubicBezTo>
                              <a:pt x="327" y="16"/>
                              <a:pt x="323" y="18"/>
                              <a:pt x="320" y="18"/>
                            </a:cubicBezTo>
                            <a:cubicBezTo>
                              <a:pt x="317" y="17"/>
                              <a:pt x="313" y="14"/>
                              <a:pt x="310" y="13"/>
                            </a:cubicBezTo>
                            <a:cubicBezTo>
                              <a:pt x="305" y="12"/>
                              <a:pt x="301" y="13"/>
                              <a:pt x="296" y="12"/>
                            </a:cubicBezTo>
                            <a:cubicBezTo>
                              <a:pt x="295" y="12"/>
                              <a:pt x="293" y="10"/>
                              <a:pt x="292" y="9"/>
                            </a:cubicBezTo>
                            <a:cubicBezTo>
                              <a:pt x="291" y="8"/>
                              <a:pt x="292" y="5"/>
                              <a:pt x="291" y="5"/>
                            </a:cubicBezTo>
                            <a:cubicBezTo>
                              <a:pt x="288" y="5"/>
                              <a:pt x="287" y="8"/>
                              <a:pt x="285" y="9"/>
                            </a:cubicBezTo>
                            <a:cubicBezTo>
                              <a:pt x="282" y="10"/>
                              <a:pt x="279" y="10"/>
                              <a:pt x="276" y="11"/>
                            </a:cubicBezTo>
                            <a:cubicBezTo>
                              <a:pt x="267" y="12"/>
                              <a:pt x="257" y="14"/>
                              <a:pt x="248" y="14"/>
                            </a:cubicBezTo>
                            <a:cubicBezTo>
                              <a:pt x="246" y="14"/>
                              <a:pt x="250" y="11"/>
                              <a:pt x="252" y="11"/>
                            </a:cubicBezTo>
                            <a:cubicBezTo>
                              <a:pt x="258" y="9"/>
                              <a:pt x="265" y="9"/>
                              <a:pt x="272" y="7"/>
                            </a:cubicBezTo>
                            <a:cubicBezTo>
                              <a:pt x="273" y="7"/>
                              <a:pt x="271" y="5"/>
                              <a:pt x="270" y="5"/>
                            </a:cubicBezTo>
                            <a:cubicBezTo>
                              <a:pt x="264" y="4"/>
                              <a:pt x="258" y="4"/>
                              <a:pt x="253" y="4"/>
                            </a:cubicBezTo>
                            <a:cubicBezTo>
                              <a:pt x="248" y="4"/>
                              <a:pt x="244" y="3"/>
                              <a:pt x="240" y="3"/>
                            </a:cubicBezTo>
                            <a:cubicBezTo>
                              <a:pt x="238" y="2"/>
                              <a:pt x="236" y="0"/>
                              <a:pt x="234" y="0"/>
                            </a:cubicBezTo>
                            <a:cubicBezTo>
                              <a:pt x="230" y="0"/>
                              <a:pt x="225" y="0"/>
                              <a:pt x="222" y="1"/>
                            </a:cubicBezTo>
                            <a:cubicBezTo>
                              <a:pt x="220" y="2"/>
                              <a:pt x="225" y="5"/>
                              <a:pt x="223" y="6"/>
                            </a:cubicBezTo>
                            <a:cubicBezTo>
                              <a:pt x="221" y="7"/>
                              <a:pt x="218" y="6"/>
                              <a:pt x="216" y="5"/>
                            </a:cubicBezTo>
                            <a:cubicBezTo>
                              <a:pt x="214" y="5"/>
                              <a:pt x="213" y="2"/>
                              <a:pt x="211" y="2"/>
                            </a:cubicBezTo>
                            <a:cubicBezTo>
                              <a:pt x="208" y="1"/>
                              <a:pt x="204" y="3"/>
                              <a:pt x="200" y="4"/>
                            </a:cubicBezTo>
                            <a:cubicBezTo>
                              <a:pt x="199" y="4"/>
                              <a:pt x="197" y="5"/>
                              <a:pt x="197" y="7"/>
                            </a:cubicBezTo>
                            <a:cubicBezTo>
                              <a:pt x="197" y="9"/>
                              <a:pt x="201" y="10"/>
                              <a:pt x="200" y="12"/>
                            </a:cubicBezTo>
                            <a:cubicBezTo>
                              <a:pt x="200" y="14"/>
                              <a:pt x="197" y="14"/>
                              <a:pt x="196" y="13"/>
                            </a:cubicBezTo>
                            <a:cubicBezTo>
                              <a:pt x="193" y="11"/>
                              <a:pt x="191" y="8"/>
                              <a:pt x="188" y="6"/>
                            </a:cubicBezTo>
                            <a:cubicBezTo>
                              <a:pt x="187" y="4"/>
                              <a:pt x="185" y="3"/>
                              <a:pt x="183" y="2"/>
                            </a:cubicBezTo>
                            <a:cubicBezTo>
                              <a:pt x="179" y="1"/>
                              <a:pt x="176" y="2"/>
                              <a:pt x="172" y="2"/>
                            </a:cubicBezTo>
                            <a:cubicBezTo>
                              <a:pt x="168" y="2"/>
                              <a:pt x="164" y="1"/>
                              <a:pt x="160" y="2"/>
                            </a:cubicBezTo>
                            <a:cubicBezTo>
                              <a:pt x="159" y="3"/>
                              <a:pt x="157" y="5"/>
                              <a:pt x="158" y="6"/>
                            </a:cubicBezTo>
                            <a:cubicBezTo>
                              <a:pt x="163" y="10"/>
                              <a:pt x="171" y="11"/>
                              <a:pt x="176" y="16"/>
                            </a:cubicBezTo>
                            <a:cubicBezTo>
                              <a:pt x="178" y="18"/>
                              <a:pt x="172" y="18"/>
                              <a:pt x="170" y="17"/>
                            </a:cubicBezTo>
                            <a:cubicBezTo>
                              <a:pt x="164" y="15"/>
                              <a:pt x="158" y="9"/>
                              <a:pt x="152" y="7"/>
                            </a:cubicBezTo>
                            <a:cubicBezTo>
                              <a:pt x="149" y="6"/>
                              <a:pt x="147" y="10"/>
                              <a:pt x="145" y="10"/>
                            </a:cubicBezTo>
                            <a:cubicBezTo>
                              <a:pt x="142" y="10"/>
                              <a:pt x="140" y="8"/>
                              <a:pt x="137" y="7"/>
                            </a:cubicBezTo>
                            <a:cubicBezTo>
                              <a:pt x="136" y="6"/>
                              <a:pt x="134" y="4"/>
                              <a:pt x="132" y="4"/>
                            </a:cubicBezTo>
                            <a:cubicBezTo>
                              <a:pt x="130" y="5"/>
                              <a:pt x="128" y="7"/>
                              <a:pt x="129" y="8"/>
                            </a:cubicBezTo>
                            <a:cubicBezTo>
                              <a:pt x="129" y="11"/>
                              <a:pt x="134" y="12"/>
                              <a:pt x="134" y="15"/>
                            </a:cubicBezTo>
                            <a:cubicBezTo>
                              <a:pt x="134" y="17"/>
                              <a:pt x="130" y="16"/>
                              <a:pt x="129" y="15"/>
                            </a:cubicBezTo>
                            <a:cubicBezTo>
                              <a:pt x="127" y="14"/>
                              <a:pt x="127" y="10"/>
                              <a:pt x="124" y="9"/>
                            </a:cubicBezTo>
                            <a:cubicBezTo>
                              <a:pt x="122" y="8"/>
                              <a:pt x="116" y="6"/>
                              <a:pt x="115" y="9"/>
                            </a:cubicBezTo>
                            <a:cubicBezTo>
                              <a:pt x="114" y="12"/>
                              <a:pt x="120" y="14"/>
                              <a:pt x="122" y="17"/>
                            </a:cubicBezTo>
                            <a:cubicBezTo>
                              <a:pt x="123" y="17"/>
                              <a:pt x="122" y="19"/>
                              <a:pt x="121" y="19"/>
                            </a:cubicBezTo>
                            <a:cubicBezTo>
                              <a:pt x="117" y="18"/>
                              <a:pt x="114" y="15"/>
                              <a:pt x="111" y="15"/>
                            </a:cubicBezTo>
                            <a:cubicBezTo>
                              <a:pt x="109" y="15"/>
                              <a:pt x="107" y="16"/>
                              <a:pt x="106" y="18"/>
                            </a:cubicBezTo>
                            <a:cubicBezTo>
                              <a:pt x="106" y="18"/>
                              <a:pt x="108" y="19"/>
                              <a:pt x="107" y="20"/>
                            </a:cubicBezTo>
                            <a:cubicBezTo>
                              <a:pt x="106" y="21"/>
                              <a:pt x="104" y="19"/>
                              <a:pt x="103" y="20"/>
                            </a:cubicBezTo>
                            <a:cubicBezTo>
                              <a:pt x="103" y="22"/>
                              <a:pt x="105" y="23"/>
                              <a:pt x="106" y="23"/>
                            </a:cubicBezTo>
                            <a:cubicBezTo>
                              <a:pt x="112" y="26"/>
                              <a:pt x="119" y="27"/>
                              <a:pt x="125" y="29"/>
                            </a:cubicBezTo>
                            <a:cubicBezTo>
                              <a:pt x="126" y="30"/>
                              <a:pt x="126" y="32"/>
                              <a:pt x="125" y="32"/>
                            </a:cubicBezTo>
                            <a:cubicBezTo>
                              <a:pt x="119" y="32"/>
                              <a:pt x="114" y="31"/>
                              <a:pt x="108" y="30"/>
                            </a:cubicBezTo>
                            <a:cubicBezTo>
                              <a:pt x="106" y="29"/>
                              <a:pt x="104" y="26"/>
                              <a:pt x="102" y="25"/>
                            </a:cubicBezTo>
                            <a:cubicBezTo>
                              <a:pt x="101" y="25"/>
                              <a:pt x="99" y="24"/>
                              <a:pt x="99" y="25"/>
                            </a:cubicBezTo>
                            <a:cubicBezTo>
                              <a:pt x="99" y="27"/>
                              <a:pt x="103" y="28"/>
                              <a:pt x="101" y="29"/>
                            </a:cubicBezTo>
                            <a:cubicBezTo>
                              <a:pt x="99" y="31"/>
                              <a:pt x="96" y="31"/>
                              <a:pt x="94" y="29"/>
                            </a:cubicBezTo>
                            <a:cubicBezTo>
                              <a:pt x="92" y="29"/>
                              <a:pt x="94" y="26"/>
                              <a:pt x="94" y="25"/>
                            </a:cubicBezTo>
                            <a:cubicBezTo>
                              <a:pt x="92" y="24"/>
                              <a:pt x="90" y="23"/>
                              <a:pt x="88" y="22"/>
                            </a:cubicBezTo>
                            <a:cubicBezTo>
                              <a:pt x="84" y="21"/>
                              <a:pt x="79" y="20"/>
                              <a:pt x="75" y="19"/>
                            </a:cubicBezTo>
                            <a:cubicBezTo>
                              <a:pt x="71" y="19"/>
                              <a:pt x="68" y="18"/>
                              <a:pt x="65" y="19"/>
                            </a:cubicBezTo>
                            <a:cubicBezTo>
                              <a:pt x="62" y="19"/>
                              <a:pt x="60" y="19"/>
                              <a:pt x="58" y="21"/>
                            </a:cubicBezTo>
                            <a:cubicBezTo>
                              <a:pt x="57" y="22"/>
                              <a:pt x="58" y="25"/>
                              <a:pt x="59" y="26"/>
                            </a:cubicBezTo>
                            <a:cubicBezTo>
                              <a:pt x="61" y="27"/>
                              <a:pt x="65" y="27"/>
                              <a:pt x="67" y="28"/>
                            </a:cubicBezTo>
                            <a:cubicBezTo>
                              <a:pt x="70" y="29"/>
                              <a:pt x="78" y="30"/>
                              <a:pt x="75" y="31"/>
                            </a:cubicBezTo>
                            <a:cubicBezTo>
                              <a:pt x="70" y="33"/>
                              <a:pt x="64" y="32"/>
                              <a:pt x="58" y="32"/>
                            </a:cubicBezTo>
                            <a:cubicBezTo>
                              <a:pt x="54" y="32"/>
                              <a:pt x="51" y="32"/>
                              <a:pt x="48" y="33"/>
                            </a:cubicBezTo>
                            <a:cubicBezTo>
                              <a:pt x="45" y="35"/>
                              <a:pt x="44" y="37"/>
                              <a:pt x="43" y="40"/>
                            </a:cubicBezTo>
                            <a:cubicBezTo>
                              <a:pt x="41" y="42"/>
                              <a:pt x="39" y="46"/>
                              <a:pt x="41" y="48"/>
                            </a:cubicBezTo>
                            <a:cubicBezTo>
                              <a:pt x="44" y="52"/>
                              <a:pt x="50" y="54"/>
                              <a:pt x="56" y="54"/>
                            </a:cubicBezTo>
                            <a:cubicBezTo>
                              <a:pt x="61" y="55"/>
                              <a:pt x="65" y="51"/>
                              <a:pt x="70" y="50"/>
                            </a:cubicBezTo>
                            <a:cubicBezTo>
                              <a:pt x="72" y="50"/>
                              <a:pt x="78" y="49"/>
                              <a:pt x="77" y="50"/>
                            </a:cubicBezTo>
                            <a:cubicBezTo>
                              <a:pt x="73" y="53"/>
                              <a:pt x="68" y="53"/>
                              <a:pt x="64" y="55"/>
                            </a:cubicBezTo>
                            <a:cubicBezTo>
                              <a:pt x="61" y="56"/>
                              <a:pt x="58" y="58"/>
                              <a:pt x="55" y="59"/>
                            </a:cubicBezTo>
                            <a:cubicBezTo>
                              <a:pt x="51" y="59"/>
                              <a:pt x="47" y="58"/>
                              <a:pt x="43" y="58"/>
                            </a:cubicBezTo>
                            <a:cubicBezTo>
                              <a:pt x="40" y="58"/>
                              <a:pt x="37" y="57"/>
                              <a:pt x="35" y="58"/>
                            </a:cubicBezTo>
                            <a:cubicBezTo>
                              <a:pt x="34" y="58"/>
                              <a:pt x="33" y="61"/>
                              <a:pt x="34" y="61"/>
                            </a:cubicBezTo>
                            <a:cubicBezTo>
                              <a:pt x="38" y="64"/>
                              <a:pt x="44" y="66"/>
                              <a:pt x="49" y="68"/>
                            </a:cubicBezTo>
                            <a:cubicBezTo>
                              <a:pt x="51" y="69"/>
                              <a:pt x="53" y="69"/>
                              <a:pt x="55" y="68"/>
                            </a:cubicBezTo>
                            <a:cubicBezTo>
                              <a:pt x="60" y="65"/>
                              <a:pt x="63" y="60"/>
                              <a:pt x="68" y="57"/>
                            </a:cubicBezTo>
                            <a:cubicBezTo>
                              <a:pt x="70" y="55"/>
                              <a:pt x="73" y="55"/>
                              <a:pt x="76" y="55"/>
                            </a:cubicBezTo>
                            <a:cubicBezTo>
                              <a:pt x="82" y="55"/>
                              <a:pt x="88" y="54"/>
                              <a:pt x="94" y="54"/>
                            </a:cubicBezTo>
                            <a:cubicBezTo>
                              <a:pt x="96" y="54"/>
                              <a:pt x="100" y="54"/>
                              <a:pt x="99" y="55"/>
                            </a:cubicBezTo>
                            <a:cubicBezTo>
                              <a:pt x="96" y="57"/>
                              <a:pt x="92" y="56"/>
                              <a:pt x="89" y="56"/>
                            </a:cubicBezTo>
                            <a:cubicBezTo>
                              <a:pt x="84" y="57"/>
                              <a:pt x="79" y="56"/>
                              <a:pt x="75" y="58"/>
                            </a:cubicBezTo>
                            <a:cubicBezTo>
                              <a:pt x="70" y="59"/>
                              <a:pt x="66" y="62"/>
                              <a:pt x="63" y="66"/>
                            </a:cubicBezTo>
                            <a:cubicBezTo>
                              <a:pt x="62" y="67"/>
                              <a:pt x="62" y="70"/>
                              <a:pt x="63" y="70"/>
                            </a:cubicBezTo>
                            <a:cubicBezTo>
                              <a:pt x="66" y="72"/>
                              <a:pt x="70" y="70"/>
                              <a:pt x="74" y="71"/>
                            </a:cubicBezTo>
                            <a:cubicBezTo>
                              <a:pt x="76" y="71"/>
                              <a:pt x="78" y="74"/>
                              <a:pt x="81" y="73"/>
                            </a:cubicBezTo>
                            <a:cubicBezTo>
                              <a:pt x="83" y="71"/>
                              <a:pt x="82" y="67"/>
                              <a:pt x="85" y="65"/>
                            </a:cubicBezTo>
                            <a:cubicBezTo>
                              <a:pt x="86" y="65"/>
                              <a:pt x="88" y="67"/>
                              <a:pt x="90" y="67"/>
                            </a:cubicBezTo>
                            <a:cubicBezTo>
                              <a:pt x="93" y="67"/>
                              <a:pt x="96" y="65"/>
                              <a:pt x="100" y="66"/>
                            </a:cubicBezTo>
                            <a:cubicBezTo>
                              <a:pt x="101" y="66"/>
                              <a:pt x="98" y="68"/>
                              <a:pt x="97" y="68"/>
                            </a:cubicBezTo>
                            <a:cubicBezTo>
                              <a:pt x="95" y="69"/>
                              <a:pt x="91" y="68"/>
                              <a:pt x="89" y="70"/>
                            </a:cubicBezTo>
                            <a:cubicBezTo>
                              <a:pt x="88" y="70"/>
                              <a:pt x="89" y="72"/>
                              <a:pt x="90" y="72"/>
                            </a:cubicBezTo>
                            <a:cubicBezTo>
                              <a:pt x="95" y="72"/>
                              <a:pt x="101" y="72"/>
                              <a:pt x="106" y="71"/>
                            </a:cubicBezTo>
                            <a:cubicBezTo>
                              <a:pt x="113" y="68"/>
                              <a:pt x="121" y="66"/>
                              <a:pt x="127" y="60"/>
                            </a:cubicBezTo>
                            <a:cubicBezTo>
                              <a:pt x="129" y="59"/>
                              <a:pt x="126" y="54"/>
                              <a:pt x="127" y="52"/>
                            </a:cubicBezTo>
                            <a:cubicBezTo>
                              <a:pt x="128" y="50"/>
                              <a:pt x="131" y="52"/>
                              <a:pt x="132" y="52"/>
                            </a:cubicBezTo>
                            <a:cubicBezTo>
                              <a:pt x="137" y="50"/>
                              <a:pt x="141" y="47"/>
                              <a:pt x="146" y="45"/>
                            </a:cubicBezTo>
                            <a:cubicBezTo>
                              <a:pt x="148" y="45"/>
                              <a:pt x="150" y="44"/>
                              <a:pt x="152" y="45"/>
                            </a:cubicBezTo>
                            <a:cubicBezTo>
                              <a:pt x="153" y="47"/>
                              <a:pt x="149" y="46"/>
                              <a:pt x="147" y="47"/>
                            </a:cubicBezTo>
                            <a:cubicBezTo>
                              <a:pt x="143" y="49"/>
                              <a:pt x="139" y="52"/>
                              <a:pt x="136" y="54"/>
                            </a:cubicBezTo>
                            <a:cubicBezTo>
                              <a:pt x="134" y="56"/>
                              <a:pt x="128" y="60"/>
                              <a:pt x="131" y="62"/>
                            </a:cubicBezTo>
                            <a:cubicBezTo>
                              <a:pt x="135" y="64"/>
                              <a:pt x="140" y="60"/>
                              <a:pt x="145" y="60"/>
                            </a:cubicBezTo>
                            <a:cubicBezTo>
                              <a:pt x="151" y="59"/>
                              <a:pt x="158" y="59"/>
                              <a:pt x="164" y="59"/>
                            </a:cubicBezTo>
                            <a:cubicBezTo>
                              <a:pt x="166" y="59"/>
                              <a:pt x="172" y="57"/>
                              <a:pt x="171" y="59"/>
                            </a:cubicBezTo>
                            <a:cubicBezTo>
                              <a:pt x="168" y="62"/>
                              <a:pt x="164" y="62"/>
                              <a:pt x="161" y="63"/>
                            </a:cubicBezTo>
                            <a:cubicBezTo>
                              <a:pt x="156" y="64"/>
                              <a:pt x="150" y="62"/>
                              <a:pt x="145" y="63"/>
                            </a:cubicBezTo>
                            <a:cubicBezTo>
                              <a:pt x="140" y="63"/>
                              <a:pt x="136" y="64"/>
                              <a:pt x="131" y="65"/>
                            </a:cubicBezTo>
                            <a:cubicBezTo>
                              <a:pt x="128" y="66"/>
                              <a:pt x="124" y="66"/>
                              <a:pt x="121" y="68"/>
                            </a:cubicBezTo>
                            <a:cubicBezTo>
                              <a:pt x="120" y="68"/>
                              <a:pt x="122" y="70"/>
                              <a:pt x="123" y="70"/>
                            </a:cubicBezTo>
                            <a:cubicBezTo>
                              <a:pt x="127" y="70"/>
                              <a:pt x="131" y="68"/>
                              <a:pt x="135" y="68"/>
                            </a:cubicBezTo>
                            <a:cubicBezTo>
                              <a:pt x="136" y="68"/>
                              <a:pt x="139" y="69"/>
                              <a:pt x="138" y="70"/>
                            </a:cubicBezTo>
                            <a:cubicBezTo>
                              <a:pt x="135" y="71"/>
                              <a:pt x="131" y="71"/>
                              <a:pt x="128" y="72"/>
                            </a:cubicBezTo>
                            <a:cubicBezTo>
                              <a:pt x="125" y="73"/>
                              <a:pt x="121" y="73"/>
                              <a:pt x="117" y="73"/>
                            </a:cubicBezTo>
                            <a:cubicBezTo>
                              <a:pt x="113" y="74"/>
                              <a:pt x="110" y="74"/>
                              <a:pt x="106" y="75"/>
                            </a:cubicBezTo>
                            <a:cubicBezTo>
                              <a:pt x="101" y="75"/>
                              <a:pt x="95" y="74"/>
                              <a:pt x="90" y="76"/>
                            </a:cubicBezTo>
                            <a:cubicBezTo>
                              <a:pt x="89" y="76"/>
                              <a:pt x="92" y="77"/>
                              <a:pt x="94" y="78"/>
                            </a:cubicBezTo>
                            <a:cubicBezTo>
                              <a:pt x="96" y="80"/>
                              <a:pt x="99" y="82"/>
                              <a:pt x="101" y="84"/>
                            </a:cubicBezTo>
                            <a:cubicBezTo>
                              <a:pt x="102" y="85"/>
                              <a:pt x="101" y="88"/>
                              <a:pt x="102" y="89"/>
                            </a:cubicBezTo>
                            <a:cubicBezTo>
                              <a:pt x="108" y="91"/>
                              <a:pt x="115" y="90"/>
                              <a:pt x="121" y="91"/>
                            </a:cubicBezTo>
                            <a:cubicBezTo>
                              <a:pt x="123" y="91"/>
                              <a:pt x="127" y="91"/>
                              <a:pt x="126" y="92"/>
                            </a:cubicBezTo>
                            <a:cubicBezTo>
                              <a:pt x="121" y="93"/>
                              <a:pt x="117" y="92"/>
                              <a:pt x="112" y="93"/>
                            </a:cubicBezTo>
                            <a:cubicBezTo>
                              <a:pt x="109" y="93"/>
                              <a:pt x="106" y="94"/>
                              <a:pt x="102" y="94"/>
                            </a:cubicBezTo>
                            <a:cubicBezTo>
                              <a:pt x="101" y="94"/>
                              <a:pt x="99" y="93"/>
                              <a:pt x="98" y="92"/>
                            </a:cubicBezTo>
                            <a:cubicBezTo>
                              <a:pt x="95" y="89"/>
                              <a:pt x="93" y="86"/>
                              <a:pt x="90" y="83"/>
                            </a:cubicBezTo>
                            <a:cubicBezTo>
                              <a:pt x="87" y="81"/>
                              <a:pt x="85" y="79"/>
                              <a:pt x="82" y="78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93" name="Freeform 3598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3105394" y="1632874"/>
                        <a:ext cx="14540" cy="12461"/>
                      </a:xfrm>
                      <a:custGeom>
                        <a:avLst/>
                        <a:gdLst>
                          <a:gd name="T0" fmla="*/ 11 w 11"/>
                          <a:gd name="T1" fmla="*/ 1 h 12"/>
                          <a:gd name="T2" fmla="*/ 1 w 11"/>
                          <a:gd name="T3" fmla="*/ 11 h 12"/>
                          <a:gd name="T4" fmla="*/ 4 w 11"/>
                          <a:gd name="T5" fmla="*/ 15 h 12"/>
                          <a:gd name="T6" fmla="*/ 7 w 11"/>
                          <a:gd name="T7" fmla="*/ 10 h 12"/>
                          <a:gd name="T8" fmla="*/ 12 w 11"/>
                          <a:gd name="T9" fmla="*/ 13 h 12"/>
                          <a:gd name="T10" fmla="*/ 9 w 11"/>
                          <a:gd name="T11" fmla="*/ 8 h 12"/>
                          <a:gd name="T12" fmla="*/ 13 w 11"/>
                          <a:gd name="T13" fmla="*/ 3 h 12"/>
                          <a:gd name="T14" fmla="*/ 11 w 11"/>
                          <a:gd name="T15" fmla="*/ 1 h 12"/>
                          <a:gd name="T16" fmla="*/ 0 60000 65536"/>
                          <a:gd name="T17" fmla="*/ 0 60000 65536"/>
                          <a:gd name="T18" fmla="*/ 0 60000 65536"/>
                          <a:gd name="T19" fmla="*/ 0 60000 65536"/>
                          <a:gd name="T20" fmla="*/ 0 60000 65536"/>
                          <a:gd name="T21" fmla="*/ 0 60000 65536"/>
                          <a:gd name="T22" fmla="*/ 0 60000 65536"/>
                          <a:gd name="T23" fmla="*/ 0 60000 65536"/>
                          <a:gd name="T24" fmla="*/ 0 w 11"/>
                          <a:gd name="T25" fmla="*/ 0 h 12"/>
                          <a:gd name="T26" fmla="*/ 11 w 11"/>
                          <a:gd name="T27" fmla="*/ 12 h 12"/>
                        </a:gdLst>
                        <a:ahLst/>
                        <a:cxnLst>
                          <a:cxn ang="T16">
                            <a:pos x="T0" y="T1"/>
                          </a:cxn>
                          <a:cxn ang="T17">
                            <a:pos x="T2" y="T3"/>
                          </a:cxn>
                          <a:cxn ang="T18">
                            <a:pos x="T4" y="T5"/>
                          </a:cxn>
                          <a:cxn ang="T19">
                            <a:pos x="T6" y="T7"/>
                          </a:cxn>
                          <a:cxn ang="T20">
                            <a:pos x="T8" y="T9"/>
                          </a:cxn>
                          <a:cxn ang="T21">
                            <a:pos x="T10" y="T11"/>
                          </a:cxn>
                          <a:cxn ang="T22">
                            <a:pos x="T12" y="T13"/>
                          </a:cxn>
                          <a:cxn ang="T23">
                            <a:pos x="T14" y="T15"/>
                          </a:cxn>
                        </a:cxnLst>
                        <a:rect l="T24" t="T25" r="T26" b="T27"/>
                        <a:pathLst>
                          <a:path w="11" h="12">
                            <a:moveTo>
                              <a:pt x="9" y="1"/>
                            </a:moveTo>
                            <a:cubicBezTo>
                              <a:pt x="6" y="3"/>
                              <a:pt x="3" y="6"/>
                              <a:pt x="1" y="9"/>
                            </a:cubicBezTo>
                            <a:cubicBezTo>
                              <a:pt x="0" y="10"/>
                              <a:pt x="2" y="12"/>
                              <a:pt x="3" y="12"/>
                            </a:cubicBezTo>
                            <a:cubicBezTo>
                              <a:pt x="4" y="11"/>
                              <a:pt x="5" y="9"/>
                              <a:pt x="6" y="8"/>
                            </a:cubicBezTo>
                            <a:cubicBezTo>
                              <a:pt x="7" y="8"/>
                              <a:pt x="9" y="11"/>
                              <a:pt x="10" y="10"/>
                            </a:cubicBezTo>
                            <a:cubicBezTo>
                              <a:pt x="11" y="9"/>
                              <a:pt x="8" y="8"/>
                              <a:pt x="8" y="6"/>
                            </a:cubicBezTo>
                            <a:cubicBezTo>
                              <a:pt x="9" y="5"/>
                              <a:pt x="11" y="4"/>
                              <a:pt x="11" y="2"/>
                            </a:cubicBezTo>
                            <a:cubicBezTo>
                              <a:pt x="11" y="1"/>
                              <a:pt x="10" y="0"/>
                              <a:pt x="9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94" name="Freeform 3599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3034929" y="1563929"/>
                        <a:ext cx="17895" cy="7476"/>
                      </a:xfrm>
                      <a:custGeom>
                        <a:avLst/>
                        <a:gdLst>
                          <a:gd name="T0" fmla="*/ 10 w 13"/>
                          <a:gd name="T1" fmla="*/ 0 h 7"/>
                          <a:gd name="T2" fmla="*/ 15 w 13"/>
                          <a:gd name="T3" fmla="*/ 3 h 7"/>
                          <a:gd name="T4" fmla="*/ 5 w 13"/>
                          <a:gd name="T5" fmla="*/ 6 h 7"/>
                          <a:gd name="T6" fmla="*/ 1 w 13"/>
                          <a:gd name="T7" fmla="*/ 8 h 7"/>
                          <a:gd name="T8" fmla="*/ 4 w 13"/>
                          <a:gd name="T9" fmla="*/ 3 h 7"/>
                          <a:gd name="T10" fmla="*/ 10 w 13"/>
                          <a:gd name="T11" fmla="*/ 0 h 7"/>
                          <a:gd name="T12" fmla="*/ 0 60000 65536"/>
                          <a:gd name="T13" fmla="*/ 0 60000 65536"/>
                          <a:gd name="T14" fmla="*/ 0 60000 65536"/>
                          <a:gd name="T15" fmla="*/ 0 60000 65536"/>
                          <a:gd name="T16" fmla="*/ 0 60000 65536"/>
                          <a:gd name="T17" fmla="*/ 0 60000 65536"/>
                          <a:gd name="T18" fmla="*/ 0 w 13"/>
                          <a:gd name="T19" fmla="*/ 0 h 7"/>
                          <a:gd name="T20" fmla="*/ 13 w 13"/>
                          <a:gd name="T21" fmla="*/ 7 h 7"/>
                        </a:gdLst>
                        <a:ahLst/>
                        <a:cxnLst>
                          <a:cxn ang="T12">
                            <a:pos x="T0" y="T1"/>
                          </a:cxn>
                          <a:cxn ang="T13">
                            <a:pos x="T2" y="T3"/>
                          </a:cxn>
                          <a:cxn ang="T14">
                            <a:pos x="T4" y="T5"/>
                          </a:cxn>
                          <a:cxn ang="T15">
                            <a:pos x="T6" y="T7"/>
                          </a:cxn>
                          <a:cxn ang="T16">
                            <a:pos x="T8" y="T9"/>
                          </a:cxn>
                          <a:cxn ang="T17">
                            <a:pos x="T10" y="T11"/>
                          </a:cxn>
                        </a:cxnLst>
                        <a:rect l="T18" t="T19" r="T20" b="T21"/>
                        <a:pathLst>
                          <a:path w="13" h="7">
                            <a:moveTo>
                              <a:pt x="8" y="0"/>
                            </a:moveTo>
                            <a:cubicBezTo>
                              <a:pt x="10" y="0"/>
                              <a:pt x="13" y="1"/>
                              <a:pt x="12" y="2"/>
                            </a:cubicBezTo>
                            <a:cubicBezTo>
                              <a:pt x="10" y="4"/>
                              <a:pt x="7" y="4"/>
                              <a:pt x="4" y="5"/>
                            </a:cubicBezTo>
                            <a:cubicBezTo>
                              <a:pt x="3" y="5"/>
                              <a:pt x="1" y="7"/>
                              <a:pt x="1" y="6"/>
                            </a:cubicBezTo>
                            <a:cubicBezTo>
                              <a:pt x="0" y="4"/>
                              <a:pt x="2" y="3"/>
                              <a:pt x="3" y="2"/>
                            </a:cubicBezTo>
                            <a:cubicBezTo>
                              <a:pt x="5" y="1"/>
                              <a:pt x="6" y="0"/>
                              <a:pt x="8" y="0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95" name="Freeform 3600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918606" y="1524057"/>
                        <a:ext cx="17895" cy="3322"/>
                      </a:xfrm>
                      <a:custGeom>
                        <a:avLst/>
                        <a:gdLst>
                          <a:gd name="T0" fmla="*/ 12 w 13"/>
                          <a:gd name="T1" fmla="*/ 0 h 3"/>
                          <a:gd name="T2" fmla="*/ 15 w 13"/>
                          <a:gd name="T3" fmla="*/ 3 h 3"/>
                          <a:gd name="T4" fmla="*/ 7 w 13"/>
                          <a:gd name="T5" fmla="*/ 3 h 3"/>
                          <a:gd name="T6" fmla="*/ 1 w 13"/>
                          <a:gd name="T7" fmla="*/ 3 h 3"/>
                          <a:gd name="T8" fmla="*/ 5 w 13"/>
                          <a:gd name="T9" fmla="*/ 0 h 3"/>
                          <a:gd name="T10" fmla="*/ 12 w 13"/>
                          <a:gd name="T11" fmla="*/ 0 h 3"/>
                          <a:gd name="T12" fmla="*/ 0 60000 65536"/>
                          <a:gd name="T13" fmla="*/ 0 60000 65536"/>
                          <a:gd name="T14" fmla="*/ 0 60000 65536"/>
                          <a:gd name="T15" fmla="*/ 0 60000 65536"/>
                          <a:gd name="T16" fmla="*/ 0 60000 65536"/>
                          <a:gd name="T17" fmla="*/ 0 60000 65536"/>
                          <a:gd name="T18" fmla="*/ 0 w 13"/>
                          <a:gd name="T19" fmla="*/ 0 h 3"/>
                          <a:gd name="T20" fmla="*/ 13 w 13"/>
                          <a:gd name="T21" fmla="*/ 3 h 3"/>
                        </a:gdLst>
                        <a:ahLst/>
                        <a:cxnLst>
                          <a:cxn ang="T12">
                            <a:pos x="T0" y="T1"/>
                          </a:cxn>
                          <a:cxn ang="T13">
                            <a:pos x="T2" y="T3"/>
                          </a:cxn>
                          <a:cxn ang="T14">
                            <a:pos x="T4" y="T5"/>
                          </a:cxn>
                          <a:cxn ang="T15">
                            <a:pos x="T6" y="T7"/>
                          </a:cxn>
                          <a:cxn ang="T16">
                            <a:pos x="T8" y="T9"/>
                          </a:cxn>
                          <a:cxn ang="T17">
                            <a:pos x="T10" y="T11"/>
                          </a:cxn>
                        </a:cxnLst>
                        <a:rect l="T18" t="T19" r="T20" b="T21"/>
                        <a:pathLst>
                          <a:path w="13" h="3">
                            <a:moveTo>
                              <a:pt x="10" y="0"/>
                            </a:moveTo>
                            <a:cubicBezTo>
                              <a:pt x="11" y="0"/>
                              <a:pt x="13" y="2"/>
                              <a:pt x="12" y="2"/>
                            </a:cubicBezTo>
                            <a:cubicBezTo>
                              <a:pt x="11" y="3"/>
                              <a:pt x="8" y="2"/>
                              <a:pt x="6" y="2"/>
                            </a:cubicBezTo>
                            <a:cubicBezTo>
                              <a:pt x="5" y="2"/>
                              <a:pt x="2" y="3"/>
                              <a:pt x="1" y="2"/>
                            </a:cubicBezTo>
                            <a:cubicBezTo>
                              <a:pt x="0" y="1"/>
                              <a:pt x="3" y="0"/>
                              <a:pt x="4" y="0"/>
                            </a:cubicBezTo>
                            <a:cubicBezTo>
                              <a:pt x="6" y="0"/>
                              <a:pt x="8" y="0"/>
                              <a:pt x="10" y="0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96" name="Freeform 3618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213956" y="2139580"/>
                        <a:ext cx="65991" cy="46518"/>
                      </a:xfrm>
                      <a:custGeom>
                        <a:avLst/>
                        <a:gdLst>
                          <a:gd name="T0" fmla="*/ 4 w 49"/>
                          <a:gd name="T1" fmla="*/ 1 h 47"/>
                          <a:gd name="T2" fmla="*/ 30 w 49"/>
                          <a:gd name="T3" fmla="*/ 12 h 47"/>
                          <a:gd name="T4" fmla="*/ 36 w 49"/>
                          <a:gd name="T5" fmla="*/ 13 h 47"/>
                          <a:gd name="T6" fmla="*/ 41 w 49"/>
                          <a:gd name="T7" fmla="*/ 25 h 47"/>
                          <a:gd name="T8" fmla="*/ 41 w 49"/>
                          <a:gd name="T9" fmla="*/ 30 h 47"/>
                          <a:gd name="T10" fmla="*/ 52 w 49"/>
                          <a:gd name="T11" fmla="*/ 33 h 47"/>
                          <a:gd name="T12" fmla="*/ 57 w 49"/>
                          <a:gd name="T13" fmla="*/ 46 h 47"/>
                          <a:gd name="T14" fmla="*/ 57 w 49"/>
                          <a:gd name="T15" fmla="*/ 54 h 47"/>
                          <a:gd name="T16" fmla="*/ 47 w 49"/>
                          <a:gd name="T17" fmla="*/ 55 h 47"/>
                          <a:gd name="T18" fmla="*/ 35 w 49"/>
                          <a:gd name="T19" fmla="*/ 48 h 47"/>
                          <a:gd name="T20" fmla="*/ 39 w 49"/>
                          <a:gd name="T21" fmla="*/ 42 h 47"/>
                          <a:gd name="T22" fmla="*/ 29 w 49"/>
                          <a:gd name="T23" fmla="*/ 42 h 47"/>
                          <a:gd name="T24" fmla="*/ 24 w 49"/>
                          <a:gd name="T25" fmla="*/ 38 h 47"/>
                          <a:gd name="T26" fmla="*/ 23 w 49"/>
                          <a:gd name="T27" fmla="*/ 32 h 47"/>
                          <a:gd name="T28" fmla="*/ 17 w 49"/>
                          <a:gd name="T29" fmla="*/ 27 h 47"/>
                          <a:gd name="T30" fmla="*/ 12 w 49"/>
                          <a:gd name="T31" fmla="*/ 20 h 47"/>
                          <a:gd name="T32" fmla="*/ 12 w 49"/>
                          <a:gd name="T33" fmla="*/ 15 h 47"/>
                          <a:gd name="T34" fmla="*/ 5 w 49"/>
                          <a:gd name="T35" fmla="*/ 15 h 47"/>
                          <a:gd name="T36" fmla="*/ 8 w 49"/>
                          <a:gd name="T37" fmla="*/ 10 h 47"/>
                          <a:gd name="T38" fmla="*/ 2 w 49"/>
                          <a:gd name="T39" fmla="*/ 7 h 47"/>
                          <a:gd name="T40" fmla="*/ 0 w 49"/>
                          <a:gd name="T41" fmla="*/ 2 h 47"/>
                          <a:gd name="T42" fmla="*/ 4 w 49"/>
                          <a:gd name="T43" fmla="*/ 1 h 47"/>
                          <a:gd name="T44" fmla="*/ 0 60000 65536"/>
                          <a:gd name="T45" fmla="*/ 0 60000 65536"/>
                          <a:gd name="T46" fmla="*/ 0 60000 65536"/>
                          <a:gd name="T47" fmla="*/ 0 60000 65536"/>
                          <a:gd name="T48" fmla="*/ 0 60000 65536"/>
                          <a:gd name="T49" fmla="*/ 0 60000 65536"/>
                          <a:gd name="T50" fmla="*/ 0 60000 65536"/>
                          <a:gd name="T51" fmla="*/ 0 60000 65536"/>
                          <a:gd name="T52" fmla="*/ 0 60000 65536"/>
                          <a:gd name="T53" fmla="*/ 0 60000 65536"/>
                          <a:gd name="T54" fmla="*/ 0 60000 65536"/>
                          <a:gd name="T55" fmla="*/ 0 60000 65536"/>
                          <a:gd name="T56" fmla="*/ 0 60000 65536"/>
                          <a:gd name="T57" fmla="*/ 0 60000 65536"/>
                          <a:gd name="T58" fmla="*/ 0 60000 65536"/>
                          <a:gd name="T59" fmla="*/ 0 60000 65536"/>
                          <a:gd name="T60" fmla="*/ 0 60000 65536"/>
                          <a:gd name="T61" fmla="*/ 0 60000 65536"/>
                          <a:gd name="T62" fmla="*/ 0 60000 65536"/>
                          <a:gd name="T63" fmla="*/ 0 60000 65536"/>
                          <a:gd name="T64" fmla="*/ 0 60000 65536"/>
                          <a:gd name="T65" fmla="*/ 0 60000 65536"/>
                          <a:gd name="T66" fmla="*/ 0 w 49"/>
                          <a:gd name="T67" fmla="*/ 0 h 47"/>
                          <a:gd name="T68" fmla="*/ 49 w 49"/>
                          <a:gd name="T69" fmla="*/ 47 h 47"/>
                        </a:gdLst>
                        <a:ahLst/>
                        <a:cxnLst>
                          <a:cxn ang="T44">
                            <a:pos x="T0" y="T1"/>
                          </a:cxn>
                          <a:cxn ang="T45">
                            <a:pos x="T2" y="T3"/>
                          </a:cxn>
                          <a:cxn ang="T46">
                            <a:pos x="T4" y="T5"/>
                          </a:cxn>
                          <a:cxn ang="T47">
                            <a:pos x="T6" y="T7"/>
                          </a:cxn>
                          <a:cxn ang="T48">
                            <a:pos x="T8" y="T9"/>
                          </a:cxn>
                          <a:cxn ang="T49">
                            <a:pos x="T10" y="T11"/>
                          </a:cxn>
                          <a:cxn ang="T50">
                            <a:pos x="T12" y="T13"/>
                          </a:cxn>
                          <a:cxn ang="T51">
                            <a:pos x="T14" y="T15"/>
                          </a:cxn>
                          <a:cxn ang="T52">
                            <a:pos x="T16" y="T17"/>
                          </a:cxn>
                          <a:cxn ang="T53">
                            <a:pos x="T18" y="T19"/>
                          </a:cxn>
                          <a:cxn ang="T54">
                            <a:pos x="T20" y="T21"/>
                          </a:cxn>
                          <a:cxn ang="T55">
                            <a:pos x="T22" y="T23"/>
                          </a:cxn>
                          <a:cxn ang="T56">
                            <a:pos x="T24" y="T25"/>
                          </a:cxn>
                          <a:cxn ang="T57">
                            <a:pos x="T26" y="T27"/>
                          </a:cxn>
                          <a:cxn ang="T58">
                            <a:pos x="T28" y="T29"/>
                          </a:cxn>
                          <a:cxn ang="T59">
                            <a:pos x="T30" y="T31"/>
                          </a:cxn>
                          <a:cxn ang="T60">
                            <a:pos x="T32" y="T33"/>
                          </a:cxn>
                          <a:cxn ang="T61">
                            <a:pos x="T34" y="T35"/>
                          </a:cxn>
                          <a:cxn ang="T62">
                            <a:pos x="T36" y="T37"/>
                          </a:cxn>
                          <a:cxn ang="T63">
                            <a:pos x="T38" y="T39"/>
                          </a:cxn>
                          <a:cxn ang="T64">
                            <a:pos x="T40" y="T41"/>
                          </a:cxn>
                          <a:cxn ang="T65">
                            <a:pos x="T42" y="T43"/>
                          </a:cxn>
                        </a:cxnLst>
                        <a:rect l="T66" t="T67" r="T68" b="T69"/>
                        <a:pathLst>
                          <a:path w="49" h="47">
                            <a:moveTo>
                              <a:pt x="3" y="1"/>
                            </a:moveTo>
                            <a:cubicBezTo>
                              <a:pt x="11" y="3"/>
                              <a:pt x="18" y="7"/>
                              <a:pt x="25" y="10"/>
                            </a:cubicBezTo>
                            <a:cubicBezTo>
                              <a:pt x="27" y="11"/>
                              <a:pt x="29" y="10"/>
                              <a:pt x="30" y="11"/>
                            </a:cubicBezTo>
                            <a:cubicBezTo>
                              <a:pt x="33" y="14"/>
                              <a:pt x="33" y="18"/>
                              <a:pt x="34" y="21"/>
                            </a:cubicBezTo>
                            <a:cubicBezTo>
                              <a:pt x="34" y="23"/>
                              <a:pt x="33" y="24"/>
                              <a:pt x="34" y="25"/>
                            </a:cubicBezTo>
                            <a:cubicBezTo>
                              <a:pt x="37" y="27"/>
                              <a:pt x="41" y="26"/>
                              <a:pt x="43" y="28"/>
                            </a:cubicBezTo>
                            <a:cubicBezTo>
                              <a:pt x="46" y="31"/>
                              <a:pt x="47" y="35"/>
                              <a:pt x="47" y="39"/>
                            </a:cubicBezTo>
                            <a:cubicBezTo>
                              <a:pt x="48" y="41"/>
                              <a:pt x="49" y="44"/>
                              <a:pt x="47" y="45"/>
                            </a:cubicBezTo>
                            <a:cubicBezTo>
                              <a:pt x="45" y="47"/>
                              <a:pt x="42" y="47"/>
                              <a:pt x="39" y="46"/>
                            </a:cubicBezTo>
                            <a:cubicBezTo>
                              <a:pt x="35" y="45"/>
                              <a:pt x="31" y="43"/>
                              <a:pt x="29" y="40"/>
                            </a:cubicBezTo>
                            <a:cubicBezTo>
                              <a:pt x="28" y="38"/>
                              <a:pt x="33" y="36"/>
                              <a:pt x="32" y="35"/>
                            </a:cubicBezTo>
                            <a:cubicBezTo>
                              <a:pt x="30" y="33"/>
                              <a:pt x="26" y="35"/>
                              <a:pt x="24" y="35"/>
                            </a:cubicBezTo>
                            <a:cubicBezTo>
                              <a:pt x="22" y="34"/>
                              <a:pt x="20" y="33"/>
                              <a:pt x="20" y="32"/>
                            </a:cubicBezTo>
                            <a:cubicBezTo>
                              <a:pt x="19" y="30"/>
                              <a:pt x="20" y="28"/>
                              <a:pt x="19" y="27"/>
                            </a:cubicBezTo>
                            <a:cubicBezTo>
                              <a:pt x="18" y="25"/>
                              <a:pt x="15" y="24"/>
                              <a:pt x="14" y="23"/>
                            </a:cubicBezTo>
                            <a:cubicBezTo>
                              <a:pt x="12" y="21"/>
                              <a:pt x="11" y="19"/>
                              <a:pt x="10" y="17"/>
                            </a:cubicBezTo>
                            <a:cubicBezTo>
                              <a:pt x="9" y="16"/>
                              <a:pt x="11" y="14"/>
                              <a:pt x="10" y="13"/>
                            </a:cubicBezTo>
                            <a:cubicBezTo>
                              <a:pt x="8" y="12"/>
                              <a:pt x="5" y="15"/>
                              <a:pt x="4" y="13"/>
                            </a:cubicBezTo>
                            <a:cubicBezTo>
                              <a:pt x="3" y="12"/>
                              <a:pt x="7" y="10"/>
                              <a:pt x="7" y="8"/>
                            </a:cubicBezTo>
                            <a:cubicBezTo>
                              <a:pt x="6" y="7"/>
                              <a:pt x="3" y="8"/>
                              <a:pt x="2" y="6"/>
                            </a:cubicBezTo>
                            <a:cubicBezTo>
                              <a:pt x="1" y="5"/>
                              <a:pt x="0" y="4"/>
                              <a:pt x="0" y="2"/>
                            </a:cubicBezTo>
                            <a:cubicBezTo>
                              <a:pt x="0" y="2"/>
                              <a:pt x="3" y="0"/>
                              <a:pt x="3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97" name="Freeform 3619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155795" y="2080603"/>
                        <a:ext cx="23489" cy="19105"/>
                      </a:xfrm>
                      <a:custGeom>
                        <a:avLst/>
                        <a:gdLst>
                          <a:gd name="T0" fmla="*/ 21 w 17"/>
                          <a:gd name="T1" fmla="*/ 4 h 19"/>
                          <a:gd name="T2" fmla="*/ 16 w 17"/>
                          <a:gd name="T3" fmla="*/ 13 h 19"/>
                          <a:gd name="T4" fmla="*/ 12 w 17"/>
                          <a:gd name="T5" fmla="*/ 22 h 19"/>
                          <a:gd name="T6" fmla="*/ 5 w 17"/>
                          <a:gd name="T7" fmla="*/ 23 h 19"/>
                          <a:gd name="T8" fmla="*/ 1 w 17"/>
                          <a:gd name="T9" fmla="*/ 18 h 19"/>
                          <a:gd name="T10" fmla="*/ 2 w 17"/>
                          <a:gd name="T11" fmla="*/ 7 h 19"/>
                          <a:gd name="T12" fmla="*/ 2 w 17"/>
                          <a:gd name="T13" fmla="*/ 1 h 19"/>
                          <a:gd name="T14" fmla="*/ 15 w 17"/>
                          <a:gd name="T15" fmla="*/ 4 h 19"/>
                          <a:gd name="T16" fmla="*/ 21 w 17"/>
                          <a:gd name="T17" fmla="*/ 4 h 19"/>
                          <a:gd name="T18" fmla="*/ 0 60000 65536"/>
                          <a:gd name="T19" fmla="*/ 0 60000 65536"/>
                          <a:gd name="T20" fmla="*/ 0 60000 65536"/>
                          <a:gd name="T21" fmla="*/ 0 60000 65536"/>
                          <a:gd name="T22" fmla="*/ 0 60000 65536"/>
                          <a:gd name="T23" fmla="*/ 0 60000 65536"/>
                          <a:gd name="T24" fmla="*/ 0 60000 65536"/>
                          <a:gd name="T25" fmla="*/ 0 60000 65536"/>
                          <a:gd name="T26" fmla="*/ 0 60000 65536"/>
                          <a:gd name="T27" fmla="*/ 0 w 17"/>
                          <a:gd name="T28" fmla="*/ 0 h 19"/>
                          <a:gd name="T29" fmla="*/ 17 w 17"/>
                          <a:gd name="T30" fmla="*/ 19 h 19"/>
                        </a:gdLst>
                        <a:ahLst/>
                        <a:cxnLst>
                          <a:cxn ang="T18">
                            <a:pos x="T0" y="T1"/>
                          </a:cxn>
                          <a:cxn ang="T19">
                            <a:pos x="T2" y="T3"/>
                          </a:cxn>
                          <a:cxn ang="T20">
                            <a:pos x="T4" y="T5"/>
                          </a:cxn>
                          <a:cxn ang="T21">
                            <a:pos x="T6" y="T7"/>
                          </a:cxn>
                          <a:cxn ang="T22">
                            <a:pos x="T8" y="T9"/>
                          </a:cxn>
                          <a:cxn ang="T23">
                            <a:pos x="T10" y="T11"/>
                          </a:cxn>
                          <a:cxn ang="T24">
                            <a:pos x="T12" y="T13"/>
                          </a:cxn>
                          <a:cxn ang="T25">
                            <a:pos x="T14" y="T15"/>
                          </a:cxn>
                          <a:cxn ang="T26">
                            <a:pos x="T16" y="T17"/>
                          </a:cxn>
                        </a:cxnLst>
                        <a:rect l="T27" t="T28" r="T29" b="T30"/>
                        <a:pathLst>
                          <a:path w="17" h="19">
                            <a:moveTo>
                              <a:pt x="17" y="3"/>
                            </a:moveTo>
                            <a:cubicBezTo>
                              <a:pt x="17" y="6"/>
                              <a:pt x="14" y="8"/>
                              <a:pt x="13" y="11"/>
                            </a:cubicBezTo>
                            <a:cubicBezTo>
                              <a:pt x="12" y="13"/>
                              <a:pt x="12" y="16"/>
                              <a:pt x="10" y="18"/>
                            </a:cubicBezTo>
                            <a:cubicBezTo>
                              <a:pt x="9" y="19"/>
                              <a:pt x="6" y="19"/>
                              <a:pt x="4" y="19"/>
                            </a:cubicBezTo>
                            <a:cubicBezTo>
                              <a:pt x="3" y="18"/>
                              <a:pt x="1" y="17"/>
                              <a:pt x="1" y="15"/>
                            </a:cubicBezTo>
                            <a:cubicBezTo>
                              <a:pt x="1" y="12"/>
                              <a:pt x="2" y="9"/>
                              <a:pt x="2" y="6"/>
                            </a:cubicBezTo>
                            <a:cubicBezTo>
                              <a:pt x="2" y="5"/>
                              <a:pt x="0" y="2"/>
                              <a:pt x="2" y="1"/>
                            </a:cubicBezTo>
                            <a:cubicBezTo>
                              <a:pt x="5" y="0"/>
                              <a:pt x="9" y="2"/>
                              <a:pt x="12" y="3"/>
                            </a:cubicBezTo>
                            <a:cubicBezTo>
                              <a:pt x="13" y="3"/>
                              <a:pt x="16" y="2"/>
                              <a:pt x="17" y="3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98" name="Freeform 3620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160269" y="2098878"/>
                        <a:ext cx="20133" cy="22429"/>
                      </a:xfrm>
                      <a:custGeom>
                        <a:avLst/>
                        <a:gdLst>
                          <a:gd name="T0" fmla="*/ 12 w 15"/>
                          <a:gd name="T1" fmla="*/ 1 h 23"/>
                          <a:gd name="T2" fmla="*/ 1 w 15"/>
                          <a:gd name="T3" fmla="*/ 4 h 23"/>
                          <a:gd name="T4" fmla="*/ 6 w 15"/>
                          <a:gd name="T5" fmla="*/ 7 h 23"/>
                          <a:gd name="T6" fmla="*/ 7 w 15"/>
                          <a:gd name="T7" fmla="*/ 15 h 23"/>
                          <a:gd name="T8" fmla="*/ 16 w 15"/>
                          <a:gd name="T9" fmla="*/ 26 h 23"/>
                          <a:gd name="T10" fmla="*/ 17 w 15"/>
                          <a:gd name="T11" fmla="*/ 23 h 23"/>
                          <a:gd name="T12" fmla="*/ 12 w 15"/>
                          <a:gd name="T13" fmla="*/ 18 h 23"/>
                          <a:gd name="T14" fmla="*/ 10 w 15"/>
                          <a:gd name="T15" fmla="*/ 7 h 23"/>
                          <a:gd name="T16" fmla="*/ 12 w 15"/>
                          <a:gd name="T17" fmla="*/ 1 h 23"/>
                          <a:gd name="T18" fmla="*/ 0 60000 65536"/>
                          <a:gd name="T19" fmla="*/ 0 60000 65536"/>
                          <a:gd name="T20" fmla="*/ 0 60000 65536"/>
                          <a:gd name="T21" fmla="*/ 0 60000 65536"/>
                          <a:gd name="T22" fmla="*/ 0 60000 65536"/>
                          <a:gd name="T23" fmla="*/ 0 60000 65536"/>
                          <a:gd name="T24" fmla="*/ 0 60000 65536"/>
                          <a:gd name="T25" fmla="*/ 0 60000 65536"/>
                          <a:gd name="T26" fmla="*/ 0 60000 65536"/>
                          <a:gd name="T27" fmla="*/ 0 w 15"/>
                          <a:gd name="T28" fmla="*/ 0 h 23"/>
                          <a:gd name="T29" fmla="*/ 15 w 15"/>
                          <a:gd name="T30" fmla="*/ 23 h 23"/>
                        </a:gdLst>
                        <a:ahLst/>
                        <a:cxnLst>
                          <a:cxn ang="T18">
                            <a:pos x="T0" y="T1"/>
                          </a:cxn>
                          <a:cxn ang="T19">
                            <a:pos x="T2" y="T3"/>
                          </a:cxn>
                          <a:cxn ang="T20">
                            <a:pos x="T4" y="T5"/>
                          </a:cxn>
                          <a:cxn ang="T21">
                            <a:pos x="T6" y="T7"/>
                          </a:cxn>
                          <a:cxn ang="T22">
                            <a:pos x="T8" y="T9"/>
                          </a:cxn>
                          <a:cxn ang="T23">
                            <a:pos x="T10" y="T11"/>
                          </a:cxn>
                          <a:cxn ang="T24">
                            <a:pos x="T12" y="T13"/>
                          </a:cxn>
                          <a:cxn ang="T25">
                            <a:pos x="T14" y="T15"/>
                          </a:cxn>
                          <a:cxn ang="T26">
                            <a:pos x="T16" y="T17"/>
                          </a:cxn>
                        </a:cxnLst>
                        <a:rect l="T27" t="T28" r="T29" b="T30"/>
                        <a:pathLst>
                          <a:path w="15" h="23">
                            <a:moveTo>
                              <a:pt x="10" y="1"/>
                            </a:moveTo>
                            <a:cubicBezTo>
                              <a:pt x="7" y="0"/>
                              <a:pt x="3" y="1"/>
                              <a:pt x="1" y="3"/>
                            </a:cubicBezTo>
                            <a:cubicBezTo>
                              <a:pt x="0" y="4"/>
                              <a:pt x="4" y="4"/>
                              <a:pt x="5" y="6"/>
                            </a:cubicBezTo>
                            <a:cubicBezTo>
                              <a:pt x="6" y="8"/>
                              <a:pt x="5" y="11"/>
                              <a:pt x="6" y="13"/>
                            </a:cubicBezTo>
                            <a:cubicBezTo>
                              <a:pt x="8" y="17"/>
                              <a:pt x="10" y="20"/>
                              <a:pt x="13" y="22"/>
                            </a:cubicBezTo>
                            <a:cubicBezTo>
                              <a:pt x="13" y="23"/>
                              <a:pt x="15" y="21"/>
                              <a:pt x="14" y="20"/>
                            </a:cubicBezTo>
                            <a:cubicBezTo>
                              <a:pt x="13" y="18"/>
                              <a:pt x="11" y="17"/>
                              <a:pt x="10" y="15"/>
                            </a:cubicBezTo>
                            <a:cubicBezTo>
                              <a:pt x="9" y="12"/>
                              <a:pt x="8" y="9"/>
                              <a:pt x="8" y="6"/>
                            </a:cubicBezTo>
                            <a:cubicBezTo>
                              <a:pt x="8" y="4"/>
                              <a:pt x="11" y="2"/>
                              <a:pt x="10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199" name="Freeform 3621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1630105" y="1898687"/>
                        <a:ext cx="45859" cy="15783"/>
                      </a:xfrm>
                      <a:custGeom>
                        <a:avLst/>
                        <a:gdLst>
                          <a:gd name="T0" fmla="*/ 5 w 34"/>
                          <a:gd name="T1" fmla="*/ 2 h 16"/>
                          <a:gd name="T2" fmla="*/ 1 w 34"/>
                          <a:gd name="T3" fmla="*/ 13 h 16"/>
                          <a:gd name="T4" fmla="*/ 10 w 34"/>
                          <a:gd name="T5" fmla="*/ 13 h 16"/>
                          <a:gd name="T6" fmla="*/ 17 w 34"/>
                          <a:gd name="T7" fmla="*/ 12 h 16"/>
                          <a:gd name="T8" fmla="*/ 24 w 34"/>
                          <a:gd name="T9" fmla="*/ 15 h 16"/>
                          <a:gd name="T10" fmla="*/ 30 w 34"/>
                          <a:gd name="T11" fmla="*/ 19 h 16"/>
                          <a:gd name="T12" fmla="*/ 41 w 34"/>
                          <a:gd name="T13" fmla="*/ 13 h 16"/>
                          <a:gd name="T14" fmla="*/ 30 w 34"/>
                          <a:gd name="T15" fmla="*/ 8 h 16"/>
                          <a:gd name="T16" fmla="*/ 28 w 34"/>
                          <a:gd name="T17" fmla="*/ 5 h 16"/>
                          <a:gd name="T18" fmla="*/ 23 w 34"/>
                          <a:gd name="T19" fmla="*/ 5 h 16"/>
                          <a:gd name="T20" fmla="*/ 16 w 34"/>
                          <a:gd name="T21" fmla="*/ 8 h 16"/>
                          <a:gd name="T22" fmla="*/ 7 w 34"/>
                          <a:gd name="T23" fmla="*/ 8 h 16"/>
                          <a:gd name="T24" fmla="*/ 5 w 34"/>
                          <a:gd name="T25" fmla="*/ 2 h 16"/>
                          <a:gd name="T26" fmla="*/ 0 60000 65536"/>
                          <a:gd name="T27" fmla="*/ 0 60000 65536"/>
                          <a:gd name="T28" fmla="*/ 0 60000 65536"/>
                          <a:gd name="T29" fmla="*/ 0 60000 65536"/>
                          <a:gd name="T30" fmla="*/ 0 60000 65536"/>
                          <a:gd name="T31" fmla="*/ 0 60000 65536"/>
                          <a:gd name="T32" fmla="*/ 0 60000 65536"/>
                          <a:gd name="T33" fmla="*/ 0 60000 65536"/>
                          <a:gd name="T34" fmla="*/ 0 60000 65536"/>
                          <a:gd name="T35" fmla="*/ 0 60000 65536"/>
                          <a:gd name="T36" fmla="*/ 0 60000 65536"/>
                          <a:gd name="T37" fmla="*/ 0 60000 65536"/>
                          <a:gd name="T38" fmla="*/ 0 60000 65536"/>
                          <a:gd name="T39" fmla="*/ 0 w 34"/>
                          <a:gd name="T40" fmla="*/ 0 h 16"/>
                          <a:gd name="T41" fmla="*/ 34 w 34"/>
                          <a:gd name="T42" fmla="*/ 16 h 16"/>
                        </a:gdLst>
                        <a:ahLst/>
                        <a:cxnLst>
                          <a:cxn ang="T26">
                            <a:pos x="T0" y="T1"/>
                          </a:cxn>
                          <a:cxn ang="T27">
                            <a:pos x="T2" y="T3"/>
                          </a:cxn>
                          <a:cxn ang="T28">
                            <a:pos x="T4" y="T5"/>
                          </a:cxn>
                          <a:cxn ang="T29">
                            <a:pos x="T6" y="T7"/>
                          </a:cxn>
                          <a:cxn ang="T30">
                            <a:pos x="T8" y="T9"/>
                          </a:cxn>
                          <a:cxn ang="T31">
                            <a:pos x="T10" y="T11"/>
                          </a:cxn>
                          <a:cxn ang="T32">
                            <a:pos x="T12" y="T13"/>
                          </a:cxn>
                          <a:cxn ang="T33">
                            <a:pos x="T14" y="T15"/>
                          </a:cxn>
                          <a:cxn ang="T34">
                            <a:pos x="T16" y="T17"/>
                          </a:cxn>
                          <a:cxn ang="T35">
                            <a:pos x="T18" y="T19"/>
                          </a:cxn>
                          <a:cxn ang="T36">
                            <a:pos x="T20" y="T21"/>
                          </a:cxn>
                          <a:cxn ang="T37">
                            <a:pos x="T22" y="T23"/>
                          </a:cxn>
                          <a:cxn ang="T38">
                            <a:pos x="T24" y="T25"/>
                          </a:cxn>
                        </a:cxnLst>
                        <a:rect l="T39" t="T40" r="T41" b="T42"/>
                        <a:pathLst>
                          <a:path w="34" h="16">
                            <a:moveTo>
                              <a:pt x="4" y="2"/>
                            </a:moveTo>
                            <a:cubicBezTo>
                              <a:pt x="2" y="4"/>
                              <a:pt x="0" y="8"/>
                              <a:pt x="1" y="11"/>
                            </a:cubicBezTo>
                            <a:cubicBezTo>
                              <a:pt x="2" y="13"/>
                              <a:pt x="6" y="11"/>
                              <a:pt x="8" y="11"/>
                            </a:cubicBezTo>
                            <a:cubicBezTo>
                              <a:pt x="10" y="11"/>
                              <a:pt x="12" y="10"/>
                              <a:pt x="14" y="10"/>
                            </a:cubicBezTo>
                            <a:cubicBezTo>
                              <a:pt x="16" y="11"/>
                              <a:pt x="18" y="12"/>
                              <a:pt x="20" y="13"/>
                            </a:cubicBezTo>
                            <a:cubicBezTo>
                              <a:pt x="21" y="14"/>
                              <a:pt x="23" y="16"/>
                              <a:pt x="25" y="16"/>
                            </a:cubicBezTo>
                            <a:cubicBezTo>
                              <a:pt x="29" y="15"/>
                              <a:pt x="34" y="14"/>
                              <a:pt x="34" y="11"/>
                            </a:cubicBezTo>
                            <a:cubicBezTo>
                              <a:pt x="34" y="7"/>
                              <a:pt x="28" y="9"/>
                              <a:pt x="25" y="7"/>
                            </a:cubicBezTo>
                            <a:cubicBezTo>
                              <a:pt x="24" y="7"/>
                              <a:pt x="24" y="5"/>
                              <a:pt x="23" y="4"/>
                            </a:cubicBezTo>
                            <a:cubicBezTo>
                              <a:pt x="22" y="3"/>
                              <a:pt x="20" y="3"/>
                              <a:pt x="19" y="4"/>
                            </a:cubicBezTo>
                            <a:cubicBezTo>
                              <a:pt x="17" y="4"/>
                              <a:pt x="15" y="6"/>
                              <a:pt x="13" y="7"/>
                            </a:cubicBezTo>
                            <a:cubicBezTo>
                              <a:pt x="11" y="7"/>
                              <a:pt x="8" y="8"/>
                              <a:pt x="6" y="7"/>
                            </a:cubicBezTo>
                            <a:cubicBezTo>
                              <a:pt x="5" y="6"/>
                              <a:pt x="6" y="0"/>
                              <a:pt x="4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200" name="Freeform 3622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154676" y="2043223"/>
                        <a:ext cx="24607" cy="29904"/>
                      </a:xfrm>
                      <a:custGeom>
                        <a:avLst/>
                        <a:gdLst>
                          <a:gd name="T0" fmla="*/ 13 w 18"/>
                          <a:gd name="T1" fmla="*/ 4 h 30"/>
                          <a:gd name="T2" fmla="*/ 21 w 18"/>
                          <a:gd name="T3" fmla="*/ 17 h 30"/>
                          <a:gd name="T4" fmla="*/ 22 w 18"/>
                          <a:gd name="T5" fmla="*/ 31 h 30"/>
                          <a:gd name="T6" fmla="*/ 20 w 18"/>
                          <a:gd name="T7" fmla="*/ 35 h 30"/>
                          <a:gd name="T8" fmla="*/ 12 w 18"/>
                          <a:gd name="T9" fmla="*/ 26 h 30"/>
                          <a:gd name="T10" fmla="*/ 7 w 18"/>
                          <a:gd name="T11" fmla="*/ 24 h 30"/>
                          <a:gd name="T12" fmla="*/ 10 w 18"/>
                          <a:gd name="T13" fmla="*/ 17 h 30"/>
                          <a:gd name="T14" fmla="*/ 6 w 18"/>
                          <a:gd name="T15" fmla="*/ 14 h 30"/>
                          <a:gd name="T16" fmla="*/ 11 w 18"/>
                          <a:gd name="T17" fmla="*/ 8 h 30"/>
                          <a:gd name="T18" fmla="*/ 1 w 18"/>
                          <a:gd name="T19" fmla="*/ 10 h 30"/>
                          <a:gd name="T20" fmla="*/ 6 w 18"/>
                          <a:gd name="T21" fmla="*/ 1 h 30"/>
                          <a:gd name="T22" fmla="*/ 13 w 18"/>
                          <a:gd name="T23" fmla="*/ 4 h 30"/>
                          <a:gd name="T24" fmla="*/ 0 60000 65536"/>
                          <a:gd name="T25" fmla="*/ 0 60000 65536"/>
                          <a:gd name="T26" fmla="*/ 0 60000 65536"/>
                          <a:gd name="T27" fmla="*/ 0 60000 65536"/>
                          <a:gd name="T28" fmla="*/ 0 60000 65536"/>
                          <a:gd name="T29" fmla="*/ 0 60000 65536"/>
                          <a:gd name="T30" fmla="*/ 0 60000 65536"/>
                          <a:gd name="T31" fmla="*/ 0 60000 65536"/>
                          <a:gd name="T32" fmla="*/ 0 60000 65536"/>
                          <a:gd name="T33" fmla="*/ 0 60000 65536"/>
                          <a:gd name="T34" fmla="*/ 0 60000 65536"/>
                          <a:gd name="T35" fmla="*/ 0 60000 65536"/>
                          <a:gd name="T36" fmla="*/ 0 w 18"/>
                          <a:gd name="T37" fmla="*/ 0 h 30"/>
                          <a:gd name="T38" fmla="*/ 18 w 18"/>
                          <a:gd name="T39" fmla="*/ 30 h 30"/>
                        </a:gdLst>
                        <a:ahLst/>
                        <a:cxnLst>
                          <a:cxn ang="T24">
                            <a:pos x="T0" y="T1"/>
                          </a:cxn>
                          <a:cxn ang="T25">
                            <a:pos x="T2" y="T3"/>
                          </a:cxn>
                          <a:cxn ang="T26">
                            <a:pos x="T4" y="T5"/>
                          </a:cxn>
                          <a:cxn ang="T27">
                            <a:pos x="T6" y="T7"/>
                          </a:cxn>
                          <a:cxn ang="T28">
                            <a:pos x="T8" y="T9"/>
                          </a:cxn>
                          <a:cxn ang="T29">
                            <a:pos x="T10" y="T11"/>
                          </a:cxn>
                          <a:cxn ang="T30">
                            <a:pos x="T12" y="T13"/>
                          </a:cxn>
                          <a:cxn ang="T31">
                            <a:pos x="T14" y="T15"/>
                          </a:cxn>
                          <a:cxn ang="T32">
                            <a:pos x="T16" y="T17"/>
                          </a:cxn>
                          <a:cxn ang="T33">
                            <a:pos x="T18" y="T19"/>
                          </a:cxn>
                          <a:cxn ang="T34">
                            <a:pos x="T20" y="T21"/>
                          </a:cxn>
                          <a:cxn ang="T35">
                            <a:pos x="T22" y="T23"/>
                          </a:cxn>
                        </a:cxnLst>
                        <a:rect l="T36" t="T37" r="T38" b="T39"/>
                        <a:pathLst>
                          <a:path w="18" h="30">
                            <a:moveTo>
                              <a:pt x="11" y="3"/>
                            </a:moveTo>
                            <a:cubicBezTo>
                              <a:pt x="14" y="6"/>
                              <a:pt x="15" y="10"/>
                              <a:pt x="17" y="14"/>
                            </a:cubicBezTo>
                            <a:cubicBezTo>
                              <a:pt x="18" y="18"/>
                              <a:pt x="18" y="22"/>
                              <a:pt x="18" y="26"/>
                            </a:cubicBezTo>
                            <a:cubicBezTo>
                              <a:pt x="18" y="27"/>
                              <a:pt x="17" y="30"/>
                              <a:pt x="16" y="29"/>
                            </a:cubicBezTo>
                            <a:cubicBezTo>
                              <a:pt x="13" y="28"/>
                              <a:pt x="12" y="24"/>
                              <a:pt x="10" y="22"/>
                            </a:cubicBezTo>
                            <a:cubicBezTo>
                              <a:pt x="8" y="21"/>
                              <a:pt x="6" y="22"/>
                              <a:pt x="6" y="20"/>
                            </a:cubicBezTo>
                            <a:cubicBezTo>
                              <a:pt x="5" y="18"/>
                              <a:pt x="8" y="16"/>
                              <a:pt x="8" y="14"/>
                            </a:cubicBezTo>
                            <a:cubicBezTo>
                              <a:pt x="8" y="12"/>
                              <a:pt x="4" y="13"/>
                              <a:pt x="5" y="12"/>
                            </a:cubicBezTo>
                            <a:cubicBezTo>
                              <a:pt x="5" y="10"/>
                              <a:pt x="10" y="9"/>
                              <a:pt x="9" y="7"/>
                            </a:cubicBezTo>
                            <a:cubicBezTo>
                              <a:pt x="7" y="5"/>
                              <a:pt x="3" y="10"/>
                              <a:pt x="1" y="8"/>
                            </a:cubicBezTo>
                            <a:cubicBezTo>
                              <a:pt x="0" y="6"/>
                              <a:pt x="3" y="2"/>
                              <a:pt x="5" y="1"/>
                            </a:cubicBezTo>
                            <a:cubicBezTo>
                              <a:pt x="7" y="0"/>
                              <a:pt x="10" y="1"/>
                              <a:pt x="11" y="3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201" name="Freeform 3623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161387" y="2029933"/>
                        <a:ext cx="20133" cy="13290"/>
                      </a:xfrm>
                      <a:custGeom>
                        <a:avLst/>
                        <a:gdLst>
                          <a:gd name="T0" fmla="*/ 1 w 15"/>
                          <a:gd name="T1" fmla="*/ 2 h 13"/>
                          <a:gd name="T2" fmla="*/ 1 w 15"/>
                          <a:gd name="T3" fmla="*/ 15 h 13"/>
                          <a:gd name="T4" fmla="*/ 10 w 15"/>
                          <a:gd name="T5" fmla="*/ 14 h 13"/>
                          <a:gd name="T6" fmla="*/ 10 w 15"/>
                          <a:gd name="T7" fmla="*/ 10 h 13"/>
                          <a:gd name="T8" fmla="*/ 14 w 15"/>
                          <a:gd name="T9" fmla="*/ 12 h 13"/>
                          <a:gd name="T10" fmla="*/ 17 w 15"/>
                          <a:gd name="T11" fmla="*/ 12 h 13"/>
                          <a:gd name="T12" fmla="*/ 12 w 15"/>
                          <a:gd name="T13" fmla="*/ 5 h 13"/>
                          <a:gd name="T14" fmla="*/ 6 w 15"/>
                          <a:gd name="T15" fmla="*/ 4 h 13"/>
                          <a:gd name="T16" fmla="*/ 1 w 15"/>
                          <a:gd name="T17" fmla="*/ 2 h 13"/>
                          <a:gd name="T18" fmla="*/ 0 60000 65536"/>
                          <a:gd name="T19" fmla="*/ 0 60000 65536"/>
                          <a:gd name="T20" fmla="*/ 0 60000 65536"/>
                          <a:gd name="T21" fmla="*/ 0 60000 65536"/>
                          <a:gd name="T22" fmla="*/ 0 60000 65536"/>
                          <a:gd name="T23" fmla="*/ 0 60000 65536"/>
                          <a:gd name="T24" fmla="*/ 0 60000 65536"/>
                          <a:gd name="T25" fmla="*/ 0 60000 65536"/>
                          <a:gd name="T26" fmla="*/ 0 60000 65536"/>
                          <a:gd name="T27" fmla="*/ 0 w 15"/>
                          <a:gd name="T28" fmla="*/ 0 h 13"/>
                          <a:gd name="T29" fmla="*/ 15 w 15"/>
                          <a:gd name="T30" fmla="*/ 13 h 13"/>
                        </a:gdLst>
                        <a:ahLst/>
                        <a:cxnLst>
                          <a:cxn ang="T18">
                            <a:pos x="T0" y="T1"/>
                          </a:cxn>
                          <a:cxn ang="T19">
                            <a:pos x="T2" y="T3"/>
                          </a:cxn>
                          <a:cxn ang="T20">
                            <a:pos x="T4" y="T5"/>
                          </a:cxn>
                          <a:cxn ang="T21">
                            <a:pos x="T6" y="T7"/>
                          </a:cxn>
                          <a:cxn ang="T22">
                            <a:pos x="T8" y="T9"/>
                          </a:cxn>
                          <a:cxn ang="T23">
                            <a:pos x="T10" y="T11"/>
                          </a:cxn>
                          <a:cxn ang="T24">
                            <a:pos x="T12" y="T13"/>
                          </a:cxn>
                          <a:cxn ang="T25">
                            <a:pos x="T14" y="T15"/>
                          </a:cxn>
                          <a:cxn ang="T26">
                            <a:pos x="T16" y="T17"/>
                          </a:cxn>
                        </a:cxnLst>
                        <a:rect l="T27" t="T28" r="T29" b="T30"/>
                        <a:pathLst>
                          <a:path w="15" h="13">
                            <a:moveTo>
                              <a:pt x="1" y="2"/>
                            </a:moveTo>
                            <a:cubicBezTo>
                              <a:pt x="0" y="5"/>
                              <a:pt x="0" y="9"/>
                              <a:pt x="1" y="12"/>
                            </a:cubicBezTo>
                            <a:cubicBezTo>
                              <a:pt x="2" y="13"/>
                              <a:pt x="6" y="12"/>
                              <a:pt x="8" y="11"/>
                            </a:cubicBezTo>
                            <a:cubicBezTo>
                              <a:pt x="9" y="10"/>
                              <a:pt x="6" y="8"/>
                              <a:pt x="8" y="8"/>
                            </a:cubicBezTo>
                            <a:cubicBezTo>
                              <a:pt x="9" y="7"/>
                              <a:pt x="10" y="10"/>
                              <a:pt x="12" y="10"/>
                            </a:cubicBezTo>
                            <a:cubicBezTo>
                              <a:pt x="12" y="10"/>
                              <a:pt x="15" y="11"/>
                              <a:pt x="14" y="10"/>
                            </a:cubicBezTo>
                            <a:cubicBezTo>
                              <a:pt x="14" y="7"/>
                              <a:pt x="12" y="5"/>
                              <a:pt x="10" y="4"/>
                            </a:cubicBezTo>
                            <a:cubicBezTo>
                              <a:pt x="9" y="3"/>
                              <a:pt x="7" y="3"/>
                              <a:pt x="5" y="3"/>
                            </a:cubicBezTo>
                            <a:cubicBezTo>
                              <a:pt x="4" y="3"/>
                              <a:pt x="2" y="0"/>
                              <a:pt x="1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202" name="Freeform 3624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150202" y="2033255"/>
                        <a:ext cx="10067" cy="14952"/>
                      </a:xfrm>
                      <a:custGeom>
                        <a:avLst/>
                        <a:gdLst>
                          <a:gd name="T0" fmla="*/ 4 w 7"/>
                          <a:gd name="T1" fmla="*/ 1 h 15"/>
                          <a:gd name="T2" fmla="*/ 3 w 7"/>
                          <a:gd name="T3" fmla="*/ 11 h 15"/>
                          <a:gd name="T4" fmla="*/ 3 w 7"/>
                          <a:gd name="T5" fmla="*/ 18 h 15"/>
                          <a:gd name="T6" fmla="*/ 8 w 7"/>
                          <a:gd name="T7" fmla="*/ 11 h 15"/>
                          <a:gd name="T8" fmla="*/ 8 w 7"/>
                          <a:gd name="T9" fmla="*/ 5 h 15"/>
                          <a:gd name="T10" fmla="*/ 6 w 7"/>
                          <a:gd name="T11" fmla="*/ 1 h 15"/>
                          <a:gd name="T12" fmla="*/ 4 w 7"/>
                          <a:gd name="T13" fmla="*/ 1 h 15"/>
                          <a:gd name="T14" fmla="*/ 0 60000 65536"/>
                          <a:gd name="T15" fmla="*/ 0 60000 65536"/>
                          <a:gd name="T16" fmla="*/ 0 60000 65536"/>
                          <a:gd name="T17" fmla="*/ 0 60000 65536"/>
                          <a:gd name="T18" fmla="*/ 0 60000 65536"/>
                          <a:gd name="T19" fmla="*/ 0 60000 65536"/>
                          <a:gd name="T20" fmla="*/ 0 60000 65536"/>
                          <a:gd name="T21" fmla="*/ 0 w 7"/>
                          <a:gd name="T22" fmla="*/ 0 h 15"/>
                          <a:gd name="T23" fmla="*/ 7 w 7"/>
                          <a:gd name="T24" fmla="*/ 15 h 15"/>
                        </a:gdLst>
                        <a:ahLst/>
                        <a:cxnLst>
                          <a:cxn ang="T14">
                            <a:pos x="T0" y="T1"/>
                          </a:cxn>
                          <a:cxn ang="T15">
                            <a:pos x="T2" y="T3"/>
                          </a:cxn>
                          <a:cxn ang="T16">
                            <a:pos x="T4" y="T5"/>
                          </a:cxn>
                          <a:cxn ang="T17">
                            <a:pos x="T6" y="T7"/>
                          </a:cxn>
                          <a:cxn ang="T18">
                            <a:pos x="T8" y="T9"/>
                          </a:cxn>
                          <a:cxn ang="T19">
                            <a:pos x="T10" y="T11"/>
                          </a:cxn>
                          <a:cxn ang="T20">
                            <a:pos x="T12" y="T13"/>
                          </a:cxn>
                        </a:cxnLst>
                        <a:rect l="T21" t="T22" r="T23" b="T24"/>
                        <a:pathLst>
                          <a:path w="7" h="15">
                            <a:moveTo>
                              <a:pt x="3" y="1"/>
                            </a:moveTo>
                            <a:cubicBezTo>
                              <a:pt x="2" y="4"/>
                              <a:pt x="2" y="6"/>
                              <a:pt x="2" y="9"/>
                            </a:cubicBezTo>
                            <a:cubicBezTo>
                              <a:pt x="2" y="11"/>
                              <a:pt x="0" y="15"/>
                              <a:pt x="2" y="15"/>
                            </a:cubicBezTo>
                            <a:cubicBezTo>
                              <a:pt x="4" y="14"/>
                              <a:pt x="5" y="11"/>
                              <a:pt x="6" y="9"/>
                            </a:cubicBezTo>
                            <a:cubicBezTo>
                              <a:pt x="7" y="7"/>
                              <a:pt x="6" y="5"/>
                              <a:pt x="6" y="4"/>
                            </a:cubicBezTo>
                            <a:cubicBezTo>
                              <a:pt x="6" y="3"/>
                              <a:pt x="6" y="2"/>
                              <a:pt x="5" y="1"/>
                            </a:cubicBezTo>
                            <a:cubicBezTo>
                              <a:pt x="5" y="0"/>
                              <a:pt x="3" y="0"/>
                              <a:pt x="3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203" name="Freeform 3625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139017" y="2024948"/>
                        <a:ext cx="11185" cy="19936"/>
                      </a:xfrm>
                      <a:custGeom>
                        <a:avLst/>
                        <a:gdLst>
                          <a:gd name="T0" fmla="*/ 1 w 9"/>
                          <a:gd name="T1" fmla="*/ 0 h 20"/>
                          <a:gd name="T2" fmla="*/ 1 w 9"/>
                          <a:gd name="T3" fmla="*/ 4 h 20"/>
                          <a:gd name="T4" fmla="*/ 3 w 9"/>
                          <a:gd name="T5" fmla="*/ 17 h 20"/>
                          <a:gd name="T6" fmla="*/ 6 w 9"/>
                          <a:gd name="T7" fmla="*/ 24 h 20"/>
                          <a:gd name="T8" fmla="*/ 10 w 9"/>
                          <a:gd name="T9" fmla="*/ 16 h 20"/>
                          <a:gd name="T10" fmla="*/ 8 w 9"/>
                          <a:gd name="T11" fmla="*/ 4 h 20"/>
                          <a:gd name="T12" fmla="*/ 4 w 9"/>
                          <a:gd name="T13" fmla="*/ 1 h 20"/>
                          <a:gd name="T14" fmla="*/ 1 w 9"/>
                          <a:gd name="T15" fmla="*/ 0 h 20"/>
                          <a:gd name="T16" fmla="*/ 0 60000 65536"/>
                          <a:gd name="T17" fmla="*/ 0 60000 65536"/>
                          <a:gd name="T18" fmla="*/ 0 60000 65536"/>
                          <a:gd name="T19" fmla="*/ 0 60000 65536"/>
                          <a:gd name="T20" fmla="*/ 0 60000 65536"/>
                          <a:gd name="T21" fmla="*/ 0 60000 65536"/>
                          <a:gd name="T22" fmla="*/ 0 60000 65536"/>
                          <a:gd name="T23" fmla="*/ 0 60000 65536"/>
                          <a:gd name="T24" fmla="*/ 0 w 9"/>
                          <a:gd name="T25" fmla="*/ 0 h 20"/>
                          <a:gd name="T26" fmla="*/ 9 w 9"/>
                          <a:gd name="T27" fmla="*/ 20 h 20"/>
                        </a:gdLst>
                        <a:ahLst/>
                        <a:cxnLst>
                          <a:cxn ang="T16">
                            <a:pos x="T0" y="T1"/>
                          </a:cxn>
                          <a:cxn ang="T17">
                            <a:pos x="T2" y="T3"/>
                          </a:cxn>
                          <a:cxn ang="T18">
                            <a:pos x="T4" y="T5"/>
                          </a:cxn>
                          <a:cxn ang="T19">
                            <a:pos x="T6" y="T7"/>
                          </a:cxn>
                          <a:cxn ang="T20">
                            <a:pos x="T8" y="T9"/>
                          </a:cxn>
                          <a:cxn ang="T21">
                            <a:pos x="T10" y="T11"/>
                          </a:cxn>
                          <a:cxn ang="T22">
                            <a:pos x="T12" y="T13"/>
                          </a:cxn>
                          <a:cxn ang="T23">
                            <a:pos x="T14" y="T15"/>
                          </a:cxn>
                        </a:cxnLst>
                        <a:rect l="T24" t="T25" r="T26" b="T27"/>
                        <a:pathLst>
                          <a:path w="9" h="20">
                            <a:moveTo>
                              <a:pt x="1" y="0"/>
                            </a:moveTo>
                            <a:cubicBezTo>
                              <a:pt x="0" y="1"/>
                              <a:pt x="1" y="2"/>
                              <a:pt x="1" y="3"/>
                            </a:cubicBezTo>
                            <a:cubicBezTo>
                              <a:pt x="1" y="7"/>
                              <a:pt x="3" y="10"/>
                              <a:pt x="3" y="14"/>
                            </a:cubicBezTo>
                            <a:cubicBezTo>
                              <a:pt x="4" y="16"/>
                              <a:pt x="3" y="20"/>
                              <a:pt x="5" y="20"/>
                            </a:cubicBezTo>
                            <a:cubicBezTo>
                              <a:pt x="7" y="19"/>
                              <a:pt x="8" y="15"/>
                              <a:pt x="9" y="13"/>
                            </a:cubicBezTo>
                            <a:cubicBezTo>
                              <a:pt x="9" y="10"/>
                              <a:pt x="8" y="6"/>
                              <a:pt x="7" y="3"/>
                            </a:cubicBezTo>
                            <a:cubicBezTo>
                              <a:pt x="7" y="2"/>
                              <a:pt x="6" y="2"/>
                              <a:pt x="4" y="1"/>
                            </a:cubicBezTo>
                            <a:cubicBezTo>
                              <a:pt x="3" y="0"/>
                              <a:pt x="2" y="0"/>
                              <a:pt x="1" y="0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204" name="Freeform 3626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126713" y="2011658"/>
                        <a:ext cx="26844" cy="14952"/>
                      </a:xfrm>
                      <a:custGeom>
                        <a:avLst/>
                        <a:gdLst>
                          <a:gd name="T0" fmla="*/ 1 w 20"/>
                          <a:gd name="T1" fmla="*/ 2 h 15"/>
                          <a:gd name="T2" fmla="*/ 1 w 20"/>
                          <a:gd name="T3" fmla="*/ 6 h 15"/>
                          <a:gd name="T4" fmla="*/ 10 w 20"/>
                          <a:gd name="T5" fmla="*/ 17 h 15"/>
                          <a:gd name="T6" fmla="*/ 11 w 20"/>
                          <a:gd name="T7" fmla="*/ 13 h 15"/>
                          <a:gd name="T8" fmla="*/ 11 w 20"/>
                          <a:gd name="T9" fmla="*/ 11 h 15"/>
                          <a:gd name="T10" fmla="*/ 22 w 20"/>
                          <a:gd name="T11" fmla="*/ 14 h 15"/>
                          <a:gd name="T12" fmla="*/ 22 w 20"/>
                          <a:gd name="T13" fmla="*/ 10 h 15"/>
                          <a:gd name="T14" fmla="*/ 13 w 20"/>
                          <a:gd name="T15" fmla="*/ 6 h 15"/>
                          <a:gd name="T16" fmla="*/ 17 w 20"/>
                          <a:gd name="T17" fmla="*/ 6 h 15"/>
                          <a:gd name="T18" fmla="*/ 23 w 20"/>
                          <a:gd name="T19" fmla="*/ 7 h 15"/>
                          <a:gd name="T20" fmla="*/ 22 w 20"/>
                          <a:gd name="T21" fmla="*/ 2 h 15"/>
                          <a:gd name="T22" fmla="*/ 13 w 20"/>
                          <a:gd name="T23" fmla="*/ 0 h 15"/>
                          <a:gd name="T24" fmla="*/ 5 w 20"/>
                          <a:gd name="T25" fmla="*/ 2 h 15"/>
                          <a:gd name="T26" fmla="*/ 1 w 20"/>
                          <a:gd name="T27" fmla="*/ 2 h 15"/>
                          <a:gd name="T28" fmla="*/ 0 60000 65536"/>
                          <a:gd name="T29" fmla="*/ 0 60000 65536"/>
                          <a:gd name="T30" fmla="*/ 0 60000 65536"/>
                          <a:gd name="T31" fmla="*/ 0 60000 65536"/>
                          <a:gd name="T32" fmla="*/ 0 60000 65536"/>
                          <a:gd name="T33" fmla="*/ 0 60000 65536"/>
                          <a:gd name="T34" fmla="*/ 0 60000 65536"/>
                          <a:gd name="T35" fmla="*/ 0 60000 65536"/>
                          <a:gd name="T36" fmla="*/ 0 60000 65536"/>
                          <a:gd name="T37" fmla="*/ 0 60000 65536"/>
                          <a:gd name="T38" fmla="*/ 0 60000 65536"/>
                          <a:gd name="T39" fmla="*/ 0 60000 65536"/>
                          <a:gd name="T40" fmla="*/ 0 60000 65536"/>
                          <a:gd name="T41" fmla="*/ 0 60000 65536"/>
                          <a:gd name="T42" fmla="*/ 0 w 20"/>
                          <a:gd name="T43" fmla="*/ 0 h 15"/>
                          <a:gd name="T44" fmla="*/ 20 w 20"/>
                          <a:gd name="T45" fmla="*/ 15 h 15"/>
                        </a:gdLst>
                        <a:ahLst/>
                        <a:cxnLst>
                          <a:cxn ang="T28">
                            <a:pos x="T0" y="T1"/>
                          </a:cxn>
                          <a:cxn ang="T29">
                            <a:pos x="T2" y="T3"/>
                          </a:cxn>
                          <a:cxn ang="T30">
                            <a:pos x="T4" y="T5"/>
                          </a:cxn>
                          <a:cxn ang="T31">
                            <a:pos x="T6" y="T7"/>
                          </a:cxn>
                          <a:cxn ang="T32">
                            <a:pos x="T8" y="T9"/>
                          </a:cxn>
                          <a:cxn ang="T33">
                            <a:pos x="T10" y="T11"/>
                          </a:cxn>
                          <a:cxn ang="T34">
                            <a:pos x="T12" y="T13"/>
                          </a:cxn>
                          <a:cxn ang="T35">
                            <a:pos x="T14" y="T15"/>
                          </a:cxn>
                          <a:cxn ang="T36">
                            <a:pos x="T16" y="T17"/>
                          </a:cxn>
                          <a:cxn ang="T37">
                            <a:pos x="T18" y="T19"/>
                          </a:cxn>
                          <a:cxn ang="T38">
                            <a:pos x="T20" y="T21"/>
                          </a:cxn>
                          <a:cxn ang="T39">
                            <a:pos x="T22" y="T23"/>
                          </a:cxn>
                          <a:cxn ang="T40">
                            <a:pos x="T24" y="T25"/>
                          </a:cxn>
                          <a:cxn ang="T41">
                            <a:pos x="T26" y="T27"/>
                          </a:cxn>
                        </a:cxnLst>
                        <a:rect l="T42" t="T43" r="T44" b="T45"/>
                        <a:pathLst>
                          <a:path w="20" h="15">
                            <a:moveTo>
                              <a:pt x="1" y="2"/>
                            </a:moveTo>
                            <a:cubicBezTo>
                              <a:pt x="0" y="3"/>
                              <a:pt x="0" y="4"/>
                              <a:pt x="1" y="5"/>
                            </a:cubicBezTo>
                            <a:cubicBezTo>
                              <a:pt x="3" y="8"/>
                              <a:pt x="5" y="12"/>
                              <a:pt x="8" y="14"/>
                            </a:cubicBezTo>
                            <a:cubicBezTo>
                              <a:pt x="9" y="15"/>
                              <a:pt x="9" y="12"/>
                              <a:pt x="9" y="11"/>
                            </a:cubicBezTo>
                            <a:cubicBezTo>
                              <a:pt x="9" y="11"/>
                              <a:pt x="8" y="9"/>
                              <a:pt x="9" y="9"/>
                            </a:cubicBezTo>
                            <a:cubicBezTo>
                              <a:pt x="12" y="10"/>
                              <a:pt x="15" y="12"/>
                              <a:pt x="18" y="12"/>
                            </a:cubicBezTo>
                            <a:cubicBezTo>
                              <a:pt x="19" y="12"/>
                              <a:pt x="19" y="9"/>
                              <a:pt x="18" y="8"/>
                            </a:cubicBezTo>
                            <a:cubicBezTo>
                              <a:pt x="16" y="6"/>
                              <a:pt x="13" y="6"/>
                              <a:pt x="11" y="5"/>
                            </a:cubicBezTo>
                            <a:cubicBezTo>
                              <a:pt x="10" y="4"/>
                              <a:pt x="13" y="5"/>
                              <a:pt x="14" y="5"/>
                            </a:cubicBezTo>
                            <a:cubicBezTo>
                              <a:pt x="16" y="5"/>
                              <a:pt x="17" y="7"/>
                              <a:pt x="19" y="6"/>
                            </a:cubicBezTo>
                            <a:cubicBezTo>
                              <a:pt x="20" y="6"/>
                              <a:pt x="19" y="3"/>
                              <a:pt x="18" y="2"/>
                            </a:cubicBezTo>
                            <a:cubicBezTo>
                              <a:pt x="17" y="1"/>
                              <a:pt x="14" y="0"/>
                              <a:pt x="11" y="0"/>
                            </a:cubicBezTo>
                            <a:cubicBezTo>
                              <a:pt x="9" y="0"/>
                              <a:pt x="7" y="2"/>
                              <a:pt x="4" y="2"/>
                            </a:cubicBezTo>
                            <a:cubicBezTo>
                              <a:pt x="3" y="3"/>
                              <a:pt x="2" y="2"/>
                              <a:pt x="1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205" name="Freeform 3627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187113" y="2049869"/>
                        <a:ext cx="13422" cy="14122"/>
                      </a:xfrm>
                      <a:custGeom>
                        <a:avLst/>
                        <a:gdLst>
                          <a:gd name="T0" fmla="*/ 4 w 10"/>
                          <a:gd name="T1" fmla="*/ 4 h 14"/>
                          <a:gd name="T2" fmla="*/ 1 w 10"/>
                          <a:gd name="T3" fmla="*/ 12 h 14"/>
                          <a:gd name="T4" fmla="*/ 8 w 10"/>
                          <a:gd name="T5" fmla="*/ 16 h 14"/>
                          <a:gd name="T6" fmla="*/ 12 w 10"/>
                          <a:gd name="T7" fmla="*/ 6 h 14"/>
                          <a:gd name="T8" fmla="*/ 11 w 10"/>
                          <a:gd name="T9" fmla="*/ 1 h 14"/>
                          <a:gd name="T10" fmla="*/ 4 w 10"/>
                          <a:gd name="T11" fmla="*/ 4 h 14"/>
                          <a:gd name="T12" fmla="*/ 0 60000 65536"/>
                          <a:gd name="T13" fmla="*/ 0 60000 65536"/>
                          <a:gd name="T14" fmla="*/ 0 60000 65536"/>
                          <a:gd name="T15" fmla="*/ 0 60000 65536"/>
                          <a:gd name="T16" fmla="*/ 0 60000 65536"/>
                          <a:gd name="T17" fmla="*/ 0 60000 65536"/>
                          <a:gd name="T18" fmla="*/ 0 w 10"/>
                          <a:gd name="T19" fmla="*/ 0 h 14"/>
                          <a:gd name="T20" fmla="*/ 10 w 10"/>
                          <a:gd name="T21" fmla="*/ 14 h 14"/>
                        </a:gdLst>
                        <a:ahLst/>
                        <a:cxnLst>
                          <a:cxn ang="T12">
                            <a:pos x="T0" y="T1"/>
                          </a:cxn>
                          <a:cxn ang="T13">
                            <a:pos x="T2" y="T3"/>
                          </a:cxn>
                          <a:cxn ang="T14">
                            <a:pos x="T4" y="T5"/>
                          </a:cxn>
                          <a:cxn ang="T15">
                            <a:pos x="T6" y="T7"/>
                          </a:cxn>
                          <a:cxn ang="T16">
                            <a:pos x="T8" y="T9"/>
                          </a:cxn>
                          <a:cxn ang="T17">
                            <a:pos x="T10" y="T11"/>
                          </a:cxn>
                        </a:cxnLst>
                        <a:rect l="T18" t="T19" r="T20" b="T21"/>
                        <a:pathLst>
                          <a:path w="10" h="14">
                            <a:moveTo>
                              <a:pt x="3" y="3"/>
                            </a:moveTo>
                            <a:cubicBezTo>
                              <a:pt x="1" y="5"/>
                              <a:pt x="0" y="8"/>
                              <a:pt x="1" y="10"/>
                            </a:cubicBezTo>
                            <a:cubicBezTo>
                              <a:pt x="2" y="12"/>
                              <a:pt x="5" y="14"/>
                              <a:pt x="7" y="13"/>
                            </a:cubicBezTo>
                            <a:cubicBezTo>
                              <a:pt x="10" y="12"/>
                              <a:pt x="9" y="8"/>
                              <a:pt x="10" y="5"/>
                            </a:cubicBezTo>
                            <a:cubicBezTo>
                              <a:pt x="10" y="4"/>
                              <a:pt x="10" y="1"/>
                              <a:pt x="9" y="1"/>
                            </a:cubicBezTo>
                            <a:cubicBezTo>
                              <a:pt x="7" y="0"/>
                              <a:pt x="4" y="1"/>
                              <a:pt x="3" y="3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206" name="Freeform 3628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2173691" y="2044053"/>
                        <a:ext cx="7830" cy="6646"/>
                      </a:xfrm>
                      <a:custGeom>
                        <a:avLst/>
                        <a:gdLst>
                          <a:gd name="T0" fmla="*/ 4 w 6"/>
                          <a:gd name="T1" fmla="*/ 1 h 7"/>
                          <a:gd name="T2" fmla="*/ 0 w 6"/>
                          <a:gd name="T3" fmla="*/ 3 h 7"/>
                          <a:gd name="T4" fmla="*/ 4 w 6"/>
                          <a:gd name="T5" fmla="*/ 7 h 7"/>
                          <a:gd name="T6" fmla="*/ 7 w 6"/>
                          <a:gd name="T7" fmla="*/ 5 h 7"/>
                          <a:gd name="T8" fmla="*/ 4 w 6"/>
                          <a:gd name="T9" fmla="*/ 1 h 7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6"/>
                          <a:gd name="T16" fmla="*/ 0 h 7"/>
                          <a:gd name="T17" fmla="*/ 6 w 6"/>
                          <a:gd name="T18" fmla="*/ 7 h 7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6" h="7">
                            <a:moveTo>
                              <a:pt x="3" y="1"/>
                            </a:moveTo>
                            <a:cubicBezTo>
                              <a:pt x="2" y="0"/>
                              <a:pt x="0" y="2"/>
                              <a:pt x="0" y="3"/>
                            </a:cubicBezTo>
                            <a:cubicBezTo>
                              <a:pt x="0" y="4"/>
                              <a:pt x="2" y="6"/>
                              <a:pt x="3" y="6"/>
                            </a:cubicBezTo>
                            <a:cubicBezTo>
                              <a:pt x="4" y="7"/>
                              <a:pt x="6" y="5"/>
                              <a:pt x="6" y="4"/>
                            </a:cubicBezTo>
                            <a:cubicBezTo>
                              <a:pt x="6" y="2"/>
                              <a:pt x="5" y="1"/>
                              <a:pt x="3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207" name="Freeform 3629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1965651" y="1968463"/>
                        <a:ext cx="20133" cy="12461"/>
                      </a:xfrm>
                      <a:custGeom>
                        <a:avLst/>
                        <a:gdLst>
                          <a:gd name="T0" fmla="*/ 1 w 15"/>
                          <a:gd name="T1" fmla="*/ 12 h 13"/>
                          <a:gd name="T2" fmla="*/ 5 w 15"/>
                          <a:gd name="T3" fmla="*/ 15 h 13"/>
                          <a:gd name="T4" fmla="*/ 18 w 15"/>
                          <a:gd name="T5" fmla="*/ 1 h 13"/>
                          <a:gd name="T6" fmla="*/ 17 w 15"/>
                          <a:gd name="T7" fmla="*/ 0 h 13"/>
                          <a:gd name="T8" fmla="*/ 1 w 15"/>
                          <a:gd name="T9" fmla="*/ 12 h 1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15"/>
                          <a:gd name="T16" fmla="*/ 0 h 13"/>
                          <a:gd name="T17" fmla="*/ 15 w 15"/>
                          <a:gd name="T18" fmla="*/ 13 h 1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15" h="13">
                            <a:moveTo>
                              <a:pt x="1" y="10"/>
                            </a:moveTo>
                            <a:cubicBezTo>
                              <a:pt x="0" y="11"/>
                              <a:pt x="3" y="13"/>
                              <a:pt x="4" y="13"/>
                            </a:cubicBezTo>
                            <a:cubicBezTo>
                              <a:pt x="8" y="10"/>
                              <a:pt x="11" y="5"/>
                              <a:pt x="15" y="1"/>
                            </a:cubicBezTo>
                            <a:cubicBezTo>
                              <a:pt x="15" y="1"/>
                              <a:pt x="15" y="0"/>
                              <a:pt x="14" y="0"/>
                            </a:cubicBezTo>
                            <a:cubicBezTo>
                              <a:pt x="10" y="3"/>
                              <a:pt x="5" y="6"/>
                              <a:pt x="1" y="10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208" name="Freeform 3630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1838143" y="2016641"/>
                        <a:ext cx="45859" cy="21597"/>
                      </a:xfrm>
                      <a:custGeom>
                        <a:avLst/>
                        <a:gdLst>
                          <a:gd name="T0" fmla="*/ 1 w 34"/>
                          <a:gd name="T1" fmla="*/ 7 h 21"/>
                          <a:gd name="T2" fmla="*/ 0 w 34"/>
                          <a:gd name="T3" fmla="*/ 14 h 21"/>
                          <a:gd name="T4" fmla="*/ 2 w 34"/>
                          <a:gd name="T5" fmla="*/ 20 h 21"/>
                          <a:gd name="T6" fmla="*/ 2 w 34"/>
                          <a:gd name="T7" fmla="*/ 26 h 21"/>
                          <a:gd name="T8" fmla="*/ 8 w 34"/>
                          <a:gd name="T9" fmla="*/ 22 h 21"/>
                          <a:gd name="T10" fmla="*/ 14 w 34"/>
                          <a:gd name="T11" fmla="*/ 25 h 21"/>
                          <a:gd name="T12" fmla="*/ 25 w 34"/>
                          <a:gd name="T13" fmla="*/ 16 h 21"/>
                          <a:gd name="T14" fmla="*/ 39 w 34"/>
                          <a:gd name="T15" fmla="*/ 10 h 21"/>
                          <a:gd name="T16" fmla="*/ 37 w 34"/>
                          <a:gd name="T17" fmla="*/ 1 h 21"/>
                          <a:gd name="T18" fmla="*/ 30 w 34"/>
                          <a:gd name="T19" fmla="*/ 1 h 21"/>
                          <a:gd name="T20" fmla="*/ 23 w 34"/>
                          <a:gd name="T21" fmla="*/ 4 h 21"/>
                          <a:gd name="T22" fmla="*/ 18 w 34"/>
                          <a:gd name="T23" fmla="*/ 1 h 21"/>
                          <a:gd name="T24" fmla="*/ 16 w 34"/>
                          <a:gd name="T25" fmla="*/ 9 h 21"/>
                          <a:gd name="T26" fmla="*/ 13 w 34"/>
                          <a:gd name="T27" fmla="*/ 12 h 21"/>
                          <a:gd name="T28" fmla="*/ 13 w 34"/>
                          <a:gd name="T29" fmla="*/ 6 h 21"/>
                          <a:gd name="T30" fmla="*/ 6 w 34"/>
                          <a:gd name="T31" fmla="*/ 6 h 21"/>
                          <a:gd name="T32" fmla="*/ 1 w 34"/>
                          <a:gd name="T33" fmla="*/ 7 h 21"/>
                          <a:gd name="T34" fmla="*/ 0 60000 65536"/>
                          <a:gd name="T35" fmla="*/ 0 60000 65536"/>
                          <a:gd name="T36" fmla="*/ 0 60000 65536"/>
                          <a:gd name="T37" fmla="*/ 0 60000 65536"/>
                          <a:gd name="T38" fmla="*/ 0 60000 65536"/>
                          <a:gd name="T39" fmla="*/ 0 60000 65536"/>
                          <a:gd name="T40" fmla="*/ 0 60000 65536"/>
                          <a:gd name="T41" fmla="*/ 0 60000 65536"/>
                          <a:gd name="T42" fmla="*/ 0 60000 65536"/>
                          <a:gd name="T43" fmla="*/ 0 60000 65536"/>
                          <a:gd name="T44" fmla="*/ 0 60000 65536"/>
                          <a:gd name="T45" fmla="*/ 0 60000 65536"/>
                          <a:gd name="T46" fmla="*/ 0 60000 65536"/>
                          <a:gd name="T47" fmla="*/ 0 60000 65536"/>
                          <a:gd name="T48" fmla="*/ 0 60000 65536"/>
                          <a:gd name="T49" fmla="*/ 0 60000 65536"/>
                          <a:gd name="T50" fmla="*/ 0 60000 65536"/>
                          <a:gd name="T51" fmla="*/ 0 w 34"/>
                          <a:gd name="T52" fmla="*/ 0 h 21"/>
                          <a:gd name="T53" fmla="*/ 34 w 34"/>
                          <a:gd name="T54" fmla="*/ 21 h 21"/>
                        </a:gdLst>
                        <a:ahLst/>
                        <a:cxnLst>
                          <a:cxn ang="T34">
                            <a:pos x="T0" y="T1"/>
                          </a:cxn>
                          <a:cxn ang="T35">
                            <a:pos x="T2" y="T3"/>
                          </a:cxn>
                          <a:cxn ang="T36">
                            <a:pos x="T4" y="T5"/>
                          </a:cxn>
                          <a:cxn ang="T37">
                            <a:pos x="T6" y="T7"/>
                          </a:cxn>
                          <a:cxn ang="T38">
                            <a:pos x="T8" y="T9"/>
                          </a:cxn>
                          <a:cxn ang="T39">
                            <a:pos x="T10" y="T11"/>
                          </a:cxn>
                          <a:cxn ang="T40">
                            <a:pos x="T12" y="T13"/>
                          </a:cxn>
                          <a:cxn ang="T41">
                            <a:pos x="T14" y="T15"/>
                          </a:cxn>
                          <a:cxn ang="T42">
                            <a:pos x="T16" y="T17"/>
                          </a:cxn>
                          <a:cxn ang="T43">
                            <a:pos x="T18" y="T19"/>
                          </a:cxn>
                          <a:cxn ang="T44">
                            <a:pos x="T20" y="T21"/>
                          </a:cxn>
                          <a:cxn ang="T45">
                            <a:pos x="T22" y="T23"/>
                          </a:cxn>
                          <a:cxn ang="T46">
                            <a:pos x="T24" y="T25"/>
                          </a:cxn>
                          <a:cxn ang="T47">
                            <a:pos x="T26" y="T27"/>
                          </a:cxn>
                          <a:cxn ang="T48">
                            <a:pos x="T28" y="T29"/>
                          </a:cxn>
                          <a:cxn ang="T49">
                            <a:pos x="T30" y="T31"/>
                          </a:cxn>
                          <a:cxn ang="T50">
                            <a:pos x="T32" y="T33"/>
                          </a:cxn>
                        </a:cxnLst>
                        <a:rect l="T51" t="T52" r="T53" b="T54"/>
                        <a:pathLst>
                          <a:path w="34" h="21">
                            <a:moveTo>
                              <a:pt x="1" y="6"/>
                            </a:moveTo>
                            <a:cubicBezTo>
                              <a:pt x="0" y="8"/>
                              <a:pt x="0" y="9"/>
                              <a:pt x="0" y="11"/>
                            </a:cubicBezTo>
                            <a:cubicBezTo>
                              <a:pt x="0" y="13"/>
                              <a:pt x="1" y="14"/>
                              <a:pt x="2" y="16"/>
                            </a:cubicBezTo>
                            <a:cubicBezTo>
                              <a:pt x="2" y="17"/>
                              <a:pt x="0" y="20"/>
                              <a:pt x="2" y="21"/>
                            </a:cubicBezTo>
                            <a:cubicBezTo>
                              <a:pt x="4" y="21"/>
                              <a:pt x="5" y="18"/>
                              <a:pt x="7" y="18"/>
                            </a:cubicBezTo>
                            <a:cubicBezTo>
                              <a:pt x="9" y="18"/>
                              <a:pt x="10" y="21"/>
                              <a:pt x="12" y="20"/>
                            </a:cubicBezTo>
                            <a:cubicBezTo>
                              <a:pt x="15" y="19"/>
                              <a:pt x="18" y="15"/>
                              <a:pt x="21" y="13"/>
                            </a:cubicBezTo>
                            <a:cubicBezTo>
                              <a:pt x="25" y="11"/>
                              <a:pt x="30" y="11"/>
                              <a:pt x="32" y="8"/>
                            </a:cubicBezTo>
                            <a:cubicBezTo>
                              <a:pt x="34" y="7"/>
                              <a:pt x="33" y="3"/>
                              <a:pt x="31" y="1"/>
                            </a:cubicBezTo>
                            <a:cubicBezTo>
                              <a:pt x="30" y="0"/>
                              <a:pt x="27" y="0"/>
                              <a:pt x="25" y="1"/>
                            </a:cubicBezTo>
                            <a:cubicBezTo>
                              <a:pt x="23" y="1"/>
                              <a:pt x="21" y="3"/>
                              <a:pt x="19" y="3"/>
                            </a:cubicBezTo>
                            <a:cubicBezTo>
                              <a:pt x="18" y="3"/>
                              <a:pt x="16" y="0"/>
                              <a:pt x="15" y="1"/>
                            </a:cubicBezTo>
                            <a:cubicBezTo>
                              <a:pt x="13" y="2"/>
                              <a:pt x="14" y="5"/>
                              <a:pt x="13" y="7"/>
                            </a:cubicBezTo>
                            <a:cubicBezTo>
                              <a:pt x="13" y="8"/>
                              <a:pt x="13" y="11"/>
                              <a:pt x="11" y="10"/>
                            </a:cubicBezTo>
                            <a:cubicBezTo>
                              <a:pt x="10" y="9"/>
                              <a:pt x="12" y="6"/>
                              <a:pt x="11" y="5"/>
                            </a:cubicBezTo>
                            <a:cubicBezTo>
                              <a:pt x="9" y="4"/>
                              <a:pt x="7" y="5"/>
                              <a:pt x="5" y="5"/>
                            </a:cubicBezTo>
                            <a:cubicBezTo>
                              <a:pt x="4" y="6"/>
                              <a:pt x="2" y="5"/>
                              <a:pt x="1" y="6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209" name="Freeform 3631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1870580" y="2006673"/>
                        <a:ext cx="21252" cy="9137"/>
                      </a:xfrm>
                      <a:custGeom>
                        <a:avLst/>
                        <a:gdLst>
                          <a:gd name="T0" fmla="*/ 12 w 16"/>
                          <a:gd name="T1" fmla="*/ 0 h 9"/>
                          <a:gd name="T2" fmla="*/ 1 w 16"/>
                          <a:gd name="T3" fmla="*/ 7 h 9"/>
                          <a:gd name="T4" fmla="*/ 6 w 16"/>
                          <a:gd name="T5" fmla="*/ 11 h 9"/>
                          <a:gd name="T6" fmla="*/ 18 w 16"/>
                          <a:gd name="T7" fmla="*/ 6 h 9"/>
                          <a:gd name="T8" fmla="*/ 13 w 16"/>
                          <a:gd name="T9" fmla="*/ 2 h 9"/>
                          <a:gd name="T10" fmla="*/ 12 w 16"/>
                          <a:gd name="T11" fmla="*/ 0 h 9"/>
                          <a:gd name="T12" fmla="*/ 0 60000 65536"/>
                          <a:gd name="T13" fmla="*/ 0 60000 65536"/>
                          <a:gd name="T14" fmla="*/ 0 60000 65536"/>
                          <a:gd name="T15" fmla="*/ 0 60000 65536"/>
                          <a:gd name="T16" fmla="*/ 0 60000 65536"/>
                          <a:gd name="T17" fmla="*/ 0 60000 65536"/>
                          <a:gd name="T18" fmla="*/ 0 w 16"/>
                          <a:gd name="T19" fmla="*/ 0 h 9"/>
                          <a:gd name="T20" fmla="*/ 16 w 16"/>
                          <a:gd name="T21" fmla="*/ 9 h 9"/>
                        </a:gdLst>
                        <a:ahLst/>
                        <a:cxnLst>
                          <a:cxn ang="T12">
                            <a:pos x="T0" y="T1"/>
                          </a:cxn>
                          <a:cxn ang="T13">
                            <a:pos x="T2" y="T3"/>
                          </a:cxn>
                          <a:cxn ang="T14">
                            <a:pos x="T4" y="T5"/>
                          </a:cxn>
                          <a:cxn ang="T15">
                            <a:pos x="T6" y="T7"/>
                          </a:cxn>
                          <a:cxn ang="T16">
                            <a:pos x="T8" y="T9"/>
                          </a:cxn>
                          <a:cxn ang="T17">
                            <a:pos x="T10" y="T11"/>
                          </a:cxn>
                        </a:cxnLst>
                        <a:rect l="T18" t="T19" r="T20" b="T21"/>
                        <a:pathLst>
                          <a:path w="16" h="9">
                            <a:moveTo>
                              <a:pt x="10" y="0"/>
                            </a:moveTo>
                            <a:cubicBezTo>
                              <a:pt x="7" y="2"/>
                              <a:pt x="3" y="3"/>
                              <a:pt x="1" y="6"/>
                            </a:cubicBezTo>
                            <a:cubicBezTo>
                              <a:pt x="0" y="7"/>
                              <a:pt x="3" y="9"/>
                              <a:pt x="5" y="9"/>
                            </a:cubicBezTo>
                            <a:cubicBezTo>
                              <a:pt x="8" y="9"/>
                              <a:pt x="13" y="8"/>
                              <a:pt x="15" y="5"/>
                            </a:cubicBezTo>
                            <a:cubicBezTo>
                              <a:pt x="16" y="4"/>
                              <a:pt x="12" y="3"/>
                              <a:pt x="11" y="2"/>
                            </a:cubicBezTo>
                            <a:cubicBezTo>
                              <a:pt x="10" y="2"/>
                              <a:pt x="10" y="0"/>
                              <a:pt x="10" y="0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210" name="Freeform 3632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1659185" y="2066482"/>
                        <a:ext cx="25725" cy="12461"/>
                      </a:xfrm>
                      <a:custGeom>
                        <a:avLst/>
                        <a:gdLst>
                          <a:gd name="T0" fmla="*/ 23 w 19"/>
                          <a:gd name="T1" fmla="*/ 0 h 12"/>
                          <a:gd name="T2" fmla="*/ 23 w 19"/>
                          <a:gd name="T3" fmla="*/ 8 h 12"/>
                          <a:gd name="T4" fmla="*/ 10 w 19"/>
                          <a:gd name="T5" fmla="*/ 10 h 12"/>
                          <a:gd name="T6" fmla="*/ 2 w 19"/>
                          <a:gd name="T7" fmla="*/ 15 h 12"/>
                          <a:gd name="T8" fmla="*/ 1 w 19"/>
                          <a:gd name="T9" fmla="*/ 11 h 12"/>
                          <a:gd name="T10" fmla="*/ 8 w 19"/>
                          <a:gd name="T11" fmla="*/ 4 h 12"/>
                          <a:gd name="T12" fmla="*/ 16 w 19"/>
                          <a:gd name="T13" fmla="*/ 3 h 12"/>
                          <a:gd name="T14" fmla="*/ 23 w 19"/>
                          <a:gd name="T15" fmla="*/ 0 h 12"/>
                          <a:gd name="T16" fmla="*/ 0 60000 65536"/>
                          <a:gd name="T17" fmla="*/ 0 60000 65536"/>
                          <a:gd name="T18" fmla="*/ 0 60000 65536"/>
                          <a:gd name="T19" fmla="*/ 0 60000 65536"/>
                          <a:gd name="T20" fmla="*/ 0 60000 65536"/>
                          <a:gd name="T21" fmla="*/ 0 60000 65536"/>
                          <a:gd name="T22" fmla="*/ 0 60000 65536"/>
                          <a:gd name="T23" fmla="*/ 0 60000 65536"/>
                          <a:gd name="T24" fmla="*/ 0 w 19"/>
                          <a:gd name="T25" fmla="*/ 0 h 12"/>
                          <a:gd name="T26" fmla="*/ 19 w 19"/>
                          <a:gd name="T27" fmla="*/ 12 h 12"/>
                        </a:gdLst>
                        <a:ahLst/>
                        <a:cxnLst>
                          <a:cxn ang="T16">
                            <a:pos x="T0" y="T1"/>
                          </a:cxn>
                          <a:cxn ang="T17">
                            <a:pos x="T2" y="T3"/>
                          </a:cxn>
                          <a:cxn ang="T18">
                            <a:pos x="T4" y="T5"/>
                          </a:cxn>
                          <a:cxn ang="T19">
                            <a:pos x="T6" y="T7"/>
                          </a:cxn>
                          <a:cxn ang="T20">
                            <a:pos x="T8" y="T9"/>
                          </a:cxn>
                          <a:cxn ang="T21">
                            <a:pos x="T10" y="T11"/>
                          </a:cxn>
                          <a:cxn ang="T22">
                            <a:pos x="T12" y="T13"/>
                          </a:cxn>
                          <a:cxn ang="T23">
                            <a:pos x="T14" y="T15"/>
                          </a:cxn>
                        </a:cxnLst>
                        <a:rect l="T24" t="T25" r="T26" b="T27"/>
                        <a:pathLst>
                          <a:path w="19" h="12">
                            <a:moveTo>
                              <a:pt x="19" y="0"/>
                            </a:moveTo>
                            <a:cubicBezTo>
                              <a:pt x="19" y="2"/>
                              <a:pt x="19" y="4"/>
                              <a:pt x="19" y="6"/>
                            </a:cubicBezTo>
                            <a:cubicBezTo>
                              <a:pt x="16" y="7"/>
                              <a:pt x="12" y="7"/>
                              <a:pt x="8" y="8"/>
                            </a:cubicBezTo>
                            <a:cubicBezTo>
                              <a:pt x="6" y="9"/>
                              <a:pt x="5" y="12"/>
                              <a:pt x="2" y="12"/>
                            </a:cubicBezTo>
                            <a:cubicBezTo>
                              <a:pt x="1" y="12"/>
                              <a:pt x="0" y="10"/>
                              <a:pt x="1" y="9"/>
                            </a:cubicBezTo>
                            <a:cubicBezTo>
                              <a:pt x="2" y="6"/>
                              <a:pt x="5" y="4"/>
                              <a:pt x="7" y="3"/>
                            </a:cubicBezTo>
                            <a:cubicBezTo>
                              <a:pt x="9" y="2"/>
                              <a:pt x="11" y="2"/>
                              <a:pt x="13" y="2"/>
                            </a:cubicBezTo>
                            <a:cubicBezTo>
                              <a:pt x="15" y="1"/>
                              <a:pt x="17" y="0"/>
                              <a:pt x="19" y="0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211" name="Freeform 3633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1605498" y="2083095"/>
                        <a:ext cx="27962" cy="14952"/>
                      </a:xfrm>
                      <a:custGeom>
                        <a:avLst/>
                        <a:gdLst>
                          <a:gd name="T0" fmla="*/ 24 w 21"/>
                          <a:gd name="T1" fmla="*/ 7 h 15"/>
                          <a:gd name="T2" fmla="*/ 1 w 21"/>
                          <a:gd name="T3" fmla="*/ 17 h 15"/>
                          <a:gd name="T4" fmla="*/ 2 w 21"/>
                          <a:gd name="T5" fmla="*/ 13 h 15"/>
                          <a:gd name="T6" fmla="*/ 11 w 21"/>
                          <a:gd name="T7" fmla="*/ 10 h 15"/>
                          <a:gd name="T8" fmla="*/ 17 w 21"/>
                          <a:gd name="T9" fmla="*/ 6 h 15"/>
                          <a:gd name="T10" fmla="*/ 11 w 21"/>
                          <a:gd name="T11" fmla="*/ 2 h 15"/>
                          <a:gd name="T12" fmla="*/ 21 w 21"/>
                          <a:gd name="T13" fmla="*/ 1 h 15"/>
                          <a:gd name="T14" fmla="*/ 20 w 21"/>
                          <a:gd name="T15" fmla="*/ 6 h 15"/>
                          <a:gd name="T16" fmla="*/ 24 w 21"/>
                          <a:gd name="T17" fmla="*/ 7 h 15"/>
                          <a:gd name="T18" fmla="*/ 0 60000 65536"/>
                          <a:gd name="T19" fmla="*/ 0 60000 65536"/>
                          <a:gd name="T20" fmla="*/ 0 60000 65536"/>
                          <a:gd name="T21" fmla="*/ 0 60000 65536"/>
                          <a:gd name="T22" fmla="*/ 0 60000 65536"/>
                          <a:gd name="T23" fmla="*/ 0 60000 65536"/>
                          <a:gd name="T24" fmla="*/ 0 60000 65536"/>
                          <a:gd name="T25" fmla="*/ 0 60000 65536"/>
                          <a:gd name="T26" fmla="*/ 0 60000 65536"/>
                          <a:gd name="T27" fmla="*/ 0 w 21"/>
                          <a:gd name="T28" fmla="*/ 0 h 15"/>
                          <a:gd name="T29" fmla="*/ 21 w 21"/>
                          <a:gd name="T30" fmla="*/ 15 h 15"/>
                        </a:gdLst>
                        <a:ahLst/>
                        <a:cxnLst>
                          <a:cxn ang="T18">
                            <a:pos x="T0" y="T1"/>
                          </a:cxn>
                          <a:cxn ang="T19">
                            <a:pos x="T2" y="T3"/>
                          </a:cxn>
                          <a:cxn ang="T20">
                            <a:pos x="T4" y="T5"/>
                          </a:cxn>
                          <a:cxn ang="T21">
                            <a:pos x="T6" y="T7"/>
                          </a:cxn>
                          <a:cxn ang="T22">
                            <a:pos x="T8" y="T9"/>
                          </a:cxn>
                          <a:cxn ang="T23">
                            <a:pos x="T10" y="T11"/>
                          </a:cxn>
                          <a:cxn ang="T24">
                            <a:pos x="T12" y="T13"/>
                          </a:cxn>
                          <a:cxn ang="T25">
                            <a:pos x="T14" y="T15"/>
                          </a:cxn>
                          <a:cxn ang="T26">
                            <a:pos x="T16" y="T17"/>
                          </a:cxn>
                        </a:cxnLst>
                        <a:rect l="T27" t="T28" r="T29" b="T30"/>
                        <a:pathLst>
                          <a:path w="21" h="15">
                            <a:moveTo>
                              <a:pt x="20" y="6"/>
                            </a:moveTo>
                            <a:cubicBezTo>
                              <a:pt x="14" y="10"/>
                              <a:pt x="7" y="12"/>
                              <a:pt x="1" y="14"/>
                            </a:cubicBezTo>
                            <a:cubicBezTo>
                              <a:pt x="0" y="15"/>
                              <a:pt x="1" y="12"/>
                              <a:pt x="2" y="11"/>
                            </a:cubicBezTo>
                            <a:cubicBezTo>
                              <a:pt x="4" y="10"/>
                              <a:pt x="7" y="9"/>
                              <a:pt x="9" y="8"/>
                            </a:cubicBezTo>
                            <a:cubicBezTo>
                              <a:pt x="11" y="7"/>
                              <a:pt x="14" y="7"/>
                              <a:pt x="14" y="5"/>
                            </a:cubicBezTo>
                            <a:cubicBezTo>
                              <a:pt x="14" y="3"/>
                              <a:pt x="8" y="3"/>
                              <a:pt x="9" y="2"/>
                            </a:cubicBezTo>
                            <a:cubicBezTo>
                              <a:pt x="11" y="0"/>
                              <a:pt x="15" y="0"/>
                              <a:pt x="18" y="1"/>
                            </a:cubicBezTo>
                            <a:cubicBezTo>
                              <a:pt x="19" y="1"/>
                              <a:pt x="16" y="3"/>
                              <a:pt x="17" y="5"/>
                            </a:cubicBezTo>
                            <a:cubicBezTo>
                              <a:pt x="17" y="6"/>
                              <a:pt x="21" y="6"/>
                              <a:pt x="20" y="6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212" name="Freeform 3634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1583127" y="2088910"/>
                        <a:ext cx="22370" cy="14122"/>
                      </a:xfrm>
                      <a:custGeom>
                        <a:avLst/>
                        <a:gdLst>
                          <a:gd name="T0" fmla="*/ 0 w 17"/>
                          <a:gd name="T1" fmla="*/ 17 h 14"/>
                          <a:gd name="T2" fmla="*/ 12 w 17"/>
                          <a:gd name="T3" fmla="*/ 9 h 14"/>
                          <a:gd name="T4" fmla="*/ 20 w 17"/>
                          <a:gd name="T5" fmla="*/ 2 h 14"/>
                          <a:gd name="T6" fmla="*/ 14 w 17"/>
                          <a:gd name="T7" fmla="*/ 1 h 14"/>
                          <a:gd name="T8" fmla="*/ 12 w 17"/>
                          <a:gd name="T9" fmla="*/ 9 h 14"/>
                          <a:gd name="T10" fmla="*/ 6 w 17"/>
                          <a:gd name="T11" fmla="*/ 9 h 14"/>
                          <a:gd name="T12" fmla="*/ 0 w 17"/>
                          <a:gd name="T13" fmla="*/ 17 h 14"/>
                          <a:gd name="T14" fmla="*/ 0 60000 65536"/>
                          <a:gd name="T15" fmla="*/ 0 60000 65536"/>
                          <a:gd name="T16" fmla="*/ 0 60000 65536"/>
                          <a:gd name="T17" fmla="*/ 0 60000 65536"/>
                          <a:gd name="T18" fmla="*/ 0 60000 65536"/>
                          <a:gd name="T19" fmla="*/ 0 60000 65536"/>
                          <a:gd name="T20" fmla="*/ 0 60000 65536"/>
                          <a:gd name="T21" fmla="*/ 0 w 17"/>
                          <a:gd name="T22" fmla="*/ 0 h 14"/>
                          <a:gd name="T23" fmla="*/ 17 w 17"/>
                          <a:gd name="T24" fmla="*/ 14 h 14"/>
                        </a:gdLst>
                        <a:ahLst/>
                        <a:cxnLst>
                          <a:cxn ang="T14">
                            <a:pos x="T0" y="T1"/>
                          </a:cxn>
                          <a:cxn ang="T15">
                            <a:pos x="T2" y="T3"/>
                          </a:cxn>
                          <a:cxn ang="T16">
                            <a:pos x="T4" y="T5"/>
                          </a:cxn>
                          <a:cxn ang="T17">
                            <a:pos x="T6" y="T7"/>
                          </a:cxn>
                          <a:cxn ang="T18">
                            <a:pos x="T8" y="T9"/>
                          </a:cxn>
                          <a:cxn ang="T19">
                            <a:pos x="T10" y="T11"/>
                          </a:cxn>
                          <a:cxn ang="T20">
                            <a:pos x="T12" y="T13"/>
                          </a:cxn>
                        </a:cxnLst>
                        <a:rect l="T21" t="T22" r="T23" b="T24"/>
                        <a:pathLst>
                          <a:path w="17" h="14">
                            <a:moveTo>
                              <a:pt x="0" y="14"/>
                            </a:moveTo>
                            <a:cubicBezTo>
                              <a:pt x="4" y="14"/>
                              <a:pt x="7" y="10"/>
                              <a:pt x="10" y="7"/>
                            </a:cubicBezTo>
                            <a:cubicBezTo>
                              <a:pt x="13" y="6"/>
                              <a:pt x="16" y="5"/>
                              <a:pt x="17" y="2"/>
                            </a:cubicBezTo>
                            <a:cubicBezTo>
                              <a:pt x="17" y="0"/>
                              <a:pt x="14" y="0"/>
                              <a:pt x="12" y="1"/>
                            </a:cubicBezTo>
                            <a:cubicBezTo>
                              <a:pt x="11" y="2"/>
                              <a:pt x="12" y="5"/>
                              <a:pt x="10" y="7"/>
                            </a:cubicBezTo>
                            <a:cubicBezTo>
                              <a:pt x="9" y="8"/>
                              <a:pt x="6" y="6"/>
                              <a:pt x="5" y="7"/>
                            </a:cubicBezTo>
                            <a:cubicBezTo>
                              <a:pt x="3" y="9"/>
                              <a:pt x="1" y="11"/>
                              <a:pt x="0" y="14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213" name="Freeform 3636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1457856" y="2117983"/>
                        <a:ext cx="7830" cy="5815"/>
                      </a:xfrm>
                      <a:custGeom>
                        <a:avLst/>
                        <a:gdLst>
                          <a:gd name="T0" fmla="*/ 4 w 6"/>
                          <a:gd name="T1" fmla="*/ 0 h 6"/>
                          <a:gd name="T2" fmla="*/ 1 w 6"/>
                          <a:gd name="T3" fmla="*/ 2 h 6"/>
                          <a:gd name="T4" fmla="*/ 4 w 6"/>
                          <a:gd name="T5" fmla="*/ 6 h 6"/>
                          <a:gd name="T6" fmla="*/ 7 w 6"/>
                          <a:gd name="T7" fmla="*/ 2 h 6"/>
                          <a:gd name="T8" fmla="*/ 4 w 6"/>
                          <a:gd name="T9" fmla="*/ 0 h 6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6"/>
                          <a:gd name="T16" fmla="*/ 0 h 6"/>
                          <a:gd name="T17" fmla="*/ 6 w 6"/>
                          <a:gd name="T18" fmla="*/ 6 h 6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6" h="6">
                            <a:moveTo>
                              <a:pt x="3" y="0"/>
                            </a:moveTo>
                            <a:cubicBezTo>
                              <a:pt x="2" y="0"/>
                              <a:pt x="0" y="1"/>
                              <a:pt x="1" y="2"/>
                            </a:cubicBezTo>
                            <a:cubicBezTo>
                              <a:pt x="1" y="4"/>
                              <a:pt x="2" y="6"/>
                              <a:pt x="3" y="5"/>
                            </a:cubicBezTo>
                            <a:cubicBezTo>
                              <a:pt x="5" y="5"/>
                              <a:pt x="6" y="3"/>
                              <a:pt x="6" y="2"/>
                            </a:cubicBezTo>
                            <a:cubicBezTo>
                              <a:pt x="6" y="0"/>
                              <a:pt x="4" y="0"/>
                              <a:pt x="3" y="0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214" name="Freeform 3640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1342651" y="2115491"/>
                        <a:ext cx="15659" cy="5815"/>
                      </a:xfrm>
                      <a:custGeom>
                        <a:avLst/>
                        <a:gdLst>
                          <a:gd name="T0" fmla="*/ 12 w 12"/>
                          <a:gd name="T1" fmla="*/ 4 h 6"/>
                          <a:gd name="T2" fmla="*/ 13 w 12"/>
                          <a:gd name="T3" fmla="*/ 1 h 6"/>
                          <a:gd name="T4" fmla="*/ 7 w 12"/>
                          <a:gd name="T5" fmla="*/ 2 h 6"/>
                          <a:gd name="T6" fmla="*/ 2 w 12"/>
                          <a:gd name="T7" fmla="*/ 6 h 6"/>
                          <a:gd name="T8" fmla="*/ 12 w 12"/>
                          <a:gd name="T9" fmla="*/ 4 h 6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12"/>
                          <a:gd name="T16" fmla="*/ 0 h 6"/>
                          <a:gd name="T17" fmla="*/ 12 w 12"/>
                          <a:gd name="T18" fmla="*/ 6 h 6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12" h="6">
                            <a:moveTo>
                              <a:pt x="10" y="3"/>
                            </a:moveTo>
                            <a:cubicBezTo>
                              <a:pt x="11" y="3"/>
                              <a:pt x="12" y="1"/>
                              <a:pt x="11" y="1"/>
                            </a:cubicBezTo>
                            <a:cubicBezTo>
                              <a:pt x="9" y="0"/>
                              <a:pt x="8" y="1"/>
                              <a:pt x="6" y="2"/>
                            </a:cubicBezTo>
                            <a:cubicBezTo>
                              <a:pt x="5" y="3"/>
                              <a:pt x="0" y="5"/>
                              <a:pt x="2" y="5"/>
                            </a:cubicBezTo>
                            <a:cubicBezTo>
                              <a:pt x="5" y="6"/>
                              <a:pt x="8" y="4"/>
                              <a:pt x="10" y="3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215" name="Freeform 3641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1669251" y="1966801"/>
                        <a:ext cx="26844" cy="14122"/>
                      </a:xfrm>
                      <a:custGeom>
                        <a:avLst/>
                        <a:gdLst>
                          <a:gd name="T0" fmla="*/ 1 w 20"/>
                          <a:gd name="T1" fmla="*/ 5 h 14"/>
                          <a:gd name="T2" fmla="*/ 1 w 20"/>
                          <a:gd name="T3" fmla="*/ 10 h 14"/>
                          <a:gd name="T4" fmla="*/ 12 w 20"/>
                          <a:gd name="T5" fmla="*/ 17 h 14"/>
                          <a:gd name="T6" fmla="*/ 17 w 20"/>
                          <a:gd name="T7" fmla="*/ 13 h 14"/>
                          <a:gd name="T8" fmla="*/ 20 w 20"/>
                          <a:gd name="T9" fmla="*/ 13 h 14"/>
                          <a:gd name="T10" fmla="*/ 24 w 20"/>
                          <a:gd name="T11" fmla="*/ 2 h 14"/>
                          <a:gd name="T12" fmla="*/ 20 w 20"/>
                          <a:gd name="T13" fmla="*/ 1 h 14"/>
                          <a:gd name="T14" fmla="*/ 11 w 20"/>
                          <a:gd name="T15" fmla="*/ 6 h 14"/>
                          <a:gd name="T16" fmla="*/ 1 w 20"/>
                          <a:gd name="T17" fmla="*/ 5 h 14"/>
                          <a:gd name="T18" fmla="*/ 0 60000 65536"/>
                          <a:gd name="T19" fmla="*/ 0 60000 65536"/>
                          <a:gd name="T20" fmla="*/ 0 60000 65536"/>
                          <a:gd name="T21" fmla="*/ 0 60000 65536"/>
                          <a:gd name="T22" fmla="*/ 0 60000 65536"/>
                          <a:gd name="T23" fmla="*/ 0 60000 65536"/>
                          <a:gd name="T24" fmla="*/ 0 60000 65536"/>
                          <a:gd name="T25" fmla="*/ 0 60000 65536"/>
                          <a:gd name="T26" fmla="*/ 0 60000 65536"/>
                          <a:gd name="T27" fmla="*/ 0 w 20"/>
                          <a:gd name="T28" fmla="*/ 0 h 14"/>
                          <a:gd name="T29" fmla="*/ 20 w 20"/>
                          <a:gd name="T30" fmla="*/ 14 h 14"/>
                        </a:gdLst>
                        <a:ahLst/>
                        <a:cxnLst>
                          <a:cxn ang="T18">
                            <a:pos x="T0" y="T1"/>
                          </a:cxn>
                          <a:cxn ang="T19">
                            <a:pos x="T2" y="T3"/>
                          </a:cxn>
                          <a:cxn ang="T20">
                            <a:pos x="T4" y="T5"/>
                          </a:cxn>
                          <a:cxn ang="T21">
                            <a:pos x="T6" y="T7"/>
                          </a:cxn>
                          <a:cxn ang="T22">
                            <a:pos x="T8" y="T9"/>
                          </a:cxn>
                          <a:cxn ang="T23">
                            <a:pos x="T10" y="T11"/>
                          </a:cxn>
                          <a:cxn ang="T24">
                            <a:pos x="T12" y="T13"/>
                          </a:cxn>
                          <a:cxn ang="T25">
                            <a:pos x="T14" y="T15"/>
                          </a:cxn>
                          <a:cxn ang="T26">
                            <a:pos x="T16" y="T17"/>
                          </a:cxn>
                        </a:cxnLst>
                        <a:rect l="T27" t="T28" r="T29" b="T30"/>
                        <a:pathLst>
                          <a:path w="20" h="14">
                            <a:moveTo>
                              <a:pt x="1" y="4"/>
                            </a:moveTo>
                            <a:cubicBezTo>
                              <a:pt x="0" y="4"/>
                              <a:pt x="1" y="7"/>
                              <a:pt x="1" y="8"/>
                            </a:cubicBezTo>
                            <a:cubicBezTo>
                              <a:pt x="4" y="10"/>
                              <a:pt x="6" y="13"/>
                              <a:pt x="10" y="14"/>
                            </a:cubicBezTo>
                            <a:cubicBezTo>
                              <a:pt x="11" y="14"/>
                              <a:pt x="13" y="12"/>
                              <a:pt x="14" y="11"/>
                            </a:cubicBezTo>
                            <a:cubicBezTo>
                              <a:pt x="15" y="11"/>
                              <a:pt x="17" y="12"/>
                              <a:pt x="17" y="11"/>
                            </a:cubicBezTo>
                            <a:cubicBezTo>
                              <a:pt x="19" y="8"/>
                              <a:pt x="20" y="5"/>
                              <a:pt x="20" y="2"/>
                            </a:cubicBezTo>
                            <a:cubicBezTo>
                              <a:pt x="20" y="1"/>
                              <a:pt x="18" y="0"/>
                              <a:pt x="17" y="1"/>
                            </a:cubicBezTo>
                            <a:cubicBezTo>
                              <a:pt x="14" y="1"/>
                              <a:pt x="12" y="4"/>
                              <a:pt x="9" y="5"/>
                            </a:cubicBezTo>
                            <a:cubicBezTo>
                              <a:pt x="6" y="5"/>
                              <a:pt x="4" y="3"/>
                              <a:pt x="1" y="4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grpSp>
                    <p:nvGrpSpPr>
                      <p:cNvPr id="2216" name="Gruppo 1113"/>
                      <p:cNvGrpSpPr/>
                      <p:nvPr/>
                    </p:nvGrpSpPr>
                    <p:grpSpPr>
                      <a:xfrm>
                        <a:off x="1689384" y="1742522"/>
                        <a:ext cx="1981966" cy="2060052"/>
                        <a:chOff x="1689384" y="1742522"/>
                        <a:chExt cx="1981966" cy="2060052"/>
                      </a:xfrm>
                      <a:grpFill/>
                    </p:grpSpPr>
                    <p:sp>
                      <p:nvSpPr>
                        <p:cNvPr id="2217" name="Freeform 2526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06966" y="2850630"/>
                          <a:ext cx="664384" cy="576482"/>
                        </a:xfrm>
                        <a:custGeom>
                          <a:avLst/>
                          <a:gdLst>
                            <a:gd name="T0" fmla="*/ 344 w 495"/>
                            <a:gd name="T1" fmla="*/ 671 h 578"/>
                            <a:gd name="T2" fmla="*/ 317 w 495"/>
                            <a:gd name="T3" fmla="*/ 652 h 578"/>
                            <a:gd name="T4" fmla="*/ 269 w 495"/>
                            <a:gd name="T5" fmla="*/ 628 h 578"/>
                            <a:gd name="T6" fmla="*/ 320 w 495"/>
                            <a:gd name="T7" fmla="*/ 561 h 578"/>
                            <a:gd name="T8" fmla="*/ 311 w 495"/>
                            <a:gd name="T9" fmla="*/ 525 h 578"/>
                            <a:gd name="T10" fmla="*/ 280 w 495"/>
                            <a:gd name="T11" fmla="*/ 479 h 578"/>
                            <a:gd name="T12" fmla="*/ 248 w 495"/>
                            <a:gd name="T13" fmla="*/ 439 h 578"/>
                            <a:gd name="T14" fmla="*/ 244 w 495"/>
                            <a:gd name="T15" fmla="*/ 377 h 578"/>
                            <a:gd name="T16" fmla="*/ 212 w 495"/>
                            <a:gd name="T17" fmla="*/ 348 h 578"/>
                            <a:gd name="T18" fmla="*/ 175 w 495"/>
                            <a:gd name="T19" fmla="*/ 319 h 578"/>
                            <a:gd name="T20" fmla="*/ 130 w 495"/>
                            <a:gd name="T21" fmla="*/ 275 h 578"/>
                            <a:gd name="T22" fmla="*/ 82 w 495"/>
                            <a:gd name="T23" fmla="*/ 282 h 578"/>
                            <a:gd name="T24" fmla="*/ 50 w 495"/>
                            <a:gd name="T25" fmla="*/ 257 h 578"/>
                            <a:gd name="T26" fmla="*/ 4 w 495"/>
                            <a:gd name="T27" fmla="*/ 239 h 578"/>
                            <a:gd name="T28" fmla="*/ 18 w 495"/>
                            <a:gd name="T29" fmla="*/ 189 h 578"/>
                            <a:gd name="T30" fmla="*/ 61 w 495"/>
                            <a:gd name="T31" fmla="*/ 166 h 578"/>
                            <a:gd name="T32" fmla="*/ 62 w 495"/>
                            <a:gd name="T33" fmla="*/ 78 h 578"/>
                            <a:gd name="T34" fmla="*/ 85 w 495"/>
                            <a:gd name="T35" fmla="*/ 60 h 578"/>
                            <a:gd name="T36" fmla="*/ 106 w 495"/>
                            <a:gd name="T37" fmla="*/ 68 h 578"/>
                            <a:gd name="T38" fmla="*/ 145 w 495"/>
                            <a:gd name="T39" fmla="*/ 67 h 578"/>
                            <a:gd name="T40" fmla="*/ 160 w 495"/>
                            <a:gd name="T41" fmla="*/ 48 h 578"/>
                            <a:gd name="T42" fmla="*/ 148 w 495"/>
                            <a:gd name="T43" fmla="*/ 25 h 578"/>
                            <a:gd name="T44" fmla="*/ 172 w 495"/>
                            <a:gd name="T45" fmla="*/ 22 h 578"/>
                            <a:gd name="T46" fmla="*/ 209 w 495"/>
                            <a:gd name="T47" fmla="*/ 1 h 578"/>
                            <a:gd name="T48" fmla="*/ 221 w 495"/>
                            <a:gd name="T49" fmla="*/ 23 h 578"/>
                            <a:gd name="T50" fmla="*/ 224 w 495"/>
                            <a:gd name="T51" fmla="*/ 62 h 578"/>
                            <a:gd name="T52" fmla="*/ 242 w 495"/>
                            <a:gd name="T53" fmla="*/ 65 h 578"/>
                            <a:gd name="T54" fmla="*/ 270 w 495"/>
                            <a:gd name="T55" fmla="*/ 58 h 578"/>
                            <a:gd name="T56" fmla="*/ 288 w 495"/>
                            <a:gd name="T57" fmla="*/ 46 h 578"/>
                            <a:gd name="T58" fmla="*/ 313 w 495"/>
                            <a:gd name="T59" fmla="*/ 54 h 578"/>
                            <a:gd name="T60" fmla="*/ 342 w 495"/>
                            <a:gd name="T61" fmla="*/ 18 h 578"/>
                            <a:gd name="T62" fmla="*/ 361 w 495"/>
                            <a:gd name="T63" fmla="*/ 61 h 578"/>
                            <a:gd name="T64" fmla="*/ 353 w 495"/>
                            <a:gd name="T65" fmla="*/ 84 h 578"/>
                            <a:gd name="T66" fmla="*/ 310 w 495"/>
                            <a:gd name="T67" fmla="*/ 121 h 578"/>
                            <a:gd name="T68" fmla="*/ 332 w 495"/>
                            <a:gd name="T69" fmla="*/ 131 h 578"/>
                            <a:gd name="T70" fmla="*/ 354 w 495"/>
                            <a:gd name="T71" fmla="*/ 98 h 578"/>
                            <a:gd name="T72" fmla="*/ 383 w 495"/>
                            <a:gd name="T73" fmla="*/ 108 h 578"/>
                            <a:gd name="T74" fmla="*/ 372 w 495"/>
                            <a:gd name="T75" fmla="*/ 122 h 578"/>
                            <a:gd name="T76" fmla="*/ 377 w 495"/>
                            <a:gd name="T77" fmla="*/ 122 h 578"/>
                            <a:gd name="T78" fmla="*/ 416 w 495"/>
                            <a:gd name="T79" fmla="*/ 108 h 578"/>
                            <a:gd name="T80" fmla="*/ 448 w 495"/>
                            <a:gd name="T81" fmla="*/ 128 h 578"/>
                            <a:gd name="T82" fmla="*/ 492 w 495"/>
                            <a:gd name="T83" fmla="*/ 137 h 578"/>
                            <a:gd name="T84" fmla="*/ 554 w 495"/>
                            <a:gd name="T85" fmla="*/ 172 h 578"/>
                            <a:gd name="T86" fmla="*/ 593 w 495"/>
                            <a:gd name="T87" fmla="*/ 213 h 578"/>
                            <a:gd name="T88" fmla="*/ 553 w 495"/>
                            <a:gd name="T89" fmla="*/ 297 h 578"/>
                            <a:gd name="T90" fmla="*/ 534 w 495"/>
                            <a:gd name="T91" fmla="*/ 349 h 578"/>
                            <a:gd name="T92" fmla="*/ 522 w 495"/>
                            <a:gd name="T93" fmla="*/ 438 h 578"/>
                            <a:gd name="T94" fmla="*/ 491 w 495"/>
                            <a:gd name="T95" fmla="*/ 495 h 578"/>
                            <a:gd name="T96" fmla="*/ 454 w 495"/>
                            <a:gd name="T97" fmla="*/ 497 h 578"/>
                            <a:gd name="T98" fmla="*/ 397 w 495"/>
                            <a:gd name="T99" fmla="*/ 546 h 578"/>
                            <a:gd name="T100" fmla="*/ 397 w 495"/>
                            <a:gd name="T101" fmla="*/ 599 h 578"/>
                            <a:gd name="T102" fmla="*/ 358 w 495"/>
                            <a:gd name="T103" fmla="*/ 657 h 578"/>
                            <a:gd name="T104" fmla="*/ 361 w 495"/>
                            <a:gd name="T105" fmla="*/ 624 h 578"/>
                            <a:gd name="T106" fmla="*/ 347 w 495"/>
                            <a:gd name="T107" fmla="*/ 675 h 578"/>
                            <a:gd name="T108" fmla="*/ 0 60000 65536"/>
                            <a:gd name="T109" fmla="*/ 0 60000 65536"/>
                            <a:gd name="T110" fmla="*/ 0 60000 65536"/>
                            <a:gd name="T111" fmla="*/ 0 60000 65536"/>
                            <a:gd name="T112" fmla="*/ 0 60000 65536"/>
                            <a:gd name="T113" fmla="*/ 0 60000 65536"/>
                            <a:gd name="T114" fmla="*/ 0 60000 65536"/>
                            <a:gd name="T115" fmla="*/ 0 60000 65536"/>
                            <a:gd name="T116" fmla="*/ 0 60000 65536"/>
                            <a:gd name="T117" fmla="*/ 0 60000 65536"/>
                            <a:gd name="T118" fmla="*/ 0 60000 65536"/>
                            <a:gd name="T119" fmla="*/ 0 60000 65536"/>
                            <a:gd name="T120" fmla="*/ 0 60000 65536"/>
                            <a:gd name="T121" fmla="*/ 0 60000 65536"/>
                            <a:gd name="T122" fmla="*/ 0 60000 65536"/>
                            <a:gd name="T123" fmla="*/ 0 60000 65536"/>
                            <a:gd name="T124" fmla="*/ 0 60000 65536"/>
                            <a:gd name="T125" fmla="*/ 0 60000 65536"/>
                            <a:gd name="T126" fmla="*/ 0 60000 65536"/>
                            <a:gd name="T127" fmla="*/ 0 60000 65536"/>
                            <a:gd name="T128" fmla="*/ 0 60000 65536"/>
                            <a:gd name="T129" fmla="*/ 0 60000 65536"/>
                            <a:gd name="T130" fmla="*/ 0 60000 65536"/>
                            <a:gd name="T131" fmla="*/ 0 60000 65536"/>
                            <a:gd name="T132" fmla="*/ 0 60000 65536"/>
                            <a:gd name="T133" fmla="*/ 0 60000 65536"/>
                            <a:gd name="T134" fmla="*/ 0 60000 65536"/>
                            <a:gd name="T135" fmla="*/ 0 60000 65536"/>
                            <a:gd name="T136" fmla="*/ 0 60000 65536"/>
                            <a:gd name="T137" fmla="*/ 0 60000 65536"/>
                            <a:gd name="T138" fmla="*/ 0 60000 65536"/>
                            <a:gd name="T139" fmla="*/ 0 60000 65536"/>
                            <a:gd name="T140" fmla="*/ 0 60000 65536"/>
                            <a:gd name="T141" fmla="*/ 0 60000 65536"/>
                            <a:gd name="T142" fmla="*/ 0 60000 65536"/>
                            <a:gd name="T143" fmla="*/ 0 60000 65536"/>
                            <a:gd name="T144" fmla="*/ 0 60000 65536"/>
                            <a:gd name="T145" fmla="*/ 0 60000 65536"/>
                            <a:gd name="T146" fmla="*/ 0 60000 65536"/>
                            <a:gd name="T147" fmla="*/ 0 60000 65536"/>
                            <a:gd name="T148" fmla="*/ 0 60000 65536"/>
                            <a:gd name="T149" fmla="*/ 0 60000 65536"/>
                            <a:gd name="T150" fmla="*/ 0 60000 65536"/>
                            <a:gd name="T151" fmla="*/ 0 60000 65536"/>
                            <a:gd name="T152" fmla="*/ 0 60000 65536"/>
                            <a:gd name="T153" fmla="*/ 0 60000 65536"/>
                            <a:gd name="T154" fmla="*/ 0 60000 65536"/>
                            <a:gd name="T155" fmla="*/ 0 60000 65536"/>
                            <a:gd name="T156" fmla="*/ 0 60000 65536"/>
                            <a:gd name="T157" fmla="*/ 0 60000 65536"/>
                            <a:gd name="T158" fmla="*/ 0 60000 65536"/>
                            <a:gd name="T159" fmla="*/ 0 60000 65536"/>
                            <a:gd name="T160" fmla="*/ 0 60000 65536"/>
                            <a:gd name="T161" fmla="*/ 0 60000 65536"/>
                            <a:gd name="T162" fmla="*/ 0 w 495"/>
                            <a:gd name="T163" fmla="*/ 0 h 578"/>
                            <a:gd name="T164" fmla="*/ 495 w 495"/>
                            <a:gd name="T165" fmla="*/ 578 h 578"/>
                          </a:gdLst>
                          <a:ahLst/>
                          <a:cxnLst>
                            <a:cxn ang="T108">
                              <a:pos x="T0" y="T1"/>
                            </a:cxn>
                            <a:cxn ang="T109">
                              <a:pos x="T2" y="T3"/>
                            </a:cxn>
                            <a:cxn ang="T110">
                              <a:pos x="T4" y="T5"/>
                            </a:cxn>
                            <a:cxn ang="T111">
                              <a:pos x="T6" y="T7"/>
                            </a:cxn>
                            <a:cxn ang="T112">
                              <a:pos x="T8" y="T9"/>
                            </a:cxn>
                            <a:cxn ang="T113">
                              <a:pos x="T10" y="T11"/>
                            </a:cxn>
                            <a:cxn ang="T114">
                              <a:pos x="T12" y="T13"/>
                            </a:cxn>
                            <a:cxn ang="T115">
                              <a:pos x="T14" y="T15"/>
                            </a:cxn>
                            <a:cxn ang="T116">
                              <a:pos x="T16" y="T17"/>
                            </a:cxn>
                            <a:cxn ang="T117">
                              <a:pos x="T18" y="T19"/>
                            </a:cxn>
                            <a:cxn ang="T118">
                              <a:pos x="T20" y="T21"/>
                            </a:cxn>
                            <a:cxn ang="T119">
                              <a:pos x="T22" y="T23"/>
                            </a:cxn>
                            <a:cxn ang="T120">
                              <a:pos x="T24" y="T25"/>
                            </a:cxn>
                            <a:cxn ang="T121">
                              <a:pos x="T26" y="T27"/>
                            </a:cxn>
                            <a:cxn ang="T122">
                              <a:pos x="T28" y="T29"/>
                            </a:cxn>
                            <a:cxn ang="T123">
                              <a:pos x="T30" y="T31"/>
                            </a:cxn>
                            <a:cxn ang="T124">
                              <a:pos x="T32" y="T33"/>
                            </a:cxn>
                            <a:cxn ang="T125">
                              <a:pos x="T34" y="T35"/>
                            </a:cxn>
                            <a:cxn ang="T126">
                              <a:pos x="T36" y="T37"/>
                            </a:cxn>
                            <a:cxn ang="T127">
                              <a:pos x="T38" y="T39"/>
                            </a:cxn>
                            <a:cxn ang="T128">
                              <a:pos x="T40" y="T41"/>
                            </a:cxn>
                            <a:cxn ang="T129">
                              <a:pos x="T42" y="T43"/>
                            </a:cxn>
                            <a:cxn ang="T130">
                              <a:pos x="T44" y="T45"/>
                            </a:cxn>
                            <a:cxn ang="T131">
                              <a:pos x="T46" y="T47"/>
                            </a:cxn>
                            <a:cxn ang="T132">
                              <a:pos x="T48" y="T49"/>
                            </a:cxn>
                            <a:cxn ang="T133">
                              <a:pos x="T50" y="T51"/>
                            </a:cxn>
                            <a:cxn ang="T134">
                              <a:pos x="T52" y="T53"/>
                            </a:cxn>
                            <a:cxn ang="T135">
                              <a:pos x="T54" y="T55"/>
                            </a:cxn>
                            <a:cxn ang="T136">
                              <a:pos x="T56" y="T57"/>
                            </a:cxn>
                            <a:cxn ang="T137">
                              <a:pos x="T58" y="T59"/>
                            </a:cxn>
                            <a:cxn ang="T138">
                              <a:pos x="T60" y="T61"/>
                            </a:cxn>
                            <a:cxn ang="T139">
                              <a:pos x="T62" y="T63"/>
                            </a:cxn>
                            <a:cxn ang="T140">
                              <a:pos x="T64" y="T65"/>
                            </a:cxn>
                            <a:cxn ang="T141">
                              <a:pos x="T66" y="T67"/>
                            </a:cxn>
                            <a:cxn ang="T142">
                              <a:pos x="T68" y="T69"/>
                            </a:cxn>
                            <a:cxn ang="T143">
                              <a:pos x="T70" y="T71"/>
                            </a:cxn>
                            <a:cxn ang="T144">
                              <a:pos x="T72" y="T73"/>
                            </a:cxn>
                            <a:cxn ang="T145">
                              <a:pos x="T74" y="T75"/>
                            </a:cxn>
                            <a:cxn ang="T146">
                              <a:pos x="T76" y="T77"/>
                            </a:cxn>
                            <a:cxn ang="T147">
                              <a:pos x="T78" y="T79"/>
                            </a:cxn>
                            <a:cxn ang="T148">
                              <a:pos x="T80" y="T81"/>
                            </a:cxn>
                            <a:cxn ang="T149">
                              <a:pos x="T82" y="T83"/>
                            </a:cxn>
                            <a:cxn ang="T150">
                              <a:pos x="T84" y="T85"/>
                            </a:cxn>
                            <a:cxn ang="T151">
                              <a:pos x="T86" y="T87"/>
                            </a:cxn>
                            <a:cxn ang="T152">
                              <a:pos x="T88" y="T89"/>
                            </a:cxn>
                            <a:cxn ang="T153">
                              <a:pos x="T90" y="T91"/>
                            </a:cxn>
                            <a:cxn ang="T154">
                              <a:pos x="T92" y="T93"/>
                            </a:cxn>
                            <a:cxn ang="T155">
                              <a:pos x="T94" y="T95"/>
                            </a:cxn>
                            <a:cxn ang="T156">
                              <a:pos x="T96" y="T97"/>
                            </a:cxn>
                            <a:cxn ang="T157">
                              <a:pos x="T98" y="T99"/>
                            </a:cxn>
                            <a:cxn ang="T158">
                              <a:pos x="T100" y="T101"/>
                            </a:cxn>
                            <a:cxn ang="T159">
                              <a:pos x="T102" y="T103"/>
                            </a:cxn>
                            <a:cxn ang="T160">
                              <a:pos x="T104" y="T105"/>
                            </a:cxn>
                            <a:cxn ang="T161">
                              <a:pos x="T106" y="T107"/>
                            </a:cxn>
                          </a:cxnLst>
                          <a:rect l="T162" t="T163" r="T164" b="T165"/>
                          <a:pathLst>
                            <a:path w="495" h="578">
                              <a:moveTo>
                                <a:pt x="281" y="578"/>
                              </a:moveTo>
                              <a:cubicBezTo>
                                <a:pt x="280" y="577"/>
                                <a:pt x="278" y="576"/>
                                <a:pt x="277" y="575"/>
                              </a:cubicBezTo>
                              <a:cubicBezTo>
                                <a:pt x="277" y="573"/>
                                <a:pt x="278" y="571"/>
                                <a:pt x="279" y="570"/>
                              </a:cubicBezTo>
                              <a:cubicBezTo>
                                <a:pt x="280" y="567"/>
                                <a:pt x="280" y="565"/>
                                <a:pt x="282" y="563"/>
                              </a:cubicBezTo>
                              <a:cubicBezTo>
                                <a:pt x="283" y="562"/>
                                <a:pt x="285" y="563"/>
                                <a:pt x="285" y="563"/>
                              </a:cubicBezTo>
                              <a:cubicBezTo>
                                <a:pt x="286" y="562"/>
                                <a:pt x="286" y="560"/>
                                <a:pt x="287" y="559"/>
                              </a:cubicBezTo>
                              <a:cubicBezTo>
                                <a:pt x="287" y="556"/>
                                <a:pt x="289" y="553"/>
                                <a:pt x="287" y="552"/>
                              </a:cubicBezTo>
                              <a:cubicBezTo>
                                <a:pt x="285" y="551"/>
                                <a:pt x="286" y="556"/>
                                <a:pt x="285" y="558"/>
                              </a:cubicBezTo>
                              <a:cubicBezTo>
                                <a:pt x="283" y="559"/>
                                <a:pt x="281" y="559"/>
                                <a:pt x="279" y="559"/>
                              </a:cubicBezTo>
                              <a:cubicBezTo>
                                <a:pt x="278" y="559"/>
                                <a:pt x="277" y="558"/>
                                <a:pt x="276" y="557"/>
                              </a:cubicBezTo>
                              <a:cubicBezTo>
                                <a:pt x="275" y="556"/>
                                <a:pt x="275" y="554"/>
                                <a:pt x="274" y="553"/>
                              </a:cubicBezTo>
                              <a:cubicBezTo>
                                <a:pt x="271" y="549"/>
                                <a:pt x="268" y="545"/>
                                <a:pt x="264" y="543"/>
                              </a:cubicBezTo>
                              <a:cubicBezTo>
                                <a:pt x="260" y="541"/>
                                <a:pt x="256" y="541"/>
                                <a:pt x="253" y="539"/>
                              </a:cubicBezTo>
                              <a:cubicBezTo>
                                <a:pt x="251" y="537"/>
                                <a:pt x="250" y="534"/>
                                <a:pt x="247" y="532"/>
                              </a:cubicBezTo>
                              <a:cubicBezTo>
                                <a:pt x="247" y="532"/>
                                <a:pt x="247" y="533"/>
                                <a:pt x="246" y="534"/>
                              </a:cubicBezTo>
                              <a:cubicBezTo>
                                <a:pt x="245" y="534"/>
                                <a:pt x="244" y="536"/>
                                <a:pt x="243" y="536"/>
                              </a:cubicBezTo>
                              <a:cubicBezTo>
                                <a:pt x="239" y="531"/>
                                <a:pt x="239" y="523"/>
                                <a:pt x="234" y="520"/>
                              </a:cubicBezTo>
                              <a:cubicBezTo>
                                <a:pt x="232" y="518"/>
                                <a:pt x="227" y="522"/>
                                <a:pt x="224" y="523"/>
                              </a:cubicBezTo>
                              <a:cubicBezTo>
                                <a:pt x="228" y="518"/>
                                <a:pt x="232" y="514"/>
                                <a:pt x="235" y="509"/>
                              </a:cubicBezTo>
                              <a:cubicBezTo>
                                <a:pt x="238" y="504"/>
                                <a:pt x="239" y="498"/>
                                <a:pt x="242" y="494"/>
                              </a:cubicBezTo>
                              <a:cubicBezTo>
                                <a:pt x="244" y="491"/>
                                <a:pt x="248" y="491"/>
                                <a:pt x="250" y="489"/>
                              </a:cubicBezTo>
                              <a:cubicBezTo>
                                <a:pt x="252" y="487"/>
                                <a:pt x="253" y="484"/>
                                <a:pt x="255" y="482"/>
                              </a:cubicBezTo>
                              <a:cubicBezTo>
                                <a:pt x="259" y="479"/>
                                <a:pt x="265" y="479"/>
                                <a:pt x="267" y="476"/>
                              </a:cubicBezTo>
                              <a:cubicBezTo>
                                <a:pt x="269" y="473"/>
                                <a:pt x="267" y="470"/>
                                <a:pt x="267" y="467"/>
                              </a:cubicBezTo>
                              <a:cubicBezTo>
                                <a:pt x="267" y="464"/>
                                <a:pt x="269" y="462"/>
                                <a:pt x="268" y="460"/>
                              </a:cubicBezTo>
                              <a:cubicBezTo>
                                <a:pt x="268" y="458"/>
                                <a:pt x="265" y="455"/>
                                <a:pt x="264" y="453"/>
                              </a:cubicBezTo>
                              <a:cubicBezTo>
                                <a:pt x="263" y="452"/>
                                <a:pt x="262" y="451"/>
                                <a:pt x="261" y="451"/>
                              </a:cubicBezTo>
                              <a:cubicBezTo>
                                <a:pt x="259" y="451"/>
                                <a:pt x="257" y="451"/>
                                <a:pt x="256" y="451"/>
                              </a:cubicBezTo>
                              <a:cubicBezTo>
                                <a:pt x="256" y="449"/>
                                <a:pt x="256" y="447"/>
                                <a:pt x="256" y="445"/>
                              </a:cubicBezTo>
                              <a:cubicBezTo>
                                <a:pt x="257" y="443"/>
                                <a:pt x="258" y="440"/>
                                <a:pt x="259" y="437"/>
                              </a:cubicBezTo>
                              <a:cubicBezTo>
                                <a:pt x="259" y="434"/>
                                <a:pt x="261" y="430"/>
                                <a:pt x="261" y="426"/>
                              </a:cubicBezTo>
                              <a:cubicBezTo>
                                <a:pt x="260" y="424"/>
                                <a:pt x="257" y="423"/>
                                <a:pt x="255" y="423"/>
                              </a:cubicBezTo>
                              <a:cubicBezTo>
                                <a:pt x="251" y="422"/>
                                <a:pt x="247" y="427"/>
                                <a:pt x="244" y="425"/>
                              </a:cubicBezTo>
                              <a:cubicBezTo>
                                <a:pt x="241" y="424"/>
                                <a:pt x="239" y="420"/>
                                <a:pt x="239" y="417"/>
                              </a:cubicBezTo>
                              <a:cubicBezTo>
                                <a:pt x="238" y="413"/>
                                <a:pt x="242" y="408"/>
                                <a:pt x="241" y="403"/>
                              </a:cubicBezTo>
                              <a:cubicBezTo>
                                <a:pt x="240" y="401"/>
                                <a:pt x="236" y="400"/>
                                <a:pt x="233" y="399"/>
                              </a:cubicBezTo>
                              <a:cubicBezTo>
                                <a:pt x="229" y="398"/>
                                <a:pt x="225" y="399"/>
                                <a:pt x="222" y="398"/>
                              </a:cubicBezTo>
                              <a:cubicBezTo>
                                <a:pt x="219" y="398"/>
                                <a:pt x="216" y="399"/>
                                <a:pt x="213" y="398"/>
                              </a:cubicBezTo>
                              <a:cubicBezTo>
                                <a:pt x="212" y="398"/>
                                <a:pt x="213" y="396"/>
                                <a:pt x="213" y="395"/>
                              </a:cubicBezTo>
                              <a:cubicBezTo>
                                <a:pt x="213" y="390"/>
                                <a:pt x="214" y="386"/>
                                <a:pt x="213" y="381"/>
                              </a:cubicBezTo>
                              <a:cubicBezTo>
                                <a:pt x="212" y="378"/>
                                <a:pt x="208" y="378"/>
                                <a:pt x="207" y="375"/>
                              </a:cubicBezTo>
                              <a:cubicBezTo>
                                <a:pt x="206" y="372"/>
                                <a:pt x="207" y="369"/>
                                <a:pt x="207" y="366"/>
                              </a:cubicBezTo>
                              <a:cubicBezTo>
                                <a:pt x="208" y="362"/>
                                <a:pt x="210" y="357"/>
                                <a:pt x="211" y="353"/>
                              </a:cubicBezTo>
                              <a:cubicBezTo>
                                <a:pt x="212" y="348"/>
                                <a:pt x="212" y="344"/>
                                <a:pt x="212" y="339"/>
                              </a:cubicBezTo>
                              <a:cubicBezTo>
                                <a:pt x="211" y="335"/>
                                <a:pt x="211" y="331"/>
                                <a:pt x="208" y="328"/>
                              </a:cubicBezTo>
                              <a:cubicBezTo>
                                <a:pt x="207" y="326"/>
                                <a:pt x="202" y="327"/>
                                <a:pt x="201" y="325"/>
                              </a:cubicBezTo>
                              <a:cubicBezTo>
                                <a:pt x="200" y="322"/>
                                <a:pt x="203" y="320"/>
                                <a:pt x="203" y="317"/>
                              </a:cubicBezTo>
                              <a:cubicBezTo>
                                <a:pt x="204" y="316"/>
                                <a:pt x="203" y="315"/>
                                <a:pt x="203" y="314"/>
                              </a:cubicBezTo>
                              <a:cubicBezTo>
                                <a:pt x="203" y="313"/>
                                <a:pt x="202" y="314"/>
                                <a:pt x="202" y="314"/>
                              </a:cubicBezTo>
                              <a:cubicBezTo>
                                <a:pt x="194" y="314"/>
                                <a:pt x="186" y="314"/>
                                <a:pt x="179" y="314"/>
                              </a:cubicBezTo>
                              <a:cubicBezTo>
                                <a:pt x="178" y="314"/>
                                <a:pt x="179" y="313"/>
                                <a:pt x="179" y="312"/>
                              </a:cubicBezTo>
                              <a:cubicBezTo>
                                <a:pt x="177" y="307"/>
                                <a:pt x="174" y="303"/>
                                <a:pt x="174" y="298"/>
                              </a:cubicBezTo>
                              <a:cubicBezTo>
                                <a:pt x="174" y="296"/>
                                <a:pt x="177" y="297"/>
                                <a:pt x="177" y="296"/>
                              </a:cubicBezTo>
                              <a:cubicBezTo>
                                <a:pt x="178" y="294"/>
                                <a:pt x="178" y="292"/>
                                <a:pt x="177" y="290"/>
                              </a:cubicBezTo>
                              <a:cubicBezTo>
                                <a:pt x="177" y="288"/>
                                <a:pt x="175" y="286"/>
                                <a:pt x="174" y="284"/>
                              </a:cubicBezTo>
                              <a:cubicBezTo>
                                <a:pt x="174" y="281"/>
                                <a:pt x="176" y="277"/>
                                <a:pt x="174" y="275"/>
                              </a:cubicBezTo>
                              <a:cubicBezTo>
                                <a:pt x="173" y="274"/>
                                <a:pt x="169" y="273"/>
                                <a:pt x="166" y="273"/>
                              </a:cubicBezTo>
                              <a:cubicBezTo>
                                <a:pt x="162" y="272"/>
                                <a:pt x="159" y="273"/>
                                <a:pt x="155" y="272"/>
                              </a:cubicBezTo>
                              <a:cubicBezTo>
                                <a:pt x="153" y="271"/>
                                <a:pt x="153" y="267"/>
                                <a:pt x="151" y="266"/>
                              </a:cubicBezTo>
                              <a:cubicBezTo>
                                <a:pt x="149" y="266"/>
                                <a:pt x="148" y="267"/>
                                <a:pt x="146" y="266"/>
                              </a:cubicBezTo>
                              <a:cubicBezTo>
                                <a:pt x="144" y="265"/>
                                <a:pt x="144" y="261"/>
                                <a:pt x="142" y="260"/>
                              </a:cubicBezTo>
                              <a:cubicBezTo>
                                <a:pt x="139" y="259"/>
                                <a:pt x="137" y="260"/>
                                <a:pt x="134" y="260"/>
                              </a:cubicBezTo>
                              <a:cubicBezTo>
                                <a:pt x="131" y="259"/>
                                <a:pt x="126" y="260"/>
                                <a:pt x="123" y="258"/>
                              </a:cubicBezTo>
                              <a:cubicBezTo>
                                <a:pt x="120" y="254"/>
                                <a:pt x="116" y="249"/>
                                <a:pt x="113" y="245"/>
                              </a:cubicBezTo>
                              <a:cubicBezTo>
                                <a:pt x="112" y="243"/>
                                <a:pt x="112" y="241"/>
                                <a:pt x="111" y="239"/>
                              </a:cubicBezTo>
                              <a:cubicBezTo>
                                <a:pt x="110" y="236"/>
                                <a:pt x="111" y="233"/>
                                <a:pt x="108" y="229"/>
                              </a:cubicBezTo>
                              <a:cubicBezTo>
                                <a:pt x="108" y="226"/>
                                <a:pt x="112" y="220"/>
                                <a:pt x="109" y="218"/>
                              </a:cubicBezTo>
                              <a:cubicBezTo>
                                <a:pt x="105" y="219"/>
                                <a:pt x="100" y="217"/>
                                <a:pt x="95" y="219"/>
                              </a:cubicBezTo>
                              <a:cubicBezTo>
                                <a:pt x="92" y="220"/>
                                <a:pt x="91" y="224"/>
                                <a:pt x="88" y="225"/>
                              </a:cubicBezTo>
                              <a:cubicBezTo>
                                <a:pt x="86" y="226"/>
                                <a:pt x="83" y="226"/>
                                <a:pt x="82" y="227"/>
                              </a:cubicBezTo>
                              <a:cubicBezTo>
                                <a:pt x="79" y="228"/>
                                <a:pt x="78" y="231"/>
                                <a:pt x="76" y="232"/>
                              </a:cubicBezTo>
                              <a:cubicBezTo>
                                <a:pt x="73" y="234"/>
                                <a:pt x="71" y="235"/>
                                <a:pt x="68" y="235"/>
                              </a:cubicBezTo>
                              <a:cubicBezTo>
                                <a:pt x="66" y="236"/>
                                <a:pt x="64" y="235"/>
                                <a:pt x="63" y="235"/>
                              </a:cubicBezTo>
                              <a:cubicBezTo>
                                <a:pt x="61" y="235"/>
                                <a:pt x="59" y="234"/>
                                <a:pt x="58" y="234"/>
                              </a:cubicBezTo>
                              <a:cubicBezTo>
                                <a:pt x="57" y="234"/>
                                <a:pt x="55" y="235"/>
                                <a:pt x="54" y="235"/>
                              </a:cubicBezTo>
                              <a:cubicBezTo>
                                <a:pt x="51" y="235"/>
                                <a:pt x="47" y="238"/>
                                <a:pt x="46" y="235"/>
                              </a:cubicBezTo>
                              <a:cubicBezTo>
                                <a:pt x="43" y="229"/>
                                <a:pt x="45" y="221"/>
                                <a:pt x="44" y="214"/>
                              </a:cubicBezTo>
                              <a:cubicBezTo>
                                <a:pt x="44" y="214"/>
                                <a:pt x="43" y="214"/>
                                <a:pt x="42" y="214"/>
                              </a:cubicBezTo>
                              <a:cubicBezTo>
                                <a:pt x="39" y="217"/>
                                <a:pt x="38" y="221"/>
                                <a:pt x="34" y="223"/>
                              </a:cubicBezTo>
                              <a:cubicBezTo>
                                <a:pt x="32" y="224"/>
                                <a:pt x="28" y="224"/>
                                <a:pt x="25" y="223"/>
                              </a:cubicBezTo>
                              <a:cubicBezTo>
                                <a:pt x="23" y="221"/>
                                <a:pt x="24" y="217"/>
                                <a:pt x="22" y="215"/>
                              </a:cubicBezTo>
                              <a:cubicBezTo>
                                <a:pt x="20" y="213"/>
                                <a:pt x="15" y="215"/>
                                <a:pt x="14" y="213"/>
                              </a:cubicBezTo>
                              <a:cubicBezTo>
                                <a:pt x="12" y="211"/>
                                <a:pt x="16" y="208"/>
                                <a:pt x="15" y="206"/>
                              </a:cubicBezTo>
                              <a:cubicBezTo>
                                <a:pt x="12" y="203"/>
                                <a:pt x="5" y="203"/>
                                <a:pt x="3" y="199"/>
                              </a:cubicBezTo>
                              <a:cubicBezTo>
                                <a:pt x="1" y="197"/>
                                <a:pt x="2" y="193"/>
                                <a:pt x="2" y="190"/>
                              </a:cubicBezTo>
                              <a:cubicBezTo>
                                <a:pt x="2" y="188"/>
                                <a:pt x="2" y="185"/>
                                <a:pt x="2" y="182"/>
                              </a:cubicBezTo>
                              <a:cubicBezTo>
                                <a:pt x="2" y="180"/>
                                <a:pt x="0" y="177"/>
                                <a:pt x="2" y="175"/>
                              </a:cubicBezTo>
                              <a:cubicBezTo>
                                <a:pt x="4" y="172"/>
                                <a:pt x="10" y="172"/>
                                <a:pt x="12" y="168"/>
                              </a:cubicBezTo>
                              <a:cubicBezTo>
                                <a:pt x="13" y="167"/>
                                <a:pt x="9" y="166"/>
                                <a:pt x="10" y="164"/>
                              </a:cubicBezTo>
                              <a:cubicBezTo>
                                <a:pt x="10" y="161"/>
                                <a:pt x="14" y="160"/>
                                <a:pt x="15" y="157"/>
                              </a:cubicBezTo>
                              <a:cubicBezTo>
                                <a:pt x="16" y="154"/>
                                <a:pt x="14" y="152"/>
                                <a:pt x="15" y="150"/>
                              </a:cubicBezTo>
                              <a:cubicBezTo>
                                <a:pt x="17" y="146"/>
                                <a:pt x="21" y="144"/>
                                <a:pt x="24" y="142"/>
                              </a:cubicBezTo>
                              <a:cubicBezTo>
                                <a:pt x="26" y="142"/>
                                <a:pt x="28" y="143"/>
                                <a:pt x="29" y="142"/>
                              </a:cubicBezTo>
                              <a:cubicBezTo>
                                <a:pt x="33" y="142"/>
                                <a:pt x="36" y="140"/>
                                <a:pt x="39" y="139"/>
                              </a:cubicBezTo>
                              <a:cubicBezTo>
                                <a:pt x="41" y="139"/>
                                <a:pt x="44" y="137"/>
                                <a:pt x="46" y="137"/>
                              </a:cubicBezTo>
                              <a:cubicBezTo>
                                <a:pt x="48" y="137"/>
                                <a:pt x="49" y="138"/>
                                <a:pt x="51" y="138"/>
                              </a:cubicBezTo>
                              <a:cubicBezTo>
                                <a:pt x="53" y="125"/>
                                <a:pt x="55" y="110"/>
                                <a:pt x="57" y="97"/>
                              </a:cubicBezTo>
                              <a:cubicBezTo>
                                <a:pt x="58" y="94"/>
                                <a:pt x="58" y="92"/>
                                <a:pt x="59" y="90"/>
                              </a:cubicBezTo>
                              <a:cubicBezTo>
                                <a:pt x="57" y="88"/>
                                <a:pt x="55" y="87"/>
                                <a:pt x="54" y="85"/>
                              </a:cubicBezTo>
                              <a:cubicBezTo>
                                <a:pt x="52" y="84"/>
                                <a:pt x="50" y="83"/>
                                <a:pt x="49" y="82"/>
                              </a:cubicBezTo>
                              <a:cubicBezTo>
                                <a:pt x="49" y="77"/>
                                <a:pt x="49" y="72"/>
                                <a:pt x="49" y="67"/>
                              </a:cubicBezTo>
                              <a:cubicBezTo>
                                <a:pt x="50" y="66"/>
                                <a:pt x="51" y="66"/>
                                <a:pt x="52" y="65"/>
                              </a:cubicBezTo>
                              <a:cubicBezTo>
                                <a:pt x="55" y="65"/>
                                <a:pt x="57" y="66"/>
                                <a:pt x="59" y="65"/>
                              </a:cubicBezTo>
                              <a:cubicBezTo>
                                <a:pt x="60" y="65"/>
                                <a:pt x="59" y="64"/>
                                <a:pt x="59" y="63"/>
                              </a:cubicBezTo>
                              <a:cubicBezTo>
                                <a:pt x="58" y="61"/>
                                <a:pt x="58" y="60"/>
                                <a:pt x="57" y="59"/>
                              </a:cubicBezTo>
                              <a:cubicBezTo>
                                <a:pt x="56" y="58"/>
                                <a:pt x="55" y="59"/>
                                <a:pt x="54" y="59"/>
                              </a:cubicBezTo>
                              <a:cubicBezTo>
                                <a:pt x="53" y="56"/>
                                <a:pt x="53" y="54"/>
                                <a:pt x="53" y="51"/>
                              </a:cubicBezTo>
                              <a:cubicBezTo>
                                <a:pt x="59" y="51"/>
                                <a:pt x="65" y="50"/>
                                <a:pt x="71" y="50"/>
                              </a:cubicBezTo>
                              <a:cubicBezTo>
                                <a:pt x="71" y="49"/>
                                <a:pt x="71" y="48"/>
                                <a:pt x="72" y="48"/>
                              </a:cubicBezTo>
                              <a:cubicBezTo>
                                <a:pt x="73" y="48"/>
                                <a:pt x="74" y="49"/>
                                <a:pt x="76" y="50"/>
                              </a:cubicBezTo>
                              <a:cubicBezTo>
                                <a:pt x="77" y="48"/>
                                <a:pt x="77" y="45"/>
                                <a:pt x="79" y="45"/>
                              </a:cubicBezTo>
                              <a:cubicBezTo>
                                <a:pt x="80" y="44"/>
                                <a:pt x="80" y="47"/>
                                <a:pt x="81" y="48"/>
                              </a:cubicBezTo>
                              <a:cubicBezTo>
                                <a:pt x="83" y="52"/>
                                <a:pt x="84" y="56"/>
                                <a:pt x="86" y="60"/>
                              </a:cubicBezTo>
                              <a:cubicBezTo>
                                <a:pt x="87" y="59"/>
                                <a:pt x="87" y="58"/>
                                <a:pt x="88" y="57"/>
                              </a:cubicBezTo>
                              <a:cubicBezTo>
                                <a:pt x="91" y="60"/>
                                <a:pt x="93" y="64"/>
                                <a:pt x="96" y="65"/>
                              </a:cubicBezTo>
                              <a:cubicBezTo>
                                <a:pt x="98" y="67"/>
                                <a:pt x="101" y="66"/>
                                <a:pt x="104" y="65"/>
                              </a:cubicBezTo>
                              <a:cubicBezTo>
                                <a:pt x="107" y="63"/>
                                <a:pt x="110" y="60"/>
                                <a:pt x="113" y="58"/>
                              </a:cubicBezTo>
                              <a:cubicBezTo>
                                <a:pt x="114" y="57"/>
                                <a:pt x="115" y="57"/>
                                <a:pt x="116" y="56"/>
                              </a:cubicBezTo>
                              <a:cubicBezTo>
                                <a:pt x="117" y="56"/>
                                <a:pt x="118" y="54"/>
                                <a:pt x="119" y="54"/>
                              </a:cubicBezTo>
                              <a:cubicBezTo>
                                <a:pt x="120" y="54"/>
                                <a:pt x="120" y="56"/>
                                <a:pt x="121" y="56"/>
                              </a:cubicBezTo>
                              <a:cubicBezTo>
                                <a:pt x="122" y="56"/>
                                <a:pt x="122" y="55"/>
                                <a:pt x="122" y="54"/>
                              </a:cubicBezTo>
                              <a:cubicBezTo>
                                <a:pt x="123" y="52"/>
                                <a:pt x="121" y="50"/>
                                <a:pt x="122" y="48"/>
                              </a:cubicBezTo>
                              <a:cubicBezTo>
                                <a:pt x="123" y="47"/>
                                <a:pt x="126" y="48"/>
                                <a:pt x="128" y="47"/>
                              </a:cubicBezTo>
                              <a:cubicBezTo>
                                <a:pt x="128" y="46"/>
                                <a:pt x="127" y="45"/>
                                <a:pt x="128" y="45"/>
                              </a:cubicBezTo>
                              <a:cubicBezTo>
                                <a:pt x="129" y="43"/>
                                <a:pt x="132" y="43"/>
                                <a:pt x="133" y="42"/>
                              </a:cubicBezTo>
                              <a:cubicBezTo>
                                <a:pt x="134" y="41"/>
                                <a:pt x="134" y="40"/>
                                <a:pt x="133" y="40"/>
                              </a:cubicBezTo>
                              <a:cubicBezTo>
                                <a:pt x="130" y="39"/>
                                <a:pt x="127" y="40"/>
                                <a:pt x="124" y="40"/>
                              </a:cubicBezTo>
                              <a:cubicBezTo>
                                <a:pt x="123" y="40"/>
                                <a:pt x="122" y="39"/>
                                <a:pt x="122" y="38"/>
                              </a:cubicBezTo>
                              <a:cubicBezTo>
                                <a:pt x="121" y="37"/>
                                <a:pt x="122" y="35"/>
                                <a:pt x="122" y="34"/>
                              </a:cubicBezTo>
                              <a:cubicBezTo>
                                <a:pt x="121" y="34"/>
                                <a:pt x="120" y="33"/>
                                <a:pt x="120" y="32"/>
                              </a:cubicBezTo>
                              <a:cubicBezTo>
                                <a:pt x="121" y="30"/>
                                <a:pt x="123" y="29"/>
                                <a:pt x="123" y="27"/>
                              </a:cubicBezTo>
                              <a:cubicBezTo>
                                <a:pt x="124" y="25"/>
                                <a:pt x="124" y="23"/>
                                <a:pt x="123" y="21"/>
                              </a:cubicBezTo>
                              <a:cubicBezTo>
                                <a:pt x="122" y="19"/>
                                <a:pt x="119" y="20"/>
                                <a:pt x="118" y="18"/>
                              </a:cubicBezTo>
                              <a:cubicBezTo>
                                <a:pt x="118" y="17"/>
                                <a:pt x="120" y="17"/>
                                <a:pt x="122" y="17"/>
                              </a:cubicBezTo>
                              <a:cubicBezTo>
                                <a:pt x="125" y="17"/>
                                <a:pt x="127" y="20"/>
                                <a:pt x="130" y="20"/>
                              </a:cubicBezTo>
                              <a:cubicBezTo>
                                <a:pt x="132" y="21"/>
                                <a:pt x="133" y="20"/>
                                <a:pt x="134" y="20"/>
                              </a:cubicBezTo>
                              <a:cubicBezTo>
                                <a:pt x="137" y="21"/>
                                <a:pt x="139" y="22"/>
                                <a:pt x="141" y="22"/>
                              </a:cubicBezTo>
                              <a:cubicBezTo>
                                <a:pt x="142" y="21"/>
                                <a:pt x="141" y="19"/>
                                <a:pt x="143" y="18"/>
                              </a:cubicBezTo>
                              <a:cubicBezTo>
                                <a:pt x="147" y="17"/>
                                <a:pt x="152" y="18"/>
                                <a:pt x="156" y="17"/>
                              </a:cubicBezTo>
                              <a:cubicBezTo>
                                <a:pt x="158" y="16"/>
                                <a:pt x="158" y="14"/>
                                <a:pt x="160" y="13"/>
                              </a:cubicBezTo>
                              <a:cubicBezTo>
                                <a:pt x="162" y="12"/>
                                <a:pt x="164" y="13"/>
                                <a:pt x="165" y="12"/>
                              </a:cubicBezTo>
                              <a:cubicBezTo>
                                <a:pt x="166" y="11"/>
                                <a:pt x="167" y="9"/>
                                <a:pt x="167" y="7"/>
                              </a:cubicBezTo>
                              <a:cubicBezTo>
                                <a:pt x="168" y="5"/>
                                <a:pt x="167" y="2"/>
                                <a:pt x="167" y="1"/>
                              </a:cubicBezTo>
                              <a:cubicBezTo>
                                <a:pt x="170" y="1"/>
                                <a:pt x="172" y="0"/>
                                <a:pt x="174" y="1"/>
                              </a:cubicBezTo>
                              <a:cubicBezTo>
                                <a:pt x="176" y="1"/>
                                <a:pt x="175" y="4"/>
                                <a:pt x="175" y="5"/>
                              </a:cubicBezTo>
                              <a:cubicBezTo>
                                <a:pt x="175" y="6"/>
                                <a:pt x="173" y="7"/>
                                <a:pt x="173" y="8"/>
                              </a:cubicBezTo>
                              <a:cubicBezTo>
                                <a:pt x="173" y="9"/>
                                <a:pt x="173" y="11"/>
                                <a:pt x="174" y="11"/>
                              </a:cubicBezTo>
                              <a:cubicBezTo>
                                <a:pt x="176" y="12"/>
                                <a:pt x="178" y="10"/>
                                <a:pt x="180" y="11"/>
                              </a:cubicBezTo>
                              <a:cubicBezTo>
                                <a:pt x="181" y="12"/>
                                <a:pt x="179" y="15"/>
                                <a:pt x="180" y="17"/>
                              </a:cubicBezTo>
                              <a:cubicBezTo>
                                <a:pt x="181" y="18"/>
                                <a:pt x="184" y="17"/>
                                <a:pt x="184" y="19"/>
                              </a:cubicBezTo>
                              <a:cubicBezTo>
                                <a:pt x="182" y="21"/>
                                <a:pt x="177" y="21"/>
                                <a:pt x="176" y="24"/>
                              </a:cubicBezTo>
                              <a:cubicBezTo>
                                <a:pt x="176" y="28"/>
                                <a:pt x="176" y="34"/>
                                <a:pt x="176" y="38"/>
                              </a:cubicBezTo>
                              <a:cubicBezTo>
                                <a:pt x="176" y="40"/>
                                <a:pt x="179" y="40"/>
                                <a:pt x="179" y="41"/>
                              </a:cubicBezTo>
                              <a:cubicBezTo>
                                <a:pt x="180" y="42"/>
                                <a:pt x="179" y="45"/>
                                <a:pt x="179" y="46"/>
                              </a:cubicBezTo>
                              <a:cubicBezTo>
                                <a:pt x="179" y="48"/>
                                <a:pt x="180" y="49"/>
                                <a:pt x="181" y="49"/>
                              </a:cubicBezTo>
                              <a:cubicBezTo>
                                <a:pt x="182" y="51"/>
                                <a:pt x="185" y="51"/>
                                <a:pt x="187" y="52"/>
                              </a:cubicBezTo>
                              <a:cubicBezTo>
                                <a:pt x="188" y="53"/>
                                <a:pt x="186" y="55"/>
                                <a:pt x="187" y="56"/>
                              </a:cubicBezTo>
                              <a:cubicBezTo>
                                <a:pt x="188" y="57"/>
                                <a:pt x="189" y="59"/>
                                <a:pt x="191" y="59"/>
                              </a:cubicBezTo>
                              <a:cubicBezTo>
                                <a:pt x="192" y="60"/>
                                <a:pt x="194" y="61"/>
                                <a:pt x="195" y="60"/>
                              </a:cubicBezTo>
                              <a:cubicBezTo>
                                <a:pt x="196" y="59"/>
                                <a:pt x="194" y="57"/>
                                <a:pt x="194" y="56"/>
                              </a:cubicBezTo>
                              <a:cubicBezTo>
                                <a:pt x="195" y="54"/>
                                <a:pt x="197" y="53"/>
                                <a:pt x="199" y="52"/>
                              </a:cubicBezTo>
                              <a:cubicBezTo>
                                <a:pt x="200" y="52"/>
                                <a:pt x="201" y="54"/>
                                <a:pt x="202" y="54"/>
                              </a:cubicBezTo>
                              <a:cubicBezTo>
                                <a:pt x="203" y="53"/>
                                <a:pt x="202" y="50"/>
                                <a:pt x="204" y="49"/>
                              </a:cubicBezTo>
                              <a:cubicBezTo>
                                <a:pt x="205" y="49"/>
                                <a:pt x="206" y="50"/>
                                <a:pt x="208" y="49"/>
                              </a:cubicBezTo>
                              <a:cubicBezTo>
                                <a:pt x="209" y="49"/>
                                <a:pt x="209" y="47"/>
                                <a:pt x="210" y="47"/>
                              </a:cubicBezTo>
                              <a:cubicBezTo>
                                <a:pt x="212" y="47"/>
                                <a:pt x="213" y="48"/>
                                <a:pt x="214" y="48"/>
                              </a:cubicBezTo>
                              <a:cubicBezTo>
                                <a:pt x="216" y="49"/>
                                <a:pt x="218" y="48"/>
                                <a:pt x="220" y="48"/>
                              </a:cubicBezTo>
                              <a:cubicBezTo>
                                <a:pt x="221" y="48"/>
                                <a:pt x="224" y="48"/>
                                <a:pt x="225" y="48"/>
                              </a:cubicBezTo>
                              <a:cubicBezTo>
                                <a:pt x="227" y="48"/>
                                <a:pt x="229" y="47"/>
                                <a:pt x="229" y="46"/>
                              </a:cubicBezTo>
                              <a:cubicBezTo>
                                <a:pt x="229" y="44"/>
                                <a:pt x="225" y="45"/>
                                <a:pt x="225" y="43"/>
                              </a:cubicBezTo>
                              <a:cubicBezTo>
                                <a:pt x="225" y="41"/>
                                <a:pt x="227" y="39"/>
                                <a:pt x="229" y="38"/>
                              </a:cubicBezTo>
                              <a:cubicBezTo>
                                <a:pt x="231" y="38"/>
                                <a:pt x="232" y="40"/>
                                <a:pt x="234" y="40"/>
                              </a:cubicBezTo>
                              <a:cubicBezTo>
                                <a:pt x="235" y="40"/>
                                <a:pt x="237" y="39"/>
                                <a:pt x="238" y="39"/>
                              </a:cubicBezTo>
                              <a:cubicBezTo>
                                <a:pt x="239" y="39"/>
                                <a:pt x="240" y="37"/>
                                <a:pt x="240" y="38"/>
                              </a:cubicBezTo>
                              <a:cubicBezTo>
                                <a:pt x="242" y="38"/>
                                <a:pt x="242" y="40"/>
                                <a:pt x="242" y="41"/>
                              </a:cubicBezTo>
                              <a:cubicBezTo>
                                <a:pt x="244" y="43"/>
                                <a:pt x="245" y="44"/>
                                <a:pt x="247" y="45"/>
                              </a:cubicBezTo>
                              <a:cubicBezTo>
                                <a:pt x="249" y="46"/>
                                <a:pt x="251" y="46"/>
                                <a:pt x="252" y="45"/>
                              </a:cubicBezTo>
                              <a:cubicBezTo>
                                <a:pt x="253" y="45"/>
                                <a:pt x="254" y="43"/>
                                <a:pt x="255" y="43"/>
                              </a:cubicBezTo>
                              <a:cubicBezTo>
                                <a:pt x="257" y="42"/>
                                <a:pt x="258" y="42"/>
                                <a:pt x="259" y="43"/>
                              </a:cubicBezTo>
                              <a:cubicBezTo>
                                <a:pt x="260" y="43"/>
                                <a:pt x="260" y="45"/>
                                <a:pt x="261" y="45"/>
                              </a:cubicBezTo>
                              <a:cubicBezTo>
                                <a:pt x="262" y="46"/>
                                <a:pt x="265" y="46"/>
                                <a:pt x="267" y="45"/>
                              </a:cubicBezTo>
                              <a:cubicBezTo>
                                <a:pt x="269" y="44"/>
                                <a:pt x="270" y="41"/>
                                <a:pt x="270" y="39"/>
                              </a:cubicBezTo>
                              <a:cubicBezTo>
                                <a:pt x="271" y="36"/>
                                <a:pt x="271" y="33"/>
                                <a:pt x="272" y="29"/>
                              </a:cubicBezTo>
                              <a:cubicBezTo>
                                <a:pt x="273" y="27"/>
                                <a:pt x="275" y="24"/>
                                <a:pt x="277" y="22"/>
                              </a:cubicBezTo>
                              <a:cubicBezTo>
                                <a:pt x="279" y="20"/>
                                <a:pt x="281" y="19"/>
                                <a:pt x="284" y="17"/>
                              </a:cubicBezTo>
                              <a:cubicBezTo>
                                <a:pt x="285" y="16"/>
                                <a:pt x="284" y="15"/>
                                <a:pt x="285" y="15"/>
                              </a:cubicBezTo>
                              <a:cubicBezTo>
                                <a:pt x="287" y="15"/>
                                <a:pt x="288" y="17"/>
                                <a:pt x="288" y="18"/>
                              </a:cubicBezTo>
                              <a:cubicBezTo>
                                <a:pt x="289" y="21"/>
                                <a:pt x="287" y="24"/>
                                <a:pt x="288" y="27"/>
                              </a:cubicBezTo>
                              <a:cubicBezTo>
                                <a:pt x="289" y="29"/>
                                <a:pt x="290" y="30"/>
                                <a:pt x="291" y="32"/>
                              </a:cubicBezTo>
                              <a:cubicBezTo>
                                <a:pt x="293" y="36"/>
                                <a:pt x="294" y="41"/>
                                <a:pt x="295" y="45"/>
                              </a:cubicBezTo>
                              <a:cubicBezTo>
                                <a:pt x="296" y="47"/>
                                <a:pt x="295" y="49"/>
                                <a:pt x="296" y="51"/>
                              </a:cubicBezTo>
                              <a:cubicBezTo>
                                <a:pt x="297" y="52"/>
                                <a:pt x="300" y="50"/>
                                <a:pt x="301" y="51"/>
                              </a:cubicBezTo>
                              <a:cubicBezTo>
                                <a:pt x="302" y="52"/>
                                <a:pt x="297" y="53"/>
                                <a:pt x="298" y="54"/>
                              </a:cubicBezTo>
                              <a:cubicBezTo>
                                <a:pt x="299" y="55"/>
                                <a:pt x="302" y="54"/>
                                <a:pt x="303" y="56"/>
                              </a:cubicBezTo>
                              <a:cubicBezTo>
                                <a:pt x="303" y="57"/>
                                <a:pt x="299" y="55"/>
                                <a:pt x="299" y="56"/>
                              </a:cubicBezTo>
                              <a:cubicBezTo>
                                <a:pt x="299" y="58"/>
                                <a:pt x="302" y="58"/>
                                <a:pt x="302" y="59"/>
                              </a:cubicBezTo>
                              <a:cubicBezTo>
                                <a:pt x="302" y="61"/>
                                <a:pt x="300" y="62"/>
                                <a:pt x="299" y="64"/>
                              </a:cubicBezTo>
                              <a:cubicBezTo>
                                <a:pt x="297" y="66"/>
                                <a:pt x="296" y="68"/>
                                <a:pt x="294" y="70"/>
                              </a:cubicBezTo>
                              <a:cubicBezTo>
                                <a:pt x="293" y="72"/>
                                <a:pt x="291" y="73"/>
                                <a:pt x="290" y="74"/>
                              </a:cubicBezTo>
                              <a:cubicBezTo>
                                <a:pt x="288" y="76"/>
                                <a:pt x="287" y="78"/>
                                <a:pt x="285" y="80"/>
                              </a:cubicBezTo>
                              <a:cubicBezTo>
                                <a:pt x="284" y="83"/>
                                <a:pt x="283" y="87"/>
                                <a:pt x="281" y="90"/>
                              </a:cubicBezTo>
                              <a:cubicBezTo>
                                <a:pt x="279" y="92"/>
                                <a:pt x="278" y="94"/>
                                <a:pt x="275" y="95"/>
                              </a:cubicBezTo>
                              <a:cubicBezTo>
                                <a:pt x="272" y="97"/>
                                <a:pt x="268" y="98"/>
                                <a:pt x="264" y="99"/>
                              </a:cubicBezTo>
                              <a:cubicBezTo>
                                <a:pt x="262" y="100"/>
                                <a:pt x="260" y="101"/>
                                <a:pt x="258" y="101"/>
                              </a:cubicBezTo>
                              <a:cubicBezTo>
                                <a:pt x="260" y="102"/>
                                <a:pt x="263" y="103"/>
                                <a:pt x="265" y="103"/>
                              </a:cubicBezTo>
                              <a:cubicBezTo>
                                <a:pt x="268" y="102"/>
                                <a:pt x="270" y="100"/>
                                <a:pt x="273" y="99"/>
                              </a:cubicBezTo>
                              <a:cubicBezTo>
                                <a:pt x="273" y="98"/>
                                <a:pt x="275" y="98"/>
                                <a:pt x="275" y="99"/>
                              </a:cubicBezTo>
                              <a:cubicBezTo>
                                <a:pt x="275" y="102"/>
                                <a:pt x="273" y="105"/>
                                <a:pt x="274" y="108"/>
                              </a:cubicBezTo>
                              <a:cubicBezTo>
                                <a:pt x="274" y="111"/>
                                <a:pt x="277" y="112"/>
                                <a:pt x="279" y="115"/>
                              </a:cubicBezTo>
                              <a:cubicBezTo>
                                <a:pt x="278" y="113"/>
                                <a:pt x="277" y="111"/>
                                <a:pt x="277" y="109"/>
                              </a:cubicBezTo>
                              <a:cubicBezTo>
                                <a:pt x="276" y="106"/>
                                <a:pt x="276" y="103"/>
                                <a:pt x="277" y="100"/>
                              </a:cubicBezTo>
                              <a:cubicBezTo>
                                <a:pt x="278" y="99"/>
                                <a:pt x="281" y="99"/>
                                <a:pt x="282" y="98"/>
                              </a:cubicBezTo>
                              <a:cubicBezTo>
                                <a:pt x="284" y="96"/>
                                <a:pt x="286" y="94"/>
                                <a:pt x="288" y="92"/>
                              </a:cubicBezTo>
                              <a:cubicBezTo>
                                <a:pt x="289" y="90"/>
                                <a:pt x="289" y="87"/>
                                <a:pt x="291" y="85"/>
                              </a:cubicBezTo>
                              <a:cubicBezTo>
                                <a:pt x="292" y="84"/>
                                <a:pt x="295" y="86"/>
                                <a:pt x="296" y="85"/>
                              </a:cubicBezTo>
                              <a:cubicBezTo>
                                <a:pt x="296" y="84"/>
                                <a:pt x="295" y="83"/>
                                <a:pt x="295" y="82"/>
                              </a:cubicBezTo>
                              <a:cubicBezTo>
                                <a:pt x="295" y="80"/>
                                <a:pt x="296" y="79"/>
                                <a:pt x="297" y="78"/>
                              </a:cubicBezTo>
                              <a:cubicBezTo>
                                <a:pt x="299" y="78"/>
                                <a:pt x="301" y="78"/>
                                <a:pt x="302" y="78"/>
                              </a:cubicBezTo>
                              <a:cubicBezTo>
                                <a:pt x="304" y="79"/>
                                <a:pt x="304" y="81"/>
                                <a:pt x="306" y="81"/>
                              </a:cubicBezTo>
                              <a:cubicBezTo>
                                <a:pt x="310" y="81"/>
                                <a:pt x="314" y="79"/>
                                <a:pt x="318" y="79"/>
                              </a:cubicBezTo>
                              <a:cubicBezTo>
                                <a:pt x="319" y="79"/>
                                <a:pt x="321" y="78"/>
                                <a:pt x="321" y="79"/>
                              </a:cubicBezTo>
                              <a:cubicBezTo>
                                <a:pt x="321" y="83"/>
                                <a:pt x="320" y="87"/>
                                <a:pt x="319" y="90"/>
                              </a:cubicBezTo>
                              <a:cubicBezTo>
                                <a:pt x="318" y="93"/>
                                <a:pt x="318" y="95"/>
                                <a:pt x="317" y="97"/>
                              </a:cubicBezTo>
                              <a:cubicBezTo>
                                <a:pt x="316" y="99"/>
                                <a:pt x="314" y="100"/>
                                <a:pt x="313" y="100"/>
                              </a:cubicBezTo>
                              <a:cubicBezTo>
                                <a:pt x="307" y="101"/>
                                <a:pt x="301" y="99"/>
                                <a:pt x="296" y="100"/>
                              </a:cubicBezTo>
                              <a:cubicBezTo>
                                <a:pt x="294" y="101"/>
                                <a:pt x="292" y="103"/>
                                <a:pt x="291" y="104"/>
                              </a:cubicBezTo>
                              <a:cubicBezTo>
                                <a:pt x="294" y="104"/>
                                <a:pt x="298" y="103"/>
                                <a:pt x="302" y="103"/>
                              </a:cubicBezTo>
                              <a:cubicBezTo>
                                <a:pt x="305" y="103"/>
                                <a:pt x="307" y="102"/>
                                <a:pt x="310" y="102"/>
                              </a:cubicBezTo>
                              <a:cubicBezTo>
                                <a:pt x="310" y="105"/>
                                <a:pt x="309" y="108"/>
                                <a:pt x="308" y="111"/>
                              </a:cubicBezTo>
                              <a:cubicBezTo>
                                <a:pt x="308" y="113"/>
                                <a:pt x="305" y="114"/>
                                <a:pt x="305" y="117"/>
                              </a:cubicBezTo>
                              <a:cubicBezTo>
                                <a:pt x="304" y="120"/>
                                <a:pt x="306" y="123"/>
                                <a:pt x="307" y="126"/>
                              </a:cubicBezTo>
                              <a:cubicBezTo>
                                <a:pt x="307" y="123"/>
                                <a:pt x="307" y="121"/>
                                <a:pt x="308" y="118"/>
                              </a:cubicBezTo>
                              <a:cubicBezTo>
                                <a:pt x="308" y="117"/>
                                <a:pt x="309" y="115"/>
                                <a:pt x="309" y="114"/>
                              </a:cubicBezTo>
                              <a:cubicBezTo>
                                <a:pt x="311" y="110"/>
                                <a:pt x="312" y="106"/>
                                <a:pt x="314" y="102"/>
                              </a:cubicBezTo>
                              <a:cubicBezTo>
                                <a:pt x="315" y="100"/>
                                <a:pt x="318" y="100"/>
                                <a:pt x="320" y="98"/>
                              </a:cubicBezTo>
                              <a:cubicBezTo>
                                <a:pt x="321" y="97"/>
                                <a:pt x="323" y="95"/>
                                <a:pt x="324" y="93"/>
                              </a:cubicBezTo>
                              <a:cubicBezTo>
                                <a:pt x="325" y="90"/>
                                <a:pt x="324" y="87"/>
                                <a:pt x="326" y="85"/>
                              </a:cubicBezTo>
                              <a:cubicBezTo>
                                <a:pt x="328" y="83"/>
                                <a:pt x="330" y="85"/>
                                <a:pt x="332" y="85"/>
                              </a:cubicBezTo>
                              <a:cubicBezTo>
                                <a:pt x="335" y="85"/>
                                <a:pt x="338" y="84"/>
                                <a:pt x="340" y="85"/>
                              </a:cubicBezTo>
                              <a:cubicBezTo>
                                <a:pt x="343" y="86"/>
                                <a:pt x="345" y="89"/>
                                <a:pt x="347" y="90"/>
                              </a:cubicBezTo>
                              <a:cubicBezTo>
                                <a:pt x="352" y="92"/>
                                <a:pt x="357" y="92"/>
                                <a:pt x="361" y="94"/>
                              </a:cubicBezTo>
                              <a:cubicBezTo>
                                <a:pt x="362" y="94"/>
                                <a:pt x="360" y="97"/>
                                <a:pt x="361" y="97"/>
                              </a:cubicBezTo>
                              <a:cubicBezTo>
                                <a:pt x="362" y="98"/>
                                <a:pt x="363" y="95"/>
                                <a:pt x="364" y="95"/>
                              </a:cubicBezTo>
                              <a:cubicBezTo>
                                <a:pt x="365" y="95"/>
                                <a:pt x="366" y="96"/>
                                <a:pt x="367" y="97"/>
                              </a:cubicBezTo>
                              <a:cubicBezTo>
                                <a:pt x="369" y="98"/>
                                <a:pt x="370" y="99"/>
                                <a:pt x="371" y="100"/>
                              </a:cubicBezTo>
                              <a:cubicBezTo>
                                <a:pt x="372" y="102"/>
                                <a:pt x="373" y="105"/>
                                <a:pt x="373" y="107"/>
                              </a:cubicBezTo>
                              <a:cubicBezTo>
                                <a:pt x="373" y="109"/>
                                <a:pt x="371" y="112"/>
                                <a:pt x="372" y="114"/>
                              </a:cubicBezTo>
                              <a:cubicBezTo>
                                <a:pt x="372" y="115"/>
                                <a:pt x="375" y="116"/>
                                <a:pt x="376" y="115"/>
                              </a:cubicBezTo>
                              <a:cubicBezTo>
                                <a:pt x="379" y="114"/>
                                <a:pt x="381" y="111"/>
                                <a:pt x="384" y="110"/>
                              </a:cubicBezTo>
                              <a:cubicBezTo>
                                <a:pt x="386" y="109"/>
                                <a:pt x="389" y="110"/>
                                <a:pt x="391" y="110"/>
                              </a:cubicBezTo>
                              <a:cubicBezTo>
                                <a:pt x="392" y="110"/>
                                <a:pt x="394" y="111"/>
                                <a:pt x="396" y="111"/>
                              </a:cubicBezTo>
                              <a:cubicBezTo>
                                <a:pt x="400" y="112"/>
                                <a:pt x="405" y="113"/>
                                <a:pt x="410" y="114"/>
                              </a:cubicBezTo>
                              <a:cubicBezTo>
                                <a:pt x="414" y="114"/>
                                <a:pt x="419" y="113"/>
                                <a:pt x="423" y="114"/>
                              </a:cubicBezTo>
                              <a:cubicBezTo>
                                <a:pt x="427" y="114"/>
                                <a:pt x="431" y="115"/>
                                <a:pt x="435" y="117"/>
                              </a:cubicBezTo>
                              <a:cubicBezTo>
                                <a:pt x="440" y="120"/>
                                <a:pt x="444" y="124"/>
                                <a:pt x="448" y="128"/>
                              </a:cubicBezTo>
                              <a:cubicBezTo>
                                <a:pt x="451" y="130"/>
                                <a:pt x="451" y="134"/>
                                <a:pt x="453" y="137"/>
                              </a:cubicBezTo>
                              <a:cubicBezTo>
                                <a:pt x="455" y="138"/>
                                <a:pt x="457" y="137"/>
                                <a:pt x="459" y="138"/>
                              </a:cubicBezTo>
                              <a:cubicBezTo>
                                <a:pt x="460" y="139"/>
                                <a:pt x="460" y="141"/>
                                <a:pt x="462" y="143"/>
                              </a:cubicBezTo>
                              <a:cubicBezTo>
                                <a:pt x="463" y="144"/>
                                <a:pt x="465" y="144"/>
                                <a:pt x="466" y="145"/>
                              </a:cubicBezTo>
                              <a:cubicBezTo>
                                <a:pt x="468" y="146"/>
                                <a:pt x="470" y="148"/>
                                <a:pt x="472" y="148"/>
                              </a:cubicBezTo>
                              <a:cubicBezTo>
                                <a:pt x="476" y="149"/>
                                <a:pt x="481" y="146"/>
                                <a:pt x="485" y="147"/>
                              </a:cubicBezTo>
                              <a:cubicBezTo>
                                <a:pt x="488" y="149"/>
                                <a:pt x="489" y="153"/>
                                <a:pt x="490" y="156"/>
                              </a:cubicBezTo>
                              <a:cubicBezTo>
                                <a:pt x="491" y="158"/>
                                <a:pt x="490" y="160"/>
                                <a:pt x="490" y="162"/>
                              </a:cubicBezTo>
                              <a:cubicBezTo>
                                <a:pt x="491" y="167"/>
                                <a:pt x="494" y="172"/>
                                <a:pt x="494" y="177"/>
                              </a:cubicBezTo>
                              <a:cubicBezTo>
                                <a:pt x="495" y="181"/>
                                <a:pt x="495" y="185"/>
                                <a:pt x="494" y="188"/>
                              </a:cubicBezTo>
                              <a:cubicBezTo>
                                <a:pt x="494" y="192"/>
                                <a:pt x="494" y="196"/>
                                <a:pt x="492" y="200"/>
                              </a:cubicBezTo>
                              <a:cubicBezTo>
                                <a:pt x="490" y="204"/>
                                <a:pt x="485" y="207"/>
                                <a:pt x="483" y="212"/>
                              </a:cubicBezTo>
                              <a:cubicBezTo>
                                <a:pt x="481" y="216"/>
                                <a:pt x="481" y="221"/>
                                <a:pt x="478" y="224"/>
                              </a:cubicBezTo>
                              <a:cubicBezTo>
                                <a:pt x="476" y="228"/>
                                <a:pt x="470" y="230"/>
                                <a:pt x="467" y="234"/>
                              </a:cubicBezTo>
                              <a:cubicBezTo>
                                <a:pt x="464" y="238"/>
                                <a:pt x="463" y="243"/>
                                <a:pt x="461" y="247"/>
                              </a:cubicBezTo>
                              <a:cubicBezTo>
                                <a:pt x="459" y="251"/>
                                <a:pt x="458" y="256"/>
                                <a:pt x="454" y="260"/>
                              </a:cubicBezTo>
                              <a:cubicBezTo>
                                <a:pt x="453" y="261"/>
                                <a:pt x="449" y="258"/>
                                <a:pt x="448" y="260"/>
                              </a:cubicBezTo>
                              <a:cubicBezTo>
                                <a:pt x="446" y="263"/>
                                <a:pt x="447" y="267"/>
                                <a:pt x="446" y="271"/>
                              </a:cubicBezTo>
                              <a:cubicBezTo>
                                <a:pt x="445" y="273"/>
                                <a:pt x="443" y="275"/>
                                <a:pt x="443" y="277"/>
                              </a:cubicBezTo>
                              <a:cubicBezTo>
                                <a:pt x="443" y="278"/>
                                <a:pt x="446" y="279"/>
                                <a:pt x="446" y="281"/>
                              </a:cubicBezTo>
                              <a:cubicBezTo>
                                <a:pt x="447" y="284"/>
                                <a:pt x="445" y="287"/>
                                <a:pt x="445" y="291"/>
                              </a:cubicBezTo>
                              <a:cubicBezTo>
                                <a:pt x="445" y="296"/>
                                <a:pt x="448" y="300"/>
                                <a:pt x="447" y="305"/>
                              </a:cubicBezTo>
                              <a:cubicBezTo>
                                <a:pt x="447" y="313"/>
                                <a:pt x="443" y="320"/>
                                <a:pt x="443" y="328"/>
                              </a:cubicBezTo>
                              <a:cubicBezTo>
                                <a:pt x="442" y="330"/>
                                <a:pt x="445" y="332"/>
                                <a:pt x="444" y="334"/>
                              </a:cubicBezTo>
                              <a:cubicBezTo>
                                <a:pt x="444" y="336"/>
                                <a:pt x="441" y="337"/>
                                <a:pt x="441" y="339"/>
                              </a:cubicBezTo>
                              <a:cubicBezTo>
                                <a:pt x="440" y="344"/>
                                <a:pt x="441" y="350"/>
                                <a:pt x="440" y="356"/>
                              </a:cubicBezTo>
                              <a:cubicBezTo>
                                <a:pt x="439" y="359"/>
                                <a:pt x="436" y="362"/>
                                <a:pt x="435" y="365"/>
                              </a:cubicBezTo>
                              <a:cubicBezTo>
                                <a:pt x="433" y="368"/>
                                <a:pt x="431" y="371"/>
                                <a:pt x="430" y="375"/>
                              </a:cubicBezTo>
                              <a:cubicBezTo>
                                <a:pt x="428" y="378"/>
                                <a:pt x="426" y="381"/>
                                <a:pt x="424" y="385"/>
                              </a:cubicBezTo>
                              <a:cubicBezTo>
                                <a:pt x="423" y="387"/>
                                <a:pt x="422" y="389"/>
                                <a:pt x="422" y="391"/>
                              </a:cubicBezTo>
                              <a:cubicBezTo>
                                <a:pt x="422" y="394"/>
                                <a:pt x="424" y="397"/>
                                <a:pt x="422" y="399"/>
                              </a:cubicBezTo>
                              <a:cubicBezTo>
                                <a:pt x="420" y="402"/>
                                <a:pt x="415" y="403"/>
                                <a:pt x="412" y="406"/>
                              </a:cubicBezTo>
                              <a:cubicBezTo>
                                <a:pt x="410" y="407"/>
                                <a:pt x="411" y="411"/>
                                <a:pt x="409" y="412"/>
                              </a:cubicBezTo>
                              <a:cubicBezTo>
                                <a:pt x="407" y="413"/>
                                <a:pt x="404" y="413"/>
                                <a:pt x="401" y="412"/>
                              </a:cubicBezTo>
                              <a:cubicBezTo>
                                <a:pt x="400" y="412"/>
                                <a:pt x="399" y="409"/>
                                <a:pt x="397" y="409"/>
                              </a:cubicBezTo>
                              <a:cubicBezTo>
                                <a:pt x="396" y="409"/>
                                <a:pt x="397" y="412"/>
                                <a:pt x="396" y="412"/>
                              </a:cubicBezTo>
                              <a:cubicBezTo>
                                <a:pt x="394" y="414"/>
                                <a:pt x="391" y="415"/>
                                <a:pt x="388" y="415"/>
                              </a:cubicBezTo>
                              <a:cubicBezTo>
                                <a:pt x="386" y="415"/>
                                <a:pt x="384" y="412"/>
                                <a:pt x="382" y="412"/>
                              </a:cubicBezTo>
                              <a:cubicBezTo>
                                <a:pt x="380" y="412"/>
                                <a:pt x="379" y="413"/>
                                <a:pt x="378" y="414"/>
                              </a:cubicBezTo>
                              <a:cubicBezTo>
                                <a:pt x="375" y="416"/>
                                <a:pt x="374" y="419"/>
                                <a:pt x="372" y="421"/>
                              </a:cubicBezTo>
                              <a:cubicBezTo>
                                <a:pt x="371" y="422"/>
                                <a:pt x="369" y="424"/>
                                <a:pt x="367" y="425"/>
                              </a:cubicBezTo>
                              <a:cubicBezTo>
                                <a:pt x="364" y="426"/>
                                <a:pt x="360" y="425"/>
                                <a:pt x="358" y="426"/>
                              </a:cubicBezTo>
                              <a:cubicBezTo>
                                <a:pt x="352" y="429"/>
                                <a:pt x="348" y="435"/>
                                <a:pt x="343" y="439"/>
                              </a:cubicBezTo>
                              <a:cubicBezTo>
                                <a:pt x="341" y="441"/>
                                <a:pt x="339" y="443"/>
                                <a:pt x="338" y="445"/>
                              </a:cubicBezTo>
                              <a:cubicBezTo>
                                <a:pt x="335" y="448"/>
                                <a:pt x="332" y="451"/>
                                <a:pt x="331" y="455"/>
                              </a:cubicBezTo>
                              <a:cubicBezTo>
                                <a:pt x="330" y="457"/>
                                <a:pt x="331" y="460"/>
                                <a:pt x="331" y="463"/>
                              </a:cubicBezTo>
                              <a:cubicBezTo>
                                <a:pt x="331" y="464"/>
                                <a:pt x="329" y="465"/>
                                <a:pt x="329" y="466"/>
                              </a:cubicBezTo>
                              <a:cubicBezTo>
                                <a:pt x="330" y="469"/>
                                <a:pt x="333" y="472"/>
                                <a:pt x="334" y="476"/>
                              </a:cubicBezTo>
                              <a:cubicBezTo>
                                <a:pt x="334" y="482"/>
                                <a:pt x="334" y="488"/>
                                <a:pt x="332" y="494"/>
                              </a:cubicBezTo>
                              <a:cubicBezTo>
                                <a:pt x="332" y="495"/>
                                <a:pt x="329" y="494"/>
                                <a:pt x="329" y="495"/>
                              </a:cubicBezTo>
                              <a:cubicBezTo>
                                <a:pt x="329" y="497"/>
                                <a:pt x="332" y="498"/>
                                <a:pt x="331" y="499"/>
                              </a:cubicBezTo>
                              <a:cubicBezTo>
                                <a:pt x="329" y="502"/>
                                <a:pt x="323" y="504"/>
                                <a:pt x="321" y="507"/>
                              </a:cubicBezTo>
                              <a:cubicBezTo>
                                <a:pt x="317" y="513"/>
                                <a:pt x="315" y="521"/>
                                <a:pt x="312" y="528"/>
                              </a:cubicBezTo>
                              <a:cubicBezTo>
                                <a:pt x="311" y="532"/>
                                <a:pt x="310" y="537"/>
                                <a:pt x="307" y="541"/>
                              </a:cubicBezTo>
                              <a:cubicBezTo>
                                <a:pt x="304" y="545"/>
                                <a:pt x="300" y="548"/>
                                <a:pt x="296" y="551"/>
                              </a:cubicBezTo>
                              <a:cubicBezTo>
                                <a:pt x="295" y="552"/>
                                <a:pt x="293" y="550"/>
                                <a:pt x="293" y="549"/>
                              </a:cubicBezTo>
                              <a:cubicBezTo>
                                <a:pt x="294" y="547"/>
                                <a:pt x="296" y="548"/>
                                <a:pt x="298" y="547"/>
                              </a:cubicBezTo>
                              <a:cubicBezTo>
                                <a:pt x="300" y="545"/>
                                <a:pt x="302" y="544"/>
                                <a:pt x="303" y="541"/>
                              </a:cubicBezTo>
                              <a:cubicBezTo>
                                <a:pt x="304" y="540"/>
                                <a:pt x="302" y="538"/>
                                <a:pt x="303" y="537"/>
                              </a:cubicBezTo>
                              <a:cubicBezTo>
                                <a:pt x="304" y="536"/>
                                <a:pt x="306" y="537"/>
                                <a:pt x="306" y="536"/>
                              </a:cubicBezTo>
                              <a:cubicBezTo>
                                <a:pt x="308" y="533"/>
                                <a:pt x="310" y="529"/>
                                <a:pt x="310" y="525"/>
                              </a:cubicBezTo>
                              <a:cubicBezTo>
                                <a:pt x="309" y="523"/>
                                <a:pt x="307" y="527"/>
                                <a:pt x="305" y="526"/>
                              </a:cubicBezTo>
                              <a:cubicBezTo>
                                <a:pt x="303" y="525"/>
                                <a:pt x="303" y="521"/>
                                <a:pt x="301" y="520"/>
                              </a:cubicBezTo>
                              <a:cubicBezTo>
                                <a:pt x="299" y="520"/>
                                <a:pt x="299" y="523"/>
                                <a:pt x="300" y="525"/>
                              </a:cubicBezTo>
                              <a:cubicBezTo>
                                <a:pt x="300" y="526"/>
                                <a:pt x="303" y="527"/>
                                <a:pt x="303" y="528"/>
                              </a:cubicBezTo>
                              <a:cubicBezTo>
                                <a:pt x="302" y="533"/>
                                <a:pt x="297" y="536"/>
                                <a:pt x="295" y="540"/>
                              </a:cubicBezTo>
                              <a:cubicBezTo>
                                <a:pt x="294" y="543"/>
                                <a:pt x="292" y="546"/>
                                <a:pt x="291" y="549"/>
                              </a:cubicBezTo>
                              <a:cubicBezTo>
                                <a:pt x="291" y="550"/>
                                <a:pt x="294" y="551"/>
                                <a:pt x="293" y="553"/>
                              </a:cubicBezTo>
                              <a:cubicBezTo>
                                <a:pt x="293" y="556"/>
                                <a:pt x="290" y="559"/>
                                <a:pt x="289" y="562"/>
                              </a:cubicBezTo>
                              <a:cubicBezTo>
                                <a:pt x="287" y="565"/>
                                <a:pt x="287" y="568"/>
                                <a:pt x="285" y="571"/>
                              </a:cubicBezTo>
                              <a:cubicBezTo>
                                <a:pt x="284" y="573"/>
                                <a:pt x="282" y="576"/>
                                <a:pt x="281" y="578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18" name="Freeform 2529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295536" y="3367305"/>
                          <a:ext cx="88361" cy="78083"/>
                        </a:xfrm>
                        <a:custGeom>
                          <a:avLst/>
                          <a:gdLst>
                            <a:gd name="T0" fmla="*/ 74 w 66"/>
                            <a:gd name="T1" fmla="*/ 68 h 79"/>
                            <a:gd name="T2" fmla="*/ 79 w 66"/>
                            <a:gd name="T3" fmla="*/ 71 h 79"/>
                            <a:gd name="T4" fmla="*/ 74 w 66"/>
                            <a:gd name="T5" fmla="*/ 79 h 79"/>
                            <a:gd name="T6" fmla="*/ 71 w 66"/>
                            <a:gd name="T7" fmla="*/ 83 h 79"/>
                            <a:gd name="T8" fmla="*/ 55 w 66"/>
                            <a:gd name="T9" fmla="*/ 93 h 79"/>
                            <a:gd name="T10" fmla="*/ 32 w 66"/>
                            <a:gd name="T11" fmla="*/ 93 h 79"/>
                            <a:gd name="T12" fmla="*/ 12 w 66"/>
                            <a:gd name="T13" fmla="*/ 86 h 79"/>
                            <a:gd name="T14" fmla="*/ 2 w 66"/>
                            <a:gd name="T15" fmla="*/ 79 h 79"/>
                            <a:gd name="T16" fmla="*/ 2 w 66"/>
                            <a:gd name="T17" fmla="*/ 64 h 79"/>
                            <a:gd name="T18" fmla="*/ 5 w 66"/>
                            <a:gd name="T19" fmla="*/ 55 h 79"/>
                            <a:gd name="T20" fmla="*/ 4 w 66"/>
                            <a:gd name="T21" fmla="*/ 49 h 79"/>
                            <a:gd name="T22" fmla="*/ 6 w 66"/>
                            <a:gd name="T23" fmla="*/ 45 h 79"/>
                            <a:gd name="T24" fmla="*/ 2 w 66"/>
                            <a:gd name="T25" fmla="*/ 37 h 79"/>
                            <a:gd name="T26" fmla="*/ 7 w 66"/>
                            <a:gd name="T27" fmla="*/ 29 h 79"/>
                            <a:gd name="T28" fmla="*/ 7 w 66"/>
                            <a:gd name="T29" fmla="*/ 13 h 79"/>
                            <a:gd name="T30" fmla="*/ 11 w 66"/>
                            <a:gd name="T31" fmla="*/ 6 h 79"/>
                            <a:gd name="T32" fmla="*/ 23 w 66"/>
                            <a:gd name="T33" fmla="*/ 2 h 79"/>
                            <a:gd name="T34" fmla="*/ 34 w 66"/>
                            <a:gd name="T35" fmla="*/ 21 h 79"/>
                            <a:gd name="T36" fmla="*/ 37 w 66"/>
                            <a:gd name="T37" fmla="*/ 19 h 79"/>
                            <a:gd name="T38" fmla="*/ 38 w 66"/>
                            <a:gd name="T39" fmla="*/ 17 h 79"/>
                            <a:gd name="T40" fmla="*/ 45 w 66"/>
                            <a:gd name="T41" fmla="*/ 25 h 79"/>
                            <a:gd name="T42" fmla="*/ 59 w 66"/>
                            <a:gd name="T43" fmla="*/ 30 h 79"/>
                            <a:gd name="T44" fmla="*/ 71 w 66"/>
                            <a:gd name="T45" fmla="*/ 42 h 79"/>
                            <a:gd name="T46" fmla="*/ 73 w 66"/>
                            <a:gd name="T47" fmla="*/ 46 h 79"/>
                            <a:gd name="T48" fmla="*/ 77 w 66"/>
                            <a:gd name="T49" fmla="*/ 49 h 79"/>
                            <a:gd name="T50" fmla="*/ 74 w 66"/>
                            <a:gd name="T51" fmla="*/ 57 h 79"/>
                            <a:gd name="T52" fmla="*/ 72 w 66"/>
                            <a:gd name="T53" fmla="*/ 61 h 79"/>
                            <a:gd name="T54" fmla="*/ 74 w 66"/>
                            <a:gd name="T55" fmla="*/ 68 h 79"/>
                            <a:gd name="T56" fmla="*/ 0 60000 65536"/>
                            <a:gd name="T57" fmla="*/ 0 60000 65536"/>
                            <a:gd name="T58" fmla="*/ 0 60000 65536"/>
                            <a:gd name="T59" fmla="*/ 0 60000 65536"/>
                            <a:gd name="T60" fmla="*/ 0 60000 65536"/>
                            <a:gd name="T61" fmla="*/ 0 60000 65536"/>
                            <a:gd name="T62" fmla="*/ 0 60000 65536"/>
                            <a:gd name="T63" fmla="*/ 0 60000 65536"/>
                            <a:gd name="T64" fmla="*/ 0 60000 65536"/>
                            <a:gd name="T65" fmla="*/ 0 60000 65536"/>
                            <a:gd name="T66" fmla="*/ 0 60000 65536"/>
                            <a:gd name="T67" fmla="*/ 0 60000 65536"/>
                            <a:gd name="T68" fmla="*/ 0 60000 65536"/>
                            <a:gd name="T69" fmla="*/ 0 60000 65536"/>
                            <a:gd name="T70" fmla="*/ 0 60000 65536"/>
                            <a:gd name="T71" fmla="*/ 0 60000 65536"/>
                            <a:gd name="T72" fmla="*/ 0 60000 65536"/>
                            <a:gd name="T73" fmla="*/ 0 60000 65536"/>
                            <a:gd name="T74" fmla="*/ 0 60000 65536"/>
                            <a:gd name="T75" fmla="*/ 0 60000 65536"/>
                            <a:gd name="T76" fmla="*/ 0 60000 65536"/>
                            <a:gd name="T77" fmla="*/ 0 60000 65536"/>
                            <a:gd name="T78" fmla="*/ 0 60000 65536"/>
                            <a:gd name="T79" fmla="*/ 0 60000 65536"/>
                            <a:gd name="T80" fmla="*/ 0 60000 65536"/>
                            <a:gd name="T81" fmla="*/ 0 60000 65536"/>
                            <a:gd name="T82" fmla="*/ 0 60000 65536"/>
                            <a:gd name="T83" fmla="*/ 0 60000 65536"/>
                            <a:gd name="T84" fmla="*/ 0 w 66"/>
                            <a:gd name="T85" fmla="*/ 0 h 79"/>
                            <a:gd name="T86" fmla="*/ 66 w 66"/>
                            <a:gd name="T87" fmla="*/ 79 h 79"/>
                          </a:gdLst>
                          <a:ahLst/>
                          <a:cxnLst>
                            <a:cxn ang="T56">
                              <a:pos x="T0" y="T1"/>
                            </a:cxn>
                            <a:cxn ang="T57">
                              <a:pos x="T2" y="T3"/>
                            </a:cxn>
                            <a:cxn ang="T58">
                              <a:pos x="T4" y="T5"/>
                            </a:cxn>
                            <a:cxn ang="T59">
                              <a:pos x="T6" y="T7"/>
                            </a:cxn>
                            <a:cxn ang="T60">
                              <a:pos x="T8" y="T9"/>
                            </a:cxn>
                            <a:cxn ang="T61">
                              <a:pos x="T10" y="T11"/>
                            </a:cxn>
                            <a:cxn ang="T62">
                              <a:pos x="T12" y="T13"/>
                            </a:cxn>
                            <a:cxn ang="T63">
                              <a:pos x="T14" y="T15"/>
                            </a:cxn>
                            <a:cxn ang="T64">
                              <a:pos x="T16" y="T17"/>
                            </a:cxn>
                            <a:cxn ang="T65">
                              <a:pos x="T18" y="T19"/>
                            </a:cxn>
                            <a:cxn ang="T66">
                              <a:pos x="T20" y="T21"/>
                            </a:cxn>
                            <a:cxn ang="T67">
                              <a:pos x="T22" y="T23"/>
                            </a:cxn>
                            <a:cxn ang="T68">
                              <a:pos x="T24" y="T25"/>
                            </a:cxn>
                            <a:cxn ang="T69">
                              <a:pos x="T26" y="T27"/>
                            </a:cxn>
                            <a:cxn ang="T70">
                              <a:pos x="T28" y="T29"/>
                            </a:cxn>
                            <a:cxn ang="T71">
                              <a:pos x="T30" y="T31"/>
                            </a:cxn>
                            <a:cxn ang="T72">
                              <a:pos x="T32" y="T33"/>
                            </a:cxn>
                            <a:cxn ang="T73">
                              <a:pos x="T34" y="T35"/>
                            </a:cxn>
                            <a:cxn ang="T74">
                              <a:pos x="T36" y="T37"/>
                            </a:cxn>
                            <a:cxn ang="T75">
                              <a:pos x="T38" y="T39"/>
                            </a:cxn>
                            <a:cxn ang="T76">
                              <a:pos x="T40" y="T41"/>
                            </a:cxn>
                            <a:cxn ang="T77">
                              <a:pos x="T42" y="T43"/>
                            </a:cxn>
                            <a:cxn ang="T78">
                              <a:pos x="T44" y="T45"/>
                            </a:cxn>
                            <a:cxn ang="T79">
                              <a:pos x="T46" y="T47"/>
                            </a:cxn>
                            <a:cxn ang="T80">
                              <a:pos x="T48" y="T49"/>
                            </a:cxn>
                            <a:cxn ang="T81">
                              <a:pos x="T50" y="T51"/>
                            </a:cxn>
                            <a:cxn ang="T82">
                              <a:pos x="T52" y="T53"/>
                            </a:cxn>
                            <a:cxn ang="T83">
                              <a:pos x="T54" y="T55"/>
                            </a:cxn>
                          </a:cxnLst>
                          <a:rect l="T84" t="T85" r="T86" b="T87"/>
                          <a:pathLst>
                            <a:path w="66" h="79">
                              <a:moveTo>
                                <a:pt x="62" y="57"/>
                              </a:moveTo>
                              <a:cubicBezTo>
                                <a:pt x="63" y="58"/>
                                <a:pt x="65" y="59"/>
                                <a:pt x="66" y="60"/>
                              </a:cubicBezTo>
                              <a:cubicBezTo>
                                <a:pt x="65" y="62"/>
                                <a:pt x="63" y="64"/>
                                <a:pt x="62" y="66"/>
                              </a:cubicBezTo>
                              <a:cubicBezTo>
                                <a:pt x="61" y="67"/>
                                <a:pt x="61" y="69"/>
                                <a:pt x="59" y="70"/>
                              </a:cubicBezTo>
                              <a:cubicBezTo>
                                <a:pt x="55" y="73"/>
                                <a:pt x="51" y="77"/>
                                <a:pt x="46" y="78"/>
                              </a:cubicBezTo>
                              <a:cubicBezTo>
                                <a:pt x="40" y="79"/>
                                <a:pt x="34" y="77"/>
                                <a:pt x="27" y="78"/>
                              </a:cubicBezTo>
                              <a:cubicBezTo>
                                <a:pt x="23" y="75"/>
                                <a:pt x="17" y="72"/>
                                <a:pt x="10" y="72"/>
                              </a:cubicBezTo>
                              <a:cubicBezTo>
                                <a:pt x="7" y="72"/>
                                <a:pt x="3" y="69"/>
                                <a:pt x="2" y="66"/>
                              </a:cubicBezTo>
                              <a:cubicBezTo>
                                <a:pt x="0" y="63"/>
                                <a:pt x="1" y="58"/>
                                <a:pt x="2" y="54"/>
                              </a:cubicBezTo>
                              <a:cubicBezTo>
                                <a:pt x="2" y="52"/>
                                <a:pt x="4" y="49"/>
                                <a:pt x="4" y="46"/>
                              </a:cubicBezTo>
                              <a:cubicBezTo>
                                <a:pt x="4" y="45"/>
                                <a:pt x="3" y="43"/>
                                <a:pt x="3" y="41"/>
                              </a:cubicBezTo>
                              <a:cubicBezTo>
                                <a:pt x="3" y="40"/>
                                <a:pt x="5" y="39"/>
                                <a:pt x="5" y="38"/>
                              </a:cubicBezTo>
                              <a:cubicBezTo>
                                <a:pt x="4" y="35"/>
                                <a:pt x="2" y="33"/>
                                <a:pt x="2" y="31"/>
                              </a:cubicBezTo>
                              <a:cubicBezTo>
                                <a:pt x="3" y="28"/>
                                <a:pt x="5" y="26"/>
                                <a:pt x="6" y="24"/>
                              </a:cubicBezTo>
                              <a:cubicBezTo>
                                <a:pt x="6" y="20"/>
                                <a:pt x="5" y="15"/>
                                <a:pt x="6" y="11"/>
                              </a:cubicBezTo>
                              <a:cubicBezTo>
                                <a:pt x="6" y="9"/>
                                <a:pt x="8" y="7"/>
                                <a:pt x="9" y="5"/>
                              </a:cubicBezTo>
                              <a:cubicBezTo>
                                <a:pt x="12" y="4"/>
                                <a:pt x="17" y="0"/>
                                <a:pt x="19" y="2"/>
                              </a:cubicBezTo>
                              <a:cubicBezTo>
                                <a:pt x="24" y="5"/>
                                <a:pt x="24" y="13"/>
                                <a:pt x="28" y="18"/>
                              </a:cubicBezTo>
                              <a:cubicBezTo>
                                <a:pt x="29" y="18"/>
                                <a:pt x="30" y="16"/>
                                <a:pt x="31" y="16"/>
                              </a:cubicBezTo>
                              <a:cubicBezTo>
                                <a:pt x="32" y="15"/>
                                <a:pt x="32" y="14"/>
                                <a:pt x="32" y="14"/>
                              </a:cubicBezTo>
                              <a:cubicBezTo>
                                <a:pt x="35" y="16"/>
                                <a:pt x="36" y="19"/>
                                <a:pt x="38" y="21"/>
                              </a:cubicBezTo>
                              <a:cubicBezTo>
                                <a:pt x="41" y="23"/>
                                <a:pt x="45" y="23"/>
                                <a:pt x="49" y="25"/>
                              </a:cubicBezTo>
                              <a:cubicBezTo>
                                <a:pt x="53" y="27"/>
                                <a:pt x="56" y="31"/>
                                <a:pt x="59" y="35"/>
                              </a:cubicBezTo>
                              <a:cubicBezTo>
                                <a:pt x="60" y="36"/>
                                <a:pt x="60" y="38"/>
                                <a:pt x="61" y="39"/>
                              </a:cubicBezTo>
                              <a:cubicBezTo>
                                <a:pt x="62" y="40"/>
                                <a:pt x="63" y="41"/>
                                <a:pt x="64" y="41"/>
                              </a:cubicBezTo>
                              <a:cubicBezTo>
                                <a:pt x="64" y="43"/>
                                <a:pt x="63" y="46"/>
                                <a:pt x="62" y="48"/>
                              </a:cubicBezTo>
                              <a:cubicBezTo>
                                <a:pt x="62" y="49"/>
                                <a:pt x="60" y="50"/>
                                <a:pt x="60" y="51"/>
                              </a:cubicBezTo>
                              <a:cubicBezTo>
                                <a:pt x="60" y="53"/>
                                <a:pt x="60" y="56"/>
                                <a:pt x="62" y="57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19" name="Freeform 2530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146778" y="3736952"/>
                          <a:ext cx="38029" cy="44856"/>
                        </a:xfrm>
                        <a:custGeom>
                          <a:avLst/>
                          <a:gdLst>
                            <a:gd name="T0" fmla="*/ 34 w 28"/>
                            <a:gd name="T1" fmla="*/ 52 h 45"/>
                            <a:gd name="T2" fmla="*/ 32 w 28"/>
                            <a:gd name="T3" fmla="*/ 50 h 45"/>
                            <a:gd name="T4" fmla="*/ 32 w 28"/>
                            <a:gd name="T5" fmla="*/ 54 h 45"/>
                            <a:gd name="T6" fmla="*/ 22 w 28"/>
                            <a:gd name="T7" fmla="*/ 52 h 45"/>
                            <a:gd name="T8" fmla="*/ 11 w 28"/>
                            <a:gd name="T9" fmla="*/ 50 h 45"/>
                            <a:gd name="T10" fmla="*/ 4 w 28"/>
                            <a:gd name="T11" fmla="*/ 52 h 45"/>
                            <a:gd name="T12" fmla="*/ 1 w 28"/>
                            <a:gd name="T13" fmla="*/ 46 h 45"/>
                            <a:gd name="T14" fmla="*/ 1 w 28"/>
                            <a:gd name="T15" fmla="*/ 41 h 45"/>
                            <a:gd name="T16" fmla="*/ 5 w 28"/>
                            <a:gd name="T17" fmla="*/ 44 h 45"/>
                            <a:gd name="T18" fmla="*/ 11 w 28"/>
                            <a:gd name="T19" fmla="*/ 43 h 45"/>
                            <a:gd name="T20" fmla="*/ 11 w 28"/>
                            <a:gd name="T21" fmla="*/ 41 h 45"/>
                            <a:gd name="T22" fmla="*/ 16 w 28"/>
                            <a:gd name="T23" fmla="*/ 40 h 45"/>
                            <a:gd name="T24" fmla="*/ 22 w 28"/>
                            <a:gd name="T25" fmla="*/ 44 h 45"/>
                            <a:gd name="T26" fmla="*/ 27 w 28"/>
                            <a:gd name="T27" fmla="*/ 44 h 45"/>
                            <a:gd name="T28" fmla="*/ 27 w 28"/>
                            <a:gd name="T29" fmla="*/ 42 h 45"/>
                            <a:gd name="T30" fmla="*/ 16 w 28"/>
                            <a:gd name="T31" fmla="*/ 36 h 45"/>
                            <a:gd name="T32" fmla="*/ 10 w 28"/>
                            <a:gd name="T33" fmla="*/ 32 h 45"/>
                            <a:gd name="T34" fmla="*/ 12 w 28"/>
                            <a:gd name="T35" fmla="*/ 28 h 45"/>
                            <a:gd name="T36" fmla="*/ 21 w 28"/>
                            <a:gd name="T37" fmla="*/ 23 h 45"/>
                            <a:gd name="T38" fmla="*/ 19 w 28"/>
                            <a:gd name="T39" fmla="*/ 18 h 45"/>
                            <a:gd name="T40" fmla="*/ 7 w 28"/>
                            <a:gd name="T41" fmla="*/ 23 h 45"/>
                            <a:gd name="T42" fmla="*/ 4 w 28"/>
                            <a:gd name="T43" fmla="*/ 14 h 45"/>
                            <a:gd name="T44" fmla="*/ 9 w 28"/>
                            <a:gd name="T45" fmla="*/ 11 h 45"/>
                            <a:gd name="T46" fmla="*/ 5 w 28"/>
                            <a:gd name="T47" fmla="*/ 6 h 45"/>
                            <a:gd name="T48" fmla="*/ 9 w 28"/>
                            <a:gd name="T49" fmla="*/ 7 h 45"/>
                            <a:gd name="T50" fmla="*/ 12 w 28"/>
                            <a:gd name="T51" fmla="*/ 7 h 45"/>
                            <a:gd name="T52" fmla="*/ 16 w 28"/>
                            <a:gd name="T53" fmla="*/ 0 h 45"/>
                            <a:gd name="T54" fmla="*/ 22 w 28"/>
                            <a:gd name="T55" fmla="*/ 5 h 45"/>
                            <a:gd name="T56" fmla="*/ 27 w 28"/>
                            <a:gd name="T57" fmla="*/ 4 h 45"/>
                            <a:gd name="T58" fmla="*/ 34 w 28"/>
                            <a:gd name="T59" fmla="*/ 52 h 45"/>
                            <a:gd name="T60" fmla="*/ 0 60000 65536"/>
                            <a:gd name="T61" fmla="*/ 0 60000 65536"/>
                            <a:gd name="T62" fmla="*/ 0 60000 65536"/>
                            <a:gd name="T63" fmla="*/ 0 60000 65536"/>
                            <a:gd name="T64" fmla="*/ 0 60000 65536"/>
                            <a:gd name="T65" fmla="*/ 0 60000 65536"/>
                            <a:gd name="T66" fmla="*/ 0 60000 65536"/>
                            <a:gd name="T67" fmla="*/ 0 60000 65536"/>
                            <a:gd name="T68" fmla="*/ 0 60000 65536"/>
                            <a:gd name="T69" fmla="*/ 0 60000 65536"/>
                            <a:gd name="T70" fmla="*/ 0 60000 65536"/>
                            <a:gd name="T71" fmla="*/ 0 60000 65536"/>
                            <a:gd name="T72" fmla="*/ 0 60000 65536"/>
                            <a:gd name="T73" fmla="*/ 0 60000 65536"/>
                            <a:gd name="T74" fmla="*/ 0 60000 65536"/>
                            <a:gd name="T75" fmla="*/ 0 60000 65536"/>
                            <a:gd name="T76" fmla="*/ 0 60000 65536"/>
                            <a:gd name="T77" fmla="*/ 0 60000 65536"/>
                            <a:gd name="T78" fmla="*/ 0 60000 65536"/>
                            <a:gd name="T79" fmla="*/ 0 60000 65536"/>
                            <a:gd name="T80" fmla="*/ 0 60000 65536"/>
                            <a:gd name="T81" fmla="*/ 0 60000 65536"/>
                            <a:gd name="T82" fmla="*/ 0 60000 65536"/>
                            <a:gd name="T83" fmla="*/ 0 60000 65536"/>
                            <a:gd name="T84" fmla="*/ 0 60000 65536"/>
                            <a:gd name="T85" fmla="*/ 0 60000 65536"/>
                            <a:gd name="T86" fmla="*/ 0 60000 65536"/>
                            <a:gd name="T87" fmla="*/ 0 60000 65536"/>
                            <a:gd name="T88" fmla="*/ 0 60000 65536"/>
                            <a:gd name="T89" fmla="*/ 0 60000 65536"/>
                            <a:gd name="T90" fmla="*/ 0 w 28"/>
                            <a:gd name="T91" fmla="*/ 0 h 45"/>
                            <a:gd name="T92" fmla="*/ 28 w 28"/>
                            <a:gd name="T93" fmla="*/ 45 h 45"/>
                          </a:gdLst>
                          <a:ahLst/>
                          <a:cxnLst>
                            <a:cxn ang="T60">
                              <a:pos x="T0" y="T1"/>
                            </a:cxn>
                            <a:cxn ang="T61">
                              <a:pos x="T2" y="T3"/>
                            </a:cxn>
                            <a:cxn ang="T62">
                              <a:pos x="T4" y="T5"/>
                            </a:cxn>
                            <a:cxn ang="T63">
                              <a:pos x="T6" y="T7"/>
                            </a:cxn>
                            <a:cxn ang="T64">
                              <a:pos x="T8" y="T9"/>
                            </a:cxn>
                            <a:cxn ang="T65">
                              <a:pos x="T10" y="T11"/>
                            </a:cxn>
                            <a:cxn ang="T66">
                              <a:pos x="T12" y="T13"/>
                            </a:cxn>
                            <a:cxn ang="T67">
                              <a:pos x="T14" y="T15"/>
                            </a:cxn>
                            <a:cxn ang="T68">
                              <a:pos x="T16" y="T17"/>
                            </a:cxn>
                            <a:cxn ang="T69">
                              <a:pos x="T18" y="T19"/>
                            </a:cxn>
                            <a:cxn ang="T70">
                              <a:pos x="T20" y="T21"/>
                            </a:cxn>
                            <a:cxn ang="T71">
                              <a:pos x="T22" y="T23"/>
                            </a:cxn>
                            <a:cxn ang="T72">
                              <a:pos x="T24" y="T25"/>
                            </a:cxn>
                            <a:cxn ang="T73">
                              <a:pos x="T26" y="T27"/>
                            </a:cxn>
                            <a:cxn ang="T74">
                              <a:pos x="T28" y="T29"/>
                            </a:cxn>
                            <a:cxn ang="T75">
                              <a:pos x="T30" y="T31"/>
                            </a:cxn>
                            <a:cxn ang="T76">
                              <a:pos x="T32" y="T33"/>
                            </a:cxn>
                            <a:cxn ang="T77">
                              <a:pos x="T34" y="T35"/>
                            </a:cxn>
                            <a:cxn ang="T78">
                              <a:pos x="T36" y="T37"/>
                            </a:cxn>
                            <a:cxn ang="T79">
                              <a:pos x="T38" y="T39"/>
                            </a:cxn>
                            <a:cxn ang="T80">
                              <a:pos x="T40" y="T41"/>
                            </a:cxn>
                            <a:cxn ang="T81">
                              <a:pos x="T42" y="T43"/>
                            </a:cxn>
                            <a:cxn ang="T82">
                              <a:pos x="T44" y="T45"/>
                            </a:cxn>
                            <a:cxn ang="T83">
                              <a:pos x="T46" y="T47"/>
                            </a:cxn>
                            <a:cxn ang="T84">
                              <a:pos x="T48" y="T49"/>
                            </a:cxn>
                            <a:cxn ang="T85">
                              <a:pos x="T50" y="T51"/>
                            </a:cxn>
                            <a:cxn ang="T86">
                              <a:pos x="T52" y="T53"/>
                            </a:cxn>
                            <a:cxn ang="T87">
                              <a:pos x="T54" y="T55"/>
                            </a:cxn>
                            <a:cxn ang="T88">
                              <a:pos x="T56" y="T57"/>
                            </a:cxn>
                            <a:cxn ang="T89">
                              <a:pos x="T58" y="T59"/>
                            </a:cxn>
                          </a:cxnLst>
                          <a:rect l="T90" t="T91" r="T92" b="T93"/>
                          <a:pathLst>
                            <a:path w="28" h="45">
                              <a:moveTo>
                                <a:pt x="28" y="43"/>
                              </a:moveTo>
                              <a:cubicBezTo>
                                <a:pt x="28" y="43"/>
                                <a:pt x="27" y="41"/>
                                <a:pt x="26" y="42"/>
                              </a:cubicBezTo>
                              <a:cubicBezTo>
                                <a:pt x="25" y="42"/>
                                <a:pt x="27" y="45"/>
                                <a:pt x="26" y="45"/>
                              </a:cubicBezTo>
                              <a:cubicBezTo>
                                <a:pt x="23" y="45"/>
                                <a:pt x="21" y="44"/>
                                <a:pt x="18" y="43"/>
                              </a:cubicBezTo>
                              <a:cubicBezTo>
                                <a:pt x="15" y="43"/>
                                <a:pt x="12" y="42"/>
                                <a:pt x="9" y="42"/>
                              </a:cubicBezTo>
                              <a:cubicBezTo>
                                <a:pt x="7" y="42"/>
                                <a:pt x="4" y="44"/>
                                <a:pt x="3" y="43"/>
                              </a:cubicBezTo>
                              <a:cubicBezTo>
                                <a:pt x="1" y="42"/>
                                <a:pt x="2" y="40"/>
                                <a:pt x="1" y="38"/>
                              </a:cubicBezTo>
                              <a:cubicBezTo>
                                <a:pt x="1" y="37"/>
                                <a:pt x="0" y="35"/>
                                <a:pt x="1" y="34"/>
                              </a:cubicBezTo>
                              <a:cubicBezTo>
                                <a:pt x="2" y="34"/>
                                <a:pt x="3" y="37"/>
                                <a:pt x="4" y="37"/>
                              </a:cubicBezTo>
                              <a:cubicBezTo>
                                <a:pt x="6" y="37"/>
                                <a:pt x="8" y="37"/>
                                <a:pt x="9" y="36"/>
                              </a:cubicBezTo>
                              <a:cubicBezTo>
                                <a:pt x="10" y="35"/>
                                <a:pt x="9" y="34"/>
                                <a:pt x="9" y="34"/>
                              </a:cubicBezTo>
                              <a:cubicBezTo>
                                <a:pt x="10" y="33"/>
                                <a:pt x="12" y="33"/>
                                <a:pt x="13" y="33"/>
                              </a:cubicBezTo>
                              <a:cubicBezTo>
                                <a:pt x="15" y="34"/>
                                <a:pt x="16" y="36"/>
                                <a:pt x="18" y="37"/>
                              </a:cubicBezTo>
                              <a:cubicBezTo>
                                <a:pt x="19" y="38"/>
                                <a:pt x="21" y="38"/>
                                <a:pt x="22" y="37"/>
                              </a:cubicBezTo>
                              <a:cubicBezTo>
                                <a:pt x="23" y="37"/>
                                <a:pt x="23" y="35"/>
                                <a:pt x="22" y="35"/>
                              </a:cubicBezTo>
                              <a:cubicBezTo>
                                <a:pt x="19" y="33"/>
                                <a:pt x="16" y="32"/>
                                <a:pt x="13" y="30"/>
                              </a:cubicBezTo>
                              <a:cubicBezTo>
                                <a:pt x="11" y="29"/>
                                <a:pt x="9" y="28"/>
                                <a:pt x="8" y="27"/>
                              </a:cubicBezTo>
                              <a:cubicBezTo>
                                <a:pt x="8" y="25"/>
                                <a:pt x="9" y="24"/>
                                <a:pt x="10" y="23"/>
                              </a:cubicBezTo>
                              <a:cubicBezTo>
                                <a:pt x="12" y="21"/>
                                <a:pt x="15" y="21"/>
                                <a:pt x="17" y="19"/>
                              </a:cubicBezTo>
                              <a:cubicBezTo>
                                <a:pt x="18" y="18"/>
                                <a:pt x="17" y="15"/>
                                <a:pt x="16" y="15"/>
                              </a:cubicBezTo>
                              <a:cubicBezTo>
                                <a:pt x="12" y="15"/>
                                <a:pt x="9" y="20"/>
                                <a:pt x="6" y="19"/>
                              </a:cubicBezTo>
                              <a:cubicBezTo>
                                <a:pt x="3" y="18"/>
                                <a:pt x="3" y="14"/>
                                <a:pt x="3" y="12"/>
                              </a:cubicBezTo>
                              <a:cubicBezTo>
                                <a:pt x="3" y="10"/>
                                <a:pt x="7" y="11"/>
                                <a:pt x="7" y="9"/>
                              </a:cubicBezTo>
                              <a:cubicBezTo>
                                <a:pt x="7" y="7"/>
                                <a:pt x="4" y="6"/>
                                <a:pt x="4" y="5"/>
                              </a:cubicBezTo>
                              <a:cubicBezTo>
                                <a:pt x="4" y="4"/>
                                <a:pt x="6" y="6"/>
                                <a:pt x="7" y="6"/>
                              </a:cubicBezTo>
                              <a:cubicBezTo>
                                <a:pt x="8" y="6"/>
                                <a:pt x="9" y="7"/>
                                <a:pt x="10" y="6"/>
                              </a:cubicBezTo>
                              <a:cubicBezTo>
                                <a:pt x="12" y="4"/>
                                <a:pt x="11" y="1"/>
                                <a:pt x="13" y="0"/>
                              </a:cubicBezTo>
                              <a:cubicBezTo>
                                <a:pt x="15" y="0"/>
                                <a:pt x="16" y="4"/>
                                <a:pt x="18" y="4"/>
                              </a:cubicBezTo>
                              <a:cubicBezTo>
                                <a:pt x="19" y="4"/>
                                <a:pt x="20" y="4"/>
                                <a:pt x="22" y="3"/>
                              </a:cubicBezTo>
                              <a:cubicBezTo>
                                <a:pt x="24" y="16"/>
                                <a:pt x="26" y="30"/>
                                <a:pt x="28" y="43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20" name="Freeform 2531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88617" y="3243536"/>
                          <a:ext cx="279622" cy="496738"/>
                        </a:xfrm>
                        <a:custGeom>
                          <a:avLst/>
                          <a:gdLst>
                            <a:gd name="T0" fmla="*/ 67 w 208"/>
                            <a:gd name="T1" fmla="*/ 568 h 498"/>
                            <a:gd name="T2" fmla="*/ 72 w 208"/>
                            <a:gd name="T3" fmla="*/ 540 h 498"/>
                            <a:gd name="T4" fmla="*/ 84 w 208"/>
                            <a:gd name="T5" fmla="*/ 522 h 498"/>
                            <a:gd name="T6" fmla="*/ 102 w 208"/>
                            <a:gd name="T7" fmla="*/ 483 h 498"/>
                            <a:gd name="T8" fmla="*/ 78 w 208"/>
                            <a:gd name="T9" fmla="*/ 456 h 498"/>
                            <a:gd name="T10" fmla="*/ 100 w 208"/>
                            <a:gd name="T11" fmla="*/ 436 h 498"/>
                            <a:gd name="T12" fmla="*/ 113 w 208"/>
                            <a:gd name="T13" fmla="*/ 400 h 498"/>
                            <a:gd name="T14" fmla="*/ 121 w 208"/>
                            <a:gd name="T15" fmla="*/ 400 h 498"/>
                            <a:gd name="T16" fmla="*/ 119 w 208"/>
                            <a:gd name="T17" fmla="*/ 388 h 498"/>
                            <a:gd name="T18" fmla="*/ 106 w 208"/>
                            <a:gd name="T19" fmla="*/ 382 h 498"/>
                            <a:gd name="T20" fmla="*/ 105 w 208"/>
                            <a:gd name="T21" fmla="*/ 355 h 498"/>
                            <a:gd name="T22" fmla="*/ 130 w 208"/>
                            <a:gd name="T23" fmla="*/ 364 h 498"/>
                            <a:gd name="T24" fmla="*/ 143 w 208"/>
                            <a:gd name="T25" fmla="*/ 337 h 498"/>
                            <a:gd name="T26" fmla="*/ 151 w 208"/>
                            <a:gd name="T27" fmla="*/ 322 h 498"/>
                            <a:gd name="T28" fmla="*/ 207 w 208"/>
                            <a:gd name="T29" fmla="*/ 300 h 498"/>
                            <a:gd name="T30" fmla="*/ 212 w 208"/>
                            <a:gd name="T31" fmla="*/ 270 h 498"/>
                            <a:gd name="T32" fmla="*/ 207 w 208"/>
                            <a:gd name="T33" fmla="*/ 250 h 498"/>
                            <a:gd name="T34" fmla="*/ 186 w 208"/>
                            <a:gd name="T35" fmla="*/ 232 h 498"/>
                            <a:gd name="T36" fmla="*/ 190 w 208"/>
                            <a:gd name="T37" fmla="*/ 204 h 498"/>
                            <a:gd name="T38" fmla="*/ 188 w 208"/>
                            <a:gd name="T39" fmla="*/ 186 h 498"/>
                            <a:gd name="T40" fmla="*/ 196 w 208"/>
                            <a:gd name="T41" fmla="*/ 155 h 498"/>
                            <a:gd name="T42" fmla="*/ 227 w 208"/>
                            <a:gd name="T43" fmla="*/ 114 h 498"/>
                            <a:gd name="T44" fmla="*/ 248 w 208"/>
                            <a:gd name="T45" fmla="*/ 88 h 498"/>
                            <a:gd name="T46" fmla="*/ 240 w 208"/>
                            <a:gd name="T47" fmla="*/ 68 h 498"/>
                            <a:gd name="T48" fmla="*/ 234 w 208"/>
                            <a:gd name="T49" fmla="*/ 85 h 498"/>
                            <a:gd name="T50" fmla="*/ 218 w 208"/>
                            <a:gd name="T51" fmla="*/ 102 h 498"/>
                            <a:gd name="T52" fmla="*/ 186 w 208"/>
                            <a:gd name="T53" fmla="*/ 100 h 498"/>
                            <a:gd name="T54" fmla="*/ 180 w 208"/>
                            <a:gd name="T55" fmla="*/ 80 h 498"/>
                            <a:gd name="T56" fmla="*/ 184 w 208"/>
                            <a:gd name="T57" fmla="*/ 59 h 498"/>
                            <a:gd name="T58" fmla="*/ 144 w 208"/>
                            <a:gd name="T59" fmla="*/ 42 h 498"/>
                            <a:gd name="T60" fmla="*/ 115 w 208"/>
                            <a:gd name="T61" fmla="*/ 17 h 498"/>
                            <a:gd name="T62" fmla="*/ 90 w 208"/>
                            <a:gd name="T63" fmla="*/ 5 h 498"/>
                            <a:gd name="T64" fmla="*/ 79 w 208"/>
                            <a:gd name="T65" fmla="*/ 8 h 498"/>
                            <a:gd name="T66" fmla="*/ 53 w 208"/>
                            <a:gd name="T67" fmla="*/ 8 h 498"/>
                            <a:gd name="T68" fmla="*/ 41 w 208"/>
                            <a:gd name="T69" fmla="*/ 20 h 498"/>
                            <a:gd name="T70" fmla="*/ 28 w 208"/>
                            <a:gd name="T71" fmla="*/ 49 h 498"/>
                            <a:gd name="T72" fmla="*/ 25 w 208"/>
                            <a:gd name="T73" fmla="*/ 64 h 498"/>
                            <a:gd name="T74" fmla="*/ 26 w 208"/>
                            <a:gd name="T75" fmla="*/ 90 h 498"/>
                            <a:gd name="T76" fmla="*/ 19 w 208"/>
                            <a:gd name="T77" fmla="*/ 114 h 498"/>
                            <a:gd name="T78" fmla="*/ 8 w 208"/>
                            <a:gd name="T79" fmla="*/ 138 h 498"/>
                            <a:gd name="T80" fmla="*/ 5 w 208"/>
                            <a:gd name="T81" fmla="*/ 181 h 498"/>
                            <a:gd name="T82" fmla="*/ 13 w 208"/>
                            <a:gd name="T83" fmla="*/ 198 h 498"/>
                            <a:gd name="T84" fmla="*/ 17 w 208"/>
                            <a:gd name="T85" fmla="*/ 225 h 498"/>
                            <a:gd name="T86" fmla="*/ 12 w 208"/>
                            <a:gd name="T87" fmla="*/ 267 h 498"/>
                            <a:gd name="T88" fmla="*/ 12 w 208"/>
                            <a:gd name="T89" fmla="*/ 312 h 498"/>
                            <a:gd name="T90" fmla="*/ 2 w 208"/>
                            <a:gd name="T91" fmla="*/ 336 h 498"/>
                            <a:gd name="T92" fmla="*/ 6 w 208"/>
                            <a:gd name="T93" fmla="*/ 375 h 498"/>
                            <a:gd name="T94" fmla="*/ 8 w 208"/>
                            <a:gd name="T95" fmla="*/ 401 h 498"/>
                            <a:gd name="T96" fmla="*/ 11 w 208"/>
                            <a:gd name="T97" fmla="*/ 427 h 498"/>
                            <a:gd name="T98" fmla="*/ 20 w 208"/>
                            <a:gd name="T99" fmla="*/ 436 h 498"/>
                            <a:gd name="T100" fmla="*/ 22 w 208"/>
                            <a:gd name="T101" fmla="*/ 443 h 498"/>
                            <a:gd name="T102" fmla="*/ 19 w 208"/>
                            <a:gd name="T103" fmla="*/ 470 h 498"/>
                            <a:gd name="T104" fmla="*/ 8 w 208"/>
                            <a:gd name="T105" fmla="*/ 494 h 498"/>
                            <a:gd name="T106" fmla="*/ 10 w 208"/>
                            <a:gd name="T107" fmla="*/ 520 h 498"/>
                            <a:gd name="T108" fmla="*/ 10 w 208"/>
                            <a:gd name="T109" fmla="*/ 558 h 498"/>
                            <a:gd name="T110" fmla="*/ 26 w 208"/>
                            <a:gd name="T111" fmla="*/ 575 h 498"/>
                            <a:gd name="T112" fmla="*/ 70 w 208"/>
                            <a:gd name="T113" fmla="*/ 590 h 498"/>
                            <a:gd name="T114" fmla="*/ 0 60000 65536"/>
                            <a:gd name="T115" fmla="*/ 0 60000 65536"/>
                            <a:gd name="T116" fmla="*/ 0 60000 65536"/>
                            <a:gd name="T117" fmla="*/ 0 60000 65536"/>
                            <a:gd name="T118" fmla="*/ 0 60000 65536"/>
                            <a:gd name="T119" fmla="*/ 0 60000 65536"/>
                            <a:gd name="T120" fmla="*/ 0 60000 65536"/>
                            <a:gd name="T121" fmla="*/ 0 60000 65536"/>
                            <a:gd name="T122" fmla="*/ 0 60000 65536"/>
                            <a:gd name="T123" fmla="*/ 0 60000 65536"/>
                            <a:gd name="T124" fmla="*/ 0 60000 65536"/>
                            <a:gd name="T125" fmla="*/ 0 60000 65536"/>
                            <a:gd name="T126" fmla="*/ 0 60000 65536"/>
                            <a:gd name="T127" fmla="*/ 0 60000 65536"/>
                            <a:gd name="T128" fmla="*/ 0 60000 65536"/>
                            <a:gd name="T129" fmla="*/ 0 60000 65536"/>
                            <a:gd name="T130" fmla="*/ 0 60000 65536"/>
                            <a:gd name="T131" fmla="*/ 0 60000 65536"/>
                            <a:gd name="T132" fmla="*/ 0 60000 65536"/>
                            <a:gd name="T133" fmla="*/ 0 60000 65536"/>
                            <a:gd name="T134" fmla="*/ 0 60000 65536"/>
                            <a:gd name="T135" fmla="*/ 0 60000 65536"/>
                            <a:gd name="T136" fmla="*/ 0 60000 65536"/>
                            <a:gd name="T137" fmla="*/ 0 60000 65536"/>
                            <a:gd name="T138" fmla="*/ 0 60000 65536"/>
                            <a:gd name="T139" fmla="*/ 0 60000 65536"/>
                            <a:gd name="T140" fmla="*/ 0 60000 65536"/>
                            <a:gd name="T141" fmla="*/ 0 60000 65536"/>
                            <a:gd name="T142" fmla="*/ 0 60000 65536"/>
                            <a:gd name="T143" fmla="*/ 0 60000 65536"/>
                            <a:gd name="T144" fmla="*/ 0 60000 65536"/>
                            <a:gd name="T145" fmla="*/ 0 60000 65536"/>
                            <a:gd name="T146" fmla="*/ 0 60000 65536"/>
                            <a:gd name="T147" fmla="*/ 0 60000 65536"/>
                            <a:gd name="T148" fmla="*/ 0 60000 65536"/>
                            <a:gd name="T149" fmla="*/ 0 60000 65536"/>
                            <a:gd name="T150" fmla="*/ 0 60000 65536"/>
                            <a:gd name="T151" fmla="*/ 0 60000 65536"/>
                            <a:gd name="T152" fmla="*/ 0 60000 65536"/>
                            <a:gd name="T153" fmla="*/ 0 60000 65536"/>
                            <a:gd name="T154" fmla="*/ 0 60000 65536"/>
                            <a:gd name="T155" fmla="*/ 0 60000 65536"/>
                            <a:gd name="T156" fmla="*/ 0 60000 65536"/>
                            <a:gd name="T157" fmla="*/ 0 60000 65536"/>
                            <a:gd name="T158" fmla="*/ 0 60000 65536"/>
                            <a:gd name="T159" fmla="*/ 0 60000 65536"/>
                            <a:gd name="T160" fmla="*/ 0 60000 65536"/>
                            <a:gd name="T161" fmla="*/ 0 60000 65536"/>
                            <a:gd name="T162" fmla="*/ 0 60000 65536"/>
                            <a:gd name="T163" fmla="*/ 0 60000 65536"/>
                            <a:gd name="T164" fmla="*/ 0 60000 65536"/>
                            <a:gd name="T165" fmla="*/ 0 60000 65536"/>
                            <a:gd name="T166" fmla="*/ 0 60000 65536"/>
                            <a:gd name="T167" fmla="*/ 0 60000 65536"/>
                            <a:gd name="T168" fmla="*/ 0 60000 65536"/>
                            <a:gd name="T169" fmla="*/ 0 60000 65536"/>
                            <a:gd name="T170" fmla="*/ 0 60000 65536"/>
                            <a:gd name="T171" fmla="*/ 0 w 208"/>
                            <a:gd name="T172" fmla="*/ 0 h 498"/>
                            <a:gd name="T173" fmla="*/ 208 w 208"/>
                            <a:gd name="T174" fmla="*/ 498 h 498"/>
                          </a:gdLst>
                          <a:ahLst/>
                          <a:cxnLst>
                            <a:cxn ang="T114">
                              <a:pos x="T0" y="T1"/>
                            </a:cxn>
                            <a:cxn ang="T115">
                              <a:pos x="T2" y="T3"/>
                            </a:cxn>
                            <a:cxn ang="T116">
                              <a:pos x="T4" y="T5"/>
                            </a:cxn>
                            <a:cxn ang="T117">
                              <a:pos x="T6" y="T7"/>
                            </a:cxn>
                            <a:cxn ang="T118">
                              <a:pos x="T8" y="T9"/>
                            </a:cxn>
                            <a:cxn ang="T119">
                              <a:pos x="T10" y="T11"/>
                            </a:cxn>
                            <a:cxn ang="T120">
                              <a:pos x="T12" y="T13"/>
                            </a:cxn>
                            <a:cxn ang="T121">
                              <a:pos x="T14" y="T15"/>
                            </a:cxn>
                            <a:cxn ang="T122">
                              <a:pos x="T16" y="T17"/>
                            </a:cxn>
                            <a:cxn ang="T123">
                              <a:pos x="T18" y="T19"/>
                            </a:cxn>
                            <a:cxn ang="T124">
                              <a:pos x="T20" y="T21"/>
                            </a:cxn>
                            <a:cxn ang="T125">
                              <a:pos x="T22" y="T23"/>
                            </a:cxn>
                            <a:cxn ang="T126">
                              <a:pos x="T24" y="T25"/>
                            </a:cxn>
                            <a:cxn ang="T127">
                              <a:pos x="T26" y="T27"/>
                            </a:cxn>
                            <a:cxn ang="T128">
                              <a:pos x="T28" y="T29"/>
                            </a:cxn>
                            <a:cxn ang="T129">
                              <a:pos x="T30" y="T31"/>
                            </a:cxn>
                            <a:cxn ang="T130">
                              <a:pos x="T32" y="T33"/>
                            </a:cxn>
                            <a:cxn ang="T131">
                              <a:pos x="T34" y="T35"/>
                            </a:cxn>
                            <a:cxn ang="T132">
                              <a:pos x="T36" y="T37"/>
                            </a:cxn>
                            <a:cxn ang="T133">
                              <a:pos x="T38" y="T39"/>
                            </a:cxn>
                            <a:cxn ang="T134">
                              <a:pos x="T40" y="T41"/>
                            </a:cxn>
                            <a:cxn ang="T135">
                              <a:pos x="T42" y="T43"/>
                            </a:cxn>
                            <a:cxn ang="T136">
                              <a:pos x="T44" y="T45"/>
                            </a:cxn>
                            <a:cxn ang="T137">
                              <a:pos x="T46" y="T47"/>
                            </a:cxn>
                            <a:cxn ang="T138">
                              <a:pos x="T48" y="T49"/>
                            </a:cxn>
                            <a:cxn ang="T139">
                              <a:pos x="T50" y="T51"/>
                            </a:cxn>
                            <a:cxn ang="T140">
                              <a:pos x="T52" y="T53"/>
                            </a:cxn>
                            <a:cxn ang="T141">
                              <a:pos x="T54" y="T55"/>
                            </a:cxn>
                            <a:cxn ang="T142">
                              <a:pos x="T56" y="T57"/>
                            </a:cxn>
                            <a:cxn ang="T143">
                              <a:pos x="T58" y="T59"/>
                            </a:cxn>
                            <a:cxn ang="T144">
                              <a:pos x="T60" y="T61"/>
                            </a:cxn>
                            <a:cxn ang="T145">
                              <a:pos x="T62" y="T63"/>
                            </a:cxn>
                            <a:cxn ang="T146">
                              <a:pos x="T64" y="T65"/>
                            </a:cxn>
                            <a:cxn ang="T147">
                              <a:pos x="T66" y="T67"/>
                            </a:cxn>
                            <a:cxn ang="T148">
                              <a:pos x="T68" y="T69"/>
                            </a:cxn>
                            <a:cxn ang="T149">
                              <a:pos x="T70" y="T71"/>
                            </a:cxn>
                            <a:cxn ang="T150">
                              <a:pos x="T72" y="T73"/>
                            </a:cxn>
                            <a:cxn ang="T151">
                              <a:pos x="T74" y="T75"/>
                            </a:cxn>
                            <a:cxn ang="T152">
                              <a:pos x="T76" y="T77"/>
                            </a:cxn>
                            <a:cxn ang="T153">
                              <a:pos x="T78" y="T79"/>
                            </a:cxn>
                            <a:cxn ang="T154">
                              <a:pos x="T80" y="T81"/>
                            </a:cxn>
                            <a:cxn ang="T155">
                              <a:pos x="T82" y="T83"/>
                            </a:cxn>
                            <a:cxn ang="T156">
                              <a:pos x="T84" y="T85"/>
                            </a:cxn>
                            <a:cxn ang="T157">
                              <a:pos x="T86" y="T87"/>
                            </a:cxn>
                            <a:cxn ang="T158">
                              <a:pos x="T88" y="T89"/>
                            </a:cxn>
                            <a:cxn ang="T159">
                              <a:pos x="T90" y="T91"/>
                            </a:cxn>
                            <a:cxn ang="T160">
                              <a:pos x="T92" y="T93"/>
                            </a:cxn>
                            <a:cxn ang="T161">
                              <a:pos x="T94" y="T95"/>
                            </a:cxn>
                            <a:cxn ang="T162">
                              <a:pos x="T96" y="T97"/>
                            </a:cxn>
                            <a:cxn ang="T163">
                              <a:pos x="T98" y="T99"/>
                            </a:cxn>
                            <a:cxn ang="T164">
                              <a:pos x="T100" y="T101"/>
                            </a:cxn>
                            <a:cxn ang="T165">
                              <a:pos x="T102" y="T103"/>
                            </a:cxn>
                            <a:cxn ang="T166">
                              <a:pos x="T104" y="T105"/>
                            </a:cxn>
                            <a:cxn ang="T167">
                              <a:pos x="T106" y="T107"/>
                            </a:cxn>
                            <a:cxn ang="T168">
                              <a:pos x="T108" y="T109"/>
                            </a:cxn>
                            <a:cxn ang="T169">
                              <a:pos x="T110" y="T111"/>
                            </a:cxn>
                            <a:cxn ang="T170">
                              <a:pos x="T112" y="T113"/>
                            </a:cxn>
                          </a:cxnLst>
                          <a:rect l="T171" t="T172" r="T173" b="T174"/>
                          <a:pathLst>
                            <a:path w="208" h="498">
                              <a:moveTo>
                                <a:pt x="58" y="491"/>
                              </a:moveTo>
                              <a:cubicBezTo>
                                <a:pt x="61" y="492"/>
                                <a:pt x="69" y="498"/>
                                <a:pt x="68" y="494"/>
                              </a:cubicBezTo>
                              <a:cubicBezTo>
                                <a:pt x="68" y="486"/>
                                <a:pt x="60" y="480"/>
                                <a:pt x="56" y="473"/>
                              </a:cubicBezTo>
                              <a:cubicBezTo>
                                <a:pt x="55" y="470"/>
                                <a:pt x="54" y="467"/>
                                <a:pt x="55" y="464"/>
                              </a:cubicBezTo>
                              <a:cubicBezTo>
                                <a:pt x="56" y="461"/>
                                <a:pt x="60" y="459"/>
                                <a:pt x="61" y="455"/>
                              </a:cubicBezTo>
                              <a:cubicBezTo>
                                <a:pt x="62" y="454"/>
                                <a:pt x="58" y="451"/>
                                <a:pt x="60" y="450"/>
                              </a:cubicBezTo>
                              <a:cubicBezTo>
                                <a:pt x="61" y="449"/>
                                <a:pt x="62" y="453"/>
                                <a:pt x="64" y="453"/>
                              </a:cubicBezTo>
                              <a:cubicBezTo>
                                <a:pt x="66" y="453"/>
                                <a:pt x="69" y="452"/>
                                <a:pt x="70" y="450"/>
                              </a:cubicBezTo>
                              <a:cubicBezTo>
                                <a:pt x="72" y="445"/>
                                <a:pt x="68" y="439"/>
                                <a:pt x="70" y="435"/>
                              </a:cubicBezTo>
                              <a:cubicBezTo>
                                <a:pt x="74" y="428"/>
                                <a:pt x="83" y="424"/>
                                <a:pt x="88" y="417"/>
                              </a:cubicBezTo>
                              <a:cubicBezTo>
                                <a:pt x="90" y="414"/>
                                <a:pt x="91" y="410"/>
                                <a:pt x="90" y="407"/>
                              </a:cubicBezTo>
                              <a:cubicBezTo>
                                <a:pt x="90" y="404"/>
                                <a:pt x="87" y="403"/>
                                <a:pt x="85" y="402"/>
                              </a:cubicBezTo>
                              <a:cubicBezTo>
                                <a:pt x="82" y="401"/>
                                <a:pt x="78" y="401"/>
                                <a:pt x="75" y="399"/>
                              </a:cubicBezTo>
                              <a:cubicBezTo>
                                <a:pt x="71" y="396"/>
                                <a:pt x="67" y="392"/>
                                <a:pt x="65" y="387"/>
                              </a:cubicBezTo>
                              <a:cubicBezTo>
                                <a:pt x="64" y="385"/>
                                <a:pt x="64" y="382"/>
                                <a:pt x="65" y="380"/>
                              </a:cubicBezTo>
                              <a:cubicBezTo>
                                <a:pt x="69" y="375"/>
                                <a:pt x="73" y="370"/>
                                <a:pt x="78" y="367"/>
                              </a:cubicBezTo>
                              <a:cubicBezTo>
                                <a:pt x="80" y="365"/>
                                <a:pt x="84" y="368"/>
                                <a:pt x="87" y="367"/>
                              </a:cubicBezTo>
                              <a:cubicBezTo>
                                <a:pt x="88" y="366"/>
                                <a:pt x="83" y="365"/>
                                <a:pt x="83" y="363"/>
                              </a:cubicBezTo>
                              <a:cubicBezTo>
                                <a:pt x="84" y="361"/>
                                <a:pt x="88" y="360"/>
                                <a:pt x="88" y="358"/>
                              </a:cubicBezTo>
                              <a:cubicBezTo>
                                <a:pt x="89" y="354"/>
                                <a:pt x="86" y="349"/>
                                <a:pt x="87" y="345"/>
                              </a:cubicBezTo>
                              <a:cubicBezTo>
                                <a:pt x="88" y="341"/>
                                <a:pt x="93" y="338"/>
                                <a:pt x="94" y="333"/>
                              </a:cubicBezTo>
                              <a:cubicBezTo>
                                <a:pt x="94" y="331"/>
                                <a:pt x="89" y="330"/>
                                <a:pt x="90" y="328"/>
                              </a:cubicBezTo>
                              <a:cubicBezTo>
                                <a:pt x="92" y="326"/>
                                <a:pt x="96" y="325"/>
                                <a:pt x="99" y="326"/>
                              </a:cubicBezTo>
                              <a:cubicBezTo>
                                <a:pt x="101" y="327"/>
                                <a:pt x="99" y="333"/>
                                <a:pt x="101" y="333"/>
                              </a:cubicBezTo>
                              <a:cubicBezTo>
                                <a:pt x="104" y="332"/>
                                <a:pt x="105" y="328"/>
                                <a:pt x="105" y="325"/>
                              </a:cubicBezTo>
                              <a:cubicBezTo>
                                <a:pt x="106" y="322"/>
                                <a:pt x="104" y="319"/>
                                <a:pt x="101" y="318"/>
                              </a:cubicBezTo>
                              <a:cubicBezTo>
                                <a:pt x="100" y="317"/>
                                <a:pt x="100" y="322"/>
                                <a:pt x="99" y="323"/>
                              </a:cubicBezTo>
                              <a:cubicBezTo>
                                <a:pt x="97" y="324"/>
                                <a:pt x="95" y="324"/>
                                <a:pt x="94" y="323"/>
                              </a:cubicBezTo>
                              <a:cubicBezTo>
                                <a:pt x="93" y="323"/>
                                <a:pt x="95" y="321"/>
                                <a:pt x="94" y="320"/>
                              </a:cubicBezTo>
                              <a:cubicBezTo>
                                <a:pt x="92" y="319"/>
                                <a:pt x="89" y="320"/>
                                <a:pt x="88" y="318"/>
                              </a:cubicBezTo>
                              <a:cubicBezTo>
                                <a:pt x="87" y="316"/>
                                <a:pt x="89" y="313"/>
                                <a:pt x="88" y="310"/>
                              </a:cubicBezTo>
                              <a:cubicBezTo>
                                <a:pt x="87" y="307"/>
                                <a:pt x="83" y="306"/>
                                <a:pt x="83" y="303"/>
                              </a:cubicBezTo>
                              <a:cubicBezTo>
                                <a:pt x="83" y="300"/>
                                <a:pt x="85" y="298"/>
                                <a:pt x="87" y="296"/>
                              </a:cubicBezTo>
                              <a:cubicBezTo>
                                <a:pt x="88" y="296"/>
                                <a:pt x="88" y="298"/>
                                <a:pt x="89" y="298"/>
                              </a:cubicBezTo>
                              <a:cubicBezTo>
                                <a:pt x="92" y="300"/>
                                <a:pt x="95" y="302"/>
                                <a:pt x="99" y="303"/>
                              </a:cubicBezTo>
                              <a:cubicBezTo>
                                <a:pt x="102" y="303"/>
                                <a:pt x="105" y="303"/>
                                <a:pt x="108" y="303"/>
                              </a:cubicBezTo>
                              <a:cubicBezTo>
                                <a:pt x="111" y="302"/>
                                <a:pt x="115" y="301"/>
                                <a:pt x="118" y="298"/>
                              </a:cubicBezTo>
                              <a:cubicBezTo>
                                <a:pt x="119" y="296"/>
                                <a:pt x="115" y="294"/>
                                <a:pt x="115" y="292"/>
                              </a:cubicBezTo>
                              <a:cubicBezTo>
                                <a:pt x="115" y="288"/>
                                <a:pt x="119" y="285"/>
                                <a:pt x="119" y="281"/>
                              </a:cubicBezTo>
                              <a:cubicBezTo>
                                <a:pt x="119" y="278"/>
                                <a:pt x="117" y="275"/>
                                <a:pt x="116" y="273"/>
                              </a:cubicBezTo>
                              <a:cubicBezTo>
                                <a:pt x="116" y="270"/>
                                <a:pt x="113" y="265"/>
                                <a:pt x="116" y="263"/>
                              </a:cubicBezTo>
                              <a:cubicBezTo>
                                <a:pt x="119" y="262"/>
                                <a:pt x="122" y="268"/>
                                <a:pt x="126" y="268"/>
                              </a:cubicBezTo>
                              <a:cubicBezTo>
                                <a:pt x="130" y="269"/>
                                <a:pt x="134" y="267"/>
                                <a:pt x="138" y="267"/>
                              </a:cubicBezTo>
                              <a:cubicBezTo>
                                <a:pt x="144" y="266"/>
                                <a:pt x="150" y="266"/>
                                <a:pt x="155" y="263"/>
                              </a:cubicBezTo>
                              <a:cubicBezTo>
                                <a:pt x="161" y="260"/>
                                <a:pt x="167" y="255"/>
                                <a:pt x="172" y="250"/>
                              </a:cubicBezTo>
                              <a:cubicBezTo>
                                <a:pt x="176" y="246"/>
                                <a:pt x="180" y="240"/>
                                <a:pt x="181" y="235"/>
                              </a:cubicBezTo>
                              <a:cubicBezTo>
                                <a:pt x="182" y="232"/>
                                <a:pt x="181" y="228"/>
                                <a:pt x="180" y="225"/>
                              </a:cubicBezTo>
                              <a:cubicBezTo>
                                <a:pt x="179" y="224"/>
                                <a:pt x="177" y="226"/>
                                <a:pt x="176" y="225"/>
                              </a:cubicBezTo>
                              <a:cubicBezTo>
                                <a:pt x="175" y="224"/>
                                <a:pt x="173" y="221"/>
                                <a:pt x="173" y="219"/>
                              </a:cubicBezTo>
                              <a:cubicBezTo>
                                <a:pt x="172" y="218"/>
                                <a:pt x="174" y="217"/>
                                <a:pt x="174" y="215"/>
                              </a:cubicBezTo>
                              <a:cubicBezTo>
                                <a:pt x="174" y="213"/>
                                <a:pt x="174" y="210"/>
                                <a:pt x="172" y="208"/>
                              </a:cubicBezTo>
                              <a:cubicBezTo>
                                <a:pt x="167" y="204"/>
                                <a:pt x="161" y="203"/>
                                <a:pt x="156" y="200"/>
                              </a:cubicBezTo>
                              <a:cubicBezTo>
                                <a:pt x="154" y="199"/>
                                <a:pt x="153" y="197"/>
                                <a:pt x="152" y="195"/>
                              </a:cubicBezTo>
                              <a:cubicBezTo>
                                <a:pt x="152" y="194"/>
                                <a:pt x="155" y="194"/>
                                <a:pt x="155" y="193"/>
                              </a:cubicBezTo>
                              <a:cubicBezTo>
                                <a:pt x="155" y="191"/>
                                <a:pt x="153" y="189"/>
                                <a:pt x="153" y="187"/>
                              </a:cubicBezTo>
                              <a:cubicBezTo>
                                <a:pt x="152" y="183"/>
                                <a:pt x="152" y="180"/>
                                <a:pt x="153" y="176"/>
                              </a:cubicBezTo>
                              <a:cubicBezTo>
                                <a:pt x="154" y="174"/>
                                <a:pt x="157" y="172"/>
                                <a:pt x="158" y="170"/>
                              </a:cubicBezTo>
                              <a:cubicBezTo>
                                <a:pt x="158" y="169"/>
                                <a:pt x="157" y="167"/>
                                <a:pt x="157" y="165"/>
                              </a:cubicBezTo>
                              <a:cubicBezTo>
                                <a:pt x="157" y="164"/>
                                <a:pt x="159" y="163"/>
                                <a:pt x="159" y="162"/>
                              </a:cubicBezTo>
                              <a:cubicBezTo>
                                <a:pt x="158" y="159"/>
                                <a:pt x="156" y="157"/>
                                <a:pt x="156" y="155"/>
                              </a:cubicBezTo>
                              <a:cubicBezTo>
                                <a:pt x="157" y="152"/>
                                <a:pt x="159" y="150"/>
                                <a:pt x="160" y="148"/>
                              </a:cubicBezTo>
                              <a:cubicBezTo>
                                <a:pt x="160" y="144"/>
                                <a:pt x="159" y="139"/>
                                <a:pt x="160" y="135"/>
                              </a:cubicBezTo>
                              <a:cubicBezTo>
                                <a:pt x="160" y="133"/>
                                <a:pt x="162" y="131"/>
                                <a:pt x="163" y="129"/>
                              </a:cubicBezTo>
                              <a:cubicBezTo>
                                <a:pt x="167" y="124"/>
                                <a:pt x="171" y="120"/>
                                <a:pt x="174" y="115"/>
                              </a:cubicBezTo>
                              <a:cubicBezTo>
                                <a:pt x="177" y="110"/>
                                <a:pt x="178" y="104"/>
                                <a:pt x="181" y="100"/>
                              </a:cubicBezTo>
                              <a:cubicBezTo>
                                <a:pt x="183" y="97"/>
                                <a:pt x="187" y="97"/>
                                <a:pt x="189" y="95"/>
                              </a:cubicBezTo>
                              <a:cubicBezTo>
                                <a:pt x="191" y="93"/>
                                <a:pt x="192" y="90"/>
                                <a:pt x="194" y="88"/>
                              </a:cubicBezTo>
                              <a:cubicBezTo>
                                <a:pt x="198" y="85"/>
                                <a:pt x="204" y="85"/>
                                <a:pt x="206" y="82"/>
                              </a:cubicBezTo>
                              <a:cubicBezTo>
                                <a:pt x="208" y="79"/>
                                <a:pt x="206" y="76"/>
                                <a:pt x="206" y="73"/>
                              </a:cubicBezTo>
                              <a:cubicBezTo>
                                <a:pt x="206" y="70"/>
                                <a:pt x="208" y="68"/>
                                <a:pt x="207" y="66"/>
                              </a:cubicBezTo>
                              <a:cubicBezTo>
                                <a:pt x="207" y="64"/>
                                <a:pt x="204" y="61"/>
                                <a:pt x="203" y="59"/>
                              </a:cubicBezTo>
                              <a:cubicBezTo>
                                <a:pt x="202" y="58"/>
                                <a:pt x="201" y="57"/>
                                <a:pt x="200" y="57"/>
                              </a:cubicBezTo>
                              <a:cubicBezTo>
                                <a:pt x="198" y="57"/>
                                <a:pt x="196" y="57"/>
                                <a:pt x="195" y="57"/>
                              </a:cubicBezTo>
                              <a:cubicBezTo>
                                <a:pt x="195" y="60"/>
                                <a:pt x="195" y="62"/>
                                <a:pt x="195" y="65"/>
                              </a:cubicBezTo>
                              <a:cubicBezTo>
                                <a:pt x="195" y="67"/>
                                <a:pt x="196" y="69"/>
                                <a:pt x="195" y="71"/>
                              </a:cubicBezTo>
                              <a:cubicBezTo>
                                <a:pt x="193" y="73"/>
                                <a:pt x="190" y="75"/>
                                <a:pt x="188" y="77"/>
                              </a:cubicBezTo>
                              <a:cubicBezTo>
                                <a:pt x="186" y="80"/>
                                <a:pt x="185" y="83"/>
                                <a:pt x="183" y="86"/>
                              </a:cubicBezTo>
                              <a:cubicBezTo>
                                <a:pt x="182" y="86"/>
                                <a:pt x="182" y="85"/>
                                <a:pt x="181" y="85"/>
                              </a:cubicBezTo>
                              <a:cubicBezTo>
                                <a:pt x="180" y="84"/>
                                <a:pt x="178" y="83"/>
                                <a:pt x="176" y="84"/>
                              </a:cubicBezTo>
                              <a:cubicBezTo>
                                <a:pt x="173" y="84"/>
                                <a:pt x="171" y="87"/>
                                <a:pt x="168" y="87"/>
                              </a:cubicBezTo>
                              <a:cubicBezTo>
                                <a:pt x="164" y="87"/>
                                <a:pt x="160" y="84"/>
                                <a:pt x="155" y="83"/>
                              </a:cubicBezTo>
                              <a:cubicBezTo>
                                <a:pt x="152" y="82"/>
                                <a:pt x="147" y="86"/>
                                <a:pt x="146" y="83"/>
                              </a:cubicBezTo>
                              <a:cubicBezTo>
                                <a:pt x="144" y="80"/>
                                <a:pt x="149" y="77"/>
                                <a:pt x="150" y="74"/>
                              </a:cubicBezTo>
                              <a:cubicBezTo>
                                <a:pt x="150" y="72"/>
                                <a:pt x="148" y="69"/>
                                <a:pt x="150" y="67"/>
                              </a:cubicBezTo>
                              <a:cubicBezTo>
                                <a:pt x="151" y="66"/>
                                <a:pt x="155" y="67"/>
                                <a:pt x="156" y="65"/>
                              </a:cubicBezTo>
                              <a:cubicBezTo>
                                <a:pt x="157" y="62"/>
                                <a:pt x="157" y="58"/>
                                <a:pt x="156" y="54"/>
                              </a:cubicBezTo>
                              <a:cubicBezTo>
                                <a:pt x="156" y="52"/>
                                <a:pt x="155" y="50"/>
                                <a:pt x="153" y="49"/>
                              </a:cubicBezTo>
                              <a:cubicBezTo>
                                <a:pt x="148" y="47"/>
                                <a:pt x="143" y="47"/>
                                <a:pt x="139" y="45"/>
                              </a:cubicBezTo>
                              <a:cubicBezTo>
                                <a:pt x="134" y="42"/>
                                <a:pt x="131" y="37"/>
                                <a:pt x="127" y="35"/>
                              </a:cubicBezTo>
                              <a:cubicBezTo>
                                <a:pt x="125" y="34"/>
                                <a:pt x="122" y="36"/>
                                <a:pt x="120" y="35"/>
                              </a:cubicBezTo>
                              <a:cubicBezTo>
                                <a:pt x="117" y="33"/>
                                <a:pt x="115" y="31"/>
                                <a:pt x="112" y="29"/>
                              </a:cubicBezTo>
                              <a:cubicBezTo>
                                <a:pt x="108" y="26"/>
                                <a:pt x="104" y="25"/>
                                <a:pt x="100" y="22"/>
                              </a:cubicBezTo>
                              <a:cubicBezTo>
                                <a:pt x="98" y="19"/>
                                <a:pt x="98" y="16"/>
                                <a:pt x="96" y="14"/>
                              </a:cubicBezTo>
                              <a:cubicBezTo>
                                <a:pt x="95" y="12"/>
                                <a:pt x="93" y="10"/>
                                <a:pt x="91" y="8"/>
                              </a:cubicBezTo>
                              <a:cubicBezTo>
                                <a:pt x="90" y="7"/>
                                <a:pt x="89" y="5"/>
                                <a:pt x="88" y="4"/>
                              </a:cubicBezTo>
                              <a:cubicBezTo>
                                <a:pt x="84" y="3"/>
                                <a:pt x="79" y="3"/>
                                <a:pt x="75" y="4"/>
                              </a:cubicBezTo>
                              <a:cubicBezTo>
                                <a:pt x="73" y="5"/>
                                <a:pt x="72" y="8"/>
                                <a:pt x="71" y="11"/>
                              </a:cubicBezTo>
                              <a:cubicBezTo>
                                <a:pt x="70" y="13"/>
                                <a:pt x="72" y="20"/>
                                <a:pt x="70" y="18"/>
                              </a:cubicBezTo>
                              <a:cubicBezTo>
                                <a:pt x="67" y="16"/>
                                <a:pt x="69" y="9"/>
                                <a:pt x="66" y="7"/>
                              </a:cubicBezTo>
                              <a:cubicBezTo>
                                <a:pt x="63" y="5"/>
                                <a:pt x="57" y="8"/>
                                <a:pt x="53" y="6"/>
                              </a:cubicBezTo>
                              <a:cubicBezTo>
                                <a:pt x="50" y="5"/>
                                <a:pt x="49" y="0"/>
                                <a:pt x="46" y="1"/>
                              </a:cubicBezTo>
                              <a:cubicBezTo>
                                <a:pt x="44" y="1"/>
                                <a:pt x="46" y="6"/>
                                <a:pt x="44" y="7"/>
                              </a:cubicBezTo>
                              <a:cubicBezTo>
                                <a:pt x="44" y="9"/>
                                <a:pt x="42" y="8"/>
                                <a:pt x="41" y="9"/>
                              </a:cubicBezTo>
                              <a:cubicBezTo>
                                <a:pt x="39" y="10"/>
                                <a:pt x="38" y="11"/>
                                <a:pt x="38" y="12"/>
                              </a:cubicBezTo>
                              <a:cubicBezTo>
                                <a:pt x="36" y="14"/>
                                <a:pt x="35" y="16"/>
                                <a:pt x="34" y="17"/>
                              </a:cubicBezTo>
                              <a:cubicBezTo>
                                <a:pt x="35" y="19"/>
                                <a:pt x="36" y="22"/>
                                <a:pt x="36" y="24"/>
                              </a:cubicBezTo>
                              <a:cubicBezTo>
                                <a:pt x="35" y="28"/>
                                <a:pt x="36" y="32"/>
                                <a:pt x="33" y="36"/>
                              </a:cubicBezTo>
                              <a:cubicBezTo>
                                <a:pt x="31" y="39"/>
                                <a:pt x="26" y="39"/>
                                <a:pt x="23" y="41"/>
                              </a:cubicBezTo>
                              <a:cubicBezTo>
                                <a:pt x="21" y="42"/>
                                <a:pt x="18" y="44"/>
                                <a:pt x="18" y="46"/>
                              </a:cubicBezTo>
                              <a:cubicBezTo>
                                <a:pt x="18" y="49"/>
                                <a:pt x="22" y="50"/>
                                <a:pt x="23" y="52"/>
                              </a:cubicBezTo>
                              <a:cubicBezTo>
                                <a:pt x="23" y="53"/>
                                <a:pt x="21" y="52"/>
                                <a:pt x="21" y="53"/>
                              </a:cubicBezTo>
                              <a:cubicBezTo>
                                <a:pt x="20" y="55"/>
                                <a:pt x="20" y="57"/>
                                <a:pt x="20" y="58"/>
                              </a:cubicBezTo>
                              <a:cubicBezTo>
                                <a:pt x="21" y="62"/>
                                <a:pt x="23" y="65"/>
                                <a:pt x="23" y="68"/>
                              </a:cubicBezTo>
                              <a:cubicBezTo>
                                <a:pt x="23" y="71"/>
                                <a:pt x="21" y="73"/>
                                <a:pt x="22" y="75"/>
                              </a:cubicBezTo>
                              <a:cubicBezTo>
                                <a:pt x="22" y="77"/>
                                <a:pt x="27" y="79"/>
                                <a:pt x="26" y="82"/>
                              </a:cubicBezTo>
                              <a:cubicBezTo>
                                <a:pt x="25" y="84"/>
                                <a:pt x="20" y="81"/>
                                <a:pt x="19" y="83"/>
                              </a:cubicBezTo>
                              <a:cubicBezTo>
                                <a:pt x="17" y="86"/>
                                <a:pt x="18" y="91"/>
                                <a:pt x="16" y="95"/>
                              </a:cubicBezTo>
                              <a:cubicBezTo>
                                <a:pt x="15" y="98"/>
                                <a:pt x="11" y="100"/>
                                <a:pt x="9" y="103"/>
                              </a:cubicBezTo>
                              <a:cubicBezTo>
                                <a:pt x="8" y="106"/>
                                <a:pt x="11" y="112"/>
                                <a:pt x="9" y="111"/>
                              </a:cubicBezTo>
                              <a:cubicBezTo>
                                <a:pt x="8" y="113"/>
                                <a:pt x="8" y="114"/>
                                <a:pt x="7" y="115"/>
                              </a:cubicBezTo>
                              <a:cubicBezTo>
                                <a:pt x="11" y="116"/>
                                <a:pt x="10" y="123"/>
                                <a:pt x="10" y="127"/>
                              </a:cubicBezTo>
                              <a:cubicBezTo>
                                <a:pt x="9" y="132"/>
                                <a:pt x="5" y="136"/>
                                <a:pt x="4" y="141"/>
                              </a:cubicBezTo>
                              <a:cubicBezTo>
                                <a:pt x="3" y="144"/>
                                <a:pt x="3" y="147"/>
                                <a:pt x="4" y="151"/>
                              </a:cubicBezTo>
                              <a:cubicBezTo>
                                <a:pt x="4" y="153"/>
                                <a:pt x="7" y="154"/>
                                <a:pt x="7" y="156"/>
                              </a:cubicBezTo>
                              <a:cubicBezTo>
                                <a:pt x="7" y="158"/>
                                <a:pt x="4" y="159"/>
                                <a:pt x="5" y="160"/>
                              </a:cubicBezTo>
                              <a:cubicBezTo>
                                <a:pt x="6" y="163"/>
                                <a:pt x="10" y="163"/>
                                <a:pt x="11" y="165"/>
                              </a:cubicBezTo>
                              <a:cubicBezTo>
                                <a:pt x="12" y="169"/>
                                <a:pt x="9" y="173"/>
                                <a:pt x="10" y="176"/>
                              </a:cubicBezTo>
                              <a:cubicBezTo>
                                <a:pt x="11" y="178"/>
                                <a:pt x="15" y="174"/>
                                <a:pt x="15" y="176"/>
                              </a:cubicBezTo>
                              <a:cubicBezTo>
                                <a:pt x="17" y="179"/>
                                <a:pt x="14" y="184"/>
                                <a:pt x="14" y="187"/>
                              </a:cubicBezTo>
                              <a:cubicBezTo>
                                <a:pt x="12" y="193"/>
                                <a:pt x="10" y="199"/>
                                <a:pt x="9" y="207"/>
                              </a:cubicBezTo>
                              <a:cubicBezTo>
                                <a:pt x="9" y="208"/>
                                <a:pt x="7" y="208"/>
                                <a:pt x="7" y="209"/>
                              </a:cubicBezTo>
                              <a:cubicBezTo>
                                <a:pt x="7" y="214"/>
                                <a:pt x="12" y="214"/>
                                <a:pt x="10" y="222"/>
                              </a:cubicBezTo>
                              <a:cubicBezTo>
                                <a:pt x="9" y="225"/>
                                <a:pt x="3" y="224"/>
                                <a:pt x="2" y="226"/>
                              </a:cubicBezTo>
                              <a:cubicBezTo>
                                <a:pt x="1" y="233"/>
                                <a:pt x="3" y="239"/>
                                <a:pt x="5" y="246"/>
                              </a:cubicBezTo>
                              <a:cubicBezTo>
                                <a:pt x="6" y="251"/>
                                <a:pt x="11" y="255"/>
                                <a:pt x="10" y="260"/>
                              </a:cubicBezTo>
                              <a:cubicBezTo>
                                <a:pt x="10" y="263"/>
                                <a:pt x="4" y="263"/>
                                <a:pt x="2" y="265"/>
                              </a:cubicBezTo>
                              <a:cubicBezTo>
                                <a:pt x="1" y="268"/>
                                <a:pt x="4" y="271"/>
                                <a:pt x="4" y="274"/>
                              </a:cubicBezTo>
                              <a:cubicBezTo>
                                <a:pt x="4" y="276"/>
                                <a:pt x="2" y="278"/>
                                <a:pt x="2" y="280"/>
                              </a:cubicBezTo>
                              <a:cubicBezTo>
                                <a:pt x="2" y="283"/>
                                <a:pt x="2" y="286"/>
                                <a:pt x="2" y="289"/>
                              </a:cubicBezTo>
                              <a:cubicBezTo>
                                <a:pt x="1" y="293"/>
                                <a:pt x="1" y="297"/>
                                <a:pt x="1" y="301"/>
                              </a:cubicBezTo>
                              <a:cubicBezTo>
                                <a:pt x="2" y="305"/>
                                <a:pt x="5" y="308"/>
                                <a:pt x="5" y="312"/>
                              </a:cubicBezTo>
                              <a:cubicBezTo>
                                <a:pt x="6" y="315"/>
                                <a:pt x="3" y="317"/>
                                <a:pt x="3" y="320"/>
                              </a:cubicBezTo>
                              <a:cubicBezTo>
                                <a:pt x="2" y="324"/>
                                <a:pt x="1" y="328"/>
                                <a:pt x="3" y="333"/>
                              </a:cubicBezTo>
                              <a:cubicBezTo>
                                <a:pt x="3" y="334"/>
                                <a:pt x="6" y="333"/>
                                <a:pt x="7" y="334"/>
                              </a:cubicBezTo>
                              <a:cubicBezTo>
                                <a:pt x="8" y="335"/>
                                <a:pt x="7" y="336"/>
                                <a:pt x="7" y="337"/>
                              </a:cubicBezTo>
                              <a:cubicBezTo>
                                <a:pt x="7" y="341"/>
                                <a:pt x="9" y="344"/>
                                <a:pt x="9" y="347"/>
                              </a:cubicBezTo>
                              <a:cubicBezTo>
                                <a:pt x="10" y="350"/>
                                <a:pt x="7" y="353"/>
                                <a:pt x="9" y="356"/>
                              </a:cubicBezTo>
                              <a:cubicBezTo>
                                <a:pt x="11" y="358"/>
                                <a:pt x="15" y="356"/>
                                <a:pt x="17" y="357"/>
                              </a:cubicBezTo>
                              <a:cubicBezTo>
                                <a:pt x="19" y="357"/>
                                <a:pt x="19" y="359"/>
                                <a:pt x="19" y="360"/>
                              </a:cubicBezTo>
                              <a:cubicBezTo>
                                <a:pt x="19" y="361"/>
                                <a:pt x="18" y="363"/>
                                <a:pt x="17" y="363"/>
                              </a:cubicBezTo>
                              <a:cubicBezTo>
                                <a:pt x="15" y="364"/>
                                <a:pt x="14" y="361"/>
                                <a:pt x="12" y="361"/>
                              </a:cubicBezTo>
                              <a:cubicBezTo>
                                <a:pt x="11" y="361"/>
                                <a:pt x="7" y="362"/>
                                <a:pt x="8" y="363"/>
                              </a:cubicBezTo>
                              <a:cubicBezTo>
                                <a:pt x="10" y="366"/>
                                <a:pt x="17" y="365"/>
                                <a:pt x="18" y="369"/>
                              </a:cubicBezTo>
                              <a:cubicBezTo>
                                <a:pt x="19" y="372"/>
                                <a:pt x="12" y="373"/>
                                <a:pt x="11" y="376"/>
                              </a:cubicBezTo>
                              <a:cubicBezTo>
                                <a:pt x="11" y="378"/>
                                <a:pt x="16" y="379"/>
                                <a:pt x="16" y="381"/>
                              </a:cubicBezTo>
                              <a:cubicBezTo>
                                <a:pt x="17" y="385"/>
                                <a:pt x="16" y="388"/>
                                <a:pt x="16" y="391"/>
                              </a:cubicBezTo>
                              <a:cubicBezTo>
                                <a:pt x="15" y="393"/>
                                <a:pt x="14" y="394"/>
                                <a:pt x="13" y="396"/>
                              </a:cubicBezTo>
                              <a:cubicBezTo>
                                <a:pt x="13" y="397"/>
                                <a:pt x="13" y="399"/>
                                <a:pt x="13" y="400"/>
                              </a:cubicBezTo>
                              <a:cubicBezTo>
                                <a:pt x="11" y="404"/>
                                <a:pt x="7" y="407"/>
                                <a:pt x="7" y="411"/>
                              </a:cubicBezTo>
                              <a:cubicBezTo>
                                <a:pt x="7" y="414"/>
                                <a:pt x="13" y="415"/>
                                <a:pt x="14" y="417"/>
                              </a:cubicBezTo>
                              <a:cubicBezTo>
                                <a:pt x="14" y="421"/>
                                <a:pt x="12" y="424"/>
                                <a:pt x="11" y="427"/>
                              </a:cubicBezTo>
                              <a:cubicBezTo>
                                <a:pt x="10" y="429"/>
                                <a:pt x="10" y="431"/>
                                <a:pt x="8" y="433"/>
                              </a:cubicBezTo>
                              <a:cubicBezTo>
                                <a:pt x="6" y="436"/>
                                <a:pt x="2" y="437"/>
                                <a:pt x="1" y="441"/>
                              </a:cubicBezTo>
                              <a:cubicBezTo>
                                <a:pt x="0" y="445"/>
                                <a:pt x="1" y="450"/>
                                <a:pt x="3" y="453"/>
                              </a:cubicBezTo>
                              <a:cubicBezTo>
                                <a:pt x="5" y="457"/>
                                <a:pt x="4" y="462"/>
                                <a:pt x="8" y="465"/>
                              </a:cubicBezTo>
                              <a:cubicBezTo>
                                <a:pt x="10" y="466"/>
                                <a:pt x="14" y="460"/>
                                <a:pt x="16" y="463"/>
                              </a:cubicBezTo>
                              <a:cubicBezTo>
                                <a:pt x="20" y="466"/>
                                <a:pt x="19" y="472"/>
                                <a:pt x="21" y="477"/>
                              </a:cubicBezTo>
                              <a:cubicBezTo>
                                <a:pt x="21" y="478"/>
                                <a:pt x="21" y="478"/>
                                <a:pt x="22" y="479"/>
                              </a:cubicBezTo>
                              <a:cubicBezTo>
                                <a:pt x="23" y="482"/>
                                <a:pt x="24" y="487"/>
                                <a:pt x="27" y="488"/>
                              </a:cubicBezTo>
                              <a:cubicBezTo>
                                <a:pt x="34" y="490"/>
                                <a:pt x="41" y="487"/>
                                <a:pt x="49" y="488"/>
                              </a:cubicBezTo>
                              <a:cubicBezTo>
                                <a:pt x="52" y="488"/>
                                <a:pt x="55" y="490"/>
                                <a:pt x="58" y="491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21" name="Freeform 2532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46114" y="3182897"/>
                          <a:ext cx="91716" cy="544917"/>
                        </a:xfrm>
                        <a:custGeom>
                          <a:avLst/>
                          <a:gdLst>
                            <a:gd name="T0" fmla="*/ 71 w 68"/>
                            <a:gd name="T1" fmla="*/ 92 h 547"/>
                            <a:gd name="T2" fmla="*/ 61 w 68"/>
                            <a:gd name="T3" fmla="*/ 60 h 547"/>
                            <a:gd name="T4" fmla="*/ 54 w 68"/>
                            <a:gd name="T5" fmla="*/ 50 h 547"/>
                            <a:gd name="T6" fmla="*/ 54 w 68"/>
                            <a:gd name="T7" fmla="*/ 37 h 547"/>
                            <a:gd name="T8" fmla="*/ 47 w 68"/>
                            <a:gd name="T9" fmla="*/ 7 h 547"/>
                            <a:gd name="T10" fmla="*/ 35 w 68"/>
                            <a:gd name="T11" fmla="*/ 11 h 547"/>
                            <a:gd name="T12" fmla="*/ 34 w 68"/>
                            <a:gd name="T13" fmla="*/ 43 h 547"/>
                            <a:gd name="T14" fmla="*/ 34 w 68"/>
                            <a:gd name="T15" fmla="*/ 97 h 547"/>
                            <a:gd name="T16" fmla="*/ 34 w 68"/>
                            <a:gd name="T17" fmla="*/ 133 h 547"/>
                            <a:gd name="T18" fmla="*/ 33 w 68"/>
                            <a:gd name="T19" fmla="*/ 165 h 547"/>
                            <a:gd name="T20" fmla="*/ 28 w 68"/>
                            <a:gd name="T21" fmla="*/ 223 h 547"/>
                            <a:gd name="T22" fmla="*/ 30 w 68"/>
                            <a:gd name="T23" fmla="*/ 273 h 547"/>
                            <a:gd name="T24" fmla="*/ 27 w 68"/>
                            <a:gd name="T25" fmla="*/ 305 h 547"/>
                            <a:gd name="T26" fmla="*/ 13 w 68"/>
                            <a:gd name="T27" fmla="*/ 354 h 547"/>
                            <a:gd name="T28" fmla="*/ 12 w 68"/>
                            <a:gd name="T29" fmla="*/ 386 h 547"/>
                            <a:gd name="T30" fmla="*/ 12 w 68"/>
                            <a:gd name="T31" fmla="*/ 437 h 547"/>
                            <a:gd name="T32" fmla="*/ 27 w 68"/>
                            <a:gd name="T33" fmla="*/ 433 h 547"/>
                            <a:gd name="T34" fmla="*/ 34 w 68"/>
                            <a:gd name="T35" fmla="*/ 447 h 547"/>
                            <a:gd name="T36" fmla="*/ 36 w 68"/>
                            <a:gd name="T37" fmla="*/ 458 h 547"/>
                            <a:gd name="T38" fmla="*/ 34 w 68"/>
                            <a:gd name="T39" fmla="*/ 491 h 547"/>
                            <a:gd name="T40" fmla="*/ 37 w 68"/>
                            <a:gd name="T41" fmla="*/ 511 h 547"/>
                            <a:gd name="T42" fmla="*/ 28 w 68"/>
                            <a:gd name="T43" fmla="*/ 543 h 547"/>
                            <a:gd name="T44" fmla="*/ 10 w 68"/>
                            <a:gd name="T45" fmla="*/ 529 h 547"/>
                            <a:gd name="T46" fmla="*/ 5 w 68"/>
                            <a:gd name="T47" fmla="*/ 542 h 547"/>
                            <a:gd name="T48" fmla="*/ 27 w 68"/>
                            <a:gd name="T49" fmla="*/ 548 h 547"/>
                            <a:gd name="T50" fmla="*/ 17 w 68"/>
                            <a:gd name="T51" fmla="*/ 562 h 547"/>
                            <a:gd name="T52" fmla="*/ 36 w 68"/>
                            <a:gd name="T53" fmla="*/ 574 h 547"/>
                            <a:gd name="T54" fmla="*/ 22 w 68"/>
                            <a:gd name="T55" fmla="*/ 578 h 547"/>
                            <a:gd name="T56" fmla="*/ 29 w 68"/>
                            <a:gd name="T57" fmla="*/ 602 h 547"/>
                            <a:gd name="T58" fmla="*/ 30 w 68"/>
                            <a:gd name="T59" fmla="*/ 609 h 547"/>
                            <a:gd name="T60" fmla="*/ 34 w 68"/>
                            <a:gd name="T61" fmla="*/ 627 h 547"/>
                            <a:gd name="T62" fmla="*/ 41 w 68"/>
                            <a:gd name="T63" fmla="*/ 639 h 547"/>
                            <a:gd name="T64" fmla="*/ 53 w 68"/>
                            <a:gd name="T65" fmla="*/ 650 h 547"/>
                            <a:gd name="T66" fmla="*/ 58 w 68"/>
                            <a:gd name="T67" fmla="*/ 644 h 547"/>
                            <a:gd name="T68" fmla="*/ 58 w 68"/>
                            <a:gd name="T69" fmla="*/ 628 h 547"/>
                            <a:gd name="T70" fmla="*/ 40 w 68"/>
                            <a:gd name="T71" fmla="*/ 602 h 547"/>
                            <a:gd name="T72" fmla="*/ 55 w 68"/>
                            <a:gd name="T73" fmla="*/ 573 h 547"/>
                            <a:gd name="T74" fmla="*/ 54 w 68"/>
                            <a:gd name="T75" fmla="*/ 548 h 547"/>
                            <a:gd name="T76" fmla="*/ 52 w 68"/>
                            <a:gd name="T77" fmla="*/ 524 h 547"/>
                            <a:gd name="T78" fmla="*/ 53 w 68"/>
                            <a:gd name="T79" fmla="*/ 506 h 547"/>
                            <a:gd name="T80" fmla="*/ 59 w 68"/>
                            <a:gd name="T81" fmla="*/ 501 h 547"/>
                            <a:gd name="T82" fmla="*/ 47 w 68"/>
                            <a:gd name="T83" fmla="*/ 477 h 547"/>
                            <a:gd name="T84" fmla="*/ 42 w 68"/>
                            <a:gd name="T85" fmla="*/ 457 h 547"/>
                            <a:gd name="T86" fmla="*/ 41 w 68"/>
                            <a:gd name="T87" fmla="*/ 420 h 547"/>
                            <a:gd name="T88" fmla="*/ 41 w 68"/>
                            <a:gd name="T89" fmla="*/ 391 h 547"/>
                            <a:gd name="T90" fmla="*/ 41 w 68"/>
                            <a:gd name="T91" fmla="*/ 344 h 547"/>
                            <a:gd name="T92" fmla="*/ 49 w 68"/>
                            <a:gd name="T93" fmla="*/ 321 h 547"/>
                            <a:gd name="T94" fmla="*/ 51 w 68"/>
                            <a:gd name="T95" fmla="*/ 284 h 547"/>
                            <a:gd name="T96" fmla="*/ 47 w 68"/>
                            <a:gd name="T97" fmla="*/ 260 h 547"/>
                            <a:gd name="T98" fmla="*/ 51 w 68"/>
                            <a:gd name="T99" fmla="*/ 225 h 547"/>
                            <a:gd name="T100" fmla="*/ 49 w 68"/>
                            <a:gd name="T101" fmla="*/ 197 h 547"/>
                            <a:gd name="T102" fmla="*/ 70 w 68"/>
                            <a:gd name="T103" fmla="*/ 171 h 547"/>
                            <a:gd name="T104" fmla="*/ 63 w 68"/>
                            <a:gd name="T105" fmla="*/ 143 h 547"/>
                            <a:gd name="T106" fmla="*/ 60 w 68"/>
                            <a:gd name="T107" fmla="*/ 128 h 547"/>
                            <a:gd name="T108" fmla="*/ 82 w 68"/>
                            <a:gd name="T109" fmla="*/ 102 h 547"/>
                            <a:gd name="T110" fmla="*/ 0 60000 65536"/>
                            <a:gd name="T111" fmla="*/ 0 60000 65536"/>
                            <a:gd name="T112" fmla="*/ 0 60000 65536"/>
                            <a:gd name="T113" fmla="*/ 0 60000 65536"/>
                            <a:gd name="T114" fmla="*/ 0 60000 65536"/>
                            <a:gd name="T115" fmla="*/ 0 60000 65536"/>
                            <a:gd name="T116" fmla="*/ 0 60000 65536"/>
                            <a:gd name="T117" fmla="*/ 0 60000 65536"/>
                            <a:gd name="T118" fmla="*/ 0 60000 65536"/>
                            <a:gd name="T119" fmla="*/ 0 60000 65536"/>
                            <a:gd name="T120" fmla="*/ 0 60000 65536"/>
                            <a:gd name="T121" fmla="*/ 0 60000 65536"/>
                            <a:gd name="T122" fmla="*/ 0 60000 65536"/>
                            <a:gd name="T123" fmla="*/ 0 60000 65536"/>
                            <a:gd name="T124" fmla="*/ 0 60000 65536"/>
                            <a:gd name="T125" fmla="*/ 0 60000 65536"/>
                            <a:gd name="T126" fmla="*/ 0 60000 65536"/>
                            <a:gd name="T127" fmla="*/ 0 60000 65536"/>
                            <a:gd name="T128" fmla="*/ 0 60000 65536"/>
                            <a:gd name="T129" fmla="*/ 0 60000 65536"/>
                            <a:gd name="T130" fmla="*/ 0 60000 65536"/>
                            <a:gd name="T131" fmla="*/ 0 60000 65536"/>
                            <a:gd name="T132" fmla="*/ 0 60000 65536"/>
                            <a:gd name="T133" fmla="*/ 0 60000 65536"/>
                            <a:gd name="T134" fmla="*/ 0 60000 65536"/>
                            <a:gd name="T135" fmla="*/ 0 60000 65536"/>
                            <a:gd name="T136" fmla="*/ 0 60000 65536"/>
                            <a:gd name="T137" fmla="*/ 0 60000 65536"/>
                            <a:gd name="T138" fmla="*/ 0 60000 65536"/>
                            <a:gd name="T139" fmla="*/ 0 60000 65536"/>
                            <a:gd name="T140" fmla="*/ 0 60000 65536"/>
                            <a:gd name="T141" fmla="*/ 0 60000 65536"/>
                            <a:gd name="T142" fmla="*/ 0 60000 65536"/>
                            <a:gd name="T143" fmla="*/ 0 60000 65536"/>
                            <a:gd name="T144" fmla="*/ 0 60000 65536"/>
                            <a:gd name="T145" fmla="*/ 0 60000 65536"/>
                            <a:gd name="T146" fmla="*/ 0 60000 65536"/>
                            <a:gd name="T147" fmla="*/ 0 60000 65536"/>
                            <a:gd name="T148" fmla="*/ 0 60000 65536"/>
                            <a:gd name="T149" fmla="*/ 0 60000 65536"/>
                            <a:gd name="T150" fmla="*/ 0 60000 65536"/>
                            <a:gd name="T151" fmla="*/ 0 60000 65536"/>
                            <a:gd name="T152" fmla="*/ 0 60000 65536"/>
                            <a:gd name="T153" fmla="*/ 0 60000 65536"/>
                            <a:gd name="T154" fmla="*/ 0 60000 65536"/>
                            <a:gd name="T155" fmla="*/ 0 60000 65536"/>
                            <a:gd name="T156" fmla="*/ 0 60000 65536"/>
                            <a:gd name="T157" fmla="*/ 0 60000 65536"/>
                            <a:gd name="T158" fmla="*/ 0 60000 65536"/>
                            <a:gd name="T159" fmla="*/ 0 60000 65536"/>
                            <a:gd name="T160" fmla="*/ 0 60000 65536"/>
                            <a:gd name="T161" fmla="*/ 0 60000 65536"/>
                            <a:gd name="T162" fmla="*/ 0 60000 65536"/>
                            <a:gd name="T163" fmla="*/ 0 60000 65536"/>
                            <a:gd name="T164" fmla="*/ 0 60000 65536"/>
                            <a:gd name="T165" fmla="*/ 0 w 68"/>
                            <a:gd name="T166" fmla="*/ 0 h 547"/>
                            <a:gd name="T167" fmla="*/ 68 w 68"/>
                            <a:gd name="T168" fmla="*/ 547 h 547"/>
                          </a:gdLst>
                          <a:ahLst/>
                          <a:cxnLst>
                            <a:cxn ang="T110">
                              <a:pos x="T0" y="T1"/>
                            </a:cxn>
                            <a:cxn ang="T111">
                              <a:pos x="T2" y="T3"/>
                            </a:cxn>
                            <a:cxn ang="T112">
                              <a:pos x="T4" y="T5"/>
                            </a:cxn>
                            <a:cxn ang="T113">
                              <a:pos x="T6" y="T7"/>
                            </a:cxn>
                            <a:cxn ang="T114">
                              <a:pos x="T8" y="T9"/>
                            </a:cxn>
                            <a:cxn ang="T115">
                              <a:pos x="T10" y="T11"/>
                            </a:cxn>
                            <a:cxn ang="T116">
                              <a:pos x="T12" y="T13"/>
                            </a:cxn>
                            <a:cxn ang="T117">
                              <a:pos x="T14" y="T15"/>
                            </a:cxn>
                            <a:cxn ang="T118">
                              <a:pos x="T16" y="T17"/>
                            </a:cxn>
                            <a:cxn ang="T119">
                              <a:pos x="T18" y="T19"/>
                            </a:cxn>
                            <a:cxn ang="T120">
                              <a:pos x="T20" y="T21"/>
                            </a:cxn>
                            <a:cxn ang="T121">
                              <a:pos x="T22" y="T23"/>
                            </a:cxn>
                            <a:cxn ang="T122">
                              <a:pos x="T24" y="T25"/>
                            </a:cxn>
                            <a:cxn ang="T123">
                              <a:pos x="T26" y="T27"/>
                            </a:cxn>
                            <a:cxn ang="T124">
                              <a:pos x="T28" y="T29"/>
                            </a:cxn>
                            <a:cxn ang="T125">
                              <a:pos x="T30" y="T31"/>
                            </a:cxn>
                            <a:cxn ang="T126">
                              <a:pos x="T32" y="T33"/>
                            </a:cxn>
                            <a:cxn ang="T127">
                              <a:pos x="T34" y="T35"/>
                            </a:cxn>
                            <a:cxn ang="T128">
                              <a:pos x="T36" y="T37"/>
                            </a:cxn>
                            <a:cxn ang="T129">
                              <a:pos x="T38" y="T39"/>
                            </a:cxn>
                            <a:cxn ang="T130">
                              <a:pos x="T40" y="T41"/>
                            </a:cxn>
                            <a:cxn ang="T131">
                              <a:pos x="T42" y="T43"/>
                            </a:cxn>
                            <a:cxn ang="T132">
                              <a:pos x="T44" y="T45"/>
                            </a:cxn>
                            <a:cxn ang="T133">
                              <a:pos x="T46" y="T47"/>
                            </a:cxn>
                            <a:cxn ang="T134">
                              <a:pos x="T48" y="T49"/>
                            </a:cxn>
                            <a:cxn ang="T135">
                              <a:pos x="T50" y="T51"/>
                            </a:cxn>
                            <a:cxn ang="T136">
                              <a:pos x="T52" y="T53"/>
                            </a:cxn>
                            <a:cxn ang="T137">
                              <a:pos x="T54" y="T55"/>
                            </a:cxn>
                            <a:cxn ang="T138">
                              <a:pos x="T56" y="T57"/>
                            </a:cxn>
                            <a:cxn ang="T139">
                              <a:pos x="T58" y="T59"/>
                            </a:cxn>
                            <a:cxn ang="T140">
                              <a:pos x="T60" y="T61"/>
                            </a:cxn>
                            <a:cxn ang="T141">
                              <a:pos x="T62" y="T63"/>
                            </a:cxn>
                            <a:cxn ang="T142">
                              <a:pos x="T64" y="T65"/>
                            </a:cxn>
                            <a:cxn ang="T143">
                              <a:pos x="T66" y="T67"/>
                            </a:cxn>
                            <a:cxn ang="T144">
                              <a:pos x="T68" y="T69"/>
                            </a:cxn>
                            <a:cxn ang="T145">
                              <a:pos x="T70" y="T71"/>
                            </a:cxn>
                            <a:cxn ang="T146">
                              <a:pos x="T72" y="T73"/>
                            </a:cxn>
                            <a:cxn ang="T147">
                              <a:pos x="T74" y="T75"/>
                            </a:cxn>
                            <a:cxn ang="T148">
                              <a:pos x="T76" y="T77"/>
                            </a:cxn>
                            <a:cxn ang="T149">
                              <a:pos x="T78" y="T79"/>
                            </a:cxn>
                            <a:cxn ang="T150">
                              <a:pos x="T80" y="T81"/>
                            </a:cxn>
                            <a:cxn ang="T151">
                              <a:pos x="T82" y="T83"/>
                            </a:cxn>
                            <a:cxn ang="T152">
                              <a:pos x="T84" y="T85"/>
                            </a:cxn>
                            <a:cxn ang="T153">
                              <a:pos x="T86" y="T87"/>
                            </a:cxn>
                            <a:cxn ang="T154">
                              <a:pos x="T88" y="T89"/>
                            </a:cxn>
                            <a:cxn ang="T155">
                              <a:pos x="T90" y="T91"/>
                            </a:cxn>
                            <a:cxn ang="T156">
                              <a:pos x="T92" y="T93"/>
                            </a:cxn>
                            <a:cxn ang="T157">
                              <a:pos x="T94" y="T95"/>
                            </a:cxn>
                            <a:cxn ang="T158">
                              <a:pos x="T96" y="T97"/>
                            </a:cxn>
                            <a:cxn ang="T159">
                              <a:pos x="T98" y="T99"/>
                            </a:cxn>
                            <a:cxn ang="T160">
                              <a:pos x="T100" y="T101"/>
                            </a:cxn>
                            <a:cxn ang="T161">
                              <a:pos x="T102" y="T103"/>
                            </a:cxn>
                            <a:cxn ang="T162">
                              <a:pos x="T104" y="T105"/>
                            </a:cxn>
                            <a:cxn ang="T163">
                              <a:pos x="T106" y="T107"/>
                            </a:cxn>
                            <a:cxn ang="T164">
                              <a:pos x="T108" y="T109"/>
                            </a:cxn>
                          </a:cxnLst>
                          <a:rect l="T165" t="T166" r="T167" b="T168"/>
                          <a:pathLst>
                            <a:path w="68" h="547">
                              <a:moveTo>
                                <a:pt x="66" y="78"/>
                              </a:moveTo>
                              <a:cubicBezTo>
                                <a:pt x="65" y="78"/>
                                <a:pt x="64" y="79"/>
                                <a:pt x="62" y="78"/>
                              </a:cubicBezTo>
                              <a:cubicBezTo>
                                <a:pt x="61" y="78"/>
                                <a:pt x="60" y="78"/>
                                <a:pt x="59" y="77"/>
                              </a:cubicBezTo>
                              <a:cubicBezTo>
                                <a:pt x="58" y="75"/>
                                <a:pt x="59" y="73"/>
                                <a:pt x="58" y="72"/>
                              </a:cubicBezTo>
                              <a:cubicBezTo>
                                <a:pt x="57" y="67"/>
                                <a:pt x="55" y="62"/>
                                <a:pt x="53" y="57"/>
                              </a:cubicBezTo>
                              <a:cubicBezTo>
                                <a:pt x="52" y="55"/>
                                <a:pt x="52" y="52"/>
                                <a:pt x="51" y="50"/>
                              </a:cubicBezTo>
                              <a:cubicBezTo>
                                <a:pt x="50" y="49"/>
                                <a:pt x="48" y="50"/>
                                <a:pt x="48" y="49"/>
                              </a:cubicBezTo>
                              <a:cubicBezTo>
                                <a:pt x="47" y="48"/>
                                <a:pt x="48" y="46"/>
                                <a:pt x="48" y="45"/>
                              </a:cubicBezTo>
                              <a:cubicBezTo>
                                <a:pt x="48" y="43"/>
                                <a:pt x="46" y="43"/>
                                <a:pt x="45" y="42"/>
                              </a:cubicBezTo>
                              <a:cubicBezTo>
                                <a:pt x="45" y="40"/>
                                <a:pt x="45" y="38"/>
                                <a:pt x="45" y="36"/>
                              </a:cubicBezTo>
                              <a:cubicBezTo>
                                <a:pt x="45" y="35"/>
                                <a:pt x="46" y="34"/>
                                <a:pt x="46" y="34"/>
                              </a:cubicBezTo>
                              <a:cubicBezTo>
                                <a:pt x="47" y="33"/>
                                <a:pt x="45" y="32"/>
                                <a:pt x="45" y="31"/>
                              </a:cubicBezTo>
                              <a:cubicBezTo>
                                <a:pt x="45" y="29"/>
                                <a:pt x="47" y="28"/>
                                <a:pt x="47" y="26"/>
                              </a:cubicBezTo>
                              <a:cubicBezTo>
                                <a:pt x="46" y="24"/>
                                <a:pt x="43" y="22"/>
                                <a:pt x="42" y="20"/>
                              </a:cubicBezTo>
                              <a:cubicBezTo>
                                <a:pt x="40" y="15"/>
                                <a:pt x="41" y="11"/>
                                <a:pt x="39" y="6"/>
                              </a:cubicBezTo>
                              <a:cubicBezTo>
                                <a:pt x="38" y="4"/>
                                <a:pt x="35" y="3"/>
                                <a:pt x="34" y="1"/>
                              </a:cubicBezTo>
                              <a:cubicBezTo>
                                <a:pt x="32" y="1"/>
                                <a:pt x="30" y="0"/>
                                <a:pt x="29" y="1"/>
                              </a:cubicBezTo>
                              <a:cubicBezTo>
                                <a:pt x="28" y="4"/>
                                <a:pt x="31" y="7"/>
                                <a:pt x="29" y="9"/>
                              </a:cubicBezTo>
                              <a:cubicBezTo>
                                <a:pt x="28" y="11"/>
                                <a:pt x="25" y="11"/>
                                <a:pt x="22" y="12"/>
                              </a:cubicBezTo>
                              <a:cubicBezTo>
                                <a:pt x="23" y="15"/>
                                <a:pt x="24" y="18"/>
                                <a:pt x="24" y="21"/>
                              </a:cubicBezTo>
                              <a:cubicBezTo>
                                <a:pt x="25" y="26"/>
                                <a:pt x="27" y="31"/>
                                <a:pt x="28" y="36"/>
                              </a:cubicBezTo>
                              <a:cubicBezTo>
                                <a:pt x="28" y="39"/>
                                <a:pt x="27" y="43"/>
                                <a:pt x="27" y="47"/>
                              </a:cubicBezTo>
                              <a:cubicBezTo>
                                <a:pt x="27" y="51"/>
                                <a:pt x="29" y="54"/>
                                <a:pt x="29" y="58"/>
                              </a:cubicBezTo>
                              <a:cubicBezTo>
                                <a:pt x="30" y="66"/>
                                <a:pt x="29" y="73"/>
                                <a:pt x="28" y="81"/>
                              </a:cubicBezTo>
                              <a:cubicBezTo>
                                <a:pt x="27" y="83"/>
                                <a:pt x="26" y="86"/>
                                <a:pt x="26" y="88"/>
                              </a:cubicBezTo>
                              <a:cubicBezTo>
                                <a:pt x="26" y="90"/>
                                <a:pt x="27" y="91"/>
                                <a:pt x="27" y="93"/>
                              </a:cubicBezTo>
                              <a:cubicBezTo>
                                <a:pt x="28" y="99"/>
                                <a:pt x="27" y="105"/>
                                <a:pt x="28" y="111"/>
                              </a:cubicBezTo>
                              <a:cubicBezTo>
                                <a:pt x="28" y="113"/>
                                <a:pt x="30" y="114"/>
                                <a:pt x="29" y="116"/>
                              </a:cubicBezTo>
                              <a:cubicBezTo>
                                <a:pt x="29" y="118"/>
                                <a:pt x="27" y="120"/>
                                <a:pt x="26" y="122"/>
                              </a:cubicBezTo>
                              <a:cubicBezTo>
                                <a:pt x="26" y="127"/>
                                <a:pt x="27" y="133"/>
                                <a:pt x="27" y="138"/>
                              </a:cubicBezTo>
                              <a:cubicBezTo>
                                <a:pt x="27" y="142"/>
                                <a:pt x="26" y="147"/>
                                <a:pt x="25" y="151"/>
                              </a:cubicBezTo>
                              <a:cubicBezTo>
                                <a:pt x="24" y="158"/>
                                <a:pt x="21" y="164"/>
                                <a:pt x="21" y="171"/>
                              </a:cubicBezTo>
                              <a:cubicBezTo>
                                <a:pt x="20" y="176"/>
                                <a:pt x="24" y="181"/>
                                <a:pt x="23" y="186"/>
                              </a:cubicBezTo>
                              <a:cubicBezTo>
                                <a:pt x="23" y="189"/>
                                <a:pt x="18" y="191"/>
                                <a:pt x="18" y="195"/>
                              </a:cubicBezTo>
                              <a:cubicBezTo>
                                <a:pt x="18" y="200"/>
                                <a:pt x="21" y="205"/>
                                <a:pt x="22" y="211"/>
                              </a:cubicBezTo>
                              <a:cubicBezTo>
                                <a:pt x="23" y="216"/>
                                <a:pt x="25" y="222"/>
                                <a:pt x="25" y="228"/>
                              </a:cubicBezTo>
                              <a:cubicBezTo>
                                <a:pt x="25" y="231"/>
                                <a:pt x="22" y="233"/>
                                <a:pt x="22" y="236"/>
                              </a:cubicBezTo>
                              <a:cubicBezTo>
                                <a:pt x="22" y="239"/>
                                <a:pt x="23" y="242"/>
                                <a:pt x="23" y="246"/>
                              </a:cubicBezTo>
                              <a:cubicBezTo>
                                <a:pt x="23" y="249"/>
                                <a:pt x="23" y="251"/>
                                <a:pt x="22" y="254"/>
                              </a:cubicBezTo>
                              <a:cubicBezTo>
                                <a:pt x="21" y="257"/>
                                <a:pt x="18" y="260"/>
                                <a:pt x="18" y="263"/>
                              </a:cubicBezTo>
                              <a:cubicBezTo>
                                <a:pt x="16" y="272"/>
                                <a:pt x="17" y="280"/>
                                <a:pt x="15" y="289"/>
                              </a:cubicBezTo>
                              <a:cubicBezTo>
                                <a:pt x="15" y="291"/>
                                <a:pt x="12" y="293"/>
                                <a:pt x="11" y="295"/>
                              </a:cubicBezTo>
                              <a:cubicBezTo>
                                <a:pt x="9" y="299"/>
                                <a:pt x="7" y="302"/>
                                <a:pt x="7" y="305"/>
                              </a:cubicBezTo>
                              <a:cubicBezTo>
                                <a:pt x="7" y="308"/>
                                <a:pt x="10" y="311"/>
                                <a:pt x="11" y="314"/>
                              </a:cubicBezTo>
                              <a:cubicBezTo>
                                <a:pt x="11" y="316"/>
                                <a:pt x="10" y="319"/>
                                <a:pt x="10" y="322"/>
                              </a:cubicBezTo>
                              <a:cubicBezTo>
                                <a:pt x="10" y="326"/>
                                <a:pt x="13" y="329"/>
                                <a:pt x="13" y="333"/>
                              </a:cubicBezTo>
                              <a:cubicBezTo>
                                <a:pt x="13" y="337"/>
                                <a:pt x="10" y="341"/>
                                <a:pt x="10" y="346"/>
                              </a:cubicBezTo>
                              <a:cubicBezTo>
                                <a:pt x="9" y="352"/>
                                <a:pt x="9" y="358"/>
                                <a:pt x="10" y="364"/>
                              </a:cubicBezTo>
                              <a:cubicBezTo>
                                <a:pt x="11" y="367"/>
                                <a:pt x="12" y="371"/>
                                <a:pt x="15" y="373"/>
                              </a:cubicBezTo>
                              <a:cubicBezTo>
                                <a:pt x="17" y="374"/>
                                <a:pt x="20" y="375"/>
                                <a:pt x="21" y="373"/>
                              </a:cubicBezTo>
                              <a:cubicBezTo>
                                <a:pt x="23" y="370"/>
                                <a:pt x="21" y="365"/>
                                <a:pt x="22" y="361"/>
                              </a:cubicBezTo>
                              <a:cubicBezTo>
                                <a:pt x="22" y="360"/>
                                <a:pt x="24" y="360"/>
                                <a:pt x="24" y="361"/>
                              </a:cubicBezTo>
                              <a:cubicBezTo>
                                <a:pt x="25" y="363"/>
                                <a:pt x="24" y="366"/>
                                <a:pt x="25" y="368"/>
                              </a:cubicBezTo>
                              <a:cubicBezTo>
                                <a:pt x="25" y="369"/>
                                <a:pt x="27" y="371"/>
                                <a:pt x="28" y="373"/>
                              </a:cubicBezTo>
                              <a:cubicBezTo>
                                <a:pt x="27" y="374"/>
                                <a:pt x="25" y="376"/>
                                <a:pt x="26" y="377"/>
                              </a:cubicBezTo>
                              <a:cubicBezTo>
                                <a:pt x="26" y="378"/>
                                <a:pt x="28" y="376"/>
                                <a:pt x="29" y="378"/>
                              </a:cubicBezTo>
                              <a:cubicBezTo>
                                <a:pt x="30" y="380"/>
                                <a:pt x="30" y="380"/>
                                <a:pt x="30" y="382"/>
                              </a:cubicBezTo>
                              <a:cubicBezTo>
                                <a:pt x="26" y="383"/>
                                <a:pt x="29" y="391"/>
                                <a:pt x="28" y="394"/>
                              </a:cubicBezTo>
                              <a:cubicBezTo>
                                <a:pt x="27" y="396"/>
                                <a:pt x="26" y="398"/>
                                <a:pt x="26" y="401"/>
                              </a:cubicBezTo>
                              <a:cubicBezTo>
                                <a:pt x="26" y="404"/>
                                <a:pt x="28" y="406"/>
                                <a:pt x="28" y="409"/>
                              </a:cubicBezTo>
                              <a:cubicBezTo>
                                <a:pt x="28" y="411"/>
                                <a:pt x="25" y="413"/>
                                <a:pt x="26" y="415"/>
                              </a:cubicBezTo>
                              <a:cubicBezTo>
                                <a:pt x="27" y="417"/>
                                <a:pt x="32" y="416"/>
                                <a:pt x="32" y="417"/>
                              </a:cubicBezTo>
                              <a:cubicBezTo>
                                <a:pt x="34" y="420"/>
                                <a:pt x="33" y="424"/>
                                <a:pt x="31" y="426"/>
                              </a:cubicBezTo>
                              <a:cubicBezTo>
                                <a:pt x="30" y="428"/>
                                <a:pt x="26" y="426"/>
                                <a:pt x="25" y="428"/>
                              </a:cubicBezTo>
                              <a:cubicBezTo>
                                <a:pt x="25" y="431"/>
                                <a:pt x="29" y="432"/>
                                <a:pt x="28" y="434"/>
                              </a:cubicBezTo>
                              <a:cubicBezTo>
                                <a:pt x="28" y="441"/>
                                <a:pt x="25" y="447"/>
                                <a:pt x="23" y="453"/>
                              </a:cubicBezTo>
                              <a:cubicBezTo>
                                <a:pt x="22" y="454"/>
                                <a:pt x="21" y="453"/>
                                <a:pt x="21" y="452"/>
                              </a:cubicBezTo>
                              <a:cubicBezTo>
                                <a:pt x="20" y="449"/>
                                <a:pt x="24" y="445"/>
                                <a:pt x="22" y="444"/>
                              </a:cubicBezTo>
                              <a:cubicBezTo>
                                <a:pt x="17" y="443"/>
                                <a:pt x="13" y="440"/>
                                <a:pt x="8" y="441"/>
                              </a:cubicBezTo>
                              <a:cubicBezTo>
                                <a:pt x="7" y="446"/>
                                <a:pt x="3" y="446"/>
                                <a:pt x="2" y="450"/>
                              </a:cubicBezTo>
                              <a:cubicBezTo>
                                <a:pt x="1" y="452"/>
                                <a:pt x="0" y="456"/>
                                <a:pt x="2" y="457"/>
                              </a:cubicBezTo>
                              <a:cubicBezTo>
                                <a:pt x="4" y="457"/>
                                <a:pt x="6" y="455"/>
                                <a:pt x="4" y="452"/>
                              </a:cubicBezTo>
                              <a:cubicBezTo>
                                <a:pt x="5" y="451"/>
                                <a:pt x="7" y="452"/>
                                <a:pt x="8" y="452"/>
                              </a:cubicBezTo>
                              <a:cubicBezTo>
                                <a:pt x="10" y="451"/>
                                <a:pt x="11" y="454"/>
                                <a:pt x="12" y="455"/>
                              </a:cubicBezTo>
                              <a:cubicBezTo>
                                <a:pt x="15" y="453"/>
                                <a:pt x="20" y="455"/>
                                <a:pt x="22" y="457"/>
                              </a:cubicBezTo>
                              <a:cubicBezTo>
                                <a:pt x="23" y="459"/>
                                <a:pt x="20" y="461"/>
                                <a:pt x="20" y="462"/>
                              </a:cubicBezTo>
                              <a:cubicBezTo>
                                <a:pt x="19" y="463"/>
                                <a:pt x="18" y="465"/>
                                <a:pt x="17" y="466"/>
                              </a:cubicBezTo>
                              <a:cubicBezTo>
                                <a:pt x="16" y="467"/>
                                <a:pt x="14" y="467"/>
                                <a:pt x="14" y="469"/>
                              </a:cubicBezTo>
                              <a:cubicBezTo>
                                <a:pt x="13" y="470"/>
                                <a:pt x="12" y="472"/>
                                <a:pt x="13" y="472"/>
                              </a:cubicBezTo>
                              <a:cubicBezTo>
                                <a:pt x="18" y="473"/>
                                <a:pt x="23" y="470"/>
                                <a:pt x="28" y="472"/>
                              </a:cubicBezTo>
                              <a:cubicBezTo>
                                <a:pt x="30" y="473"/>
                                <a:pt x="32" y="477"/>
                                <a:pt x="30" y="479"/>
                              </a:cubicBezTo>
                              <a:cubicBezTo>
                                <a:pt x="29" y="481"/>
                                <a:pt x="26" y="477"/>
                                <a:pt x="23" y="477"/>
                              </a:cubicBezTo>
                              <a:cubicBezTo>
                                <a:pt x="21" y="476"/>
                                <a:pt x="18" y="474"/>
                                <a:pt x="17" y="476"/>
                              </a:cubicBezTo>
                              <a:cubicBezTo>
                                <a:pt x="15" y="477"/>
                                <a:pt x="16" y="481"/>
                                <a:pt x="18" y="482"/>
                              </a:cubicBezTo>
                              <a:cubicBezTo>
                                <a:pt x="20" y="484"/>
                                <a:pt x="24" y="480"/>
                                <a:pt x="25" y="482"/>
                              </a:cubicBezTo>
                              <a:cubicBezTo>
                                <a:pt x="26" y="485"/>
                                <a:pt x="21" y="487"/>
                                <a:pt x="21" y="490"/>
                              </a:cubicBezTo>
                              <a:cubicBezTo>
                                <a:pt x="21" y="494"/>
                                <a:pt x="21" y="499"/>
                                <a:pt x="24" y="502"/>
                              </a:cubicBezTo>
                              <a:cubicBezTo>
                                <a:pt x="26" y="503"/>
                                <a:pt x="26" y="495"/>
                                <a:pt x="28" y="496"/>
                              </a:cubicBezTo>
                              <a:cubicBezTo>
                                <a:pt x="31" y="497"/>
                                <a:pt x="28" y="501"/>
                                <a:pt x="29" y="503"/>
                              </a:cubicBezTo>
                              <a:cubicBezTo>
                                <a:pt x="28" y="505"/>
                                <a:pt x="26" y="506"/>
                                <a:pt x="25" y="508"/>
                              </a:cubicBezTo>
                              <a:cubicBezTo>
                                <a:pt x="23" y="510"/>
                                <a:pt x="21" y="513"/>
                                <a:pt x="22" y="516"/>
                              </a:cubicBezTo>
                              <a:cubicBezTo>
                                <a:pt x="24" y="518"/>
                                <a:pt x="28" y="517"/>
                                <a:pt x="30" y="519"/>
                              </a:cubicBezTo>
                              <a:cubicBezTo>
                                <a:pt x="31" y="520"/>
                                <a:pt x="28" y="522"/>
                                <a:pt x="28" y="523"/>
                              </a:cubicBezTo>
                              <a:cubicBezTo>
                                <a:pt x="29" y="525"/>
                                <a:pt x="34" y="523"/>
                                <a:pt x="34" y="525"/>
                              </a:cubicBezTo>
                              <a:cubicBezTo>
                                <a:pt x="34" y="527"/>
                                <a:pt x="29" y="526"/>
                                <a:pt x="29" y="528"/>
                              </a:cubicBezTo>
                              <a:cubicBezTo>
                                <a:pt x="29" y="530"/>
                                <a:pt x="33" y="531"/>
                                <a:pt x="34" y="533"/>
                              </a:cubicBezTo>
                              <a:cubicBezTo>
                                <a:pt x="35" y="536"/>
                                <a:pt x="34" y="540"/>
                                <a:pt x="36" y="542"/>
                              </a:cubicBezTo>
                              <a:cubicBezTo>
                                <a:pt x="38" y="545"/>
                                <a:pt x="40" y="547"/>
                                <a:pt x="43" y="547"/>
                              </a:cubicBezTo>
                              <a:cubicBezTo>
                                <a:pt x="45" y="547"/>
                                <a:pt x="43" y="543"/>
                                <a:pt x="44" y="542"/>
                              </a:cubicBezTo>
                              <a:cubicBezTo>
                                <a:pt x="44" y="540"/>
                                <a:pt x="47" y="540"/>
                                <a:pt x="47" y="539"/>
                              </a:cubicBezTo>
                              <a:cubicBezTo>
                                <a:pt x="47" y="537"/>
                                <a:pt x="44" y="536"/>
                                <a:pt x="45" y="535"/>
                              </a:cubicBezTo>
                              <a:cubicBezTo>
                                <a:pt x="45" y="534"/>
                                <a:pt x="47" y="536"/>
                                <a:pt x="48" y="537"/>
                              </a:cubicBezTo>
                              <a:cubicBezTo>
                                <a:pt x="49" y="538"/>
                                <a:pt x="52" y="539"/>
                                <a:pt x="54" y="540"/>
                              </a:cubicBezTo>
                              <a:cubicBezTo>
                                <a:pt x="53" y="539"/>
                                <a:pt x="53" y="539"/>
                                <a:pt x="53" y="538"/>
                              </a:cubicBezTo>
                              <a:cubicBezTo>
                                <a:pt x="51" y="533"/>
                                <a:pt x="52" y="527"/>
                                <a:pt x="48" y="524"/>
                              </a:cubicBezTo>
                              <a:cubicBezTo>
                                <a:pt x="46" y="521"/>
                                <a:pt x="42" y="527"/>
                                <a:pt x="40" y="526"/>
                              </a:cubicBezTo>
                              <a:cubicBezTo>
                                <a:pt x="36" y="523"/>
                                <a:pt x="37" y="518"/>
                                <a:pt x="35" y="514"/>
                              </a:cubicBezTo>
                              <a:cubicBezTo>
                                <a:pt x="33" y="511"/>
                                <a:pt x="32" y="506"/>
                                <a:pt x="33" y="502"/>
                              </a:cubicBezTo>
                              <a:cubicBezTo>
                                <a:pt x="34" y="498"/>
                                <a:pt x="38" y="497"/>
                                <a:pt x="40" y="494"/>
                              </a:cubicBezTo>
                              <a:cubicBezTo>
                                <a:pt x="42" y="492"/>
                                <a:pt x="42" y="490"/>
                                <a:pt x="43" y="488"/>
                              </a:cubicBezTo>
                              <a:cubicBezTo>
                                <a:pt x="44" y="485"/>
                                <a:pt x="46" y="482"/>
                                <a:pt x="46" y="478"/>
                              </a:cubicBezTo>
                              <a:cubicBezTo>
                                <a:pt x="45" y="476"/>
                                <a:pt x="39" y="475"/>
                                <a:pt x="39" y="472"/>
                              </a:cubicBezTo>
                              <a:cubicBezTo>
                                <a:pt x="39" y="468"/>
                                <a:pt x="43" y="465"/>
                                <a:pt x="45" y="461"/>
                              </a:cubicBezTo>
                              <a:cubicBezTo>
                                <a:pt x="45" y="460"/>
                                <a:pt x="45" y="458"/>
                                <a:pt x="45" y="457"/>
                              </a:cubicBezTo>
                              <a:cubicBezTo>
                                <a:pt x="46" y="455"/>
                                <a:pt x="47" y="454"/>
                                <a:pt x="48" y="452"/>
                              </a:cubicBezTo>
                              <a:cubicBezTo>
                                <a:pt x="48" y="449"/>
                                <a:pt x="49" y="446"/>
                                <a:pt x="48" y="442"/>
                              </a:cubicBezTo>
                              <a:cubicBezTo>
                                <a:pt x="48" y="440"/>
                                <a:pt x="43" y="439"/>
                                <a:pt x="43" y="437"/>
                              </a:cubicBezTo>
                              <a:cubicBezTo>
                                <a:pt x="44" y="434"/>
                                <a:pt x="51" y="433"/>
                                <a:pt x="50" y="430"/>
                              </a:cubicBezTo>
                              <a:cubicBezTo>
                                <a:pt x="49" y="426"/>
                                <a:pt x="42" y="427"/>
                                <a:pt x="40" y="424"/>
                              </a:cubicBezTo>
                              <a:cubicBezTo>
                                <a:pt x="39" y="423"/>
                                <a:pt x="43" y="422"/>
                                <a:pt x="44" y="422"/>
                              </a:cubicBezTo>
                              <a:cubicBezTo>
                                <a:pt x="46" y="422"/>
                                <a:pt x="47" y="425"/>
                                <a:pt x="49" y="424"/>
                              </a:cubicBezTo>
                              <a:cubicBezTo>
                                <a:pt x="50" y="424"/>
                                <a:pt x="51" y="422"/>
                                <a:pt x="51" y="421"/>
                              </a:cubicBezTo>
                              <a:cubicBezTo>
                                <a:pt x="51" y="420"/>
                                <a:pt x="51" y="418"/>
                                <a:pt x="49" y="418"/>
                              </a:cubicBezTo>
                              <a:cubicBezTo>
                                <a:pt x="47" y="417"/>
                                <a:pt x="43" y="419"/>
                                <a:pt x="41" y="417"/>
                              </a:cubicBezTo>
                              <a:cubicBezTo>
                                <a:pt x="39" y="414"/>
                                <a:pt x="42" y="411"/>
                                <a:pt x="41" y="408"/>
                              </a:cubicBezTo>
                              <a:cubicBezTo>
                                <a:pt x="41" y="405"/>
                                <a:pt x="39" y="402"/>
                                <a:pt x="39" y="398"/>
                              </a:cubicBezTo>
                              <a:cubicBezTo>
                                <a:pt x="39" y="397"/>
                                <a:pt x="40" y="396"/>
                                <a:pt x="39" y="395"/>
                              </a:cubicBezTo>
                              <a:cubicBezTo>
                                <a:pt x="38" y="394"/>
                                <a:pt x="35" y="395"/>
                                <a:pt x="35" y="394"/>
                              </a:cubicBezTo>
                              <a:cubicBezTo>
                                <a:pt x="33" y="389"/>
                                <a:pt x="34" y="385"/>
                                <a:pt x="35" y="381"/>
                              </a:cubicBezTo>
                              <a:cubicBezTo>
                                <a:pt x="35" y="378"/>
                                <a:pt x="38" y="376"/>
                                <a:pt x="37" y="373"/>
                              </a:cubicBezTo>
                              <a:cubicBezTo>
                                <a:pt x="37" y="369"/>
                                <a:pt x="34" y="366"/>
                                <a:pt x="33" y="362"/>
                              </a:cubicBezTo>
                              <a:cubicBezTo>
                                <a:pt x="33" y="358"/>
                                <a:pt x="33" y="354"/>
                                <a:pt x="34" y="350"/>
                              </a:cubicBezTo>
                              <a:cubicBezTo>
                                <a:pt x="34" y="347"/>
                                <a:pt x="34" y="344"/>
                                <a:pt x="34" y="341"/>
                              </a:cubicBezTo>
                              <a:cubicBezTo>
                                <a:pt x="34" y="339"/>
                                <a:pt x="36" y="337"/>
                                <a:pt x="36" y="335"/>
                              </a:cubicBezTo>
                              <a:cubicBezTo>
                                <a:pt x="36" y="332"/>
                                <a:pt x="33" y="329"/>
                                <a:pt x="34" y="326"/>
                              </a:cubicBezTo>
                              <a:cubicBezTo>
                                <a:pt x="36" y="324"/>
                                <a:pt x="42" y="324"/>
                                <a:pt x="42" y="321"/>
                              </a:cubicBezTo>
                              <a:cubicBezTo>
                                <a:pt x="43" y="316"/>
                                <a:pt x="38" y="312"/>
                                <a:pt x="37" y="307"/>
                              </a:cubicBezTo>
                              <a:cubicBezTo>
                                <a:pt x="35" y="300"/>
                                <a:pt x="33" y="294"/>
                                <a:pt x="34" y="287"/>
                              </a:cubicBezTo>
                              <a:cubicBezTo>
                                <a:pt x="35" y="285"/>
                                <a:pt x="41" y="286"/>
                                <a:pt x="42" y="283"/>
                              </a:cubicBezTo>
                              <a:cubicBezTo>
                                <a:pt x="44" y="275"/>
                                <a:pt x="39" y="275"/>
                                <a:pt x="39" y="270"/>
                              </a:cubicBezTo>
                              <a:cubicBezTo>
                                <a:pt x="39" y="269"/>
                                <a:pt x="41" y="269"/>
                                <a:pt x="41" y="268"/>
                              </a:cubicBezTo>
                              <a:cubicBezTo>
                                <a:pt x="42" y="260"/>
                                <a:pt x="44" y="254"/>
                                <a:pt x="46" y="248"/>
                              </a:cubicBezTo>
                              <a:cubicBezTo>
                                <a:pt x="46" y="245"/>
                                <a:pt x="49" y="240"/>
                                <a:pt x="47" y="237"/>
                              </a:cubicBezTo>
                              <a:cubicBezTo>
                                <a:pt x="47" y="235"/>
                                <a:pt x="43" y="239"/>
                                <a:pt x="42" y="237"/>
                              </a:cubicBezTo>
                              <a:cubicBezTo>
                                <a:pt x="41" y="234"/>
                                <a:pt x="44" y="230"/>
                                <a:pt x="43" y="226"/>
                              </a:cubicBezTo>
                              <a:cubicBezTo>
                                <a:pt x="42" y="224"/>
                                <a:pt x="38" y="224"/>
                                <a:pt x="37" y="221"/>
                              </a:cubicBezTo>
                              <a:cubicBezTo>
                                <a:pt x="36" y="220"/>
                                <a:pt x="39" y="219"/>
                                <a:pt x="39" y="217"/>
                              </a:cubicBezTo>
                              <a:cubicBezTo>
                                <a:pt x="39" y="215"/>
                                <a:pt x="36" y="214"/>
                                <a:pt x="36" y="212"/>
                              </a:cubicBezTo>
                              <a:cubicBezTo>
                                <a:pt x="35" y="208"/>
                                <a:pt x="35" y="205"/>
                                <a:pt x="36" y="202"/>
                              </a:cubicBezTo>
                              <a:cubicBezTo>
                                <a:pt x="37" y="197"/>
                                <a:pt x="41" y="193"/>
                                <a:pt x="42" y="188"/>
                              </a:cubicBezTo>
                              <a:cubicBezTo>
                                <a:pt x="42" y="184"/>
                                <a:pt x="43" y="177"/>
                                <a:pt x="39" y="176"/>
                              </a:cubicBezTo>
                              <a:cubicBezTo>
                                <a:pt x="40" y="175"/>
                                <a:pt x="40" y="174"/>
                                <a:pt x="41" y="172"/>
                              </a:cubicBezTo>
                              <a:cubicBezTo>
                                <a:pt x="43" y="173"/>
                                <a:pt x="40" y="167"/>
                                <a:pt x="41" y="164"/>
                              </a:cubicBezTo>
                              <a:cubicBezTo>
                                <a:pt x="43" y="161"/>
                                <a:pt x="47" y="159"/>
                                <a:pt x="48" y="156"/>
                              </a:cubicBezTo>
                              <a:cubicBezTo>
                                <a:pt x="50" y="152"/>
                                <a:pt x="49" y="147"/>
                                <a:pt x="51" y="144"/>
                              </a:cubicBezTo>
                              <a:cubicBezTo>
                                <a:pt x="52" y="142"/>
                                <a:pt x="57" y="145"/>
                                <a:pt x="58" y="143"/>
                              </a:cubicBezTo>
                              <a:cubicBezTo>
                                <a:pt x="59" y="140"/>
                                <a:pt x="54" y="138"/>
                                <a:pt x="54" y="136"/>
                              </a:cubicBezTo>
                              <a:cubicBezTo>
                                <a:pt x="53" y="134"/>
                                <a:pt x="55" y="132"/>
                                <a:pt x="55" y="129"/>
                              </a:cubicBezTo>
                              <a:cubicBezTo>
                                <a:pt x="55" y="126"/>
                                <a:pt x="53" y="123"/>
                                <a:pt x="52" y="119"/>
                              </a:cubicBezTo>
                              <a:cubicBezTo>
                                <a:pt x="52" y="118"/>
                                <a:pt x="52" y="116"/>
                                <a:pt x="53" y="114"/>
                              </a:cubicBezTo>
                              <a:cubicBezTo>
                                <a:pt x="53" y="113"/>
                                <a:pt x="55" y="114"/>
                                <a:pt x="55" y="113"/>
                              </a:cubicBezTo>
                              <a:cubicBezTo>
                                <a:pt x="54" y="111"/>
                                <a:pt x="50" y="110"/>
                                <a:pt x="50" y="107"/>
                              </a:cubicBezTo>
                              <a:cubicBezTo>
                                <a:pt x="50" y="105"/>
                                <a:pt x="53" y="103"/>
                                <a:pt x="55" y="102"/>
                              </a:cubicBezTo>
                              <a:cubicBezTo>
                                <a:pt x="58" y="100"/>
                                <a:pt x="63" y="100"/>
                                <a:pt x="65" y="97"/>
                              </a:cubicBezTo>
                              <a:cubicBezTo>
                                <a:pt x="68" y="93"/>
                                <a:pt x="67" y="89"/>
                                <a:pt x="68" y="85"/>
                              </a:cubicBezTo>
                              <a:cubicBezTo>
                                <a:pt x="68" y="83"/>
                                <a:pt x="67" y="80"/>
                                <a:pt x="66" y="78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22" name="Freeform 2533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2880577" y="2926221"/>
                          <a:ext cx="225935" cy="268306"/>
                        </a:xfrm>
                        <a:custGeom>
                          <a:avLst/>
                          <a:gdLst>
                            <a:gd name="T0" fmla="*/ 94 w 168"/>
                            <a:gd name="T1" fmla="*/ 1 h 269"/>
                            <a:gd name="T2" fmla="*/ 105 w 168"/>
                            <a:gd name="T3" fmla="*/ 11 h 269"/>
                            <a:gd name="T4" fmla="*/ 115 w 168"/>
                            <a:gd name="T5" fmla="*/ 22 h 269"/>
                            <a:gd name="T6" fmla="*/ 124 w 168"/>
                            <a:gd name="T7" fmla="*/ 29 h 269"/>
                            <a:gd name="T8" fmla="*/ 123 w 168"/>
                            <a:gd name="T9" fmla="*/ 38 h 269"/>
                            <a:gd name="T10" fmla="*/ 138 w 168"/>
                            <a:gd name="T11" fmla="*/ 41 h 269"/>
                            <a:gd name="T12" fmla="*/ 151 w 168"/>
                            <a:gd name="T13" fmla="*/ 41 h 269"/>
                            <a:gd name="T14" fmla="*/ 167 w 168"/>
                            <a:gd name="T15" fmla="*/ 38 h 269"/>
                            <a:gd name="T16" fmla="*/ 172 w 168"/>
                            <a:gd name="T17" fmla="*/ 43 h 269"/>
                            <a:gd name="T18" fmla="*/ 170 w 168"/>
                            <a:gd name="T19" fmla="*/ 62 h 269"/>
                            <a:gd name="T20" fmla="*/ 173 w 168"/>
                            <a:gd name="T21" fmla="*/ 68 h 269"/>
                            <a:gd name="T22" fmla="*/ 168 w 168"/>
                            <a:gd name="T23" fmla="*/ 73 h 269"/>
                            <a:gd name="T24" fmla="*/ 148 w 168"/>
                            <a:gd name="T25" fmla="*/ 79 h 269"/>
                            <a:gd name="T26" fmla="*/ 131 w 168"/>
                            <a:gd name="T27" fmla="*/ 89 h 269"/>
                            <a:gd name="T28" fmla="*/ 125 w 168"/>
                            <a:gd name="T29" fmla="*/ 106 h 269"/>
                            <a:gd name="T30" fmla="*/ 115 w 168"/>
                            <a:gd name="T31" fmla="*/ 119 h 269"/>
                            <a:gd name="T32" fmla="*/ 115 w 168"/>
                            <a:gd name="T33" fmla="*/ 137 h 269"/>
                            <a:gd name="T34" fmla="*/ 131 w 168"/>
                            <a:gd name="T35" fmla="*/ 156 h 269"/>
                            <a:gd name="T36" fmla="*/ 139 w 168"/>
                            <a:gd name="T37" fmla="*/ 167 h 269"/>
                            <a:gd name="T38" fmla="*/ 154 w 168"/>
                            <a:gd name="T39" fmla="*/ 177 h 269"/>
                            <a:gd name="T40" fmla="*/ 166 w 168"/>
                            <a:gd name="T41" fmla="*/ 166 h 269"/>
                            <a:gd name="T42" fmla="*/ 178 w 168"/>
                            <a:gd name="T43" fmla="*/ 191 h 269"/>
                            <a:gd name="T44" fmla="*/ 202 w 168"/>
                            <a:gd name="T45" fmla="*/ 219 h 269"/>
                            <a:gd name="T46" fmla="*/ 195 w 168"/>
                            <a:gd name="T47" fmla="*/ 232 h 269"/>
                            <a:gd name="T48" fmla="*/ 192 w 168"/>
                            <a:gd name="T49" fmla="*/ 240 h 269"/>
                            <a:gd name="T50" fmla="*/ 190 w 168"/>
                            <a:gd name="T51" fmla="*/ 262 h 269"/>
                            <a:gd name="T52" fmla="*/ 192 w 168"/>
                            <a:gd name="T53" fmla="*/ 289 h 269"/>
                            <a:gd name="T54" fmla="*/ 185 w 168"/>
                            <a:gd name="T55" fmla="*/ 301 h 269"/>
                            <a:gd name="T56" fmla="*/ 183 w 168"/>
                            <a:gd name="T57" fmla="*/ 310 h 269"/>
                            <a:gd name="T58" fmla="*/ 174 w 168"/>
                            <a:gd name="T59" fmla="*/ 323 h 269"/>
                            <a:gd name="T60" fmla="*/ 159 w 168"/>
                            <a:gd name="T61" fmla="*/ 306 h 269"/>
                            <a:gd name="T62" fmla="*/ 131 w 168"/>
                            <a:gd name="T63" fmla="*/ 288 h 269"/>
                            <a:gd name="T64" fmla="*/ 97 w 168"/>
                            <a:gd name="T65" fmla="*/ 265 h 269"/>
                            <a:gd name="T66" fmla="*/ 83 w 168"/>
                            <a:gd name="T67" fmla="*/ 247 h 269"/>
                            <a:gd name="T68" fmla="*/ 87 w 168"/>
                            <a:gd name="T69" fmla="*/ 235 h 269"/>
                            <a:gd name="T70" fmla="*/ 61 w 168"/>
                            <a:gd name="T71" fmla="*/ 197 h 269"/>
                            <a:gd name="T72" fmla="*/ 42 w 168"/>
                            <a:gd name="T73" fmla="*/ 149 h 269"/>
                            <a:gd name="T74" fmla="*/ 31 w 168"/>
                            <a:gd name="T75" fmla="*/ 122 h 269"/>
                            <a:gd name="T76" fmla="*/ 17 w 168"/>
                            <a:gd name="T77" fmla="*/ 114 h 269"/>
                            <a:gd name="T78" fmla="*/ 5 w 168"/>
                            <a:gd name="T79" fmla="*/ 100 h 269"/>
                            <a:gd name="T80" fmla="*/ 7 w 168"/>
                            <a:gd name="T81" fmla="*/ 92 h 269"/>
                            <a:gd name="T82" fmla="*/ 5 w 168"/>
                            <a:gd name="T83" fmla="*/ 85 h 269"/>
                            <a:gd name="T84" fmla="*/ 11 w 168"/>
                            <a:gd name="T85" fmla="*/ 62 h 269"/>
                            <a:gd name="T86" fmla="*/ 20 w 168"/>
                            <a:gd name="T87" fmla="*/ 64 h 269"/>
                            <a:gd name="T88" fmla="*/ 13 w 168"/>
                            <a:gd name="T89" fmla="*/ 68 h 269"/>
                            <a:gd name="T90" fmla="*/ 16 w 168"/>
                            <a:gd name="T91" fmla="*/ 77 h 269"/>
                            <a:gd name="T92" fmla="*/ 30 w 168"/>
                            <a:gd name="T93" fmla="*/ 76 h 269"/>
                            <a:gd name="T94" fmla="*/ 35 w 168"/>
                            <a:gd name="T95" fmla="*/ 85 h 269"/>
                            <a:gd name="T96" fmla="*/ 44 w 168"/>
                            <a:gd name="T97" fmla="*/ 58 h 269"/>
                            <a:gd name="T98" fmla="*/ 73 w 168"/>
                            <a:gd name="T99" fmla="*/ 43 h 269"/>
                            <a:gd name="T100" fmla="*/ 82 w 168"/>
                            <a:gd name="T101" fmla="*/ 32 h 269"/>
                            <a:gd name="T102" fmla="*/ 89 w 168"/>
                            <a:gd name="T103" fmla="*/ 18 h 269"/>
                            <a:gd name="T104" fmla="*/ 93 w 168"/>
                            <a:gd name="T105" fmla="*/ 8 h 269"/>
                            <a:gd name="T106" fmla="*/ 89 w 168"/>
                            <a:gd name="T107" fmla="*/ 0 h 269"/>
                            <a:gd name="T108" fmla="*/ 0 60000 65536"/>
                            <a:gd name="T109" fmla="*/ 0 60000 65536"/>
                            <a:gd name="T110" fmla="*/ 0 60000 65536"/>
                            <a:gd name="T111" fmla="*/ 0 60000 65536"/>
                            <a:gd name="T112" fmla="*/ 0 60000 65536"/>
                            <a:gd name="T113" fmla="*/ 0 60000 65536"/>
                            <a:gd name="T114" fmla="*/ 0 60000 65536"/>
                            <a:gd name="T115" fmla="*/ 0 60000 65536"/>
                            <a:gd name="T116" fmla="*/ 0 60000 65536"/>
                            <a:gd name="T117" fmla="*/ 0 60000 65536"/>
                            <a:gd name="T118" fmla="*/ 0 60000 65536"/>
                            <a:gd name="T119" fmla="*/ 0 60000 65536"/>
                            <a:gd name="T120" fmla="*/ 0 60000 65536"/>
                            <a:gd name="T121" fmla="*/ 0 60000 65536"/>
                            <a:gd name="T122" fmla="*/ 0 60000 65536"/>
                            <a:gd name="T123" fmla="*/ 0 60000 65536"/>
                            <a:gd name="T124" fmla="*/ 0 60000 65536"/>
                            <a:gd name="T125" fmla="*/ 0 60000 65536"/>
                            <a:gd name="T126" fmla="*/ 0 60000 65536"/>
                            <a:gd name="T127" fmla="*/ 0 60000 65536"/>
                            <a:gd name="T128" fmla="*/ 0 60000 65536"/>
                            <a:gd name="T129" fmla="*/ 0 60000 65536"/>
                            <a:gd name="T130" fmla="*/ 0 60000 65536"/>
                            <a:gd name="T131" fmla="*/ 0 60000 65536"/>
                            <a:gd name="T132" fmla="*/ 0 60000 65536"/>
                            <a:gd name="T133" fmla="*/ 0 60000 65536"/>
                            <a:gd name="T134" fmla="*/ 0 60000 65536"/>
                            <a:gd name="T135" fmla="*/ 0 60000 65536"/>
                            <a:gd name="T136" fmla="*/ 0 60000 65536"/>
                            <a:gd name="T137" fmla="*/ 0 60000 65536"/>
                            <a:gd name="T138" fmla="*/ 0 60000 65536"/>
                            <a:gd name="T139" fmla="*/ 0 60000 65536"/>
                            <a:gd name="T140" fmla="*/ 0 60000 65536"/>
                            <a:gd name="T141" fmla="*/ 0 60000 65536"/>
                            <a:gd name="T142" fmla="*/ 0 60000 65536"/>
                            <a:gd name="T143" fmla="*/ 0 60000 65536"/>
                            <a:gd name="T144" fmla="*/ 0 60000 65536"/>
                            <a:gd name="T145" fmla="*/ 0 60000 65536"/>
                            <a:gd name="T146" fmla="*/ 0 60000 65536"/>
                            <a:gd name="T147" fmla="*/ 0 60000 65536"/>
                            <a:gd name="T148" fmla="*/ 0 60000 65536"/>
                            <a:gd name="T149" fmla="*/ 0 60000 65536"/>
                            <a:gd name="T150" fmla="*/ 0 60000 65536"/>
                            <a:gd name="T151" fmla="*/ 0 60000 65536"/>
                            <a:gd name="T152" fmla="*/ 0 60000 65536"/>
                            <a:gd name="T153" fmla="*/ 0 60000 65536"/>
                            <a:gd name="T154" fmla="*/ 0 60000 65536"/>
                            <a:gd name="T155" fmla="*/ 0 60000 65536"/>
                            <a:gd name="T156" fmla="*/ 0 60000 65536"/>
                            <a:gd name="T157" fmla="*/ 0 60000 65536"/>
                            <a:gd name="T158" fmla="*/ 0 60000 65536"/>
                            <a:gd name="T159" fmla="*/ 0 60000 65536"/>
                            <a:gd name="T160" fmla="*/ 0 60000 65536"/>
                            <a:gd name="T161" fmla="*/ 0 60000 65536"/>
                            <a:gd name="T162" fmla="*/ 0 w 168"/>
                            <a:gd name="T163" fmla="*/ 0 h 269"/>
                            <a:gd name="T164" fmla="*/ 168 w 168"/>
                            <a:gd name="T165" fmla="*/ 269 h 269"/>
                          </a:gdLst>
                          <a:ahLst/>
                          <a:cxnLst>
                            <a:cxn ang="T108">
                              <a:pos x="T0" y="T1"/>
                            </a:cxn>
                            <a:cxn ang="T109">
                              <a:pos x="T2" y="T3"/>
                            </a:cxn>
                            <a:cxn ang="T110">
                              <a:pos x="T4" y="T5"/>
                            </a:cxn>
                            <a:cxn ang="T111">
                              <a:pos x="T6" y="T7"/>
                            </a:cxn>
                            <a:cxn ang="T112">
                              <a:pos x="T8" y="T9"/>
                            </a:cxn>
                            <a:cxn ang="T113">
                              <a:pos x="T10" y="T11"/>
                            </a:cxn>
                            <a:cxn ang="T114">
                              <a:pos x="T12" y="T13"/>
                            </a:cxn>
                            <a:cxn ang="T115">
                              <a:pos x="T14" y="T15"/>
                            </a:cxn>
                            <a:cxn ang="T116">
                              <a:pos x="T16" y="T17"/>
                            </a:cxn>
                            <a:cxn ang="T117">
                              <a:pos x="T18" y="T19"/>
                            </a:cxn>
                            <a:cxn ang="T118">
                              <a:pos x="T20" y="T21"/>
                            </a:cxn>
                            <a:cxn ang="T119">
                              <a:pos x="T22" y="T23"/>
                            </a:cxn>
                            <a:cxn ang="T120">
                              <a:pos x="T24" y="T25"/>
                            </a:cxn>
                            <a:cxn ang="T121">
                              <a:pos x="T26" y="T27"/>
                            </a:cxn>
                            <a:cxn ang="T122">
                              <a:pos x="T28" y="T29"/>
                            </a:cxn>
                            <a:cxn ang="T123">
                              <a:pos x="T30" y="T31"/>
                            </a:cxn>
                            <a:cxn ang="T124">
                              <a:pos x="T32" y="T33"/>
                            </a:cxn>
                            <a:cxn ang="T125">
                              <a:pos x="T34" y="T35"/>
                            </a:cxn>
                            <a:cxn ang="T126">
                              <a:pos x="T36" y="T37"/>
                            </a:cxn>
                            <a:cxn ang="T127">
                              <a:pos x="T38" y="T39"/>
                            </a:cxn>
                            <a:cxn ang="T128">
                              <a:pos x="T40" y="T41"/>
                            </a:cxn>
                            <a:cxn ang="T129">
                              <a:pos x="T42" y="T43"/>
                            </a:cxn>
                            <a:cxn ang="T130">
                              <a:pos x="T44" y="T45"/>
                            </a:cxn>
                            <a:cxn ang="T131">
                              <a:pos x="T46" y="T47"/>
                            </a:cxn>
                            <a:cxn ang="T132">
                              <a:pos x="T48" y="T49"/>
                            </a:cxn>
                            <a:cxn ang="T133">
                              <a:pos x="T50" y="T51"/>
                            </a:cxn>
                            <a:cxn ang="T134">
                              <a:pos x="T52" y="T53"/>
                            </a:cxn>
                            <a:cxn ang="T135">
                              <a:pos x="T54" y="T55"/>
                            </a:cxn>
                            <a:cxn ang="T136">
                              <a:pos x="T56" y="T57"/>
                            </a:cxn>
                            <a:cxn ang="T137">
                              <a:pos x="T58" y="T59"/>
                            </a:cxn>
                            <a:cxn ang="T138">
                              <a:pos x="T60" y="T61"/>
                            </a:cxn>
                            <a:cxn ang="T139">
                              <a:pos x="T62" y="T63"/>
                            </a:cxn>
                            <a:cxn ang="T140">
                              <a:pos x="T64" y="T65"/>
                            </a:cxn>
                            <a:cxn ang="T141">
                              <a:pos x="T66" y="T67"/>
                            </a:cxn>
                            <a:cxn ang="T142">
                              <a:pos x="T68" y="T69"/>
                            </a:cxn>
                            <a:cxn ang="T143">
                              <a:pos x="T70" y="T71"/>
                            </a:cxn>
                            <a:cxn ang="T144">
                              <a:pos x="T72" y="T73"/>
                            </a:cxn>
                            <a:cxn ang="T145">
                              <a:pos x="T74" y="T75"/>
                            </a:cxn>
                            <a:cxn ang="T146">
                              <a:pos x="T76" y="T77"/>
                            </a:cxn>
                            <a:cxn ang="T147">
                              <a:pos x="T78" y="T79"/>
                            </a:cxn>
                            <a:cxn ang="T148">
                              <a:pos x="T80" y="T81"/>
                            </a:cxn>
                            <a:cxn ang="T149">
                              <a:pos x="T82" y="T83"/>
                            </a:cxn>
                            <a:cxn ang="T150">
                              <a:pos x="T84" y="T85"/>
                            </a:cxn>
                            <a:cxn ang="T151">
                              <a:pos x="T86" y="T87"/>
                            </a:cxn>
                            <a:cxn ang="T152">
                              <a:pos x="T88" y="T89"/>
                            </a:cxn>
                            <a:cxn ang="T153">
                              <a:pos x="T90" y="T91"/>
                            </a:cxn>
                            <a:cxn ang="T154">
                              <a:pos x="T92" y="T93"/>
                            </a:cxn>
                            <a:cxn ang="T155">
                              <a:pos x="T94" y="T95"/>
                            </a:cxn>
                            <a:cxn ang="T156">
                              <a:pos x="T96" y="T97"/>
                            </a:cxn>
                            <a:cxn ang="T157">
                              <a:pos x="T98" y="T99"/>
                            </a:cxn>
                            <a:cxn ang="T158">
                              <a:pos x="T100" y="T101"/>
                            </a:cxn>
                            <a:cxn ang="T159">
                              <a:pos x="T102" y="T103"/>
                            </a:cxn>
                            <a:cxn ang="T160">
                              <a:pos x="T104" y="T105"/>
                            </a:cxn>
                            <a:cxn ang="T161">
                              <a:pos x="T106" y="T107"/>
                            </a:cxn>
                          </a:cxnLst>
                          <a:rect l="T162" t="T163" r="T164" b="T165"/>
                          <a:pathLst>
                            <a:path w="168" h="269">
                              <a:moveTo>
                                <a:pt x="74" y="0"/>
                              </a:moveTo>
                              <a:cubicBezTo>
                                <a:pt x="75" y="0"/>
                                <a:pt x="77" y="0"/>
                                <a:pt x="78" y="1"/>
                              </a:cubicBezTo>
                              <a:cubicBezTo>
                                <a:pt x="79" y="1"/>
                                <a:pt x="80" y="2"/>
                                <a:pt x="81" y="3"/>
                              </a:cubicBezTo>
                              <a:cubicBezTo>
                                <a:pt x="83" y="5"/>
                                <a:pt x="85" y="7"/>
                                <a:pt x="87" y="9"/>
                              </a:cubicBezTo>
                              <a:cubicBezTo>
                                <a:pt x="88" y="11"/>
                                <a:pt x="87" y="14"/>
                                <a:pt x="89" y="15"/>
                              </a:cubicBezTo>
                              <a:cubicBezTo>
                                <a:pt x="91" y="17"/>
                                <a:pt x="94" y="17"/>
                                <a:pt x="96" y="18"/>
                              </a:cubicBezTo>
                              <a:cubicBezTo>
                                <a:pt x="98" y="20"/>
                                <a:pt x="99" y="23"/>
                                <a:pt x="101" y="25"/>
                              </a:cubicBezTo>
                              <a:cubicBezTo>
                                <a:pt x="101" y="26"/>
                                <a:pt x="102" y="23"/>
                                <a:pt x="103" y="24"/>
                              </a:cubicBezTo>
                              <a:cubicBezTo>
                                <a:pt x="104" y="25"/>
                                <a:pt x="104" y="26"/>
                                <a:pt x="103" y="28"/>
                              </a:cubicBezTo>
                              <a:cubicBezTo>
                                <a:pt x="103" y="29"/>
                                <a:pt x="101" y="30"/>
                                <a:pt x="102" y="32"/>
                              </a:cubicBezTo>
                              <a:cubicBezTo>
                                <a:pt x="102" y="33"/>
                                <a:pt x="105" y="33"/>
                                <a:pt x="107" y="33"/>
                              </a:cubicBezTo>
                              <a:cubicBezTo>
                                <a:pt x="110" y="34"/>
                                <a:pt x="112" y="34"/>
                                <a:pt x="115" y="34"/>
                              </a:cubicBezTo>
                              <a:cubicBezTo>
                                <a:pt x="117" y="33"/>
                                <a:pt x="119" y="31"/>
                                <a:pt x="122" y="31"/>
                              </a:cubicBezTo>
                              <a:cubicBezTo>
                                <a:pt x="124" y="31"/>
                                <a:pt x="125" y="34"/>
                                <a:pt x="126" y="34"/>
                              </a:cubicBezTo>
                              <a:cubicBezTo>
                                <a:pt x="128" y="34"/>
                                <a:pt x="130" y="32"/>
                                <a:pt x="132" y="31"/>
                              </a:cubicBezTo>
                              <a:cubicBezTo>
                                <a:pt x="134" y="31"/>
                                <a:pt x="137" y="31"/>
                                <a:pt x="139" y="32"/>
                              </a:cubicBezTo>
                              <a:cubicBezTo>
                                <a:pt x="140" y="33"/>
                                <a:pt x="138" y="35"/>
                                <a:pt x="139" y="36"/>
                              </a:cubicBezTo>
                              <a:cubicBezTo>
                                <a:pt x="140" y="37"/>
                                <a:pt x="143" y="35"/>
                                <a:pt x="143" y="36"/>
                              </a:cubicBezTo>
                              <a:cubicBezTo>
                                <a:pt x="142" y="42"/>
                                <a:pt x="138" y="46"/>
                                <a:pt x="137" y="51"/>
                              </a:cubicBezTo>
                              <a:cubicBezTo>
                                <a:pt x="137" y="53"/>
                                <a:pt x="140" y="51"/>
                                <a:pt x="141" y="52"/>
                              </a:cubicBezTo>
                              <a:cubicBezTo>
                                <a:pt x="142" y="52"/>
                                <a:pt x="140" y="53"/>
                                <a:pt x="141" y="54"/>
                              </a:cubicBezTo>
                              <a:cubicBezTo>
                                <a:pt x="141" y="55"/>
                                <a:pt x="143" y="56"/>
                                <a:pt x="144" y="57"/>
                              </a:cubicBezTo>
                              <a:cubicBezTo>
                                <a:pt x="145" y="59"/>
                                <a:pt x="145" y="60"/>
                                <a:pt x="145" y="62"/>
                              </a:cubicBezTo>
                              <a:cubicBezTo>
                                <a:pt x="143" y="62"/>
                                <a:pt x="142" y="61"/>
                                <a:pt x="140" y="61"/>
                              </a:cubicBezTo>
                              <a:cubicBezTo>
                                <a:pt x="138" y="61"/>
                                <a:pt x="135" y="63"/>
                                <a:pt x="133" y="63"/>
                              </a:cubicBezTo>
                              <a:cubicBezTo>
                                <a:pt x="130" y="64"/>
                                <a:pt x="127" y="66"/>
                                <a:pt x="123" y="66"/>
                              </a:cubicBezTo>
                              <a:cubicBezTo>
                                <a:pt x="122" y="67"/>
                                <a:pt x="120" y="66"/>
                                <a:pt x="118" y="66"/>
                              </a:cubicBezTo>
                              <a:cubicBezTo>
                                <a:pt x="115" y="68"/>
                                <a:pt x="111" y="70"/>
                                <a:pt x="109" y="74"/>
                              </a:cubicBezTo>
                              <a:cubicBezTo>
                                <a:pt x="108" y="76"/>
                                <a:pt x="110" y="78"/>
                                <a:pt x="109" y="81"/>
                              </a:cubicBezTo>
                              <a:cubicBezTo>
                                <a:pt x="108" y="84"/>
                                <a:pt x="104" y="85"/>
                                <a:pt x="104" y="88"/>
                              </a:cubicBezTo>
                              <a:cubicBezTo>
                                <a:pt x="103" y="90"/>
                                <a:pt x="107" y="91"/>
                                <a:pt x="106" y="92"/>
                              </a:cubicBezTo>
                              <a:cubicBezTo>
                                <a:pt x="104" y="96"/>
                                <a:pt x="98" y="96"/>
                                <a:pt x="96" y="99"/>
                              </a:cubicBezTo>
                              <a:cubicBezTo>
                                <a:pt x="94" y="101"/>
                                <a:pt x="96" y="104"/>
                                <a:pt x="96" y="106"/>
                              </a:cubicBezTo>
                              <a:cubicBezTo>
                                <a:pt x="96" y="109"/>
                                <a:pt x="96" y="112"/>
                                <a:pt x="96" y="114"/>
                              </a:cubicBezTo>
                              <a:cubicBezTo>
                                <a:pt x="96" y="117"/>
                                <a:pt x="95" y="121"/>
                                <a:pt x="97" y="123"/>
                              </a:cubicBezTo>
                              <a:cubicBezTo>
                                <a:pt x="99" y="127"/>
                                <a:pt x="106" y="127"/>
                                <a:pt x="109" y="130"/>
                              </a:cubicBezTo>
                              <a:cubicBezTo>
                                <a:pt x="110" y="132"/>
                                <a:pt x="106" y="135"/>
                                <a:pt x="108" y="137"/>
                              </a:cubicBezTo>
                              <a:cubicBezTo>
                                <a:pt x="109" y="139"/>
                                <a:pt x="114" y="137"/>
                                <a:pt x="116" y="139"/>
                              </a:cubicBezTo>
                              <a:cubicBezTo>
                                <a:pt x="118" y="141"/>
                                <a:pt x="117" y="145"/>
                                <a:pt x="119" y="147"/>
                              </a:cubicBezTo>
                              <a:cubicBezTo>
                                <a:pt x="122" y="148"/>
                                <a:pt x="126" y="148"/>
                                <a:pt x="128" y="147"/>
                              </a:cubicBezTo>
                              <a:cubicBezTo>
                                <a:pt x="132" y="145"/>
                                <a:pt x="133" y="141"/>
                                <a:pt x="136" y="138"/>
                              </a:cubicBezTo>
                              <a:cubicBezTo>
                                <a:pt x="137" y="138"/>
                                <a:pt x="138" y="138"/>
                                <a:pt x="138" y="138"/>
                              </a:cubicBezTo>
                              <a:cubicBezTo>
                                <a:pt x="139" y="145"/>
                                <a:pt x="137" y="153"/>
                                <a:pt x="140" y="159"/>
                              </a:cubicBezTo>
                              <a:cubicBezTo>
                                <a:pt x="141" y="162"/>
                                <a:pt x="145" y="159"/>
                                <a:pt x="148" y="159"/>
                              </a:cubicBezTo>
                              <a:cubicBezTo>
                                <a:pt x="149" y="159"/>
                                <a:pt x="151" y="158"/>
                                <a:pt x="152" y="158"/>
                              </a:cubicBezTo>
                              <a:cubicBezTo>
                                <a:pt x="157" y="166"/>
                                <a:pt x="162" y="174"/>
                                <a:pt x="168" y="182"/>
                              </a:cubicBezTo>
                              <a:cubicBezTo>
                                <a:pt x="167" y="184"/>
                                <a:pt x="166" y="186"/>
                                <a:pt x="165" y="188"/>
                              </a:cubicBezTo>
                              <a:cubicBezTo>
                                <a:pt x="164" y="190"/>
                                <a:pt x="163" y="191"/>
                                <a:pt x="162" y="193"/>
                              </a:cubicBezTo>
                              <a:cubicBezTo>
                                <a:pt x="162" y="195"/>
                                <a:pt x="163" y="197"/>
                                <a:pt x="163" y="200"/>
                              </a:cubicBezTo>
                              <a:cubicBezTo>
                                <a:pt x="162" y="201"/>
                                <a:pt x="160" y="199"/>
                                <a:pt x="160" y="200"/>
                              </a:cubicBezTo>
                              <a:cubicBezTo>
                                <a:pt x="160" y="202"/>
                                <a:pt x="163" y="205"/>
                                <a:pt x="163" y="207"/>
                              </a:cubicBezTo>
                              <a:cubicBezTo>
                                <a:pt x="163" y="211"/>
                                <a:pt x="158" y="214"/>
                                <a:pt x="158" y="218"/>
                              </a:cubicBezTo>
                              <a:cubicBezTo>
                                <a:pt x="157" y="220"/>
                                <a:pt x="160" y="222"/>
                                <a:pt x="160" y="224"/>
                              </a:cubicBezTo>
                              <a:cubicBezTo>
                                <a:pt x="161" y="229"/>
                                <a:pt x="161" y="235"/>
                                <a:pt x="160" y="241"/>
                              </a:cubicBezTo>
                              <a:cubicBezTo>
                                <a:pt x="160" y="243"/>
                                <a:pt x="159" y="246"/>
                                <a:pt x="157" y="248"/>
                              </a:cubicBezTo>
                              <a:cubicBezTo>
                                <a:pt x="156" y="249"/>
                                <a:pt x="154" y="250"/>
                                <a:pt x="154" y="251"/>
                              </a:cubicBezTo>
                              <a:cubicBezTo>
                                <a:pt x="153" y="253"/>
                                <a:pt x="156" y="256"/>
                                <a:pt x="157" y="258"/>
                              </a:cubicBezTo>
                              <a:cubicBezTo>
                                <a:pt x="155" y="258"/>
                                <a:pt x="153" y="257"/>
                                <a:pt x="152" y="258"/>
                              </a:cubicBezTo>
                              <a:cubicBezTo>
                                <a:pt x="151" y="261"/>
                                <a:pt x="154" y="264"/>
                                <a:pt x="152" y="266"/>
                              </a:cubicBezTo>
                              <a:cubicBezTo>
                                <a:pt x="151" y="268"/>
                                <a:pt x="148" y="268"/>
                                <a:pt x="145" y="269"/>
                              </a:cubicBezTo>
                              <a:cubicBezTo>
                                <a:pt x="143" y="266"/>
                                <a:pt x="140" y="264"/>
                                <a:pt x="138" y="262"/>
                              </a:cubicBezTo>
                              <a:cubicBezTo>
                                <a:pt x="136" y="260"/>
                                <a:pt x="134" y="257"/>
                                <a:pt x="132" y="255"/>
                              </a:cubicBezTo>
                              <a:cubicBezTo>
                                <a:pt x="129" y="252"/>
                                <a:pt x="127" y="249"/>
                                <a:pt x="123" y="246"/>
                              </a:cubicBezTo>
                              <a:cubicBezTo>
                                <a:pt x="119" y="244"/>
                                <a:pt x="114" y="242"/>
                                <a:pt x="109" y="240"/>
                              </a:cubicBezTo>
                              <a:cubicBezTo>
                                <a:pt x="105" y="237"/>
                                <a:pt x="100" y="233"/>
                                <a:pt x="95" y="230"/>
                              </a:cubicBezTo>
                              <a:cubicBezTo>
                                <a:pt x="91" y="227"/>
                                <a:pt x="86" y="225"/>
                                <a:pt x="81" y="221"/>
                              </a:cubicBezTo>
                              <a:cubicBezTo>
                                <a:pt x="79" y="219"/>
                                <a:pt x="76" y="216"/>
                                <a:pt x="74" y="213"/>
                              </a:cubicBezTo>
                              <a:cubicBezTo>
                                <a:pt x="72" y="211"/>
                                <a:pt x="70" y="209"/>
                                <a:pt x="69" y="206"/>
                              </a:cubicBezTo>
                              <a:cubicBezTo>
                                <a:pt x="68" y="205"/>
                                <a:pt x="68" y="203"/>
                                <a:pt x="69" y="202"/>
                              </a:cubicBezTo>
                              <a:cubicBezTo>
                                <a:pt x="69" y="200"/>
                                <a:pt x="72" y="198"/>
                                <a:pt x="72" y="196"/>
                              </a:cubicBezTo>
                              <a:cubicBezTo>
                                <a:pt x="70" y="191"/>
                                <a:pt x="66" y="188"/>
                                <a:pt x="63" y="184"/>
                              </a:cubicBezTo>
                              <a:cubicBezTo>
                                <a:pt x="59" y="177"/>
                                <a:pt x="55" y="171"/>
                                <a:pt x="51" y="164"/>
                              </a:cubicBezTo>
                              <a:cubicBezTo>
                                <a:pt x="47" y="156"/>
                                <a:pt x="43" y="147"/>
                                <a:pt x="40" y="139"/>
                              </a:cubicBezTo>
                              <a:cubicBezTo>
                                <a:pt x="38" y="134"/>
                                <a:pt x="37" y="128"/>
                                <a:pt x="35" y="124"/>
                              </a:cubicBezTo>
                              <a:cubicBezTo>
                                <a:pt x="34" y="120"/>
                                <a:pt x="31" y="117"/>
                                <a:pt x="29" y="113"/>
                              </a:cubicBezTo>
                              <a:cubicBezTo>
                                <a:pt x="28" y="110"/>
                                <a:pt x="28" y="105"/>
                                <a:pt x="26" y="102"/>
                              </a:cubicBezTo>
                              <a:cubicBezTo>
                                <a:pt x="24" y="99"/>
                                <a:pt x="22" y="97"/>
                                <a:pt x="19" y="95"/>
                              </a:cubicBezTo>
                              <a:cubicBezTo>
                                <a:pt x="17" y="94"/>
                                <a:pt x="15" y="95"/>
                                <a:pt x="14" y="95"/>
                              </a:cubicBezTo>
                              <a:cubicBezTo>
                                <a:pt x="11" y="93"/>
                                <a:pt x="7" y="91"/>
                                <a:pt x="5" y="88"/>
                              </a:cubicBezTo>
                              <a:cubicBezTo>
                                <a:pt x="4" y="87"/>
                                <a:pt x="4" y="85"/>
                                <a:pt x="4" y="83"/>
                              </a:cubicBezTo>
                              <a:cubicBezTo>
                                <a:pt x="5" y="82"/>
                                <a:pt x="7" y="82"/>
                                <a:pt x="7" y="80"/>
                              </a:cubicBezTo>
                              <a:cubicBezTo>
                                <a:pt x="7" y="79"/>
                                <a:pt x="7" y="78"/>
                                <a:pt x="6" y="77"/>
                              </a:cubicBezTo>
                              <a:cubicBezTo>
                                <a:pt x="5" y="76"/>
                                <a:pt x="3" y="76"/>
                                <a:pt x="3" y="75"/>
                              </a:cubicBezTo>
                              <a:cubicBezTo>
                                <a:pt x="3" y="74"/>
                                <a:pt x="4" y="72"/>
                                <a:pt x="4" y="71"/>
                              </a:cubicBezTo>
                              <a:cubicBezTo>
                                <a:pt x="3" y="68"/>
                                <a:pt x="0" y="65"/>
                                <a:pt x="1" y="62"/>
                              </a:cubicBezTo>
                              <a:cubicBezTo>
                                <a:pt x="2" y="58"/>
                                <a:pt x="6" y="55"/>
                                <a:pt x="9" y="52"/>
                              </a:cubicBezTo>
                              <a:cubicBezTo>
                                <a:pt x="10" y="50"/>
                                <a:pt x="12" y="49"/>
                                <a:pt x="14" y="48"/>
                              </a:cubicBezTo>
                              <a:cubicBezTo>
                                <a:pt x="15" y="50"/>
                                <a:pt x="16" y="51"/>
                                <a:pt x="17" y="53"/>
                              </a:cubicBezTo>
                              <a:cubicBezTo>
                                <a:pt x="17" y="54"/>
                                <a:pt x="16" y="55"/>
                                <a:pt x="16" y="55"/>
                              </a:cubicBezTo>
                              <a:cubicBezTo>
                                <a:pt x="14" y="56"/>
                                <a:pt x="12" y="56"/>
                                <a:pt x="11" y="57"/>
                              </a:cubicBezTo>
                              <a:cubicBezTo>
                                <a:pt x="12" y="59"/>
                                <a:pt x="12" y="60"/>
                                <a:pt x="13" y="61"/>
                              </a:cubicBezTo>
                              <a:cubicBezTo>
                                <a:pt x="13" y="62"/>
                                <a:pt x="12" y="64"/>
                                <a:pt x="13" y="64"/>
                              </a:cubicBezTo>
                              <a:cubicBezTo>
                                <a:pt x="15" y="64"/>
                                <a:pt x="16" y="62"/>
                                <a:pt x="18" y="61"/>
                              </a:cubicBezTo>
                              <a:cubicBezTo>
                                <a:pt x="20" y="61"/>
                                <a:pt x="23" y="61"/>
                                <a:pt x="25" y="63"/>
                              </a:cubicBezTo>
                              <a:cubicBezTo>
                                <a:pt x="26" y="65"/>
                                <a:pt x="26" y="68"/>
                                <a:pt x="27" y="70"/>
                              </a:cubicBezTo>
                              <a:cubicBezTo>
                                <a:pt x="28" y="70"/>
                                <a:pt x="29" y="71"/>
                                <a:pt x="29" y="71"/>
                              </a:cubicBezTo>
                              <a:cubicBezTo>
                                <a:pt x="31" y="69"/>
                                <a:pt x="33" y="67"/>
                                <a:pt x="34" y="64"/>
                              </a:cubicBezTo>
                              <a:cubicBezTo>
                                <a:pt x="35" y="59"/>
                                <a:pt x="36" y="53"/>
                                <a:pt x="37" y="48"/>
                              </a:cubicBezTo>
                              <a:cubicBezTo>
                                <a:pt x="38" y="46"/>
                                <a:pt x="40" y="45"/>
                                <a:pt x="42" y="44"/>
                              </a:cubicBezTo>
                              <a:cubicBezTo>
                                <a:pt x="49" y="41"/>
                                <a:pt x="55" y="39"/>
                                <a:pt x="61" y="36"/>
                              </a:cubicBezTo>
                              <a:cubicBezTo>
                                <a:pt x="62" y="35"/>
                                <a:pt x="61" y="34"/>
                                <a:pt x="62" y="33"/>
                              </a:cubicBezTo>
                              <a:cubicBezTo>
                                <a:pt x="63" y="31"/>
                                <a:pt x="66" y="29"/>
                                <a:pt x="68" y="27"/>
                              </a:cubicBezTo>
                              <a:cubicBezTo>
                                <a:pt x="69" y="26"/>
                                <a:pt x="71" y="24"/>
                                <a:pt x="72" y="23"/>
                              </a:cubicBezTo>
                              <a:cubicBezTo>
                                <a:pt x="73" y="20"/>
                                <a:pt x="72" y="17"/>
                                <a:pt x="74" y="15"/>
                              </a:cubicBezTo>
                              <a:cubicBezTo>
                                <a:pt x="74" y="13"/>
                                <a:pt x="77" y="14"/>
                                <a:pt x="77" y="13"/>
                              </a:cubicBezTo>
                              <a:cubicBezTo>
                                <a:pt x="78" y="11"/>
                                <a:pt x="78" y="9"/>
                                <a:pt x="77" y="7"/>
                              </a:cubicBezTo>
                              <a:cubicBezTo>
                                <a:pt x="77" y="5"/>
                                <a:pt x="75" y="4"/>
                                <a:pt x="74" y="2"/>
                              </a:cubicBezTo>
                              <a:cubicBezTo>
                                <a:pt x="74" y="1"/>
                                <a:pt x="74" y="1"/>
                                <a:pt x="74" y="0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23" name="Freeform 2536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2316858" y="2443604"/>
                          <a:ext cx="485425" cy="273289"/>
                        </a:xfrm>
                        <a:custGeom>
                          <a:avLst/>
                          <a:gdLst>
                            <a:gd name="T0" fmla="*/ 414 w 361"/>
                            <a:gd name="T1" fmla="*/ 257 h 274"/>
                            <a:gd name="T2" fmla="*/ 421 w 361"/>
                            <a:gd name="T3" fmla="*/ 243 h 274"/>
                            <a:gd name="T4" fmla="*/ 434 w 361"/>
                            <a:gd name="T5" fmla="*/ 214 h 274"/>
                            <a:gd name="T6" fmla="*/ 396 w 361"/>
                            <a:gd name="T7" fmla="*/ 209 h 274"/>
                            <a:gd name="T8" fmla="*/ 371 w 361"/>
                            <a:gd name="T9" fmla="*/ 245 h 274"/>
                            <a:gd name="T10" fmla="*/ 364 w 361"/>
                            <a:gd name="T11" fmla="*/ 256 h 274"/>
                            <a:gd name="T12" fmla="*/ 349 w 361"/>
                            <a:gd name="T13" fmla="*/ 259 h 274"/>
                            <a:gd name="T14" fmla="*/ 339 w 361"/>
                            <a:gd name="T15" fmla="*/ 258 h 274"/>
                            <a:gd name="T16" fmla="*/ 296 w 361"/>
                            <a:gd name="T17" fmla="*/ 255 h 274"/>
                            <a:gd name="T18" fmla="*/ 269 w 361"/>
                            <a:gd name="T19" fmla="*/ 204 h 274"/>
                            <a:gd name="T20" fmla="*/ 274 w 361"/>
                            <a:gd name="T21" fmla="*/ 202 h 274"/>
                            <a:gd name="T22" fmla="*/ 270 w 361"/>
                            <a:gd name="T23" fmla="*/ 152 h 274"/>
                            <a:gd name="T24" fmla="*/ 281 w 361"/>
                            <a:gd name="T25" fmla="*/ 128 h 274"/>
                            <a:gd name="T26" fmla="*/ 251 w 361"/>
                            <a:gd name="T27" fmla="*/ 107 h 274"/>
                            <a:gd name="T28" fmla="*/ 234 w 361"/>
                            <a:gd name="T29" fmla="*/ 62 h 274"/>
                            <a:gd name="T30" fmla="*/ 208 w 361"/>
                            <a:gd name="T31" fmla="*/ 55 h 274"/>
                            <a:gd name="T32" fmla="*/ 190 w 361"/>
                            <a:gd name="T33" fmla="*/ 62 h 274"/>
                            <a:gd name="T34" fmla="*/ 162 w 361"/>
                            <a:gd name="T35" fmla="*/ 25 h 274"/>
                            <a:gd name="T36" fmla="*/ 89 w 361"/>
                            <a:gd name="T37" fmla="*/ 24 h 274"/>
                            <a:gd name="T38" fmla="*/ 6 w 361"/>
                            <a:gd name="T39" fmla="*/ 0 h 274"/>
                            <a:gd name="T40" fmla="*/ 7 w 361"/>
                            <a:gd name="T41" fmla="*/ 22 h 274"/>
                            <a:gd name="T42" fmla="*/ 12 w 361"/>
                            <a:gd name="T43" fmla="*/ 46 h 274"/>
                            <a:gd name="T44" fmla="*/ 32 w 361"/>
                            <a:gd name="T45" fmla="*/ 77 h 274"/>
                            <a:gd name="T46" fmla="*/ 36 w 361"/>
                            <a:gd name="T47" fmla="*/ 91 h 274"/>
                            <a:gd name="T48" fmla="*/ 19 w 361"/>
                            <a:gd name="T49" fmla="*/ 90 h 274"/>
                            <a:gd name="T50" fmla="*/ 46 w 361"/>
                            <a:gd name="T51" fmla="*/ 107 h 274"/>
                            <a:gd name="T52" fmla="*/ 55 w 361"/>
                            <a:gd name="T53" fmla="*/ 139 h 274"/>
                            <a:gd name="T54" fmla="*/ 72 w 361"/>
                            <a:gd name="T55" fmla="*/ 157 h 274"/>
                            <a:gd name="T56" fmla="*/ 95 w 361"/>
                            <a:gd name="T57" fmla="*/ 172 h 274"/>
                            <a:gd name="T58" fmla="*/ 83 w 361"/>
                            <a:gd name="T59" fmla="*/ 157 h 274"/>
                            <a:gd name="T60" fmla="*/ 73 w 361"/>
                            <a:gd name="T61" fmla="*/ 119 h 274"/>
                            <a:gd name="T62" fmla="*/ 54 w 361"/>
                            <a:gd name="T63" fmla="*/ 91 h 274"/>
                            <a:gd name="T64" fmla="*/ 41 w 361"/>
                            <a:gd name="T65" fmla="*/ 60 h 274"/>
                            <a:gd name="T66" fmla="*/ 31 w 361"/>
                            <a:gd name="T67" fmla="*/ 18 h 274"/>
                            <a:gd name="T68" fmla="*/ 53 w 361"/>
                            <a:gd name="T69" fmla="*/ 26 h 274"/>
                            <a:gd name="T70" fmla="*/ 61 w 361"/>
                            <a:gd name="T71" fmla="*/ 67 h 274"/>
                            <a:gd name="T72" fmla="*/ 85 w 361"/>
                            <a:gd name="T73" fmla="*/ 94 h 274"/>
                            <a:gd name="T74" fmla="*/ 95 w 361"/>
                            <a:gd name="T75" fmla="*/ 109 h 274"/>
                            <a:gd name="T76" fmla="*/ 100 w 361"/>
                            <a:gd name="T77" fmla="*/ 121 h 274"/>
                            <a:gd name="T78" fmla="*/ 118 w 361"/>
                            <a:gd name="T79" fmla="*/ 138 h 274"/>
                            <a:gd name="T80" fmla="*/ 138 w 361"/>
                            <a:gd name="T81" fmla="*/ 172 h 274"/>
                            <a:gd name="T82" fmla="*/ 148 w 361"/>
                            <a:gd name="T83" fmla="*/ 217 h 274"/>
                            <a:gd name="T84" fmla="*/ 153 w 361"/>
                            <a:gd name="T85" fmla="*/ 239 h 274"/>
                            <a:gd name="T86" fmla="*/ 198 w 361"/>
                            <a:gd name="T87" fmla="*/ 267 h 274"/>
                            <a:gd name="T88" fmla="*/ 252 w 361"/>
                            <a:gd name="T89" fmla="*/ 295 h 274"/>
                            <a:gd name="T90" fmla="*/ 302 w 361"/>
                            <a:gd name="T91" fmla="*/ 300 h 274"/>
                            <a:gd name="T92" fmla="*/ 321 w 361"/>
                            <a:gd name="T93" fmla="*/ 304 h 274"/>
                            <a:gd name="T94" fmla="*/ 345 w 361"/>
                            <a:gd name="T95" fmla="*/ 318 h 274"/>
                            <a:gd name="T96" fmla="*/ 369 w 361"/>
                            <a:gd name="T97" fmla="*/ 292 h 274"/>
                            <a:gd name="T98" fmla="*/ 365 w 361"/>
                            <a:gd name="T99" fmla="*/ 274 h 274"/>
                            <a:gd name="T100" fmla="*/ 403 w 361"/>
                            <a:gd name="T101" fmla="*/ 265 h 274"/>
                            <a:gd name="T102" fmla="*/ 0 60000 65536"/>
                            <a:gd name="T103" fmla="*/ 0 60000 65536"/>
                            <a:gd name="T104" fmla="*/ 0 60000 65536"/>
                            <a:gd name="T105" fmla="*/ 0 60000 65536"/>
                            <a:gd name="T106" fmla="*/ 0 60000 65536"/>
                            <a:gd name="T107" fmla="*/ 0 60000 65536"/>
                            <a:gd name="T108" fmla="*/ 0 60000 65536"/>
                            <a:gd name="T109" fmla="*/ 0 60000 65536"/>
                            <a:gd name="T110" fmla="*/ 0 60000 65536"/>
                            <a:gd name="T111" fmla="*/ 0 60000 65536"/>
                            <a:gd name="T112" fmla="*/ 0 60000 65536"/>
                            <a:gd name="T113" fmla="*/ 0 60000 65536"/>
                            <a:gd name="T114" fmla="*/ 0 60000 65536"/>
                            <a:gd name="T115" fmla="*/ 0 60000 65536"/>
                            <a:gd name="T116" fmla="*/ 0 60000 65536"/>
                            <a:gd name="T117" fmla="*/ 0 60000 65536"/>
                            <a:gd name="T118" fmla="*/ 0 60000 65536"/>
                            <a:gd name="T119" fmla="*/ 0 60000 65536"/>
                            <a:gd name="T120" fmla="*/ 0 60000 65536"/>
                            <a:gd name="T121" fmla="*/ 0 60000 65536"/>
                            <a:gd name="T122" fmla="*/ 0 60000 65536"/>
                            <a:gd name="T123" fmla="*/ 0 60000 65536"/>
                            <a:gd name="T124" fmla="*/ 0 60000 65536"/>
                            <a:gd name="T125" fmla="*/ 0 60000 65536"/>
                            <a:gd name="T126" fmla="*/ 0 60000 65536"/>
                            <a:gd name="T127" fmla="*/ 0 60000 65536"/>
                            <a:gd name="T128" fmla="*/ 0 60000 65536"/>
                            <a:gd name="T129" fmla="*/ 0 60000 65536"/>
                            <a:gd name="T130" fmla="*/ 0 60000 65536"/>
                            <a:gd name="T131" fmla="*/ 0 60000 65536"/>
                            <a:gd name="T132" fmla="*/ 0 60000 65536"/>
                            <a:gd name="T133" fmla="*/ 0 60000 65536"/>
                            <a:gd name="T134" fmla="*/ 0 60000 65536"/>
                            <a:gd name="T135" fmla="*/ 0 60000 65536"/>
                            <a:gd name="T136" fmla="*/ 0 60000 65536"/>
                            <a:gd name="T137" fmla="*/ 0 60000 65536"/>
                            <a:gd name="T138" fmla="*/ 0 60000 65536"/>
                            <a:gd name="T139" fmla="*/ 0 60000 65536"/>
                            <a:gd name="T140" fmla="*/ 0 60000 65536"/>
                            <a:gd name="T141" fmla="*/ 0 60000 65536"/>
                            <a:gd name="T142" fmla="*/ 0 60000 65536"/>
                            <a:gd name="T143" fmla="*/ 0 60000 65536"/>
                            <a:gd name="T144" fmla="*/ 0 60000 65536"/>
                            <a:gd name="T145" fmla="*/ 0 60000 65536"/>
                            <a:gd name="T146" fmla="*/ 0 60000 65536"/>
                            <a:gd name="T147" fmla="*/ 0 60000 65536"/>
                            <a:gd name="T148" fmla="*/ 0 60000 65536"/>
                            <a:gd name="T149" fmla="*/ 0 60000 65536"/>
                            <a:gd name="T150" fmla="*/ 0 60000 65536"/>
                            <a:gd name="T151" fmla="*/ 0 60000 65536"/>
                            <a:gd name="T152" fmla="*/ 0 60000 65536"/>
                            <a:gd name="T153" fmla="*/ 0 w 361"/>
                            <a:gd name="T154" fmla="*/ 0 h 274"/>
                            <a:gd name="T155" fmla="*/ 361 w 361"/>
                            <a:gd name="T156" fmla="*/ 274 h 274"/>
                          </a:gdLst>
                          <a:ahLst/>
                          <a:cxnLst>
                            <a:cxn ang="T102">
                              <a:pos x="T0" y="T1"/>
                            </a:cxn>
                            <a:cxn ang="T103">
                              <a:pos x="T2" y="T3"/>
                            </a:cxn>
                            <a:cxn ang="T104">
                              <a:pos x="T4" y="T5"/>
                            </a:cxn>
                            <a:cxn ang="T105">
                              <a:pos x="T6" y="T7"/>
                            </a:cxn>
                            <a:cxn ang="T106">
                              <a:pos x="T8" y="T9"/>
                            </a:cxn>
                            <a:cxn ang="T107">
                              <a:pos x="T10" y="T11"/>
                            </a:cxn>
                            <a:cxn ang="T108">
                              <a:pos x="T12" y="T13"/>
                            </a:cxn>
                            <a:cxn ang="T109">
                              <a:pos x="T14" y="T15"/>
                            </a:cxn>
                            <a:cxn ang="T110">
                              <a:pos x="T16" y="T17"/>
                            </a:cxn>
                            <a:cxn ang="T111">
                              <a:pos x="T18" y="T19"/>
                            </a:cxn>
                            <a:cxn ang="T112">
                              <a:pos x="T20" y="T21"/>
                            </a:cxn>
                            <a:cxn ang="T113">
                              <a:pos x="T22" y="T23"/>
                            </a:cxn>
                            <a:cxn ang="T114">
                              <a:pos x="T24" y="T25"/>
                            </a:cxn>
                            <a:cxn ang="T115">
                              <a:pos x="T26" y="T27"/>
                            </a:cxn>
                            <a:cxn ang="T116">
                              <a:pos x="T28" y="T29"/>
                            </a:cxn>
                            <a:cxn ang="T117">
                              <a:pos x="T30" y="T31"/>
                            </a:cxn>
                            <a:cxn ang="T118">
                              <a:pos x="T32" y="T33"/>
                            </a:cxn>
                            <a:cxn ang="T119">
                              <a:pos x="T34" y="T35"/>
                            </a:cxn>
                            <a:cxn ang="T120">
                              <a:pos x="T36" y="T37"/>
                            </a:cxn>
                            <a:cxn ang="T121">
                              <a:pos x="T38" y="T39"/>
                            </a:cxn>
                            <a:cxn ang="T122">
                              <a:pos x="T40" y="T41"/>
                            </a:cxn>
                            <a:cxn ang="T123">
                              <a:pos x="T42" y="T43"/>
                            </a:cxn>
                            <a:cxn ang="T124">
                              <a:pos x="T44" y="T45"/>
                            </a:cxn>
                            <a:cxn ang="T125">
                              <a:pos x="T46" y="T47"/>
                            </a:cxn>
                            <a:cxn ang="T126">
                              <a:pos x="T48" y="T49"/>
                            </a:cxn>
                            <a:cxn ang="T127">
                              <a:pos x="T50" y="T51"/>
                            </a:cxn>
                            <a:cxn ang="T128">
                              <a:pos x="T52" y="T53"/>
                            </a:cxn>
                            <a:cxn ang="T129">
                              <a:pos x="T54" y="T55"/>
                            </a:cxn>
                            <a:cxn ang="T130">
                              <a:pos x="T56" y="T57"/>
                            </a:cxn>
                            <a:cxn ang="T131">
                              <a:pos x="T58" y="T59"/>
                            </a:cxn>
                            <a:cxn ang="T132">
                              <a:pos x="T60" y="T61"/>
                            </a:cxn>
                            <a:cxn ang="T133">
                              <a:pos x="T62" y="T63"/>
                            </a:cxn>
                            <a:cxn ang="T134">
                              <a:pos x="T64" y="T65"/>
                            </a:cxn>
                            <a:cxn ang="T135">
                              <a:pos x="T66" y="T67"/>
                            </a:cxn>
                            <a:cxn ang="T136">
                              <a:pos x="T68" y="T69"/>
                            </a:cxn>
                            <a:cxn ang="T137">
                              <a:pos x="T70" y="T71"/>
                            </a:cxn>
                            <a:cxn ang="T138">
                              <a:pos x="T72" y="T73"/>
                            </a:cxn>
                            <a:cxn ang="T139">
                              <a:pos x="T74" y="T75"/>
                            </a:cxn>
                            <a:cxn ang="T140">
                              <a:pos x="T76" y="T77"/>
                            </a:cxn>
                            <a:cxn ang="T141">
                              <a:pos x="T78" y="T79"/>
                            </a:cxn>
                            <a:cxn ang="T142">
                              <a:pos x="T80" y="T81"/>
                            </a:cxn>
                            <a:cxn ang="T143">
                              <a:pos x="T82" y="T83"/>
                            </a:cxn>
                            <a:cxn ang="T144">
                              <a:pos x="T84" y="T85"/>
                            </a:cxn>
                            <a:cxn ang="T145">
                              <a:pos x="T86" y="T87"/>
                            </a:cxn>
                            <a:cxn ang="T146">
                              <a:pos x="T88" y="T89"/>
                            </a:cxn>
                            <a:cxn ang="T147">
                              <a:pos x="T90" y="T91"/>
                            </a:cxn>
                            <a:cxn ang="T148">
                              <a:pos x="T92" y="T93"/>
                            </a:cxn>
                            <a:cxn ang="T149">
                              <a:pos x="T94" y="T95"/>
                            </a:cxn>
                            <a:cxn ang="T150">
                              <a:pos x="T96" y="T97"/>
                            </a:cxn>
                            <a:cxn ang="T151">
                              <a:pos x="T98" y="T99"/>
                            </a:cxn>
                            <a:cxn ang="T152">
                              <a:pos x="T100" y="T101"/>
                            </a:cxn>
                          </a:cxnLst>
                          <a:rect l="T153" t="T154" r="T155" b="T156"/>
                          <a:pathLst>
                            <a:path w="361" h="274">
                              <a:moveTo>
                                <a:pt x="340" y="217"/>
                              </a:moveTo>
                              <a:cubicBezTo>
                                <a:pt x="340" y="216"/>
                                <a:pt x="339" y="215"/>
                                <a:pt x="340" y="214"/>
                              </a:cubicBezTo>
                              <a:cubicBezTo>
                                <a:pt x="340" y="213"/>
                                <a:pt x="341" y="212"/>
                                <a:pt x="342" y="212"/>
                              </a:cubicBezTo>
                              <a:cubicBezTo>
                                <a:pt x="343" y="212"/>
                                <a:pt x="343" y="213"/>
                                <a:pt x="344" y="214"/>
                              </a:cubicBezTo>
                              <a:cubicBezTo>
                                <a:pt x="345" y="215"/>
                                <a:pt x="345" y="218"/>
                                <a:pt x="347" y="218"/>
                              </a:cubicBezTo>
                              <a:cubicBezTo>
                                <a:pt x="348" y="219"/>
                                <a:pt x="348" y="216"/>
                                <a:pt x="348" y="215"/>
                              </a:cubicBezTo>
                              <a:cubicBezTo>
                                <a:pt x="349" y="212"/>
                                <a:pt x="351" y="209"/>
                                <a:pt x="352" y="206"/>
                              </a:cubicBezTo>
                              <a:cubicBezTo>
                                <a:pt x="352" y="204"/>
                                <a:pt x="350" y="203"/>
                                <a:pt x="350" y="202"/>
                              </a:cubicBezTo>
                              <a:cubicBezTo>
                                <a:pt x="350" y="199"/>
                                <a:pt x="352" y="198"/>
                                <a:pt x="353" y="195"/>
                              </a:cubicBezTo>
                              <a:cubicBezTo>
                                <a:pt x="353" y="193"/>
                                <a:pt x="353" y="191"/>
                                <a:pt x="354" y="189"/>
                              </a:cubicBezTo>
                              <a:cubicBezTo>
                                <a:pt x="355" y="186"/>
                                <a:pt x="358" y="185"/>
                                <a:pt x="359" y="183"/>
                              </a:cubicBezTo>
                              <a:cubicBezTo>
                                <a:pt x="360" y="181"/>
                                <a:pt x="361" y="180"/>
                                <a:pt x="361" y="178"/>
                              </a:cubicBezTo>
                              <a:cubicBezTo>
                                <a:pt x="361" y="176"/>
                                <a:pt x="360" y="174"/>
                                <a:pt x="359" y="173"/>
                              </a:cubicBezTo>
                              <a:cubicBezTo>
                                <a:pt x="356" y="172"/>
                                <a:pt x="352" y="172"/>
                                <a:pt x="349" y="172"/>
                              </a:cubicBezTo>
                              <a:cubicBezTo>
                                <a:pt x="346" y="172"/>
                                <a:pt x="343" y="172"/>
                                <a:pt x="339" y="172"/>
                              </a:cubicBezTo>
                              <a:cubicBezTo>
                                <a:pt x="336" y="173"/>
                                <a:pt x="332" y="174"/>
                                <a:pt x="329" y="174"/>
                              </a:cubicBezTo>
                              <a:cubicBezTo>
                                <a:pt x="325" y="175"/>
                                <a:pt x="321" y="174"/>
                                <a:pt x="318" y="176"/>
                              </a:cubicBezTo>
                              <a:cubicBezTo>
                                <a:pt x="315" y="179"/>
                                <a:pt x="314" y="183"/>
                                <a:pt x="313" y="186"/>
                              </a:cubicBezTo>
                              <a:cubicBezTo>
                                <a:pt x="312" y="190"/>
                                <a:pt x="313" y="193"/>
                                <a:pt x="312" y="196"/>
                              </a:cubicBezTo>
                              <a:cubicBezTo>
                                <a:pt x="311" y="199"/>
                                <a:pt x="310" y="202"/>
                                <a:pt x="309" y="204"/>
                              </a:cubicBezTo>
                              <a:cubicBezTo>
                                <a:pt x="308" y="206"/>
                                <a:pt x="306" y="208"/>
                                <a:pt x="304" y="209"/>
                              </a:cubicBezTo>
                              <a:cubicBezTo>
                                <a:pt x="303" y="209"/>
                                <a:pt x="300" y="209"/>
                                <a:pt x="299" y="210"/>
                              </a:cubicBezTo>
                              <a:cubicBezTo>
                                <a:pt x="298" y="210"/>
                                <a:pt x="300" y="210"/>
                                <a:pt x="301" y="210"/>
                              </a:cubicBezTo>
                              <a:cubicBezTo>
                                <a:pt x="302" y="211"/>
                                <a:pt x="303" y="212"/>
                                <a:pt x="303" y="213"/>
                              </a:cubicBezTo>
                              <a:cubicBezTo>
                                <a:pt x="303" y="214"/>
                                <a:pt x="300" y="215"/>
                                <a:pt x="299" y="215"/>
                              </a:cubicBezTo>
                              <a:cubicBezTo>
                                <a:pt x="298" y="216"/>
                                <a:pt x="298" y="218"/>
                                <a:pt x="296" y="218"/>
                              </a:cubicBezTo>
                              <a:cubicBezTo>
                                <a:pt x="296" y="219"/>
                                <a:pt x="297" y="217"/>
                                <a:pt x="296" y="217"/>
                              </a:cubicBezTo>
                              <a:cubicBezTo>
                                <a:pt x="294" y="216"/>
                                <a:pt x="291" y="218"/>
                                <a:pt x="290" y="216"/>
                              </a:cubicBezTo>
                              <a:cubicBezTo>
                                <a:pt x="289" y="215"/>
                                <a:pt x="294" y="215"/>
                                <a:pt x="295" y="214"/>
                              </a:cubicBezTo>
                              <a:cubicBezTo>
                                <a:pt x="295" y="213"/>
                                <a:pt x="294" y="213"/>
                                <a:pt x="294" y="212"/>
                              </a:cubicBezTo>
                              <a:cubicBezTo>
                                <a:pt x="292" y="212"/>
                                <a:pt x="290" y="211"/>
                                <a:pt x="288" y="211"/>
                              </a:cubicBezTo>
                              <a:cubicBezTo>
                                <a:pt x="286" y="212"/>
                                <a:pt x="284" y="214"/>
                                <a:pt x="282" y="215"/>
                              </a:cubicBezTo>
                              <a:cubicBezTo>
                                <a:pt x="278" y="216"/>
                                <a:pt x="273" y="218"/>
                                <a:pt x="268" y="219"/>
                              </a:cubicBezTo>
                              <a:cubicBezTo>
                                <a:pt x="266" y="220"/>
                                <a:pt x="263" y="220"/>
                                <a:pt x="261" y="218"/>
                              </a:cubicBezTo>
                              <a:cubicBezTo>
                                <a:pt x="258" y="217"/>
                                <a:pt x="257" y="214"/>
                                <a:pt x="254" y="212"/>
                              </a:cubicBezTo>
                              <a:cubicBezTo>
                                <a:pt x="252" y="211"/>
                                <a:pt x="249" y="214"/>
                                <a:pt x="246" y="212"/>
                              </a:cubicBezTo>
                              <a:cubicBezTo>
                                <a:pt x="244" y="211"/>
                                <a:pt x="243" y="209"/>
                                <a:pt x="242" y="207"/>
                              </a:cubicBezTo>
                              <a:cubicBezTo>
                                <a:pt x="241" y="203"/>
                                <a:pt x="240" y="200"/>
                                <a:pt x="238" y="196"/>
                              </a:cubicBezTo>
                              <a:cubicBezTo>
                                <a:pt x="236" y="193"/>
                                <a:pt x="232" y="190"/>
                                <a:pt x="230" y="187"/>
                              </a:cubicBezTo>
                              <a:cubicBezTo>
                                <a:pt x="228" y="182"/>
                                <a:pt x="226" y="176"/>
                                <a:pt x="224" y="170"/>
                              </a:cubicBezTo>
                              <a:cubicBezTo>
                                <a:pt x="224" y="169"/>
                                <a:pt x="223" y="166"/>
                                <a:pt x="224" y="167"/>
                              </a:cubicBezTo>
                              <a:cubicBezTo>
                                <a:pt x="226" y="168"/>
                                <a:pt x="226" y="170"/>
                                <a:pt x="227" y="172"/>
                              </a:cubicBezTo>
                              <a:cubicBezTo>
                                <a:pt x="227" y="173"/>
                                <a:pt x="228" y="174"/>
                                <a:pt x="228" y="173"/>
                              </a:cubicBezTo>
                              <a:cubicBezTo>
                                <a:pt x="229" y="171"/>
                                <a:pt x="228" y="170"/>
                                <a:pt x="228" y="168"/>
                              </a:cubicBezTo>
                              <a:cubicBezTo>
                                <a:pt x="227" y="165"/>
                                <a:pt x="225" y="163"/>
                                <a:pt x="224" y="160"/>
                              </a:cubicBezTo>
                              <a:cubicBezTo>
                                <a:pt x="224" y="158"/>
                                <a:pt x="224" y="155"/>
                                <a:pt x="224" y="153"/>
                              </a:cubicBezTo>
                              <a:cubicBezTo>
                                <a:pt x="224" y="148"/>
                                <a:pt x="224" y="144"/>
                                <a:pt x="224" y="140"/>
                              </a:cubicBezTo>
                              <a:cubicBezTo>
                                <a:pt x="224" y="135"/>
                                <a:pt x="224" y="131"/>
                                <a:pt x="225" y="127"/>
                              </a:cubicBezTo>
                              <a:cubicBezTo>
                                <a:pt x="225" y="125"/>
                                <a:pt x="227" y="123"/>
                                <a:pt x="228" y="120"/>
                              </a:cubicBezTo>
                              <a:cubicBezTo>
                                <a:pt x="229" y="118"/>
                                <a:pt x="227" y="116"/>
                                <a:pt x="228" y="113"/>
                              </a:cubicBezTo>
                              <a:cubicBezTo>
                                <a:pt x="229" y="112"/>
                                <a:pt x="231" y="115"/>
                                <a:pt x="231" y="114"/>
                              </a:cubicBezTo>
                              <a:cubicBezTo>
                                <a:pt x="233" y="113"/>
                                <a:pt x="233" y="109"/>
                                <a:pt x="234" y="107"/>
                              </a:cubicBezTo>
                              <a:cubicBezTo>
                                <a:pt x="232" y="106"/>
                                <a:pt x="231" y="103"/>
                                <a:pt x="229" y="103"/>
                              </a:cubicBezTo>
                              <a:cubicBezTo>
                                <a:pt x="227" y="102"/>
                                <a:pt x="225" y="103"/>
                                <a:pt x="223" y="103"/>
                              </a:cubicBezTo>
                              <a:cubicBezTo>
                                <a:pt x="220" y="101"/>
                                <a:pt x="217" y="100"/>
                                <a:pt x="215" y="98"/>
                              </a:cubicBezTo>
                              <a:cubicBezTo>
                                <a:pt x="212" y="95"/>
                                <a:pt x="211" y="92"/>
                                <a:pt x="209" y="89"/>
                              </a:cubicBezTo>
                              <a:cubicBezTo>
                                <a:pt x="208" y="87"/>
                                <a:pt x="209" y="84"/>
                                <a:pt x="208" y="82"/>
                              </a:cubicBezTo>
                              <a:cubicBezTo>
                                <a:pt x="207" y="80"/>
                                <a:pt x="205" y="78"/>
                                <a:pt x="204" y="75"/>
                              </a:cubicBezTo>
                              <a:cubicBezTo>
                                <a:pt x="202" y="71"/>
                                <a:pt x="200" y="67"/>
                                <a:pt x="198" y="62"/>
                              </a:cubicBezTo>
                              <a:cubicBezTo>
                                <a:pt x="197" y="59"/>
                                <a:pt x="196" y="55"/>
                                <a:pt x="195" y="52"/>
                              </a:cubicBezTo>
                              <a:cubicBezTo>
                                <a:pt x="194" y="49"/>
                                <a:pt x="192" y="46"/>
                                <a:pt x="190" y="45"/>
                              </a:cubicBezTo>
                              <a:cubicBezTo>
                                <a:pt x="187" y="44"/>
                                <a:pt x="185" y="44"/>
                                <a:pt x="182" y="44"/>
                              </a:cubicBezTo>
                              <a:cubicBezTo>
                                <a:pt x="180" y="44"/>
                                <a:pt x="178" y="44"/>
                                <a:pt x="177" y="44"/>
                              </a:cubicBezTo>
                              <a:cubicBezTo>
                                <a:pt x="175" y="45"/>
                                <a:pt x="174" y="45"/>
                                <a:pt x="173" y="46"/>
                              </a:cubicBezTo>
                              <a:cubicBezTo>
                                <a:pt x="172" y="47"/>
                                <a:pt x="172" y="48"/>
                                <a:pt x="171" y="49"/>
                              </a:cubicBezTo>
                              <a:cubicBezTo>
                                <a:pt x="171" y="51"/>
                                <a:pt x="171" y="53"/>
                                <a:pt x="170" y="55"/>
                              </a:cubicBezTo>
                              <a:cubicBezTo>
                                <a:pt x="170" y="56"/>
                                <a:pt x="168" y="57"/>
                                <a:pt x="167" y="57"/>
                              </a:cubicBezTo>
                              <a:cubicBezTo>
                                <a:pt x="164" y="56"/>
                                <a:pt x="161" y="53"/>
                                <a:pt x="158" y="52"/>
                              </a:cubicBezTo>
                              <a:cubicBezTo>
                                <a:pt x="156" y="50"/>
                                <a:pt x="152" y="50"/>
                                <a:pt x="151" y="48"/>
                              </a:cubicBezTo>
                              <a:cubicBezTo>
                                <a:pt x="148" y="45"/>
                                <a:pt x="148" y="41"/>
                                <a:pt x="146" y="38"/>
                              </a:cubicBezTo>
                              <a:cubicBezTo>
                                <a:pt x="145" y="35"/>
                                <a:pt x="145" y="32"/>
                                <a:pt x="143" y="30"/>
                              </a:cubicBezTo>
                              <a:cubicBezTo>
                                <a:pt x="141" y="27"/>
                                <a:pt x="138" y="24"/>
                                <a:pt x="135" y="21"/>
                              </a:cubicBezTo>
                              <a:cubicBezTo>
                                <a:pt x="133" y="18"/>
                                <a:pt x="132" y="16"/>
                                <a:pt x="131" y="13"/>
                              </a:cubicBezTo>
                              <a:cubicBezTo>
                                <a:pt x="124" y="13"/>
                                <a:pt x="117" y="13"/>
                                <a:pt x="109" y="13"/>
                              </a:cubicBezTo>
                              <a:cubicBezTo>
                                <a:pt x="109" y="16"/>
                                <a:pt x="108" y="18"/>
                                <a:pt x="108" y="21"/>
                              </a:cubicBezTo>
                              <a:cubicBezTo>
                                <a:pt x="97" y="20"/>
                                <a:pt x="86" y="20"/>
                                <a:pt x="74" y="20"/>
                              </a:cubicBezTo>
                              <a:cubicBezTo>
                                <a:pt x="74" y="20"/>
                                <a:pt x="73" y="20"/>
                                <a:pt x="72" y="20"/>
                              </a:cubicBezTo>
                              <a:cubicBezTo>
                                <a:pt x="57" y="14"/>
                                <a:pt x="43" y="8"/>
                                <a:pt x="28" y="2"/>
                              </a:cubicBezTo>
                              <a:cubicBezTo>
                                <a:pt x="28" y="2"/>
                                <a:pt x="28" y="1"/>
                                <a:pt x="28" y="0"/>
                              </a:cubicBezTo>
                              <a:cubicBezTo>
                                <a:pt x="20" y="0"/>
                                <a:pt x="13" y="0"/>
                                <a:pt x="5" y="0"/>
                              </a:cubicBezTo>
                              <a:cubicBezTo>
                                <a:pt x="3" y="1"/>
                                <a:pt x="2" y="2"/>
                                <a:pt x="0" y="3"/>
                              </a:cubicBezTo>
                              <a:cubicBezTo>
                                <a:pt x="1" y="5"/>
                                <a:pt x="3" y="7"/>
                                <a:pt x="3" y="9"/>
                              </a:cubicBezTo>
                              <a:cubicBezTo>
                                <a:pt x="4" y="11"/>
                                <a:pt x="3" y="13"/>
                                <a:pt x="3" y="15"/>
                              </a:cubicBezTo>
                              <a:cubicBezTo>
                                <a:pt x="4" y="16"/>
                                <a:pt x="5" y="17"/>
                                <a:pt x="6" y="18"/>
                              </a:cubicBezTo>
                              <a:cubicBezTo>
                                <a:pt x="6" y="22"/>
                                <a:pt x="5" y="26"/>
                                <a:pt x="6" y="29"/>
                              </a:cubicBezTo>
                              <a:cubicBezTo>
                                <a:pt x="6" y="30"/>
                                <a:pt x="7" y="31"/>
                                <a:pt x="8" y="32"/>
                              </a:cubicBezTo>
                              <a:cubicBezTo>
                                <a:pt x="8" y="33"/>
                                <a:pt x="8" y="34"/>
                                <a:pt x="8" y="35"/>
                              </a:cubicBezTo>
                              <a:cubicBezTo>
                                <a:pt x="8" y="37"/>
                                <a:pt x="10" y="37"/>
                                <a:pt x="10" y="38"/>
                              </a:cubicBezTo>
                              <a:cubicBezTo>
                                <a:pt x="11" y="40"/>
                                <a:pt x="10" y="42"/>
                                <a:pt x="10" y="45"/>
                              </a:cubicBezTo>
                              <a:cubicBezTo>
                                <a:pt x="11" y="46"/>
                                <a:pt x="12" y="47"/>
                                <a:pt x="13" y="48"/>
                              </a:cubicBezTo>
                              <a:cubicBezTo>
                                <a:pt x="15" y="50"/>
                                <a:pt x="18" y="51"/>
                                <a:pt x="20" y="54"/>
                              </a:cubicBezTo>
                              <a:cubicBezTo>
                                <a:pt x="22" y="57"/>
                                <a:pt x="25" y="60"/>
                                <a:pt x="27" y="64"/>
                              </a:cubicBezTo>
                              <a:cubicBezTo>
                                <a:pt x="27" y="65"/>
                                <a:pt x="27" y="67"/>
                                <a:pt x="27" y="68"/>
                              </a:cubicBezTo>
                              <a:cubicBezTo>
                                <a:pt x="26" y="70"/>
                                <a:pt x="24" y="70"/>
                                <a:pt x="24" y="71"/>
                              </a:cubicBezTo>
                              <a:cubicBezTo>
                                <a:pt x="24" y="73"/>
                                <a:pt x="26" y="73"/>
                                <a:pt x="27" y="74"/>
                              </a:cubicBezTo>
                              <a:cubicBezTo>
                                <a:pt x="28" y="75"/>
                                <a:pt x="30" y="75"/>
                                <a:pt x="30" y="76"/>
                              </a:cubicBezTo>
                              <a:cubicBezTo>
                                <a:pt x="29" y="78"/>
                                <a:pt x="27" y="77"/>
                                <a:pt x="25" y="77"/>
                              </a:cubicBezTo>
                              <a:cubicBezTo>
                                <a:pt x="24" y="76"/>
                                <a:pt x="23" y="75"/>
                                <a:pt x="22" y="74"/>
                              </a:cubicBezTo>
                              <a:cubicBezTo>
                                <a:pt x="19" y="74"/>
                                <a:pt x="17" y="72"/>
                                <a:pt x="14" y="73"/>
                              </a:cubicBezTo>
                              <a:cubicBezTo>
                                <a:pt x="13" y="73"/>
                                <a:pt x="15" y="74"/>
                                <a:pt x="16" y="75"/>
                              </a:cubicBezTo>
                              <a:cubicBezTo>
                                <a:pt x="18" y="77"/>
                                <a:pt x="20" y="79"/>
                                <a:pt x="21" y="81"/>
                              </a:cubicBezTo>
                              <a:cubicBezTo>
                                <a:pt x="24" y="83"/>
                                <a:pt x="26" y="86"/>
                                <a:pt x="29" y="88"/>
                              </a:cubicBezTo>
                              <a:cubicBezTo>
                                <a:pt x="30" y="89"/>
                                <a:pt x="31" y="89"/>
                                <a:pt x="33" y="90"/>
                              </a:cubicBezTo>
                              <a:cubicBezTo>
                                <a:pt x="35" y="90"/>
                                <a:pt x="37" y="88"/>
                                <a:pt x="38" y="89"/>
                              </a:cubicBezTo>
                              <a:cubicBezTo>
                                <a:pt x="40" y="90"/>
                                <a:pt x="40" y="93"/>
                                <a:pt x="41" y="94"/>
                              </a:cubicBezTo>
                              <a:cubicBezTo>
                                <a:pt x="42" y="96"/>
                                <a:pt x="43" y="97"/>
                                <a:pt x="45" y="99"/>
                              </a:cubicBezTo>
                              <a:cubicBezTo>
                                <a:pt x="46" y="101"/>
                                <a:pt x="49" y="104"/>
                                <a:pt x="49" y="107"/>
                              </a:cubicBezTo>
                              <a:cubicBezTo>
                                <a:pt x="49" y="110"/>
                                <a:pt x="46" y="113"/>
                                <a:pt x="46" y="116"/>
                              </a:cubicBezTo>
                              <a:cubicBezTo>
                                <a:pt x="45" y="118"/>
                                <a:pt x="45" y="120"/>
                                <a:pt x="46" y="121"/>
                              </a:cubicBezTo>
                              <a:cubicBezTo>
                                <a:pt x="46" y="122"/>
                                <a:pt x="48" y="121"/>
                                <a:pt x="49" y="121"/>
                              </a:cubicBezTo>
                              <a:cubicBezTo>
                                <a:pt x="50" y="122"/>
                                <a:pt x="50" y="124"/>
                                <a:pt x="52" y="125"/>
                              </a:cubicBezTo>
                              <a:cubicBezTo>
                                <a:pt x="54" y="127"/>
                                <a:pt x="57" y="129"/>
                                <a:pt x="60" y="131"/>
                              </a:cubicBezTo>
                              <a:cubicBezTo>
                                <a:pt x="63" y="133"/>
                                <a:pt x="65" y="136"/>
                                <a:pt x="68" y="139"/>
                              </a:cubicBezTo>
                              <a:cubicBezTo>
                                <a:pt x="69" y="141"/>
                                <a:pt x="70" y="144"/>
                                <a:pt x="70" y="146"/>
                              </a:cubicBezTo>
                              <a:cubicBezTo>
                                <a:pt x="71" y="148"/>
                                <a:pt x="69" y="152"/>
                                <a:pt x="70" y="151"/>
                              </a:cubicBezTo>
                              <a:cubicBezTo>
                                <a:pt x="74" y="150"/>
                                <a:pt x="77" y="147"/>
                                <a:pt x="79" y="143"/>
                              </a:cubicBezTo>
                              <a:cubicBezTo>
                                <a:pt x="79" y="142"/>
                                <a:pt x="76" y="142"/>
                                <a:pt x="75" y="140"/>
                              </a:cubicBezTo>
                              <a:cubicBezTo>
                                <a:pt x="75" y="139"/>
                                <a:pt x="76" y="138"/>
                                <a:pt x="75" y="137"/>
                              </a:cubicBezTo>
                              <a:cubicBezTo>
                                <a:pt x="74" y="134"/>
                                <a:pt x="72" y="131"/>
                                <a:pt x="70" y="129"/>
                              </a:cubicBezTo>
                              <a:cubicBezTo>
                                <a:pt x="70" y="128"/>
                                <a:pt x="70" y="132"/>
                                <a:pt x="69" y="131"/>
                              </a:cubicBezTo>
                              <a:cubicBezTo>
                                <a:pt x="68" y="131"/>
                                <a:pt x="68" y="129"/>
                                <a:pt x="67" y="128"/>
                              </a:cubicBezTo>
                              <a:cubicBezTo>
                                <a:pt x="66" y="126"/>
                                <a:pt x="66" y="123"/>
                                <a:pt x="65" y="121"/>
                              </a:cubicBezTo>
                              <a:cubicBezTo>
                                <a:pt x="63" y="116"/>
                                <a:pt x="60" y="111"/>
                                <a:pt x="59" y="106"/>
                              </a:cubicBezTo>
                              <a:cubicBezTo>
                                <a:pt x="59" y="104"/>
                                <a:pt x="61" y="101"/>
                                <a:pt x="61" y="99"/>
                              </a:cubicBezTo>
                              <a:cubicBezTo>
                                <a:pt x="60" y="96"/>
                                <a:pt x="58" y="92"/>
                                <a:pt x="56" y="90"/>
                              </a:cubicBezTo>
                              <a:cubicBezTo>
                                <a:pt x="55" y="89"/>
                                <a:pt x="55" y="94"/>
                                <a:pt x="54" y="93"/>
                              </a:cubicBezTo>
                              <a:cubicBezTo>
                                <a:pt x="52" y="90"/>
                                <a:pt x="52" y="86"/>
                                <a:pt x="51" y="84"/>
                              </a:cubicBezTo>
                              <a:cubicBezTo>
                                <a:pt x="49" y="81"/>
                                <a:pt x="46" y="79"/>
                                <a:pt x="45" y="76"/>
                              </a:cubicBezTo>
                              <a:cubicBezTo>
                                <a:pt x="44" y="73"/>
                                <a:pt x="44" y="70"/>
                                <a:pt x="43" y="67"/>
                              </a:cubicBezTo>
                              <a:cubicBezTo>
                                <a:pt x="42" y="65"/>
                                <a:pt x="40" y="63"/>
                                <a:pt x="39" y="62"/>
                              </a:cubicBezTo>
                              <a:cubicBezTo>
                                <a:pt x="38" y="61"/>
                                <a:pt x="37" y="61"/>
                                <a:pt x="36" y="60"/>
                              </a:cubicBezTo>
                              <a:cubicBezTo>
                                <a:pt x="35" y="57"/>
                                <a:pt x="36" y="53"/>
                                <a:pt x="34" y="50"/>
                              </a:cubicBezTo>
                              <a:cubicBezTo>
                                <a:pt x="32" y="47"/>
                                <a:pt x="27" y="46"/>
                                <a:pt x="25" y="42"/>
                              </a:cubicBezTo>
                              <a:cubicBezTo>
                                <a:pt x="23" y="39"/>
                                <a:pt x="25" y="36"/>
                                <a:pt x="25" y="32"/>
                              </a:cubicBezTo>
                              <a:cubicBezTo>
                                <a:pt x="25" y="30"/>
                                <a:pt x="23" y="28"/>
                                <a:pt x="23" y="26"/>
                              </a:cubicBezTo>
                              <a:cubicBezTo>
                                <a:pt x="23" y="22"/>
                                <a:pt x="22" y="17"/>
                                <a:pt x="26" y="15"/>
                              </a:cubicBezTo>
                              <a:cubicBezTo>
                                <a:pt x="29" y="13"/>
                                <a:pt x="32" y="18"/>
                                <a:pt x="35" y="19"/>
                              </a:cubicBezTo>
                              <a:cubicBezTo>
                                <a:pt x="37" y="19"/>
                                <a:pt x="38" y="17"/>
                                <a:pt x="39" y="18"/>
                              </a:cubicBezTo>
                              <a:cubicBezTo>
                                <a:pt x="40" y="19"/>
                                <a:pt x="38" y="21"/>
                                <a:pt x="39" y="22"/>
                              </a:cubicBezTo>
                              <a:cubicBezTo>
                                <a:pt x="40" y="23"/>
                                <a:pt x="43" y="21"/>
                                <a:pt x="44" y="22"/>
                              </a:cubicBezTo>
                              <a:cubicBezTo>
                                <a:pt x="45" y="24"/>
                                <a:pt x="43" y="27"/>
                                <a:pt x="44" y="30"/>
                              </a:cubicBezTo>
                              <a:cubicBezTo>
                                <a:pt x="44" y="33"/>
                                <a:pt x="45" y="36"/>
                                <a:pt x="46" y="39"/>
                              </a:cubicBezTo>
                              <a:cubicBezTo>
                                <a:pt x="47" y="43"/>
                                <a:pt x="50" y="46"/>
                                <a:pt x="51" y="49"/>
                              </a:cubicBezTo>
                              <a:cubicBezTo>
                                <a:pt x="52" y="51"/>
                                <a:pt x="50" y="54"/>
                                <a:pt x="51" y="56"/>
                              </a:cubicBezTo>
                              <a:cubicBezTo>
                                <a:pt x="52" y="59"/>
                                <a:pt x="55" y="61"/>
                                <a:pt x="58" y="64"/>
                              </a:cubicBezTo>
                              <a:cubicBezTo>
                                <a:pt x="60" y="67"/>
                                <a:pt x="62" y="70"/>
                                <a:pt x="65" y="73"/>
                              </a:cubicBezTo>
                              <a:cubicBezTo>
                                <a:pt x="67" y="74"/>
                                <a:pt x="70" y="72"/>
                                <a:pt x="72" y="74"/>
                              </a:cubicBezTo>
                              <a:cubicBezTo>
                                <a:pt x="73" y="75"/>
                                <a:pt x="71" y="77"/>
                                <a:pt x="71" y="78"/>
                              </a:cubicBezTo>
                              <a:cubicBezTo>
                                <a:pt x="71" y="80"/>
                                <a:pt x="71" y="82"/>
                                <a:pt x="72" y="84"/>
                              </a:cubicBezTo>
                              <a:cubicBezTo>
                                <a:pt x="72" y="85"/>
                                <a:pt x="73" y="85"/>
                                <a:pt x="74" y="85"/>
                              </a:cubicBezTo>
                              <a:cubicBezTo>
                                <a:pt x="75" y="85"/>
                                <a:pt x="77" y="83"/>
                                <a:pt x="77" y="84"/>
                              </a:cubicBezTo>
                              <a:cubicBezTo>
                                <a:pt x="79" y="86"/>
                                <a:pt x="77" y="89"/>
                                <a:pt x="79" y="91"/>
                              </a:cubicBezTo>
                              <a:cubicBezTo>
                                <a:pt x="79" y="92"/>
                                <a:pt x="82" y="90"/>
                                <a:pt x="83" y="91"/>
                              </a:cubicBezTo>
                              <a:cubicBezTo>
                                <a:pt x="84" y="92"/>
                                <a:pt x="84" y="93"/>
                                <a:pt x="84" y="94"/>
                              </a:cubicBezTo>
                              <a:cubicBezTo>
                                <a:pt x="85" y="96"/>
                                <a:pt x="86" y="97"/>
                                <a:pt x="86" y="99"/>
                              </a:cubicBezTo>
                              <a:cubicBezTo>
                                <a:pt x="86" y="100"/>
                                <a:pt x="84" y="100"/>
                                <a:pt x="83" y="101"/>
                              </a:cubicBezTo>
                              <a:cubicBezTo>
                                <a:pt x="83" y="102"/>
                                <a:pt x="82" y="105"/>
                                <a:pt x="83" y="107"/>
                              </a:cubicBezTo>
                              <a:cubicBezTo>
                                <a:pt x="83" y="108"/>
                                <a:pt x="86" y="105"/>
                                <a:pt x="87" y="106"/>
                              </a:cubicBezTo>
                              <a:cubicBezTo>
                                <a:pt x="89" y="107"/>
                                <a:pt x="89" y="111"/>
                                <a:pt x="91" y="112"/>
                              </a:cubicBezTo>
                              <a:cubicBezTo>
                                <a:pt x="93" y="114"/>
                                <a:pt x="96" y="113"/>
                                <a:pt x="98" y="115"/>
                              </a:cubicBezTo>
                              <a:cubicBezTo>
                                <a:pt x="99" y="116"/>
                                <a:pt x="98" y="119"/>
                                <a:pt x="99" y="121"/>
                              </a:cubicBezTo>
                              <a:cubicBezTo>
                                <a:pt x="100" y="123"/>
                                <a:pt x="102" y="125"/>
                                <a:pt x="104" y="127"/>
                              </a:cubicBezTo>
                              <a:cubicBezTo>
                                <a:pt x="106" y="129"/>
                                <a:pt x="107" y="131"/>
                                <a:pt x="108" y="133"/>
                              </a:cubicBezTo>
                              <a:cubicBezTo>
                                <a:pt x="110" y="136"/>
                                <a:pt x="113" y="140"/>
                                <a:pt x="115" y="143"/>
                              </a:cubicBezTo>
                              <a:cubicBezTo>
                                <a:pt x="118" y="148"/>
                                <a:pt x="122" y="152"/>
                                <a:pt x="125" y="157"/>
                              </a:cubicBezTo>
                              <a:cubicBezTo>
                                <a:pt x="127" y="161"/>
                                <a:pt x="128" y="166"/>
                                <a:pt x="129" y="170"/>
                              </a:cubicBezTo>
                              <a:cubicBezTo>
                                <a:pt x="129" y="172"/>
                                <a:pt x="129" y="174"/>
                                <a:pt x="129" y="175"/>
                              </a:cubicBezTo>
                              <a:cubicBezTo>
                                <a:pt x="127" y="177"/>
                                <a:pt x="124" y="178"/>
                                <a:pt x="123" y="181"/>
                              </a:cubicBezTo>
                              <a:cubicBezTo>
                                <a:pt x="123" y="182"/>
                                <a:pt x="126" y="181"/>
                                <a:pt x="127" y="183"/>
                              </a:cubicBezTo>
                              <a:cubicBezTo>
                                <a:pt x="127" y="184"/>
                                <a:pt x="125" y="185"/>
                                <a:pt x="125" y="185"/>
                              </a:cubicBezTo>
                              <a:cubicBezTo>
                                <a:pt x="124" y="187"/>
                                <a:pt x="121" y="187"/>
                                <a:pt x="122" y="189"/>
                              </a:cubicBezTo>
                              <a:cubicBezTo>
                                <a:pt x="122" y="193"/>
                                <a:pt x="125" y="196"/>
                                <a:pt x="127" y="199"/>
                              </a:cubicBezTo>
                              <a:cubicBezTo>
                                <a:pt x="129" y="201"/>
                                <a:pt x="132" y="204"/>
                                <a:pt x="135" y="206"/>
                              </a:cubicBezTo>
                              <a:cubicBezTo>
                                <a:pt x="137" y="207"/>
                                <a:pt x="140" y="207"/>
                                <a:pt x="142" y="209"/>
                              </a:cubicBezTo>
                              <a:cubicBezTo>
                                <a:pt x="145" y="211"/>
                                <a:pt x="146" y="215"/>
                                <a:pt x="150" y="217"/>
                              </a:cubicBezTo>
                              <a:cubicBezTo>
                                <a:pt x="154" y="220"/>
                                <a:pt x="161" y="219"/>
                                <a:pt x="165" y="222"/>
                              </a:cubicBezTo>
                              <a:cubicBezTo>
                                <a:pt x="169" y="224"/>
                                <a:pt x="171" y="228"/>
                                <a:pt x="174" y="230"/>
                              </a:cubicBezTo>
                              <a:cubicBezTo>
                                <a:pt x="180" y="234"/>
                                <a:pt x="187" y="238"/>
                                <a:pt x="194" y="240"/>
                              </a:cubicBezTo>
                              <a:cubicBezTo>
                                <a:pt x="197" y="242"/>
                                <a:pt x="200" y="241"/>
                                <a:pt x="203" y="242"/>
                              </a:cubicBezTo>
                              <a:cubicBezTo>
                                <a:pt x="206" y="242"/>
                                <a:pt x="208" y="245"/>
                                <a:pt x="210" y="246"/>
                              </a:cubicBezTo>
                              <a:cubicBezTo>
                                <a:pt x="213" y="248"/>
                                <a:pt x="215" y="251"/>
                                <a:pt x="219" y="252"/>
                              </a:cubicBezTo>
                              <a:cubicBezTo>
                                <a:pt x="223" y="254"/>
                                <a:pt x="228" y="256"/>
                                <a:pt x="233" y="257"/>
                              </a:cubicBezTo>
                              <a:cubicBezTo>
                                <a:pt x="235" y="258"/>
                                <a:pt x="238" y="258"/>
                                <a:pt x="241" y="257"/>
                              </a:cubicBezTo>
                              <a:cubicBezTo>
                                <a:pt x="244" y="255"/>
                                <a:pt x="247" y="252"/>
                                <a:pt x="251" y="250"/>
                              </a:cubicBezTo>
                              <a:cubicBezTo>
                                <a:pt x="252" y="249"/>
                                <a:pt x="252" y="248"/>
                                <a:pt x="253" y="248"/>
                              </a:cubicBezTo>
                              <a:cubicBezTo>
                                <a:pt x="255" y="248"/>
                                <a:pt x="256" y="249"/>
                                <a:pt x="258" y="250"/>
                              </a:cubicBezTo>
                              <a:cubicBezTo>
                                <a:pt x="258" y="250"/>
                                <a:pt x="259" y="249"/>
                                <a:pt x="259" y="250"/>
                              </a:cubicBezTo>
                              <a:cubicBezTo>
                                <a:pt x="262" y="250"/>
                                <a:pt x="265" y="251"/>
                                <a:pt x="267" y="253"/>
                              </a:cubicBezTo>
                              <a:cubicBezTo>
                                <a:pt x="270" y="256"/>
                                <a:pt x="272" y="260"/>
                                <a:pt x="275" y="264"/>
                              </a:cubicBezTo>
                              <a:cubicBezTo>
                                <a:pt x="278" y="267"/>
                                <a:pt x="283" y="271"/>
                                <a:pt x="286" y="274"/>
                              </a:cubicBezTo>
                              <a:cubicBezTo>
                                <a:pt x="286" y="273"/>
                                <a:pt x="287" y="271"/>
                                <a:pt x="288" y="270"/>
                              </a:cubicBezTo>
                              <a:cubicBezTo>
                                <a:pt x="288" y="268"/>
                                <a:pt x="287" y="267"/>
                                <a:pt x="287" y="265"/>
                              </a:cubicBezTo>
                              <a:cubicBezTo>
                                <a:pt x="289" y="261"/>
                                <a:pt x="291" y="257"/>
                                <a:pt x="293" y="252"/>
                              </a:cubicBezTo>
                              <a:cubicBezTo>
                                <a:pt x="298" y="252"/>
                                <a:pt x="304" y="253"/>
                                <a:pt x="309" y="253"/>
                              </a:cubicBezTo>
                              <a:cubicBezTo>
                                <a:pt x="309" y="251"/>
                                <a:pt x="310" y="248"/>
                                <a:pt x="308" y="246"/>
                              </a:cubicBezTo>
                              <a:cubicBezTo>
                                <a:pt x="307" y="246"/>
                                <a:pt x="308" y="244"/>
                                <a:pt x="307" y="243"/>
                              </a:cubicBezTo>
                              <a:cubicBezTo>
                                <a:pt x="306" y="242"/>
                                <a:pt x="304" y="243"/>
                                <a:pt x="303" y="242"/>
                              </a:cubicBezTo>
                              <a:cubicBezTo>
                                <a:pt x="301" y="241"/>
                                <a:pt x="298" y="239"/>
                                <a:pt x="298" y="237"/>
                              </a:cubicBezTo>
                              <a:cubicBezTo>
                                <a:pt x="298" y="236"/>
                                <a:pt x="302" y="238"/>
                                <a:pt x="303" y="236"/>
                              </a:cubicBezTo>
                              <a:cubicBezTo>
                                <a:pt x="305" y="234"/>
                                <a:pt x="304" y="231"/>
                                <a:pt x="304" y="228"/>
                              </a:cubicBezTo>
                              <a:cubicBezTo>
                                <a:pt x="312" y="227"/>
                                <a:pt x="320" y="228"/>
                                <a:pt x="328" y="227"/>
                              </a:cubicBezTo>
                              <a:cubicBezTo>
                                <a:pt x="329" y="226"/>
                                <a:pt x="329" y="225"/>
                                <a:pt x="330" y="225"/>
                              </a:cubicBezTo>
                              <a:cubicBezTo>
                                <a:pt x="331" y="224"/>
                                <a:pt x="332" y="227"/>
                                <a:pt x="333" y="226"/>
                              </a:cubicBezTo>
                              <a:cubicBezTo>
                                <a:pt x="335" y="225"/>
                                <a:pt x="335" y="223"/>
                                <a:pt x="335" y="221"/>
                              </a:cubicBezTo>
                              <a:cubicBezTo>
                                <a:pt x="336" y="220"/>
                                <a:pt x="338" y="218"/>
                                <a:pt x="340" y="217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24" name="Freeform 2544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2920843" y="2747628"/>
                          <a:ext cx="204684" cy="240063"/>
                        </a:xfrm>
                        <a:custGeom>
                          <a:avLst/>
                          <a:gdLst>
                            <a:gd name="T0" fmla="*/ 33 w 152"/>
                            <a:gd name="T1" fmla="*/ 80 h 241"/>
                            <a:gd name="T2" fmla="*/ 41 w 152"/>
                            <a:gd name="T3" fmla="*/ 65 h 241"/>
                            <a:gd name="T4" fmla="*/ 51 w 152"/>
                            <a:gd name="T5" fmla="*/ 50 h 241"/>
                            <a:gd name="T6" fmla="*/ 61 w 152"/>
                            <a:gd name="T7" fmla="*/ 29 h 241"/>
                            <a:gd name="T8" fmla="*/ 73 w 152"/>
                            <a:gd name="T9" fmla="*/ 26 h 241"/>
                            <a:gd name="T10" fmla="*/ 95 w 152"/>
                            <a:gd name="T11" fmla="*/ 18 h 241"/>
                            <a:gd name="T12" fmla="*/ 110 w 152"/>
                            <a:gd name="T13" fmla="*/ 6 h 241"/>
                            <a:gd name="T14" fmla="*/ 122 w 152"/>
                            <a:gd name="T15" fmla="*/ 8 h 241"/>
                            <a:gd name="T16" fmla="*/ 104 w 152"/>
                            <a:gd name="T17" fmla="*/ 24 h 241"/>
                            <a:gd name="T18" fmla="*/ 85 w 152"/>
                            <a:gd name="T19" fmla="*/ 59 h 241"/>
                            <a:gd name="T20" fmla="*/ 98 w 152"/>
                            <a:gd name="T21" fmla="*/ 60 h 241"/>
                            <a:gd name="T22" fmla="*/ 104 w 152"/>
                            <a:gd name="T23" fmla="*/ 90 h 241"/>
                            <a:gd name="T24" fmla="*/ 122 w 152"/>
                            <a:gd name="T25" fmla="*/ 94 h 241"/>
                            <a:gd name="T26" fmla="*/ 136 w 152"/>
                            <a:gd name="T27" fmla="*/ 96 h 241"/>
                            <a:gd name="T28" fmla="*/ 153 w 152"/>
                            <a:gd name="T29" fmla="*/ 109 h 241"/>
                            <a:gd name="T30" fmla="*/ 175 w 152"/>
                            <a:gd name="T31" fmla="*/ 109 h 241"/>
                            <a:gd name="T32" fmla="*/ 171 w 152"/>
                            <a:gd name="T33" fmla="*/ 128 h 241"/>
                            <a:gd name="T34" fmla="*/ 172 w 152"/>
                            <a:gd name="T35" fmla="*/ 149 h 241"/>
                            <a:gd name="T36" fmla="*/ 167 w 152"/>
                            <a:gd name="T37" fmla="*/ 165 h 241"/>
                            <a:gd name="T38" fmla="*/ 183 w 152"/>
                            <a:gd name="T39" fmla="*/ 192 h 241"/>
                            <a:gd name="T40" fmla="*/ 172 w 152"/>
                            <a:gd name="T41" fmla="*/ 177 h 241"/>
                            <a:gd name="T42" fmla="*/ 163 w 152"/>
                            <a:gd name="T43" fmla="*/ 183 h 241"/>
                            <a:gd name="T44" fmla="*/ 146 w 152"/>
                            <a:gd name="T45" fmla="*/ 194 h 241"/>
                            <a:gd name="T46" fmla="*/ 140 w 152"/>
                            <a:gd name="T47" fmla="*/ 201 h 241"/>
                            <a:gd name="T48" fmla="*/ 142 w 152"/>
                            <a:gd name="T49" fmla="*/ 225 h 241"/>
                            <a:gd name="T50" fmla="*/ 138 w 152"/>
                            <a:gd name="T51" fmla="*/ 289 h 241"/>
                            <a:gd name="T52" fmla="*/ 134 w 152"/>
                            <a:gd name="T53" fmla="*/ 277 h 241"/>
                            <a:gd name="T54" fmla="*/ 131 w 152"/>
                            <a:gd name="T55" fmla="*/ 258 h 241"/>
                            <a:gd name="T56" fmla="*/ 116 w 152"/>
                            <a:gd name="T57" fmla="*/ 255 h 241"/>
                            <a:gd name="T58" fmla="*/ 93 w 152"/>
                            <a:gd name="T59" fmla="*/ 254 h 241"/>
                            <a:gd name="T60" fmla="*/ 88 w 152"/>
                            <a:gd name="T61" fmla="*/ 243 h 241"/>
                            <a:gd name="T62" fmla="*/ 71 w 152"/>
                            <a:gd name="T63" fmla="*/ 233 h 241"/>
                            <a:gd name="T64" fmla="*/ 58 w 152"/>
                            <a:gd name="T65" fmla="*/ 216 h 241"/>
                            <a:gd name="T66" fmla="*/ 39 w 152"/>
                            <a:gd name="T67" fmla="*/ 206 h 241"/>
                            <a:gd name="T68" fmla="*/ 28 w 152"/>
                            <a:gd name="T69" fmla="*/ 206 h 241"/>
                            <a:gd name="T70" fmla="*/ 13 w 152"/>
                            <a:gd name="T71" fmla="*/ 198 h 241"/>
                            <a:gd name="T72" fmla="*/ 1 w 152"/>
                            <a:gd name="T73" fmla="*/ 186 h 241"/>
                            <a:gd name="T74" fmla="*/ 4 w 152"/>
                            <a:gd name="T75" fmla="*/ 176 h 241"/>
                            <a:gd name="T76" fmla="*/ 19 w 152"/>
                            <a:gd name="T77" fmla="*/ 168 h 241"/>
                            <a:gd name="T78" fmla="*/ 29 w 152"/>
                            <a:gd name="T79" fmla="*/ 149 h 241"/>
                            <a:gd name="T80" fmla="*/ 20 w 152"/>
                            <a:gd name="T81" fmla="*/ 140 h 241"/>
                            <a:gd name="T82" fmla="*/ 20 w 152"/>
                            <a:gd name="T83" fmla="*/ 121 h 241"/>
                            <a:gd name="T84" fmla="*/ 25 w 152"/>
                            <a:gd name="T85" fmla="*/ 104 h 241"/>
                            <a:gd name="T86" fmla="*/ 17 w 152"/>
                            <a:gd name="T87" fmla="*/ 89 h 241"/>
                            <a:gd name="T88" fmla="*/ 25 w 152"/>
                            <a:gd name="T89" fmla="*/ 76 h 241"/>
                            <a:gd name="T90" fmla="*/ 0 60000 65536"/>
                            <a:gd name="T91" fmla="*/ 0 60000 65536"/>
                            <a:gd name="T92" fmla="*/ 0 60000 65536"/>
                            <a:gd name="T93" fmla="*/ 0 60000 65536"/>
                            <a:gd name="T94" fmla="*/ 0 60000 65536"/>
                            <a:gd name="T95" fmla="*/ 0 60000 65536"/>
                            <a:gd name="T96" fmla="*/ 0 60000 65536"/>
                            <a:gd name="T97" fmla="*/ 0 60000 65536"/>
                            <a:gd name="T98" fmla="*/ 0 60000 65536"/>
                            <a:gd name="T99" fmla="*/ 0 60000 65536"/>
                            <a:gd name="T100" fmla="*/ 0 60000 65536"/>
                            <a:gd name="T101" fmla="*/ 0 60000 65536"/>
                            <a:gd name="T102" fmla="*/ 0 60000 65536"/>
                            <a:gd name="T103" fmla="*/ 0 60000 65536"/>
                            <a:gd name="T104" fmla="*/ 0 60000 65536"/>
                            <a:gd name="T105" fmla="*/ 0 60000 65536"/>
                            <a:gd name="T106" fmla="*/ 0 60000 65536"/>
                            <a:gd name="T107" fmla="*/ 0 60000 65536"/>
                            <a:gd name="T108" fmla="*/ 0 60000 65536"/>
                            <a:gd name="T109" fmla="*/ 0 60000 65536"/>
                            <a:gd name="T110" fmla="*/ 0 60000 65536"/>
                            <a:gd name="T111" fmla="*/ 0 60000 65536"/>
                            <a:gd name="T112" fmla="*/ 0 60000 65536"/>
                            <a:gd name="T113" fmla="*/ 0 60000 65536"/>
                            <a:gd name="T114" fmla="*/ 0 60000 65536"/>
                            <a:gd name="T115" fmla="*/ 0 60000 65536"/>
                            <a:gd name="T116" fmla="*/ 0 60000 65536"/>
                            <a:gd name="T117" fmla="*/ 0 60000 65536"/>
                            <a:gd name="T118" fmla="*/ 0 60000 65536"/>
                            <a:gd name="T119" fmla="*/ 0 60000 65536"/>
                            <a:gd name="T120" fmla="*/ 0 60000 65536"/>
                            <a:gd name="T121" fmla="*/ 0 60000 65536"/>
                            <a:gd name="T122" fmla="*/ 0 60000 65536"/>
                            <a:gd name="T123" fmla="*/ 0 60000 65536"/>
                            <a:gd name="T124" fmla="*/ 0 60000 65536"/>
                            <a:gd name="T125" fmla="*/ 0 60000 65536"/>
                            <a:gd name="T126" fmla="*/ 0 60000 65536"/>
                            <a:gd name="T127" fmla="*/ 0 60000 65536"/>
                            <a:gd name="T128" fmla="*/ 0 60000 65536"/>
                            <a:gd name="T129" fmla="*/ 0 60000 65536"/>
                            <a:gd name="T130" fmla="*/ 0 60000 65536"/>
                            <a:gd name="T131" fmla="*/ 0 60000 65536"/>
                            <a:gd name="T132" fmla="*/ 0 60000 65536"/>
                            <a:gd name="T133" fmla="*/ 0 60000 65536"/>
                            <a:gd name="T134" fmla="*/ 0 60000 65536"/>
                            <a:gd name="T135" fmla="*/ 0 w 152"/>
                            <a:gd name="T136" fmla="*/ 0 h 241"/>
                            <a:gd name="T137" fmla="*/ 152 w 152"/>
                            <a:gd name="T138" fmla="*/ 241 h 241"/>
                          </a:gdLst>
                          <a:ahLst/>
                          <a:cxnLst>
                            <a:cxn ang="T90">
                              <a:pos x="T0" y="T1"/>
                            </a:cxn>
                            <a:cxn ang="T91">
                              <a:pos x="T2" y="T3"/>
                            </a:cxn>
                            <a:cxn ang="T92">
                              <a:pos x="T4" y="T5"/>
                            </a:cxn>
                            <a:cxn ang="T93">
                              <a:pos x="T6" y="T7"/>
                            </a:cxn>
                            <a:cxn ang="T94">
                              <a:pos x="T8" y="T9"/>
                            </a:cxn>
                            <a:cxn ang="T95">
                              <a:pos x="T10" y="T11"/>
                            </a:cxn>
                            <a:cxn ang="T96">
                              <a:pos x="T12" y="T13"/>
                            </a:cxn>
                            <a:cxn ang="T97">
                              <a:pos x="T14" y="T15"/>
                            </a:cxn>
                            <a:cxn ang="T98">
                              <a:pos x="T16" y="T17"/>
                            </a:cxn>
                            <a:cxn ang="T99">
                              <a:pos x="T18" y="T19"/>
                            </a:cxn>
                            <a:cxn ang="T100">
                              <a:pos x="T20" y="T21"/>
                            </a:cxn>
                            <a:cxn ang="T101">
                              <a:pos x="T22" y="T23"/>
                            </a:cxn>
                            <a:cxn ang="T102">
                              <a:pos x="T24" y="T25"/>
                            </a:cxn>
                            <a:cxn ang="T103">
                              <a:pos x="T26" y="T27"/>
                            </a:cxn>
                            <a:cxn ang="T104">
                              <a:pos x="T28" y="T29"/>
                            </a:cxn>
                            <a:cxn ang="T105">
                              <a:pos x="T30" y="T31"/>
                            </a:cxn>
                            <a:cxn ang="T106">
                              <a:pos x="T32" y="T33"/>
                            </a:cxn>
                            <a:cxn ang="T107">
                              <a:pos x="T34" y="T35"/>
                            </a:cxn>
                            <a:cxn ang="T108">
                              <a:pos x="T36" y="T37"/>
                            </a:cxn>
                            <a:cxn ang="T109">
                              <a:pos x="T38" y="T39"/>
                            </a:cxn>
                            <a:cxn ang="T110">
                              <a:pos x="T40" y="T41"/>
                            </a:cxn>
                            <a:cxn ang="T111">
                              <a:pos x="T42" y="T43"/>
                            </a:cxn>
                            <a:cxn ang="T112">
                              <a:pos x="T44" y="T45"/>
                            </a:cxn>
                            <a:cxn ang="T113">
                              <a:pos x="T46" y="T47"/>
                            </a:cxn>
                            <a:cxn ang="T114">
                              <a:pos x="T48" y="T49"/>
                            </a:cxn>
                            <a:cxn ang="T115">
                              <a:pos x="T50" y="T51"/>
                            </a:cxn>
                            <a:cxn ang="T116">
                              <a:pos x="T52" y="T53"/>
                            </a:cxn>
                            <a:cxn ang="T117">
                              <a:pos x="T54" y="T55"/>
                            </a:cxn>
                            <a:cxn ang="T118">
                              <a:pos x="T56" y="T57"/>
                            </a:cxn>
                            <a:cxn ang="T119">
                              <a:pos x="T58" y="T59"/>
                            </a:cxn>
                            <a:cxn ang="T120">
                              <a:pos x="T60" y="T61"/>
                            </a:cxn>
                            <a:cxn ang="T121">
                              <a:pos x="T62" y="T63"/>
                            </a:cxn>
                            <a:cxn ang="T122">
                              <a:pos x="T64" y="T65"/>
                            </a:cxn>
                            <a:cxn ang="T123">
                              <a:pos x="T66" y="T67"/>
                            </a:cxn>
                            <a:cxn ang="T124">
                              <a:pos x="T68" y="T69"/>
                            </a:cxn>
                            <a:cxn ang="T125">
                              <a:pos x="T70" y="T71"/>
                            </a:cxn>
                            <a:cxn ang="T126">
                              <a:pos x="T72" y="T73"/>
                            </a:cxn>
                            <a:cxn ang="T127">
                              <a:pos x="T74" y="T75"/>
                            </a:cxn>
                            <a:cxn ang="T128">
                              <a:pos x="T76" y="T77"/>
                            </a:cxn>
                            <a:cxn ang="T129">
                              <a:pos x="T78" y="T79"/>
                            </a:cxn>
                            <a:cxn ang="T130">
                              <a:pos x="T80" y="T81"/>
                            </a:cxn>
                            <a:cxn ang="T131">
                              <a:pos x="T82" y="T83"/>
                            </a:cxn>
                            <a:cxn ang="T132">
                              <a:pos x="T84" y="T85"/>
                            </a:cxn>
                            <a:cxn ang="T133">
                              <a:pos x="T86" y="T87"/>
                            </a:cxn>
                            <a:cxn ang="T134">
                              <a:pos x="T88" y="T89"/>
                            </a:cxn>
                          </a:cxnLst>
                          <a:rect l="T135" t="T136" r="T137" b="T138"/>
                          <a:pathLst>
                            <a:path w="152" h="241">
                              <a:moveTo>
                                <a:pt x="21" y="56"/>
                              </a:moveTo>
                              <a:cubicBezTo>
                                <a:pt x="22" y="58"/>
                                <a:pt x="26" y="61"/>
                                <a:pt x="27" y="63"/>
                              </a:cubicBezTo>
                              <a:cubicBezTo>
                                <a:pt x="27" y="64"/>
                                <a:pt x="26" y="66"/>
                                <a:pt x="27" y="67"/>
                              </a:cubicBezTo>
                              <a:cubicBezTo>
                                <a:pt x="27" y="68"/>
                                <a:pt x="29" y="68"/>
                                <a:pt x="29" y="67"/>
                              </a:cubicBezTo>
                              <a:cubicBezTo>
                                <a:pt x="30" y="64"/>
                                <a:pt x="27" y="61"/>
                                <a:pt x="28" y="58"/>
                              </a:cubicBezTo>
                              <a:cubicBezTo>
                                <a:pt x="29" y="56"/>
                                <a:pt x="32" y="56"/>
                                <a:pt x="34" y="54"/>
                              </a:cubicBezTo>
                              <a:cubicBezTo>
                                <a:pt x="36" y="52"/>
                                <a:pt x="36" y="49"/>
                                <a:pt x="38" y="48"/>
                              </a:cubicBezTo>
                              <a:cubicBezTo>
                                <a:pt x="40" y="46"/>
                                <a:pt x="42" y="48"/>
                                <a:pt x="44" y="46"/>
                              </a:cubicBezTo>
                              <a:cubicBezTo>
                                <a:pt x="44" y="45"/>
                                <a:pt x="42" y="43"/>
                                <a:pt x="42" y="42"/>
                              </a:cubicBezTo>
                              <a:cubicBezTo>
                                <a:pt x="43" y="38"/>
                                <a:pt x="44" y="35"/>
                                <a:pt x="44" y="31"/>
                              </a:cubicBezTo>
                              <a:cubicBezTo>
                                <a:pt x="44" y="31"/>
                                <a:pt x="43" y="30"/>
                                <a:pt x="44" y="29"/>
                              </a:cubicBezTo>
                              <a:cubicBezTo>
                                <a:pt x="46" y="27"/>
                                <a:pt x="49" y="26"/>
                                <a:pt x="51" y="24"/>
                              </a:cubicBezTo>
                              <a:cubicBezTo>
                                <a:pt x="53" y="23"/>
                                <a:pt x="54" y="20"/>
                                <a:pt x="57" y="20"/>
                              </a:cubicBezTo>
                              <a:cubicBezTo>
                                <a:pt x="58" y="20"/>
                                <a:pt x="58" y="23"/>
                                <a:pt x="60" y="24"/>
                              </a:cubicBezTo>
                              <a:cubicBezTo>
                                <a:pt x="61" y="24"/>
                                <a:pt x="61" y="23"/>
                                <a:pt x="61" y="22"/>
                              </a:cubicBezTo>
                              <a:cubicBezTo>
                                <a:pt x="62" y="20"/>
                                <a:pt x="62" y="17"/>
                                <a:pt x="64" y="16"/>
                              </a:cubicBezTo>
                              <a:cubicBezTo>
                                <a:pt x="66" y="15"/>
                                <a:pt x="69" y="17"/>
                                <a:pt x="71" y="17"/>
                              </a:cubicBezTo>
                              <a:cubicBezTo>
                                <a:pt x="74" y="17"/>
                                <a:pt x="77" y="16"/>
                                <a:pt x="79" y="15"/>
                              </a:cubicBezTo>
                              <a:cubicBezTo>
                                <a:pt x="83" y="13"/>
                                <a:pt x="86" y="11"/>
                                <a:pt x="88" y="8"/>
                              </a:cubicBezTo>
                              <a:cubicBezTo>
                                <a:pt x="89" y="7"/>
                                <a:pt x="87" y="4"/>
                                <a:pt x="88" y="3"/>
                              </a:cubicBezTo>
                              <a:cubicBezTo>
                                <a:pt x="89" y="2"/>
                                <a:pt x="90" y="5"/>
                                <a:pt x="91" y="5"/>
                              </a:cubicBezTo>
                              <a:cubicBezTo>
                                <a:pt x="93" y="4"/>
                                <a:pt x="94" y="1"/>
                                <a:pt x="96" y="0"/>
                              </a:cubicBezTo>
                              <a:cubicBezTo>
                                <a:pt x="97" y="0"/>
                                <a:pt x="99" y="0"/>
                                <a:pt x="99" y="1"/>
                              </a:cubicBezTo>
                              <a:cubicBezTo>
                                <a:pt x="101" y="2"/>
                                <a:pt x="101" y="5"/>
                                <a:pt x="101" y="7"/>
                              </a:cubicBezTo>
                              <a:cubicBezTo>
                                <a:pt x="101" y="8"/>
                                <a:pt x="100" y="7"/>
                                <a:pt x="99" y="8"/>
                              </a:cubicBezTo>
                              <a:cubicBezTo>
                                <a:pt x="96" y="9"/>
                                <a:pt x="92" y="9"/>
                                <a:pt x="89" y="12"/>
                              </a:cubicBezTo>
                              <a:cubicBezTo>
                                <a:pt x="87" y="14"/>
                                <a:pt x="87" y="17"/>
                                <a:pt x="86" y="20"/>
                              </a:cubicBezTo>
                              <a:cubicBezTo>
                                <a:pt x="84" y="24"/>
                                <a:pt x="80" y="26"/>
                                <a:pt x="78" y="31"/>
                              </a:cubicBezTo>
                              <a:cubicBezTo>
                                <a:pt x="77" y="33"/>
                                <a:pt x="79" y="37"/>
                                <a:pt x="78" y="39"/>
                              </a:cubicBezTo>
                              <a:cubicBezTo>
                                <a:pt x="76" y="43"/>
                                <a:pt x="72" y="45"/>
                                <a:pt x="71" y="49"/>
                              </a:cubicBezTo>
                              <a:cubicBezTo>
                                <a:pt x="71" y="50"/>
                                <a:pt x="72" y="51"/>
                                <a:pt x="73" y="51"/>
                              </a:cubicBezTo>
                              <a:cubicBezTo>
                                <a:pt x="74" y="51"/>
                                <a:pt x="75" y="49"/>
                                <a:pt x="76" y="49"/>
                              </a:cubicBezTo>
                              <a:cubicBezTo>
                                <a:pt x="77" y="48"/>
                                <a:pt x="79" y="49"/>
                                <a:pt x="81" y="50"/>
                              </a:cubicBezTo>
                              <a:cubicBezTo>
                                <a:pt x="83" y="52"/>
                                <a:pt x="83" y="55"/>
                                <a:pt x="84" y="58"/>
                              </a:cubicBezTo>
                              <a:cubicBezTo>
                                <a:pt x="85" y="62"/>
                                <a:pt x="83" y="65"/>
                                <a:pt x="84" y="69"/>
                              </a:cubicBezTo>
                              <a:cubicBezTo>
                                <a:pt x="84" y="71"/>
                                <a:pt x="85" y="73"/>
                                <a:pt x="86" y="75"/>
                              </a:cubicBezTo>
                              <a:cubicBezTo>
                                <a:pt x="87" y="76"/>
                                <a:pt x="87" y="78"/>
                                <a:pt x="88" y="78"/>
                              </a:cubicBezTo>
                              <a:cubicBezTo>
                                <a:pt x="91" y="78"/>
                                <a:pt x="94" y="77"/>
                                <a:pt x="96" y="77"/>
                              </a:cubicBezTo>
                              <a:cubicBezTo>
                                <a:pt x="98" y="77"/>
                                <a:pt x="100" y="78"/>
                                <a:pt x="101" y="78"/>
                              </a:cubicBezTo>
                              <a:cubicBezTo>
                                <a:pt x="103" y="78"/>
                                <a:pt x="104" y="76"/>
                                <a:pt x="106" y="76"/>
                              </a:cubicBezTo>
                              <a:cubicBezTo>
                                <a:pt x="108" y="76"/>
                                <a:pt x="107" y="79"/>
                                <a:pt x="108" y="80"/>
                              </a:cubicBezTo>
                              <a:cubicBezTo>
                                <a:pt x="110" y="81"/>
                                <a:pt x="112" y="79"/>
                                <a:pt x="113" y="80"/>
                              </a:cubicBezTo>
                              <a:cubicBezTo>
                                <a:pt x="116" y="83"/>
                                <a:pt x="118" y="88"/>
                                <a:pt x="121" y="91"/>
                              </a:cubicBezTo>
                              <a:cubicBezTo>
                                <a:pt x="122" y="92"/>
                                <a:pt x="123" y="90"/>
                                <a:pt x="125" y="90"/>
                              </a:cubicBezTo>
                              <a:cubicBezTo>
                                <a:pt x="125" y="90"/>
                                <a:pt x="126" y="91"/>
                                <a:pt x="127" y="91"/>
                              </a:cubicBezTo>
                              <a:cubicBezTo>
                                <a:pt x="129" y="91"/>
                                <a:pt x="130" y="91"/>
                                <a:pt x="132" y="91"/>
                              </a:cubicBezTo>
                              <a:cubicBezTo>
                                <a:pt x="136" y="91"/>
                                <a:pt x="139" y="90"/>
                                <a:pt x="142" y="90"/>
                              </a:cubicBezTo>
                              <a:cubicBezTo>
                                <a:pt x="143" y="90"/>
                                <a:pt x="145" y="90"/>
                                <a:pt x="145" y="91"/>
                              </a:cubicBezTo>
                              <a:cubicBezTo>
                                <a:pt x="146" y="94"/>
                                <a:pt x="146" y="98"/>
                                <a:pt x="145" y="101"/>
                              </a:cubicBezTo>
                              <a:cubicBezTo>
                                <a:pt x="144" y="102"/>
                                <a:pt x="141" y="102"/>
                                <a:pt x="141" y="104"/>
                              </a:cubicBezTo>
                              <a:cubicBezTo>
                                <a:pt x="140" y="105"/>
                                <a:pt x="142" y="106"/>
                                <a:pt x="142" y="107"/>
                              </a:cubicBezTo>
                              <a:cubicBezTo>
                                <a:pt x="141" y="109"/>
                                <a:pt x="139" y="111"/>
                                <a:pt x="139" y="113"/>
                              </a:cubicBezTo>
                              <a:cubicBezTo>
                                <a:pt x="140" y="115"/>
                                <a:pt x="143" y="116"/>
                                <a:pt x="143" y="118"/>
                              </a:cubicBezTo>
                              <a:cubicBezTo>
                                <a:pt x="144" y="120"/>
                                <a:pt x="143" y="122"/>
                                <a:pt x="143" y="124"/>
                              </a:cubicBezTo>
                              <a:cubicBezTo>
                                <a:pt x="143" y="124"/>
                                <a:pt x="145" y="124"/>
                                <a:pt x="145" y="124"/>
                              </a:cubicBezTo>
                              <a:cubicBezTo>
                                <a:pt x="146" y="126"/>
                                <a:pt x="146" y="129"/>
                                <a:pt x="145" y="131"/>
                              </a:cubicBezTo>
                              <a:cubicBezTo>
                                <a:pt x="144" y="134"/>
                                <a:pt x="140" y="135"/>
                                <a:pt x="139" y="138"/>
                              </a:cubicBezTo>
                              <a:cubicBezTo>
                                <a:pt x="139" y="140"/>
                                <a:pt x="143" y="140"/>
                                <a:pt x="144" y="142"/>
                              </a:cubicBezTo>
                              <a:cubicBezTo>
                                <a:pt x="146" y="143"/>
                                <a:pt x="146" y="145"/>
                                <a:pt x="147" y="146"/>
                              </a:cubicBezTo>
                              <a:cubicBezTo>
                                <a:pt x="149" y="151"/>
                                <a:pt x="150" y="155"/>
                                <a:pt x="152" y="160"/>
                              </a:cubicBezTo>
                              <a:cubicBezTo>
                                <a:pt x="151" y="161"/>
                                <a:pt x="151" y="162"/>
                                <a:pt x="150" y="163"/>
                              </a:cubicBezTo>
                              <a:cubicBezTo>
                                <a:pt x="148" y="159"/>
                                <a:pt x="147" y="155"/>
                                <a:pt x="145" y="151"/>
                              </a:cubicBezTo>
                              <a:cubicBezTo>
                                <a:pt x="144" y="150"/>
                                <a:pt x="144" y="147"/>
                                <a:pt x="143" y="148"/>
                              </a:cubicBezTo>
                              <a:cubicBezTo>
                                <a:pt x="141" y="148"/>
                                <a:pt x="141" y="151"/>
                                <a:pt x="140" y="153"/>
                              </a:cubicBezTo>
                              <a:cubicBezTo>
                                <a:pt x="138" y="152"/>
                                <a:pt x="137" y="151"/>
                                <a:pt x="136" y="151"/>
                              </a:cubicBezTo>
                              <a:cubicBezTo>
                                <a:pt x="135" y="151"/>
                                <a:pt x="135" y="152"/>
                                <a:pt x="135" y="153"/>
                              </a:cubicBezTo>
                              <a:cubicBezTo>
                                <a:pt x="129" y="153"/>
                                <a:pt x="123" y="154"/>
                                <a:pt x="117" y="154"/>
                              </a:cubicBezTo>
                              <a:cubicBezTo>
                                <a:pt x="117" y="157"/>
                                <a:pt x="117" y="159"/>
                                <a:pt x="118" y="162"/>
                              </a:cubicBezTo>
                              <a:cubicBezTo>
                                <a:pt x="119" y="162"/>
                                <a:pt x="120" y="161"/>
                                <a:pt x="121" y="162"/>
                              </a:cubicBezTo>
                              <a:cubicBezTo>
                                <a:pt x="122" y="163"/>
                                <a:pt x="122" y="164"/>
                                <a:pt x="123" y="166"/>
                              </a:cubicBezTo>
                              <a:cubicBezTo>
                                <a:pt x="123" y="167"/>
                                <a:pt x="124" y="168"/>
                                <a:pt x="123" y="168"/>
                              </a:cubicBezTo>
                              <a:cubicBezTo>
                                <a:pt x="121" y="169"/>
                                <a:pt x="119" y="168"/>
                                <a:pt x="116" y="168"/>
                              </a:cubicBezTo>
                              <a:cubicBezTo>
                                <a:pt x="115" y="169"/>
                                <a:pt x="114" y="169"/>
                                <a:pt x="113" y="170"/>
                              </a:cubicBezTo>
                              <a:cubicBezTo>
                                <a:pt x="113" y="175"/>
                                <a:pt x="113" y="180"/>
                                <a:pt x="113" y="185"/>
                              </a:cubicBezTo>
                              <a:cubicBezTo>
                                <a:pt x="114" y="186"/>
                                <a:pt x="116" y="187"/>
                                <a:pt x="118" y="188"/>
                              </a:cubicBezTo>
                              <a:cubicBezTo>
                                <a:pt x="119" y="190"/>
                                <a:pt x="121" y="191"/>
                                <a:pt x="123" y="193"/>
                              </a:cubicBezTo>
                              <a:cubicBezTo>
                                <a:pt x="122" y="195"/>
                                <a:pt x="122" y="197"/>
                                <a:pt x="121" y="200"/>
                              </a:cubicBezTo>
                              <a:cubicBezTo>
                                <a:pt x="119" y="213"/>
                                <a:pt x="117" y="228"/>
                                <a:pt x="115" y="241"/>
                              </a:cubicBezTo>
                              <a:cubicBezTo>
                                <a:pt x="115" y="239"/>
                                <a:pt x="115" y="238"/>
                                <a:pt x="114" y="236"/>
                              </a:cubicBezTo>
                              <a:cubicBezTo>
                                <a:pt x="113" y="235"/>
                                <a:pt x="111" y="234"/>
                                <a:pt x="111" y="233"/>
                              </a:cubicBezTo>
                              <a:cubicBezTo>
                                <a:pt x="110" y="232"/>
                                <a:pt x="112" y="231"/>
                                <a:pt x="111" y="231"/>
                              </a:cubicBezTo>
                              <a:cubicBezTo>
                                <a:pt x="110" y="230"/>
                                <a:pt x="107" y="232"/>
                                <a:pt x="107" y="230"/>
                              </a:cubicBezTo>
                              <a:cubicBezTo>
                                <a:pt x="108" y="225"/>
                                <a:pt x="112" y="221"/>
                                <a:pt x="113" y="215"/>
                              </a:cubicBezTo>
                              <a:cubicBezTo>
                                <a:pt x="113" y="214"/>
                                <a:pt x="110" y="216"/>
                                <a:pt x="109" y="215"/>
                              </a:cubicBezTo>
                              <a:cubicBezTo>
                                <a:pt x="108" y="214"/>
                                <a:pt x="110" y="212"/>
                                <a:pt x="109" y="211"/>
                              </a:cubicBezTo>
                              <a:cubicBezTo>
                                <a:pt x="107" y="210"/>
                                <a:pt x="104" y="210"/>
                                <a:pt x="102" y="210"/>
                              </a:cubicBezTo>
                              <a:cubicBezTo>
                                <a:pt x="100" y="211"/>
                                <a:pt x="98" y="213"/>
                                <a:pt x="96" y="213"/>
                              </a:cubicBezTo>
                              <a:cubicBezTo>
                                <a:pt x="95" y="213"/>
                                <a:pt x="94" y="210"/>
                                <a:pt x="92" y="210"/>
                              </a:cubicBezTo>
                              <a:cubicBezTo>
                                <a:pt x="89" y="210"/>
                                <a:pt x="87" y="212"/>
                                <a:pt x="85" y="213"/>
                              </a:cubicBezTo>
                              <a:cubicBezTo>
                                <a:pt x="82" y="213"/>
                                <a:pt x="80" y="213"/>
                                <a:pt x="77" y="212"/>
                              </a:cubicBezTo>
                              <a:cubicBezTo>
                                <a:pt x="75" y="212"/>
                                <a:pt x="72" y="212"/>
                                <a:pt x="72" y="211"/>
                              </a:cubicBezTo>
                              <a:cubicBezTo>
                                <a:pt x="71" y="209"/>
                                <a:pt x="73" y="208"/>
                                <a:pt x="73" y="207"/>
                              </a:cubicBezTo>
                              <a:cubicBezTo>
                                <a:pt x="74" y="205"/>
                                <a:pt x="74" y="204"/>
                                <a:pt x="73" y="203"/>
                              </a:cubicBezTo>
                              <a:cubicBezTo>
                                <a:pt x="72" y="202"/>
                                <a:pt x="71" y="205"/>
                                <a:pt x="71" y="204"/>
                              </a:cubicBezTo>
                              <a:cubicBezTo>
                                <a:pt x="69" y="202"/>
                                <a:pt x="68" y="199"/>
                                <a:pt x="66" y="197"/>
                              </a:cubicBezTo>
                              <a:cubicBezTo>
                                <a:pt x="64" y="196"/>
                                <a:pt x="61" y="196"/>
                                <a:pt x="59" y="194"/>
                              </a:cubicBezTo>
                              <a:cubicBezTo>
                                <a:pt x="57" y="193"/>
                                <a:pt x="58" y="190"/>
                                <a:pt x="57" y="188"/>
                              </a:cubicBezTo>
                              <a:cubicBezTo>
                                <a:pt x="55" y="186"/>
                                <a:pt x="53" y="184"/>
                                <a:pt x="51" y="182"/>
                              </a:cubicBezTo>
                              <a:cubicBezTo>
                                <a:pt x="50" y="181"/>
                                <a:pt x="49" y="180"/>
                                <a:pt x="48" y="180"/>
                              </a:cubicBezTo>
                              <a:cubicBezTo>
                                <a:pt x="47" y="179"/>
                                <a:pt x="45" y="179"/>
                                <a:pt x="44" y="179"/>
                              </a:cubicBezTo>
                              <a:lnTo>
                                <a:pt x="36" y="173"/>
                              </a:lnTo>
                              <a:lnTo>
                                <a:pt x="32" y="172"/>
                              </a:lnTo>
                              <a:lnTo>
                                <a:pt x="31" y="174"/>
                              </a:lnTo>
                              <a:lnTo>
                                <a:pt x="27" y="174"/>
                              </a:lnTo>
                              <a:lnTo>
                                <a:pt x="23" y="172"/>
                              </a:lnTo>
                              <a:lnTo>
                                <a:pt x="19" y="172"/>
                              </a:lnTo>
                              <a:lnTo>
                                <a:pt x="16" y="168"/>
                              </a:lnTo>
                              <a:lnTo>
                                <a:pt x="11" y="165"/>
                              </a:lnTo>
                              <a:lnTo>
                                <a:pt x="8" y="162"/>
                              </a:lnTo>
                              <a:lnTo>
                                <a:pt x="1" y="159"/>
                              </a:lnTo>
                              <a:cubicBezTo>
                                <a:pt x="1" y="158"/>
                                <a:pt x="0" y="156"/>
                                <a:pt x="1" y="155"/>
                              </a:cubicBezTo>
                              <a:cubicBezTo>
                                <a:pt x="1" y="154"/>
                                <a:pt x="4" y="156"/>
                                <a:pt x="5" y="155"/>
                              </a:cubicBezTo>
                              <a:cubicBezTo>
                                <a:pt x="6" y="154"/>
                                <a:pt x="5" y="152"/>
                                <a:pt x="5" y="150"/>
                              </a:cubicBezTo>
                              <a:cubicBezTo>
                                <a:pt x="4" y="149"/>
                                <a:pt x="3" y="148"/>
                                <a:pt x="3" y="147"/>
                              </a:cubicBezTo>
                              <a:cubicBezTo>
                                <a:pt x="3" y="145"/>
                                <a:pt x="3" y="143"/>
                                <a:pt x="5" y="143"/>
                              </a:cubicBezTo>
                              <a:cubicBezTo>
                                <a:pt x="7" y="142"/>
                                <a:pt x="9" y="143"/>
                                <a:pt x="11" y="143"/>
                              </a:cubicBezTo>
                              <a:cubicBezTo>
                                <a:pt x="13" y="142"/>
                                <a:pt x="15" y="141"/>
                                <a:pt x="16" y="140"/>
                              </a:cubicBezTo>
                              <a:cubicBezTo>
                                <a:pt x="17" y="138"/>
                                <a:pt x="16" y="136"/>
                                <a:pt x="16" y="135"/>
                              </a:cubicBezTo>
                              <a:cubicBezTo>
                                <a:pt x="17" y="132"/>
                                <a:pt x="19" y="130"/>
                                <a:pt x="21" y="128"/>
                              </a:cubicBezTo>
                              <a:cubicBezTo>
                                <a:pt x="22" y="127"/>
                                <a:pt x="24" y="126"/>
                                <a:pt x="24" y="124"/>
                              </a:cubicBezTo>
                              <a:cubicBezTo>
                                <a:pt x="25" y="123"/>
                                <a:pt x="24" y="122"/>
                                <a:pt x="23" y="121"/>
                              </a:cubicBezTo>
                              <a:cubicBezTo>
                                <a:pt x="22" y="121"/>
                                <a:pt x="21" y="123"/>
                                <a:pt x="20" y="123"/>
                              </a:cubicBezTo>
                              <a:cubicBezTo>
                                <a:pt x="18" y="121"/>
                                <a:pt x="17" y="119"/>
                                <a:pt x="17" y="117"/>
                              </a:cubicBezTo>
                              <a:cubicBezTo>
                                <a:pt x="17" y="115"/>
                                <a:pt x="20" y="114"/>
                                <a:pt x="21" y="112"/>
                              </a:cubicBezTo>
                              <a:cubicBezTo>
                                <a:pt x="21" y="110"/>
                                <a:pt x="20" y="107"/>
                                <a:pt x="19" y="104"/>
                              </a:cubicBezTo>
                              <a:cubicBezTo>
                                <a:pt x="19" y="103"/>
                                <a:pt x="16" y="102"/>
                                <a:pt x="17" y="101"/>
                              </a:cubicBezTo>
                              <a:cubicBezTo>
                                <a:pt x="18" y="99"/>
                                <a:pt x="22" y="99"/>
                                <a:pt x="23" y="97"/>
                              </a:cubicBezTo>
                              <a:cubicBezTo>
                                <a:pt x="24" y="95"/>
                                <a:pt x="20" y="94"/>
                                <a:pt x="20" y="92"/>
                              </a:cubicBezTo>
                              <a:cubicBezTo>
                                <a:pt x="19" y="90"/>
                                <a:pt x="21" y="88"/>
                                <a:pt x="21" y="87"/>
                              </a:cubicBezTo>
                              <a:cubicBezTo>
                                <a:pt x="20" y="85"/>
                                <a:pt x="18" y="85"/>
                                <a:pt x="18" y="83"/>
                              </a:cubicBezTo>
                              <a:cubicBezTo>
                                <a:pt x="17" y="81"/>
                                <a:pt x="19" y="79"/>
                                <a:pt x="18" y="78"/>
                              </a:cubicBezTo>
                              <a:cubicBezTo>
                                <a:pt x="17" y="76"/>
                                <a:pt x="15" y="76"/>
                                <a:pt x="14" y="74"/>
                              </a:cubicBezTo>
                              <a:cubicBezTo>
                                <a:pt x="15" y="73"/>
                                <a:pt x="16" y="71"/>
                                <a:pt x="17" y="70"/>
                              </a:cubicBezTo>
                              <a:cubicBezTo>
                                <a:pt x="18" y="69"/>
                                <a:pt x="20" y="71"/>
                                <a:pt x="20" y="70"/>
                              </a:cubicBezTo>
                              <a:cubicBezTo>
                                <a:pt x="21" y="68"/>
                                <a:pt x="21" y="66"/>
                                <a:pt x="21" y="63"/>
                              </a:cubicBezTo>
                              <a:cubicBezTo>
                                <a:pt x="21" y="62"/>
                                <a:pt x="19" y="60"/>
                                <a:pt x="19" y="59"/>
                              </a:cubicBezTo>
                              <a:cubicBezTo>
                                <a:pt x="19" y="57"/>
                                <a:pt x="20" y="57"/>
                                <a:pt x="21" y="56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25" name="Freeform 2547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2226260" y="2174469"/>
                          <a:ext cx="945125" cy="389582"/>
                        </a:xfrm>
                        <a:custGeom>
                          <a:avLst/>
                          <a:gdLst>
                            <a:gd name="T0" fmla="*/ 455 w 704"/>
                            <a:gd name="T1" fmla="*/ 0 h 391"/>
                            <a:gd name="T2" fmla="*/ 515 w 704"/>
                            <a:gd name="T3" fmla="*/ 18 h 391"/>
                            <a:gd name="T4" fmla="*/ 508 w 704"/>
                            <a:gd name="T5" fmla="*/ 42 h 391"/>
                            <a:gd name="T6" fmla="*/ 556 w 704"/>
                            <a:gd name="T7" fmla="*/ 29 h 391"/>
                            <a:gd name="T8" fmla="*/ 592 w 704"/>
                            <a:gd name="T9" fmla="*/ 46 h 391"/>
                            <a:gd name="T10" fmla="*/ 583 w 704"/>
                            <a:gd name="T11" fmla="*/ 60 h 391"/>
                            <a:gd name="T12" fmla="*/ 553 w 704"/>
                            <a:gd name="T13" fmla="*/ 82 h 391"/>
                            <a:gd name="T14" fmla="*/ 543 w 704"/>
                            <a:gd name="T15" fmla="*/ 132 h 391"/>
                            <a:gd name="T16" fmla="*/ 565 w 704"/>
                            <a:gd name="T17" fmla="*/ 103 h 391"/>
                            <a:gd name="T18" fmla="*/ 587 w 704"/>
                            <a:gd name="T19" fmla="*/ 73 h 391"/>
                            <a:gd name="T20" fmla="*/ 612 w 704"/>
                            <a:gd name="T21" fmla="*/ 92 h 391"/>
                            <a:gd name="T22" fmla="*/ 618 w 704"/>
                            <a:gd name="T23" fmla="*/ 102 h 391"/>
                            <a:gd name="T24" fmla="*/ 601 w 704"/>
                            <a:gd name="T25" fmla="*/ 142 h 391"/>
                            <a:gd name="T26" fmla="*/ 672 w 704"/>
                            <a:gd name="T27" fmla="*/ 127 h 391"/>
                            <a:gd name="T28" fmla="*/ 700 w 704"/>
                            <a:gd name="T29" fmla="*/ 115 h 391"/>
                            <a:gd name="T30" fmla="*/ 731 w 704"/>
                            <a:gd name="T31" fmla="*/ 83 h 391"/>
                            <a:gd name="T32" fmla="*/ 798 w 704"/>
                            <a:gd name="T33" fmla="*/ 70 h 391"/>
                            <a:gd name="T34" fmla="*/ 825 w 704"/>
                            <a:gd name="T35" fmla="*/ 31 h 391"/>
                            <a:gd name="T36" fmla="*/ 844 w 704"/>
                            <a:gd name="T37" fmla="*/ 64 h 391"/>
                            <a:gd name="T38" fmla="*/ 802 w 704"/>
                            <a:gd name="T39" fmla="*/ 107 h 391"/>
                            <a:gd name="T40" fmla="*/ 781 w 704"/>
                            <a:gd name="T41" fmla="*/ 149 h 391"/>
                            <a:gd name="T42" fmla="*/ 736 w 704"/>
                            <a:gd name="T43" fmla="*/ 170 h 391"/>
                            <a:gd name="T44" fmla="*/ 715 w 704"/>
                            <a:gd name="T45" fmla="*/ 202 h 391"/>
                            <a:gd name="T46" fmla="*/ 702 w 704"/>
                            <a:gd name="T47" fmla="*/ 210 h 391"/>
                            <a:gd name="T48" fmla="*/ 697 w 704"/>
                            <a:gd name="T49" fmla="*/ 223 h 391"/>
                            <a:gd name="T50" fmla="*/ 702 w 704"/>
                            <a:gd name="T51" fmla="*/ 260 h 391"/>
                            <a:gd name="T52" fmla="*/ 688 w 704"/>
                            <a:gd name="T53" fmla="*/ 279 h 391"/>
                            <a:gd name="T54" fmla="*/ 645 w 704"/>
                            <a:gd name="T55" fmla="*/ 311 h 391"/>
                            <a:gd name="T56" fmla="*/ 610 w 704"/>
                            <a:gd name="T57" fmla="*/ 360 h 391"/>
                            <a:gd name="T58" fmla="*/ 616 w 704"/>
                            <a:gd name="T59" fmla="*/ 411 h 391"/>
                            <a:gd name="T60" fmla="*/ 613 w 704"/>
                            <a:gd name="T61" fmla="*/ 469 h 391"/>
                            <a:gd name="T62" fmla="*/ 594 w 704"/>
                            <a:gd name="T63" fmla="*/ 449 h 391"/>
                            <a:gd name="T64" fmla="*/ 585 w 704"/>
                            <a:gd name="T65" fmla="*/ 414 h 391"/>
                            <a:gd name="T66" fmla="*/ 561 w 704"/>
                            <a:gd name="T67" fmla="*/ 377 h 391"/>
                            <a:gd name="T68" fmla="*/ 528 w 704"/>
                            <a:gd name="T69" fmla="*/ 369 h 391"/>
                            <a:gd name="T70" fmla="*/ 487 w 704"/>
                            <a:gd name="T71" fmla="*/ 371 h 391"/>
                            <a:gd name="T72" fmla="*/ 487 w 704"/>
                            <a:gd name="T73" fmla="*/ 378 h 391"/>
                            <a:gd name="T74" fmla="*/ 474 w 704"/>
                            <a:gd name="T75" fmla="*/ 389 h 391"/>
                            <a:gd name="T76" fmla="*/ 447 w 704"/>
                            <a:gd name="T77" fmla="*/ 381 h 391"/>
                            <a:gd name="T78" fmla="*/ 402 w 704"/>
                            <a:gd name="T79" fmla="*/ 381 h 391"/>
                            <a:gd name="T80" fmla="*/ 365 w 704"/>
                            <a:gd name="T81" fmla="*/ 415 h 391"/>
                            <a:gd name="T82" fmla="*/ 356 w 704"/>
                            <a:gd name="T83" fmla="*/ 447 h 391"/>
                            <a:gd name="T84" fmla="*/ 319 w 704"/>
                            <a:gd name="T85" fmla="*/ 398 h 391"/>
                            <a:gd name="T86" fmla="*/ 287 w 704"/>
                            <a:gd name="T87" fmla="*/ 383 h 391"/>
                            <a:gd name="T88" fmla="*/ 253 w 704"/>
                            <a:gd name="T89" fmla="*/ 360 h 391"/>
                            <a:gd name="T90" fmla="*/ 168 w 704"/>
                            <a:gd name="T91" fmla="*/ 348 h 391"/>
                            <a:gd name="T92" fmla="*/ 79 w 704"/>
                            <a:gd name="T93" fmla="*/ 317 h 391"/>
                            <a:gd name="T94" fmla="*/ 35 w 704"/>
                            <a:gd name="T95" fmla="*/ 278 h 391"/>
                            <a:gd name="T96" fmla="*/ 18 w 704"/>
                            <a:gd name="T97" fmla="*/ 223 h 391"/>
                            <a:gd name="T98" fmla="*/ 22 w 704"/>
                            <a:gd name="T99" fmla="*/ 217 h 391"/>
                            <a:gd name="T100" fmla="*/ 0 w 704"/>
                            <a:gd name="T101" fmla="*/ 179 h 391"/>
                            <a:gd name="T102" fmla="*/ 6 w 704"/>
                            <a:gd name="T103" fmla="*/ 127 h 391"/>
                            <a:gd name="T104" fmla="*/ 29 w 704"/>
                            <a:gd name="T105" fmla="*/ 59 h 391"/>
                            <a:gd name="T106" fmla="*/ 35 w 704"/>
                            <a:gd name="T107" fmla="*/ 17 h 391"/>
                            <a:gd name="T108" fmla="*/ 49 w 704"/>
                            <a:gd name="T109" fmla="*/ 34 h 391"/>
                            <a:gd name="T110" fmla="*/ 59 w 704"/>
                            <a:gd name="T111" fmla="*/ 0 h 391"/>
                            <a:gd name="T112" fmla="*/ 0 60000 65536"/>
                            <a:gd name="T113" fmla="*/ 0 60000 65536"/>
                            <a:gd name="T114" fmla="*/ 0 60000 65536"/>
                            <a:gd name="T115" fmla="*/ 0 60000 65536"/>
                            <a:gd name="T116" fmla="*/ 0 60000 65536"/>
                            <a:gd name="T117" fmla="*/ 0 60000 65536"/>
                            <a:gd name="T118" fmla="*/ 0 60000 65536"/>
                            <a:gd name="T119" fmla="*/ 0 60000 65536"/>
                            <a:gd name="T120" fmla="*/ 0 60000 65536"/>
                            <a:gd name="T121" fmla="*/ 0 60000 65536"/>
                            <a:gd name="T122" fmla="*/ 0 60000 65536"/>
                            <a:gd name="T123" fmla="*/ 0 60000 65536"/>
                            <a:gd name="T124" fmla="*/ 0 60000 65536"/>
                            <a:gd name="T125" fmla="*/ 0 60000 65536"/>
                            <a:gd name="T126" fmla="*/ 0 60000 65536"/>
                            <a:gd name="T127" fmla="*/ 0 60000 65536"/>
                            <a:gd name="T128" fmla="*/ 0 60000 65536"/>
                            <a:gd name="T129" fmla="*/ 0 60000 65536"/>
                            <a:gd name="T130" fmla="*/ 0 60000 65536"/>
                            <a:gd name="T131" fmla="*/ 0 60000 65536"/>
                            <a:gd name="T132" fmla="*/ 0 60000 65536"/>
                            <a:gd name="T133" fmla="*/ 0 60000 65536"/>
                            <a:gd name="T134" fmla="*/ 0 60000 65536"/>
                            <a:gd name="T135" fmla="*/ 0 60000 65536"/>
                            <a:gd name="T136" fmla="*/ 0 60000 65536"/>
                            <a:gd name="T137" fmla="*/ 0 60000 65536"/>
                            <a:gd name="T138" fmla="*/ 0 60000 65536"/>
                            <a:gd name="T139" fmla="*/ 0 60000 65536"/>
                            <a:gd name="T140" fmla="*/ 0 60000 65536"/>
                            <a:gd name="T141" fmla="*/ 0 60000 65536"/>
                            <a:gd name="T142" fmla="*/ 0 60000 65536"/>
                            <a:gd name="T143" fmla="*/ 0 60000 65536"/>
                            <a:gd name="T144" fmla="*/ 0 60000 65536"/>
                            <a:gd name="T145" fmla="*/ 0 60000 65536"/>
                            <a:gd name="T146" fmla="*/ 0 60000 65536"/>
                            <a:gd name="T147" fmla="*/ 0 60000 65536"/>
                            <a:gd name="T148" fmla="*/ 0 60000 65536"/>
                            <a:gd name="T149" fmla="*/ 0 60000 65536"/>
                            <a:gd name="T150" fmla="*/ 0 60000 65536"/>
                            <a:gd name="T151" fmla="*/ 0 60000 65536"/>
                            <a:gd name="T152" fmla="*/ 0 60000 65536"/>
                            <a:gd name="T153" fmla="*/ 0 60000 65536"/>
                            <a:gd name="T154" fmla="*/ 0 60000 65536"/>
                            <a:gd name="T155" fmla="*/ 0 60000 65536"/>
                            <a:gd name="T156" fmla="*/ 0 60000 65536"/>
                            <a:gd name="T157" fmla="*/ 0 60000 65536"/>
                            <a:gd name="T158" fmla="*/ 0 60000 65536"/>
                            <a:gd name="T159" fmla="*/ 0 60000 65536"/>
                            <a:gd name="T160" fmla="*/ 0 60000 65536"/>
                            <a:gd name="T161" fmla="*/ 0 60000 65536"/>
                            <a:gd name="T162" fmla="*/ 0 60000 65536"/>
                            <a:gd name="T163" fmla="*/ 0 60000 65536"/>
                            <a:gd name="T164" fmla="*/ 0 60000 65536"/>
                            <a:gd name="T165" fmla="*/ 0 60000 65536"/>
                            <a:gd name="T166" fmla="*/ 0 60000 65536"/>
                            <a:gd name="T167" fmla="*/ 0 60000 65536"/>
                            <a:gd name="T168" fmla="*/ 0 w 704"/>
                            <a:gd name="T169" fmla="*/ 0 h 391"/>
                            <a:gd name="T170" fmla="*/ 704 w 704"/>
                            <a:gd name="T171" fmla="*/ 391 h 391"/>
                          </a:gdLst>
                          <a:ahLst/>
                          <a:cxnLst>
                            <a:cxn ang="T112">
                              <a:pos x="T0" y="T1"/>
                            </a:cxn>
                            <a:cxn ang="T113">
                              <a:pos x="T2" y="T3"/>
                            </a:cxn>
                            <a:cxn ang="T114">
                              <a:pos x="T4" y="T5"/>
                            </a:cxn>
                            <a:cxn ang="T115">
                              <a:pos x="T6" y="T7"/>
                            </a:cxn>
                            <a:cxn ang="T116">
                              <a:pos x="T8" y="T9"/>
                            </a:cxn>
                            <a:cxn ang="T117">
                              <a:pos x="T10" y="T11"/>
                            </a:cxn>
                            <a:cxn ang="T118">
                              <a:pos x="T12" y="T13"/>
                            </a:cxn>
                            <a:cxn ang="T119">
                              <a:pos x="T14" y="T15"/>
                            </a:cxn>
                            <a:cxn ang="T120">
                              <a:pos x="T16" y="T17"/>
                            </a:cxn>
                            <a:cxn ang="T121">
                              <a:pos x="T18" y="T19"/>
                            </a:cxn>
                            <a:cxn ang="T122">
                              <a:pos x="T20" y="T21"/>
                            </a:cxn>
                            <a:cxn ang="T123">
                              <a:pos x="T22" y="T23"/>
                            </a:cxn>
                            <a:cxn ang="T124">
                              <a:pos x="T24" y="T25"/>
                            </a:cxn>
                            <a:cxn ang="T125">
                              <a:pos x="T26" y="T27"/>
                            </a:cxn>
                            <a:cxn ang="T126">
                              <a:pos x="T28" y="T29"/>
                            </a:cxn>
                            <a:cxn ang="T127">
                              <a:pos x="T30" y="T31"/>
                            </a:cxn>
                            <a:cxn ang="T128">
                              <a:pos x="T32" y="T33"/>
                            </a:cxn>
                            <a:cxn ang="T129">
                              <a:pos x="T34" y="T35"/>
                            </a:cxn>
                            <a:cxn ang="T130">
                              <a:pos x="T36" y="T37"/>
                            </a:cxn>
                            <a:cxn ang="T131">
                              <a:pos x="T38" y="T39"/>
                            </a:cxn>
                            <a:cxn ang="T132">
                              <a:pos x="T40" y="T41"/>
                            </a:cxn>
                            <a:cxn ang="T133">
                              <a:pos x="T42" y="T43"/>
                            </a:cxn>
                            <a:cxn ang="T134">
                              <a:pos x="T44" y="T45"/>
                            </a:cxn>
                            <a:cxn ang="T135">
                              <a:pos x="T46" y="T47"/>
                            </a:cxn>
                            <a:cxn ang="T136">
                              <a:pos x="T48" y="T49"/>
                            </a:cxn>
                            <a:cxn ang="T137">
                              <a:pos x="T50" y="T51"/>
                            </a:cxn>
                            <a:cxn ang="T138">
                              <a:pos x="T52" y="T53"/>
                            </a:cxn>
                            <a:cxn ang="T139">
                              <a:pos x="T54" y="T55"/>
                            </a:cxn>
                            <a:cxn ang="T140">
                              <a:pos x="T56" y="T57"/>
                            </a:cxn>
                            <a:cxn ang="T141">
                              <a:pos x="T58" y="T59"/>
                            </a:cxn>
                            <a:cxn ang="T142">
                              <a:pos x="T60" y="T61"/>
                            </a:cxn>
                            <a:cxn ang="T143">
                              <a:pos x="T62" y="T63"/>
                            </a:cxn>
                            <a:cxn ang="T144">
                              <a:pos x="T64" y="T65"/>
                            </a:cxn>
                            <a:cxn ang="T145">
                              <a:pos x="T66" y="T67"/>
                            </a:cxn>
                            <a:cxn ang="T146">
                              <a:pos x="T68" y="T69"/>
                            </a:cxn>
                            <a:cxn ang="T147">
                              <a:pos x="T70" y="T71"/>
                            </a:cxn>
                            <a:cxn ang="T148">
                              <a:pos x="T72" y="T73"/>
                            </a:cxn>
                            <a:cxn ang="T149">
                              <a:pos x="T74" y="T75"/>
                            </a:cxn>
                            <a:cxn ang="T150">
                              <a:pos x="T76" y="T77"/>
                            </a:cxn>
                            <a:cxn ang="T151">
                              <a:pos x="T78" y="T79"/>
                            </a:cxn>
                            <a:cxn ang="T152">
                              <a:pos x="T80" y="T81"/>
                            </a:cxn>
                            <a:cxn ang="T153">
                              <a:pos x="T82" y="T83"/>
                            </a:cxn>
                            <a:cxn ang="T154">
                              <a:pos x="T84" y="T85"/>
                            </a:cxn>
                            <a:cxn ang="T155">
                              <a:pos x="T86" y="T87"/>
                            </a:cxn>
                            <a:cxn ang="T156">
                              <a:pos x="T88" y="T89"/>
                            </a:cxn>
                            <a:cxn ang="T157">
                              <a:pos x="T90" y="T91"/>
                            </a:cxn>
                            <a:cxn ang="T158">
                              <a:pos x="T92" y="T93"/>
                            </a:cxn>
                            <a:cxn ang="T159">
                              <a:pos x="T94" y="T95"/>
                            </a:cxn>
                            <a:cxn ang="T160">
                              <a:pos x="T96" y="T97"/>
                            </a:cxn>
                            <a:cxn ang="T161">
                              <a:pos x="T98" y="T99"/>
                            </a:cxn>
                            <a:cxn ang="T162">
                              <a:pos x="T100" y="T101"/>
                            </a:cxn>
                            <a:cxn ang="T163">
                              <a:pos x="T102" y="T103"/>
                            </a:cxn>
                            <a:cxn ang="T164">
                              <a:pos x="T104" y="T105"/>
                            </a:cxn>
                            <a:cxn ang="T165">
                              <a:pos x="T106" y="T107"/>
                            </a:cxn>
                            <a:cxn ang="T166">
                              <a:pos x="T108" y="T109"/>
                            </a:cxn>
                            <a:cxn ang="T167">
                              <a:pos x="T110" y="T111"/>
                            </a:cxn>
                          </a:cxnLst>
                          <a:rect l="T168" t="T169" r="T170" b="T171"/>
                          <a:pathLst>
                            <a:path w="704" h="391">
                              <a:moveTo>
                                <a:pt x="49" y="0"/>
                              </a:moveTo>
                              <a:cubicBezTo>
                                <a:pt x="58" y="0"/>
                                <a:pt x="67" y="1"/>
                                <a:pt x="75" y="1"/>
                              </a:cubicBezTo>
                              <a:cubicBezTo>
                                <a:pt x="117" y="1"/>
                                <a:pt x="159" y="1"/>
                                <a:pt x="201" y="1"/>
                              </a:cubicBezTo>
                              <a:cubicBezTo>
                                <a:pt x="236" y="1"/>
                                <a:pt x="271" y="2"/>
                                <a:pt x="306" y="2"/>
                              </a:cubicBezTo>
                              <a:cubicBezTo>
                                <a:pt x="323" y="2"/>
                                <a:pt x="341" y="2"/>
                                <a:pt x="358" y="1"/>
                              </a:cubicBezTo>
                              <a:cubicBezTo>
                                <a:pt x="365" y="1"/>
                                <a:pt x="372" y="0"/>
                                <a:pt x="379" y="0"/>
                              </a:cubicBezTo>
                              <a:cubicBezTo>
                                <a:pt x="381" y="0"/>
                                <a:pt x="383" y="1"/>
                                <a:pt x="386" y="2"/>
                              </a:cubicBezTo>
                              <a:cubicBezTo>
                                <a:pt x="389" y="3"/>
                                <a:pt x="391" y="5"/>
                                <a:pt x="394" y="6"/>
                              </a:cubicBezTo>
                              <a:cubicBezTo>
                                <a:pt x="397" y="7"/>
                                <a:pt x="401" y="6"/>
                                <a:pt x="404" y="7"/>
                              </a:cubicBezTo>
                              <a:cubicBezTo>
                                <a:pt x="406" y="8"/>
                                <a:pt x="408" y="10"/>
                                <a:pt x="410" y="11"/>
                              </a:cubicBezTo>
                              <a:cubicBezTo>
                                <a:pt x="414" y="13"/>
                                <a:pt x="417" y="15"/>
                                <a:pt x="421" y="15"/>
                              </a:cubicBezTo>
                              <a:cubicBezTo>
                                <a:pt x="423" y="16"/>
                                <a:pt x="426" y="15"/>
                                <a:pt x="429" y="15"/>
                              </a:cubicBezTo>
                              <a:cubicBezTo>
                                <a:pt x="433" y="16"/>
                                <a:pt x="437" y="18"/>
                                <a:pt x="440" y="18"/>
                              </a:cubicBezTo>
                              <a:cubicBezTo>
                                <a:pt x="438" y="19"/>
                                <a:pt x="434" y="20"/>
                                <a:pt x="431" y="22"/>
                              </a:cubicBezTo>
                              <a:cubicBezTo>
                                <a:pt x="428" y="23"/>
                                <a:pt x="424" y="26"/>
                                <a:pt x="421" y="28"/>
                              </a:cubicBezTo>
                              <a:cubicBezTo>
                                <a:pt x="418" y="31"/>
                                <a:pt x="414" y="33"/>
                                <a:pt x="412" y="36"/>
                              </a:cubicBezTo>
                              <a:cubicBezTo>
                                <a:pt x="411" y="37"/>
                                <a:pt x="413" y="38"/>
                                <a:pt x="414" y="38"/>
                              </a:cubicBezTo>
                              <a:cubicBezTo>
                                <a:pt x="417" y="38"/>
                                <a:pt x="420" y="36"/>
                                <a:pt x="423" y="35"/>
                              </a:cubicBezTo>
                              <a:cubicBezTo>
                                <a:pt x="424" y="35"/>
                                <a:pt x="425" y="36"/>
                                <a:pt x="426" y="36"/>
                              </a:cubicBezTo>
                              <a:cubicBezTo>
                                <a:pt x="427" y="37"/>
                                <a:pt x="428" y="40"/>
                                <a:pt x="429" y="39"/>
                              </a:cubicBezTo>
                              <a:cubicBezTo>
                                <a:pt x="433" y="39"/>
                                <a:pt x="436" y="37"/>
                                <a:pt x="440" y="35"/>
                              </a:cubicBezTo>
                              <a:cubicBezTo>
                                <a:pt x="443" y="34"/>
                                <a:pt x="446" y="34"/>
                                <a:pt x="449" y="32"/>
                              </a:cubicBezTo>
                              <a:cubicBezTo>
                                <a:pt x="453" y="30"/>
                                <a:pt x="455" y="26"/>
                                <a:pt x="458" y="24"/>
                              </a:cubicBezTo>
                              <a:cubicBezTo>
                                <a:pt x="460" y="23"/>
                                <a:pt x="462" y="23"/>
                                <a:pt x="463" y="24"/>
                              </a:cubicBezTo>
                              <a:cubicBezTo>
                                <a:pt x="464" y="25"/>
                                <a:pt x="461" y="26"/>
                                <a:pt x="460" y="27"/>
                              </a:cubicBezTo>
                              <a:cubicBezTo>
                                <a:pt x="458" y="29"/>
                                <a:pt x="454" y="31"/>
                                <a:pt x="455" y="34"/>
                              </a:cubicBezTo>
                              <a:cubicBezTo>
                                <a:pt x="456" y="37"/>
                                <a:pt x="461" y="36"/>
                                <a:pt x="464" y="37"/>
                              </a:cubicBezTo>
                              <a:cubicBezTo>
                                <a:pt x="466" y="38"/>
                                <a:pt x="468" y="40"/>
                                <a:pt x="470" y="40"/>
                              </a:cubicBezTo>
                              <a:cubicBezTo>
                                <a:pt x="475" y="41"/>
                                <a:pt x="480" y="38"/>
                                <a:pt x="485" y="38"/>
                              </a:cubicBezTo>
                              <a:cubicBezTo>
                                <a:pt x="488" y="38"/>
                                <a:pt x="491" y="37"/>
                                <a:pt x="493" y="38"/>
                              </a:cubicBezTo>
                              <a:cubicBezTo>
                                <a:pt x="494" y="39"/>
                                <a:pt x="494" y="41"/>
                                <a:pt x="495" y="43"/>
                              </a:cubicBezTo>
                              <a:cubicBezTo>
                                <a:pt x="496" y="45"/>
                                <a:pt x="498" y="46"/>
                                <a:pt x="499" y="47"/>
                              </a:cubicBezTo>
                              <a:cubicBezTo>
                                <a:pt x="501" y="49"/>
                                <a:pt x="503" y="49"/>
                                <a:pt x="503" y="50"/>
                              </a:cubicBezTo>
                              <a:cubicBezTo>
                                <a:pt x="504" y="52"/>
                                <a:pt x="501" y="51"/>
                                <a:pt x="500" y="51"/>
                              </a:cubicBezTo>
                              <a:cubicBezTo>
                                <a:pt x="497" y="51"/>
                                <a:pt x="494" y="51"/>
                                <a:pt x="491" y="51"/>
                              </a:cubicBezTo>
                              <a:cubicBezTo>
                                <a:pt x="489" y="51"/>
                                <a:pt x="487" y="50"/>
                                <a:pt x="486" y="50"/>
                              </a:cubicBezTo>
                              <a:cubicBezTo>
                                <a:pt x="483" y="51"/>
                                <a:pt x="482" y="53"/>
                                <a:pt x="480" y="54"/>
                              </a:cubicBezTo>
                              <a:cubicBezTo>
                                <a:pt x="476" y="54"/>
                                <a:pt x="471" y="50"/>
                                <a:pt x="468" y="52"/>
                              </a:cubicBezTo>
                              <a:cubicBezTo>
                                <a:pt x="464" y="53"/>
                                <a:pt x="462" y="57"/>
                                <a:pt x="461" y="60"/>
                              </a:cubicBezTo>
                              <a:cubicBezTo>
                                <a:pt x="458" y="64"/>
                                <a:pt x="456" y="69"/>
                                <a:pt x="455" y="74"/>
                              </a:cubicBezTo>
                              <a:cubicBezTo>
                                <a:pt x="455" y="75"/>
                                <a:pt x="457" y="75"/>
                                <a:pt x="457" y="74"/>
                              </a:cubicBezTo>
                              <a:cubicBezTo>
                                <a:pt x="459" y="72"/>
                                <a:pt x="460" y="70"/>
                                <a:pt x="461" y="68"/>
                              </a:cubicBezTo>
                              <a:cubicBezTo>
                                <a:pt x="462" y="66"/>
                                <a:pt x="462" y="63"/>
                                <a:pt x="464" y="62"/>
                              </a:cubicBezTo>
                              <a:cubicBezTo>
                                <a:pt x="465" y="61"/>
                                <a:pt x="467" y="61"/>
                                <a:pt x="467" y="62"/>
                              </a:cubicBezTo>
                              <a:cubicBezTo>
                                <a:pt x="466" y="66"/>
                                <a:pt x="464" y="70"/>
                                <a:pt x="462" y="74"/>
                              </a:cubicBezTo>
                              <a:cubicBezTo>
                                <a:pt x="460" y="78"/>
                                <a:pt x="457" y="83"/>
                                <a:pt x="455" y="87"/>
                              </a:cubicBezTo>
                              <a:cubicBezTo>
                                <a:pt x="454" y="91"/>
                                <a:pt x="453" y="95"/>
                                <a:pt x="453" y="98"/>
                              </a:cubicBezTo>
                              <a:cubicBezTo>
                                <a:pt x="452" y="102"/>
                                <a:pt x="452" y="106"/>
                                <a:pt x="452" y="110"/>
                              </a:cubicBezTo>
                              <a:cubicBezTo>
                                <a:pt x="452" y="113"/>
                                <a:pt x="451" y="116"/>
                                <a:pt x="452" y="119"/>
                              </a:cubicBezTo>
                              <a:cubicBezTo>
                                <a:pt x="453" y="120"/>
                                <a:pt x="454" y="121"/>
                                <a:pt x="455" y="122"/>
                              </a:cubicBezTo>
                              <a:cubicBezTo>
                                <a:pt x="457" y="122"/>
                                <a:pt x="459" y="122"/>
                                <a:pt x="461" y="121"/>
                              </a:cubicBezTo>
                              <a:cubicBezTo>
                                <a:pt x="464" y="118"/>
                                <a:pt x="466" y="115"/>
                                <a:pt x="468" y="111"/>
                              </a:cubicBezTo>
                              <a:cubicBezTo>
                                <a:pt x="470" y="108"/>
                                <a:pt x="471" y="105"/>
                                <a:pt x="471" y="102"/>
                              </a:cubicBezTo>
                              <a:cubicBezTo>
                                <a:pt x="472" y="96"/>
                                <a:pt x="471" y="91"/>
                                <a:pt x="471" y="86"/>
                              </a:cubicBezTo>
                              <a:cubicBezTo>
                                <a:pt x="472" y="82"/>
                                <a:pt x="473" y="78"/>
                                <a:pt x="475" y="75"/>
                              </a:cubicBezTo>
                              <a:cubicBezTo>
                                <a:pt x="476" y="72"/>
                                <a:pt x="477" y="70"/>
                                <a:pt x="479" y="68"/>
                              </a:cubicBezTo>
                              <a:cubicBezTo>
                                <a:pt x="480" y="67"/>
                                <a:pt x="482" y="65"/>
                                <a:pt x="483" y="66"/>
                              </a:cubicBezTo>
                              <a:cubicBezTo>
                                <a:pt x="484" y="66"/>
                                <a:pt x="483" y="69"/>
                                <a:pt x="484" y="69"/>
                              </a:cubicBezTo>
                              <a:cubicBezTo>
                                <a:pt x="485" y="69"/>
                                <a:pt x="486" y="67"/>
                                <a:pt x="487" y="66"/>
                              </a:cubicBezTo>
                              <a:cubicBezTo>
                                <a:pt x="488" y="64"/>
                                <a:pt x="489" y="62"/>
                                <a:pt x="489" y="61"/>
                              </a:cubicBezTo>
                              <a:cubicBezTo>
                                <a:pt x="490" y="59"/>
                                <a:pt x="491" y="56"/>
                                <a:pt x="492" y="55"/>
                              </a:cubicBezTo>
                              <a:cubicBezTo>
                                <a:pt x="494" y="54"/>
                                <a:pt x="496" y="54"/>
                                <a:pt x="497" y="55"/>
                              </a:cubicBezTo>
                              <a:cubicBezTo>
                                <a:pt x="500" y="55"/>
                                <a:pt x="501" y="57"/>
                                <a:pt x="503" y="59"/>
                              </a:cubicBezTo>
                              <a:cubicBezTo>
                                <a:pt x="506" y="60"/>
                                <a:pt x="508" y="61"/>
                                <a:pt x="510" y="63"/>
                              </a:cubicBezTo>
                              <a:cubicBezTo>
                                <a:pt x="511" y="65"/>
                                <a:pt x="510" y="67"/>
                                <a:pt x="510" y="69"/>
                              </a:cubicBezTo>
                              <a:cubicBezTo>
                                <a:pt x="510" y="72"/>
                                <a:pt x="511" y="74"/>
                                <a:pt x="510" y="77"/>
                              </a:cubicBezTo>
                              <a:cubicBezTo>
                                <a:pt x="510" y="78"/>
                                <a:pt x="509" y="80"/>
                                <a:pt x="508" y="82"/>
                              </a:cubicBezTo>
                              <a:cubicBezTo>
                                <a:pt x="506" y="83"/>
                                <a:pt x="503" y="82"/>
                                <a:pt x="501" y="83"/>
                              </a:cubicBezTo>
                              <a:cubicBezTo>
                                <a:pt x="500" y="84"/>
                                <a:pt x="499" y="87"/>
                                <a:pt x="501" y="88"/>
                              </a:cubicBezTo>
                              <a:cubicBezTo>
                                <a:pt x="503" y="88"/>
                                <a:pt x="505" y="85"/>
                                <a:pt x="507" y="84"/>
                              </a:cubicBezTo>
                              <a:cubicBezTo>
                                <a:pt x="509" y="84"/>
                                <a:pt x="511" y="83"/>
                                <a:pt x="513" y="83"/>
                              </a:cubicBezTo>
                              <a:cubicBezTo>
                                <a:pt x="514" y="84"/>
                                <a:pt x="515" y="84"/>
                                <a:pt x="515" y="85"/>
                              </a:cubicBezTo>
                              <a:cubicBezTo>
                                <a:pt x="517" y="90"/>
                                <a:pt x="517" y="97"/>
                                <a:pt x="518" y="102"/>
                              </a:cubicBezTo>
                              <a:cubicBezTo>
                                <a:pt x="517" y="104"/>
                                <a:pt x="517" y="106"/>
                                <a:pt x="516" y="107"/>
                              </a:cubicBezTo>
                              <a:cubicBezTo>
                                <a:pt x="514" y="108"/>
                                <a:pt x="511" y="107"/>
                                <a:pt x="510" y="108"/>
                              </a:cubicBezTo>
                              <a:cubicBezTo>
                                <a:pt x="509" y="109"/>
                                <a:pt x="509" y="110"/>
                                <a:pt x="508" y="111"/>
                              </a:cubicBezTo>
                              <a:cubicBezTo>
                                <a:pt x="508" y="112"/>
                                <a:pt x="507" y="114"/>
                                <a:pt x="506" y="115"/>
                              </a:cubicBezTo>
                              <a:cubicBezTo>
                                <a:pt x="504" y="116"/>
                                <a:pt x="503" y="116"/>
                                <a:pt x="501" y="118"/>
                              </a:cubicBezTo>
                              <a:cubicBezTo>
                                <a:pt x="500" y="119"/>
                                <a:pt x="500" y="121"/>
                                <a:pt x="501" y="122"/>
                              </a:cubicBezTo>
                              <a:cubicBezTo>
                                <a:pt x="504" y="124"/>
                                <a:pt x="507" y="125"/>
                                <a:pt x="510" y="125"/>
                              </a:cubicBezTo>
                              <a:cubicBezTo>
                                <a:pt x="514" y="125"/>
                                <a:pt x="518" y="125"/>
                                <a:pt x="522" y="124"/>
                              </a:cubicBezTo>
                              <a:cubicBezTo>
                                <a:pt x="526" y="123"/>
                                <a:pt x="528" y="121"/>
                                <a:pt x="531" y="119"/>
                              </a:cubicBezTo>
                              <a:cubicBezTo>
                                <a:pt x="537" y="117"/>
                                <a:pt x="542" y="114"/>
                                <a:pt x="548" y="112"/>
                              </a:cubicBezTo>
                              <a:cubicBezTo>
                                <a:pt x="552" y="110"/>
                                <a:pt x="557" y="109"/>
                                <a:pt x="560" y="106"/>
                              </a:cubicBezTo>
                              <a:cubicBezTo>
                                <a:pt x="561" y="106"/>
                                <a:pt x="560" y="105"/>
                                <a:pt x="560" y="104"/>
                              </a:cubicBezTo>
                              <a:cubicBezTo>
                                <a:pt x="559" y="103"/>
                                <a:pt x="559" y="102"/>
                                <a:pt x="559" y="101"/>
                              </a:cubicBezTo>
                              <a:cubicBezTo>
                                <a:pt x="559" y="99"/>
                                <a:pt x="559" y="98"/>
                                <a:pt x="559" y="97"/>
                              </a:cubicBezTo>
                              <a:cubicBezTo>
                                <a:pt x="560" y="97"/>
                                <a:pt x="562" y="96"/>
                                <a:pt x="563" y="96"/>
                              </a:cubicBezTo>
                              <a:cubicBezTo>
                                <a:pt x="566" y="96"/>
                                <a:pt x="570" y="97"/>
                                <a:pt x="573" y="97"/>
                              </a:cubicBezTo>
                              <a:cubicBezTo>
                                <a:pt x="577" y="97"/>
                                <a:pt x="580" y="97"/>
                                <a:pt x="583" y="96"/>
                              </a:cubicBezTo>
                              <a:cubicBezTo>
                                <a:pt x="587" y="95"/>
                                <a:pt x="591" y="95"/>
                                <a:pt x="594" y="93"/>
                              </a:cubicBezTo>
                              <a:cubicBezTo>
                                <a:pt x="596" y="92"/>
                                <a:pt x="595" y="90"/>
                                <a:pt x="595" y="89"/>
                              </a:cubicBezTo>
                              <a:cubicBezTo>
                                <a:pt x="595" y="87"/>
                                <a:pt x="593" y="85"/>
                                <a:pt x="594" y="83"/>
                              </a:cubicBezTo>
                              <a:cubicBezTo>
                                <a:pt x="595" y="81"/>
                                <a:pt x="599" y="82"/>
                                <a:pt x="600" y="80"/>
                              </a:cubicBezTo>
                              <a:cubicBezTo>
                                <a:pt x="602" y="79"/>
                                <a:pt x="602" y="77"/>
                                <a:pt x="603" y="75"/>
                              </a:cubicBezTo>
                              <a:cubicBezTo>
                                <a:pt x="606" y="73"/>
                                <a:pt x="607" y="71"/>
                                <a:pt x="609" y="69"/>
                              </a:cubicBezTo>
                              <a:cubicBezTo>
                                <a:pt x="615" y="69"/>
                                <a:pt x="622" y="69"/>
                                <a:pt x="628" y="69"/>
                              </a:cubicBezTo>
                              <a:cubicBezTo>
                                <a:pt x="636" y="69"/>
                                <a:pt x="645" y="69"/>
                                <a:pt x="653" y="69"/>
                              </a:cubicBezTo>
                              <a:cubicBezTo>
                                <a:pt x="653" y="68"/>
                                <a:pt x="652" y="66"/>
                                <a:pt x="653" y="65"/>
                              </a:cubicBezTo>
                              <a:cubicBezTo>
                                <a:pt x="654" y="64"/>
                                <a:pt x="655" y="63"/>
                                <a:pt x="657" y="63"/>
                              </a:cubicBezTo>
                              <a:cubicBezTo>
                                <a:pt x="659" y="62"/>
                                <a:pt x="662" y="64"/>
                                <a:pt x="663" y="63"/>
                              </a:cubicBezTo>
                              <a:cubicBezTo>
                                <a:pt x="665" y="62"/>
                                <a:pt x="664" y="60"/>
                                <a:pt x="665" y="58"/>
                              </a:cubicBezTo>
                              <a:cubicBezTo>
                                <a:pt x="666" y="57"/>
                                <a:pt x="668" y="57"/>
                                <a:pt x="669" y="55"/>
                              </a:cubicBezTo>
                              <a:cubicBezTo>
                                <a:pt x="670" y="53"/>
                                <a:pt x="669" y="51"/>
                                <a:pt x="670" y="49"/>
                              </a:cubicBezTo>
                              <a:cubicBezTo>
                                <a:pt x="671" y="47"/>
                                <a:pt x="674" y="45"/>
                                <a:pt x="676" y="43"/>
                              </a:cubicBezTo>
                              <a:cubicBezTo>
                                <a:pt x="676" y="42"/>
                                <a:pt x="674" y="41"/>
                                <a:pt x="675" y="40"/>
                              </a:cubicBezTo>
                              <a:cubicBezTo>
                                <a:pt x="676" y="37"/>
                                <a:pt x="679" y="34"/>
                                <a:pt x="681" y="31"/>
                              </a:cubicBezTo>
                              <a:cubicBezTo>
                                <a:pt x="682" y="29"/>
                                <a:pt x="684" y="26"/>
                                <a:pt x="687" y="26"/>
                              </a:cubicBezTo>
                              <a:cubicBezTo>
                                <a:pt x="689" y="26"/>
                                <a:pt x="688" y="31"/>
                                <a:pt x="690" y="31"/>
                              </a:cubicBezTo>
                              <a:cubicBezTo>
                                <a:pt x="692" y="32"/>
                                <a:pt x="693" y="28"/>
                                <a:pt x="695" y="28"/>
                              </a:cubicBezTo>
                              <a:cubicBezTo>
                                <a:pt x="697" y="28"/>
                                <a:pt x="699" y="29"/>
                                <a:pt x="701" y="30"/>
                              </a:cubicBezTo>
                              <a:cubicBezTo>
                                <a:pt x="701" y="30"/>
                                <a:pt x="702" y="31"/>
                                <a:pt x="703" y="31"/>
                              </a:cubicBezTo>
                              <a:cubicBezTo>
                                <a:pt x="702" y="38"/>
                                <a:pt x="701" y="45"/>
                                <a:pt x="701" y="53"/>
                              </a:cubicBezTo>
                              <a:cubicBezTo>
                                <a:pt x="701" y="53"/>
                                <a:pt x="702" y="53"/>
                                <a:pt x="703" y="53"/>
                              </a:cubicBezTo>
                              <a:cubicBezTo>
                                <a:pt x="703" y="57"/>
                                <a:pt x="703" y="62"/>
                                <a:pt x="703" y="67"/>
                              </a:cubicBezTo>
                              <a:cubicBezTo>
                                <a:pt x="703" y="70"/>
                                <a:pt x="704" y="74"/>
                                <a:pt x="702" y="77"/>
                              </a:cubicBezTo>
                              <a:cubicBezTo>
                                <a:pt x="699" y="80"/>
                                <a:pt x="695" y="83"/>
                                <a:pt x="690" y="84"/>
                              </a:cubicBezTo>
                              <a:cubicBezTo>
                                <a:pt x="688" y="85"/>
                                <a:pt x="685" y="81"/>
                                <a:pt x="682" y="82"/>
                              </a:cubicBezTo>
                              <a:cubicBezTo>
                                <a:pt x="679" y="83"/>
                                <a:pt x="678" y="86"/>
                                <a:pt x="676" y="87"/>
                              </a:cubicBezTo>
                              <a:cubicBezTo>
                                <a:pt x="674" y="88"/>
                                <a:pt x="670" y="88"/>
                                <a:pt x="668" y="89"/>
                              </a:cubicBezTo>
                              <a:cubicBezTo>
                                <a:pt x="665" y="91"/>
                                <a:pt x="663" y="94"/>
                                <a:pt x="662" y="97"/>
                              </a:cubicBezTo>
                              <a:cubicBezTo>
                                <a:pt x="660" y="100"/>
                                <a:pt x="658" y="103"/>
                                <a:pt x="657" y="107"/>
                              </a:cubicBezTo>
                              <a:cubicBezTo>
                                <a:pt x="656" y="109"/>
                                <a:pt x="656" y="111"/>
                                <a:pt x="657" y="113"/>
                              </a:cubicBezTo>
                              <a:cubicBezTo>
                                <a:pt x="657" y="115"/>
                                <a:pt x="659" y="118"/>
                                <a:pt x="659" y="121"/>
                              </a:cubicBezTo>
                              <a:cubicBezTo>
                                <a:pt x="658" y="123"/>
                                <a:pt x="657" y="127"/>
                                <a:pt x="654" y="128"/>
                              </a:cubicBezTo>
                              <a:cubicBezTo>
                                <a:pt x="652" y="129"/>
                                <a:pt x="653" y="124"/>
                                <a:pt x="651" y="124"/>
                              </a:cubicBezTo>
                              <a:cubicBezTo>
                                <a:pt x="650" y="123"/>
                                <a:pt x="648" y="124"/>
                                <a:pt x="647" y="125"/>
                              </a:cubicBezTo>
                              <a:cubicBezTo>
                                <a:pt x="647" y="126"/>
                                <a:pt x="648" y="129"/>
                                <a:pt x="647" y="129"/>
                              </a:cubicBezTo>
                              <a:cubicBezTo>
                                <a:pt x="643" y="130"/>
                                <a:pt x="639" y="128"/>
                                <a:pt x="635" y="128"/>
                              </a:cubicBezTo>
                              <a:cubicBezTo>
                                <a:pt x="632" y="128"/>
                                <a:pt x="629" y="129"/>
                                <a:pt x="627" y="130"/>
                              </a:cubicBezTo>
                              <a:cubicBezTo>
                                <a:pt x="623" y="131"/>
                                <a:pt x="620" y="133"/>
                                <a:pt x="617" y="135"/>
                              </a:cubicBezTo>
                              <a:cubicBezTo>
                                <a:pt x="615" y="137"/>
                                <a:pt x="614" y="139"/>
                                <a:pt x="613" y="142"/>
                              </a:cubicBezTo>
                              <a:cubicBezTo>
                                <a:pt x="613" y="143"/>
                                <a:pt x="615" y="144"/>
                                <a:pt x="615" y="145"/>
                              </a:cubicBezTo>
                              <a:cubicBezTo>
                                <a:pt x="615" y="149"/>
                                <a:pt x="614" y="153"/>
                                <a:pt x="612" y="157"/>
                              </a:cubicBezTo>
                              <a:cubicBezTo>
                                <a:pt x="610" y="160"/>
                                <a:pt x="607" y="161"/>
                                <a:pt x="604" y="164"/>
                              </a:cubicBezTo>
                              <a:cubicBezTo>
                                <a:pt x="602" y="165"/>
                                <a:pt x="601" y="167"/>
                                <a:pt x="599" y="167"/>
                              </a:cubicBezTo>
                              <a:cubicBezTo>
                                <a:pt x="598" y="167"/>
                                <a:pt x="597" y="165"/>
                                <a:pt x="596" y="165"/>
                              </a:cubicBezTo>
                              <a:cubicBezTo>
                                <a:pt x="595" y="165"/>
                                <a:pt x="596" y="167"/>
                                <a:pt x="596" y="168"/>
                              </a:cubicBezTo>
                              <a:cubicBezTo>
                                <a:pt x="596" y="169"/>
                                <a:pt x="598" y="170"/>
                                <a:pt x="597" y="172"/>
                              </a:cubicBezTo>
                              <a:cubicBezTo>
                                <a:pt x="597" y="176"/>
                                <a:pt x="596" y="181"/>
                                <a:pt x="594" y="186"/>
                              </a:cubicBezTo>
                              <a:cubicBezTo>
                                <a:pt x="593" y="188"/>
                                <a:pt x="591" y="191"/>
                                <a:pt x="588" y="192"/>
                              </a:cubicBezTo>
                              <a:cubicBezTo>
                                <a:pt x="587" y="193"/>
                                <a:pt x="587" y="191"/>
                                <a:pt x="587" y="190"/>
                              </a:cubicBezTo>
                              <a:cubicBezTo>
                                <a:pt x="586" y="188"/>
                                <a:pt x="585" y="185"/>
                                <a:pt x="585" y="183"/>
                              </a:cubicBezTo>
                              <a:cubicBezTo>
                                <a:pt x="584" y="180"/>
                                <a:pt x="585" y="178"/>
                                <a:pt x="585" y="175"/>
                              </a:cubicBezTo>
                              <a:cubicBezTo>
                                <a:pt x="585" y="172"/>
                                <a:pt x="584" y="169"/>
                                <a:pt x="585" y="167"/>
                              </a:cubicBezTo>
                              <a:cubicBezTo>
                                <a:pt x="585" y="165"/>
                                <a:pt x="588" y="165"/>
                                <a:pt x="588" y="163"/>
                              </a:cubicBezTo>
                              <a:cubicBezTo>
                                <a:pt x="589" y="162"/>
                                <a:pt x="587" y="160"/>
                                <a:pt x="586" y="161"/>
                              </a:cubicBezTo>
                              <a:cubicBezTo>
                                <a:pt x="584" y="163"/>
                                <a:pt x="582" y="166"/>
                                <a:pt x="581" y="169"/>
                              </a:cubicBezTo>
                              <a:cubicBezTo>
                                <a:pt x="580" y="171"/>
                                <a:pt x="581" y="174"/>
                                <a:pt x="581" y="177"/>
                              </a:cubicBezTo>
                              <a:cubicBezTo>
                                <a:pt x="581" y="180"/>
                                <a:pt x="581" y="183"/>
                                <a:pt x="581" y="186"/>
                              </a:cubicBezTo>
                              <a:cubicBezTo>
                                <a:pt x="581" y="188"/>
                                <a:pt x="580" y="189"/>
                                <a:pt x="580" y="190"/>
                              </a:cubicBezTo>
                              <a:cubicBezTo>
                                <a:pt x="580" y="194"/>
                                <a:pt x="579" y="197"/>
                                <a:pt x="579" y="201"/>
                              </a:cubicBezTo>
                              <a:cubicBezTo>
                                <a:pt x="579" y="203"/>
                                <a:pt x="578" y="205"/>
                                <a:pt x="579" y="206"/>
                              </a:cubicBezTo>
                              <a:cubicBezTo>
                                <a:pt x="580" y="207"/>
                                <a:pt x="583" y="206"/>
                                <a:pt x="584" y="208"/>
                              </a:cubicBezTo>
                              <a:cubicBezTo>
                                <a:pt x="585" y="210"/>
                                <a:pt x="583" y="212"/>
                                <a:pt x="584" y="215"/>
                              </a:cubicBezTo>
                              <a:cubicBezTo>
                                <a:pt x="584" y="216"/>
                                <a:pt x="586" y="217"/>
                                <a:pt x="585" y="217"/>
                              </a:cubicBezTo>
                              <a:cubicBezTo>
                                <a:pt x="583" y="218"/>
                                <a:pt x="581" y="217"/>
                                <a:pt x="579" y="218"/>
                              </a:cubicBezTo>
                              <a:cubicBezTo>
                                <a:pt x="578" y="218"/>
                                <a:pt x="579" y="219"/>
                                <a:pt x="579" y="219"/>
                              </a:cubicBezTo>
                              <a:cubicBezTo>
                                <a:pt x="581" y="221"/>
                                <a:pt x="585" y="221"/>
                                <a:pt x="585" y="223"/>
                              </a:cubicBezTo>
                              <a:cubicBezTo>
                                <a:pt x="586" y="225"/>
                                <a:pt x="583" y="227"/>
                                <a:pt x="581" y="228"/>
                              </a:cubicBezTo>
                              <a:cubicBezTo>
                                <a:pt x="579" y="229"/>
                                <a:pt x="575" y="226"/>
                                <a:pt x="573" y="227"/>
                              </a:cubicBezTo>
                              <a:cubicBezTo>
                                <a:pt x="571" y="228"/>
                                <a:pt x="572" y="231"/>
                                <a:pt x="573" y="233"/>
                              </a:cubicBezTo>
                              <a:cubicBezTo>
                                <a:pt x="574" y="234"/>
                                <a:pt x="577" y="232"/>
                                <a:pt x="578" y="234"/>
                              </a:cubicBezTo>
                              <a:cubicBezTo>
                                <a:pt x="578" y="236"/>
                                <a:pt x="576" y="238"/>
                                <a:pt x="575" y="239"/>
                              </a:cubicBezTo>
                              <a:cubicBezTo>
                                <a:pt x="572" y="240"/>
                                <a:pt x="567" y="239"/>
                                <a:pt x="564" y="240"/>
                              </a:cubicBezTo>
                              <a:cubicBezTo>
                                <a:pt x="561" y="242"/>
                                <a:pt x="559" y="246"/>
                                <a:pt x="556" y="248"/>
                              </a:cubicBezTo>
                              <a:cubicBezTo>
                                <a:pt x="553" y="250"/>
                                <a:pt x="549" y="249"/>
                                <a:pt x="546" y="251"/>
                              </a:cubicBezTo>
                              <a:cubicBezTo>
                                <a:pt x="542" y="253"/>
                                <a:pt x="539" y="256"/>
                                <a:pt x="537" y="259"/>
                              </a:cubicBezTo>
                              <a:cubicBezTo>
                                <a:pt x="536" y="260"/>
                                <a:pt x="538" y="262"/>
                                <a:pt x="538" y="263"/>
                              </a:cubicBezTo>
                              <a:cubicBezTo>
                                <a:pt x="535" y="266"/>
                                <a:pt x="531" y="269"/>
                                <a:pt x="527" y="272"/>
                              </a:cubicBezTo>
                              <a:cubicBezTo>
                                <a:pt x="525" y="273"/>
                                <a:pt x="521" y="272"/>
                                <a:pt x="520" y="274"/>
                              </a:cubicBezTo>
                              <a:cubicBezTo>
                                <a:pt x="518" y="275"/>
                                <a:pt x="518" y="279"/>
                                <a:pt x="517" y="281"/>
                              </a:cubicBezTo>
                              <a:cubicBezTo>
                                <a:pt x="515" y="283"/>
                                <a:pt x="513" y="285"/>
                                <a:pt x="511" y="287"/>
                              </a:cubicBezTo>
                              <a:cubicBezTo>
                                <a:pt x="509" y="291"/>
                                <a:pt x="508" y="296"/>
                                <a:pt x="508" y="300"/>
                              </a:cubicBezTo>
                              <a:cubicBezTo>
                                <a:pt x="507" y="302"/>
                                <a:pt x="507" y="305"/>
                                <a:pt x="507" y="307"/>
                              </a:cubicBezTo>
                              <a:cubicBezTo>
                                <a:pt x="507" y="310"/>
                                <a:pt x="506" y="314"/>
                                <a:pt x="506" y="317"/>
                              </a:cubicBezTo>
                              <a:cubicBezTo>
                                <a:pt x="508" y="322"/>
                                <a:pt x="512" y="326"/>
                                <a:pt x="514" y="331"/>
                              </a:cubicBezTo>
                              <a:cubicBezTo>
                                <a:pt x="514" y="333"/>
                                <a:pt x="514" y="336"/>
                                <a:pt x="514" y="339"/>
                              </a:cubicBezTo>
                              <a:cubicBezTo>
                                <a:pt x="514" y="340"/>
                                <a:pt x="513" y="336"/>
                                <a:pt x="512" y="337"/>
                              </a:cubicBezTo>
                              <a:cubicBezTo>
                                <a:pt x="512" y="339"/>
                                <a:pt x="512" y="341"/>
                                <a:pt x="513" y="343"/>
                              </a:cubicBezTo>
                              <a:cubicBezTo>
                                <a:pt x="514" y="346"/>
                                <a:pt x="515" y="348"/>
                                <a:pt x="517" y="351"/>
                              </a:cubicBezTo>
                              <a:cubicBezTo>
                                <a:pt x="518" y="354"/>
                                <a:pt x="519" y="357"/>
                                <a:pt x="520" y="360"/>
                              </a:cubicBezTo>
                              <a:cubicBezTo>
                                <a:pt x="520" y="363"/>
                                <a:pt x="520" y="366"/>
                                <a:pt x="520" y="369"/>
                              </a:cubicBezTo>
                              <a:cubicBezTo>
                                <a:pt x="519" y="372"/>
                                <a:pt x="516" y="375"/>
                                <a:pt x="515" y="379"/>
                              </a:cubicBezTo>
                              <a:cubicBezTo>
                                <a:pt x="514" y="382"/>
                                <a:pt x="515" y="385"/>
                                <a:pt x="514" y="388"/>
                              </a:cubicBezTo>
                              <a:cubicBezTo>
                                <a:pt x="513" y="390"/>
                                <a:pt x="512" y="391"/>
                                <a:pt x="511" y="391"/>
                              </a:cubicBezTo>
                              <a:cubicBezTo>
                                <a:pt x="510" y="391"/>
                                <a:pt x="512" y="388"/>
                                <a:pt x="511" y="388"/>
                              </a:cubicBezTo>
                              <a:cubicBezTo>
                                <a:pt x="508" y="387"/>
                                <a:pt x="505" y="389"/>
                                <a:pt x="501" y="388"/>
                              </a:cubicBezTo>
                              <a:cubicBezTo>
                                <a:pt x="501" y="388"/>
                                <a:pt x="501" y="387"/>
                                <a:pt x="501" y="386"/>
                              </a:cubicBezTo>
                              <a:cubicBezTo>
                                <a:pt x="502" y="384"/>
                                <a:pt x="505" y="383"/>
                                <a:pt x="505" y="382"/>
                              </a:cubicBezTo>
                              <a:cubicBezTo>
                                <a:pt x="504" y="380"/>
                                <a:pt x="501" y="380"/>
                                <a:pt x="499" y="379"/>
                              </a:cubicBezTo>
                              <a:cubicBezTo>
                                <a:pt x="497" y="377"/>
                                <a:pt x="496" y="376"/>
                                <a:pt x="495" y="374"/>
                              </a:cubicBezTo>
                              <a:cubicBezTo>
                                <a:pt x="493" y="370"/>
                                <a:pt x="493" y="366"/>
                                <a:pt x="492" y="362"/>
                              </a:cubicBezTo>
                              <a:cubicBezTo>
                                <a:pt x="491" y="361"/>
                                <a:pt x="492" y="359"/>
                                <a:pt x="492" y="358"/>
                              </a:cubicBezTo>
                              <a:cubicBezTo>
                                <a:pt x="491" y="358"/>
                                <a:pt x="490" y="360"/>
                                <a:pt x="489" y="360"/>
                              </a:cubicBezTo>
                              <a:cubicBezTo>
                                <a:pt x="488" y="358"/>
                                <a:pt x="489" y="356"/>
                                <a:pt x="488" y="354"/>
                              </a:cubicBezTo>
                              <a:cubicBezTo>
                                <a:pt x="488" y="352"/>
                                <a:pt x="487" y="350"/>
                                <a:pt x="487" y="348"/>
                              </a:cubicBezTo>
                              <a:cubicBezTo>
                                <a:pt x="487" y="347"/>
                                <a:pt x="487" y="346"/>
                                <a:pt x="487" y="345"/>
                              </a:cubicBezTo>
                              <a:cubicBezTo>
                                <a:pt x="487" y="343"/>
                                <a:pt x="486" y="341"/>
                                <a:pt x="486" y="339"/>
                              </a:cubicBezTo>
                              <a:cubicBezTo>
                                <a:pt x="486" y="336"/>
                                <a:pt x="489" y="334"/>
                                <a:pt x="489" y="331"/>
                              </a:cubicBezTo>
                              <a:cubicBezTo>
                                <a:pt x="489" y="329"/>
                                <a:pt x="487" y="326"/>
                                <a:pt x="486" y="324"/>
                              </a:cubicBezTo>
                              <a:cubicBezTo>
                                <a:pt x="485" y="323"/>
                                <a:pt x="482" y="323"/>
                                <a:pt x="481" y="322"/>
                              </a:cubicBezTo>
                              <a:cubicBezTo>
                                <a:pt x="478" y="319"/>
                                <a:pt x="477" y="313"/>
                                <a:pt x="473" y="311"/>
                              </a:cubicBezTo>
                              <a:cubicBezTo>
                                <a:pt x="471" y="310"/>
                                <a:pt x="469" y="313"/>
                                <a:pt x="467" y="314"/>
                              </a:cubicBezTo>
                              <a:cubicBezTo>
                                <a:pt x="465" y="315"/>
                                <a:pt x="463" y="317"/>
                                <a:pt x="461" y="318"/>
                              </a:cubicBezTo>
                              <a:cubicBezTo>
                                <a:pt x="460" y="318"/>
                                <a:pt x="457" y="319"/>
                                <a:pt x="456" y="318"/>
                              </a:cubicBezTo>
                              <a:cubicBezTo>
                                <a:pt x="454" y="316"/>
                                <a:pt x="455" y="312"/>
                                <a:pt x="453" y="310"/>
                              </a:cubicBezTo>
                              <a:cubicBezTo>
                                <a:pt x="452" y="309"/>
                                <a:pt x="450" y="309"/>
                                <a:pt x="449" y="309"/>
                              </a:cubicBezTo>
                              <a:cubicBezTo>
                                <a:pt x="447" y="308"/>
                                <a:pt x="446" y="307"/>
                                <a:pt x="445" y="307"/>
                              </a:cubicBezTo>
                              <a:cubicBezTo>
                                <a:pt x="443" y="307"/>
                                <a:pt x="442" y="308"/>
                                <a:pt x="440" y="308"/>
                              </a:cubicBezTo>
                              <a:cubicBezTo>
                                <a:pt x="439" y="308"/>
                                <a:pt x="438" y="307"/>
                                <a:pt x="437" y="307"/>
                              </a:cubicBezTo>
                              <a:cubicBezTo>
                                <a:pt x="436" y="307"/>
                                <a:pt x="435" y="308"/>
                                <a:pt x="434" y="308"/>
                              </a:cubicBezTo>
                              <a:cubicBezTo>
                                <a:pt x="433" y="308"/>
                                <a:pt x="431" y="308"/>
                                <a:pt x="430" y="308"/>
                              </a:cubicBezTo>
                              <a:cubicBezTo>
                                <a:pt x="429" y="307"/>
                                <a:pt x="427" y="306"/>
                                <a:pt x="425" y="306"/>
                              </a:cubicBezTo>
                              <a:cubicBezTo>
                                <a:pt x="421" y="306"/>
                                <a:pt x="416" y="307"/>
                                <a:pt x="412" y="307"/>
                              </a:cubicBezTo>
                              <a:cubicBezTo>
                                <a:pt x="410" y="308"/>
                                <a:pt x="408" y="309"/>
                                <a:pt x="406" y="309"/>
                              </a:cubicBezTo>
                              <a:cubicBezTo>
                                <a:pt x="404" y="309"/>
                                <a:pt x="403" y="307"/>
                                <a:pt x="401" y="307"/>
                              </a:cubicBezTo>
                              <a:cubicBezTo>
                                <a:pt x="399" y="306"/>
                                <a:pt x="397" y="305"/>
                                <a:pt x="396" y="307"/>
                              </a:cubicBezTo>
                              <a:cubicBezTo>
                                <a:pt x="395" y="308"/>
                                <a:pt x="397" y="310"/>
                                <a:pt x="398" y="311"/>
                              </a:cubicBezTo>
                              <a:cubicBezTo>
                                <a:pt x="399" y="313"/>
                                <a:pt x="400" y="314"/>
                                <a:pt x="402" y="314"/>
                              </a:cubicBezTo>
                              <a:cubicBezTo>
                                <a:pt x="403" y="314"/>
                                <a:pt x="403" y="312"/>
                                <a:pt x="404" y="312"/>
                              </a:cubicBezTo>
                              <a:cubicBezTo>
                                <a:pt x="405" y="312"/>
                                <a:pt x="406" y="313"/>
                                <a:pt x="406" y="315"/>
                              </a:cubicBezTo>
                              <a:cubicBezTo>
                                <a:pt x="406" y="316"/>
                                <a:pt x="404" y="318"/>
                                <a:pt x="405" y="319"/>
                              </a:cubicBezTo>
                              <a:cubicBezTo>
                                <a:pt x="406" y="321"/>
                                <a:pt x="409" y="321"/>
                                <a:pt x="410" y="322"/>
                              </a:cubicBezTo>
                              <a:cubicBezTo>
                                <a:pt x="411" y="324"/>
                                <a:pt x="412" y="328"/>
                                <a:pt x="410" y="328"/>
                              </a:cubicBezTo>
                              <a:cubicBezTo>
                                <a:pt x="408" y="328"/>
                                <a:pt x="407" y="324"/>
                                <a:pt x="405" y="322"/>
                              </a:cubicBezTo>
                              <a:cubicBezTo>
                                <a:pt x="402" y="320"/>
                                <a:pt x="399" y="316"/>
                                <a:pt x="395" y="316"/>
                              </a:cubicBezTo>
                              <a:cubicBezTo>
                                <a:pt x="393" y="317"/>
                                <a:pt x="397" y="322"/>
                                <a:pt x="395" y="324"/>
                              </a:cubicBezTo>
                              <a:cubicBezTo>
                                <a:pt x="394" y="326"/>
                                <a:pt x="391" y="324"/>
                                <a:pt x="389" y="324"/>
                              </a:cubicBezTo>
                              <a:cubicBezTo>
                                <a:pt x="388" y="324"/>
                                <a:pt x="387" y="326"/>
                                <a:pt x="386" y="326"/>
                              </a:cubicBezTo>
                              <a:cubicBezTo>
                                <a:pt x="384" y="325"/>
                                <a:pt x="383" y="324"/>
                                <a:pt x="381" y="322"/>
                              </a:cubicBezTo>
                              <a:cubicBezTo>
                                <a:pt x="380" y="321"/>
                                <a:pt x="380" y="319"/>
                                <a:pt x="379" y="318"/>
                              </a:cubicBezTo>
                              <a:cubicBezTo>
                                <a:pt x="378" y="316"/>
                                <a:pt x="376" y="314"/>
                                <a:pt x="374" y="315"/>
                              </a:cubicBezTo>
                              <a:cubicBezTo>
                                <a:pt x="373" y="315"/>
                                <a:pt x="374" y="317"/>
                                <a:pt x="372" y="318"/>
                              </a:cubicBezTo>
                              <a:cubicBezTo>
                                <a:pt x="370" y="319"/>
                                <a:pt x="367" y="319"/>
                                <a:pt x="364" y="319"/>
                              </a:cubicBezTo>
                              <a:cubicBezTo>
                                <a:pt x="361" y="318"/>
                                <a:pt x="359" y="315"/>
                                <a:pt x="357" y="315"/>
                              </a:cubicBezTo>
                              <a:cubicBezTo>
                                <a:pt x="353" y="315"/>
                                <a:pt x="350" y="317"/>
                                <a:pt x="347" y="318"/>
                              </a:cubicBezTo>
                              <a:cubicBezTo>
                                <a:pt x="345" y="319"/>
                                <a:pt x="343" y="321"/>
                                <a:pt x="341" y="321"/>
                              </a:cubicBezTo>
                              <a:cubicBezTo>
                                <a:pt x="340" y="320"/>
                                <a:pt x="340" y="318"/>
                                <a:pt x="339" y="318"/>
                              </a:cubicBezTo>
                              <a:cubicBezTo>
                                <a:pt x="338" y="317"/>
                                <a:pt x="336" y="317"/>
                                <a:pt x="335" y="318"/>
                              </a:cubicBezTo>
                              <a:cubicBezTo>
                                <a:pt x="335" y="320"/>
                                <a:pt x="338" y="322"/>
                                <a:pt x="337" y="324"/>
                              </a:cubicBezTo>
                              <a:cubicBezTo>
                                <a:pt x="336" y="327"/>
                                <a:pt x="333" y="327"/>
                                <a:pt x="331" y="329"/>
                              </a:cubicBezTo>
                              <a:cubicBezTo>
                                <a:pt x="329" y="331"/>
                                <a:pt x="328" y="334"/>
                                <a:pt x="325" y="335"/>
                              </a:cubicBezTo>
                              <a:cubicBezTo>
                                <a:pt x="323" y="336"/>
                                <a:pt x="320" y="335"/>
                                <a:pt x="318" y="336"/>
                              </a:cubicBezTo>
                              <a:cubicBezTo>
                                <a:pt x="315" y="337"/>
                                <a:pt x="313" y="338"/>
                                <a:pt x="312" y="339"/>
                              </a:cubicBezTo>
                              <a:cubicBezTo>
                                <a:pt x="309" y="341"/>
                                <a:pt x="306" y="343"/>
                                <a:pt x="304" y="346"/>
                              </a:cubicBezTo>
                              <a:cubicBezTo>
                                <a:pt x="303" y="347"/>
                                <a:pt x="305" y="349"/>
                                <a:pt x="304" y="351"/>
                              </a:cubicBezTo>
                              <a:cubicBezTo>
                                <a:pt x="304" y="353"/>
                                <a:pt x="300" y="355"/>
                                <a:pt x="300" y="357"/>
                              </a:cubicBezTo>
                              <a:cubicBezTo>
                                <a:pt x="300" y="361"/>
                                <a:pt x="303" y="364"/>
                                <a:pt x="304" y="368"/>
                              </a:cubicBezTo>
                              <a:cubicBezTo>
                                <a:pt x="304" y="369"/>
                                <a:pt x="304" y="371"/>
                                <a:pt x="304" y="373"/>
                              </a:cubicBezTo>
                              <a:cubicBezTo>
                                <a:pt x="303" y="375"/>
                                <a:pt x="302" y="376"/>
                                <a:pt x="302" y="377"/>
                              </a:cubicBezTo>
                              <a:cubicBezTo>
                                <a:pt x="300" y="376"/>
                                <a:pt x="299" y="373"/>
                                <a:pt x="297" y="373"/>
                              </a:cubicBezTo>
                              <a:cubicBezTo>
                                <a:pt x="295" y="372"/>
                                <a:pt x="293" y="373"/>
                                <a:pt x="291" y="373"/>
                              </a:cubicBezTo>
                              <a:cubicBezTo>
                                <a:pt x="288" y="371"/>
                                <a:pt x="285" y="370"/>
                                <a:pt x="283" y="368"/>
                              </a:cubicBezTo>
                              <a:cubicBezTo>
                                <a:pt x="280" y="365"/>
                                <a:pt x="279" y="362"/>
                                <a:pt x="277" y="359"/>
                              </a:cubicBezTo>
                              <a:cubicBezTo>
                                <a:pt x="276" y="357"/>
                                <a:pt x="277" y="354"/>
                                <a:pt x="276" y="352"/>
                              </a:cubicBezTo>
                              <a:cubicBezTo>
                                <a:pt x="275" y="350"/>
                                <a:pt x="273" y="348"/>
                                <a:pt x="272" y="345"/>
                              </a:cubicBezTo>
                              <a:cubicBezTo>
                                <a:pt x="270" y="341"/>
                                <a:pt x="268" y="337"/>
                                <a:pt x="266" y="332"/>
                              </a:cubicBezTo>
                              <a:cubicBezTo>
                                <a:pt x="265" y="329"/>
                                <a:pt x="264" y="325"/>
                                <a:pt x="263" y="322"/>
                              </a:cubicBezTo>
                              <a:cubicBezTo>
                                <a:pt x="262" y="319"/>
                                <a:pt x="260" y="316"/>
                                <a:pt x="258" y="315"/>
                              </a:cubicBezTo>
                              <a:cubicBezTo>
                                <a:pt x="255" y="314"/>
                                <a:pt x="253" y="314"/>
                                <a:pt x="250" y="314"/>
                              </a:cubicBezTo>
                              <a:cubicBezTo>
                                <a:pt x="248" y="314"/>
                                <a:pt x="246" y="314"/>
                                <a:pt x="245" y="314"/>
                              </a:cubicBezTo>
                              <a:cubicBezTo>
                                <a:pt x="243" y="315"/>
                                <a:pt x="242" y="315"/>
                                <a:pt x="241" y="316"/>
                              </a:cubicBezTo>
                              <a:cubicBezTo>
                                <a:pt x="240" y="317"/>
                                <a:pt x="240" y="318"/>
                                <a:pt x="239" y="319"/>
                              </a:cubicBezTo>
                              <a:cubicBezTo>
                                <a:pt x="239" y="321"/>
                                <a:pt x="239" y="323"/>
                                <a:pt x="238" y="325"/>
                              </a:cubicBezTo>
                              <a:cubicBezTo>
                                <a:pt x="238" y="326"/>
                                <a:pt x="236" y="327"/>
                                <a:pt x="235" y="327"/>
                              </a:cubicBezTo>
                              <a:cubicBezTo>
                                <a:pt x="232" y="326"/>
                                <a:pt x="229" y="323"/>
                                <a:pt x="226" y="322"/>
                              </a:cubicBezTo>
                              <a:cubicBezTo>
                                <a:pt x="224" y="320"/>
                                <a:pt x="220" y="320"/>
                                <a:pt x="219" y="318"/>
                              </a:cubicBezTo>
                              <a:cubicBezTo>
                                <a:pt x="216" y="315"/>
                                <a:pt x="216" y="311"/>
                                <a:pt x="214" y="308"/>
                              </a:cubicBezTo>
                              <a:cubicBezTo>
                                <a:pt x="213" y="305"/>
                                <a:pt x="213" y="302"/>
                                <a:pt x="211" y="300"/>
                              </a:cubicBezTo>
                              <a:cubicBezTo>
                                <a:pt x="209" y="297"/>
                                <a:pt x="206" y="294"/>
                                <a:pt x="203" y="291"/>
                              </a:cubicBezTo>
                              <a:cubicBezTo>
                                <a:pt x="201" y="288"/>
                                <a:pt x="200" y="286"/>
                                <a:pt x="199" y="283"/>
                              </a:cubicBezTo>
                              <a:cubicBezTo>
                                <a:pt x="192" y="283"/>
                                <a:pt x="185" y="283"/>
                                <a:pt x="177" y="283"/>
                              </a:cubicBezTo>
                              <a:cubicBezTo>
                                <a:pt x="177" y="286"/>
                                <a:pt x="176" y="288"/>
                                <a:pt x="176" y="291"/>
                              </a:cubicBezTo>
                              <a:cubicBezTo>
                                <a:pt x="165" y="290"/>
                                <a:pt x="154" y="290"/>
                                <a:pt x="142" y="290"/>
                              </a:cubicBezTo>
                              <a:cubicBezTo>
                                <a:pt x="142" y="290"/>
                                <a:pt x="141" y="290"/>
                                <a:pt x="140" y="290"/>
                              </a:cubicBezTo>
                              <a:cubicBezTo>
                                <a:pt x="125" y="284"/>
                                <a:pt x="111" y="278"/>
                                <a:pt x="96" y="272"/>
                              </a:cubicBezTo>
                              <a:cubicBezTo>
                                <a:pt x="96" y="272"/>
                                <a:pt x="96" y="271"/>
                                <a:pt x="96" y="270"/>
                              </a:cubicBezTo>
                              <a:cubicBezTo>
                                <a:pt x="88" y="270"/>
                                <a:pt x="81" y="270"/>
                                <a:pt x="73" y="270"/>
                              </a:cubicBezTo>
                              <a:cubicBezTo>
                                <a:pt x="71" y="271"/>
                                <a:pt x="70" y="272"/>
                                <a:pt x="68" y="273"/>
                              </a:cubicBezTo>
                              <a:cubicBezTo>
                                <a:pt x="68" y="272"/>
                                <a:pt x="66" y="271"/>
                                <a:pt x="66" y="269"/>
                              </a:cubicBezTo>
                              <a:cubicBezTo>
                                <a:pt x="66" y="268"/>
                                <a:pt x="67" y="266"/>
                                <a:pt x="66" y="264"/>
                              </a:cubicBezTo>
                              <a:cubicBezTo>
                                <a:pt x="66" y="261"/>
                                <a:pt x="64" y="258"/>
                                <a:pt x="63" y="255"/>
                              </a:cubicBezTo>
                              <a:cubicBezTo>
                                <a:pt x="61" y="252"/>
                                <a:pt x="59" y="249"/>
                                <a:pt x="56" y="247"/>
                              </a:cubicBezTo>
                              <a:cubicBezTo>
                                <a:pt x="54" y="245"/>
                                <a:pt x="50" y="247"/>
                                <a:pt x="48" y="246"/>
                              </a:cubicBezTo>
                              <a:cubicBezTo>
                                <a:pt x="45" y="245"/>
                                <a:pt x="43" y="242"/>
                                <a:pt x="40" y="241"/>
                              </a:cubicBezTo>
                              <a:cubicBezTo>
                                <a:pt x="37" y="240"/>
                                <a:pt x="32" y="241"/>
                                <a:pt x="29" y="239"/>
                              </a:cubicBezTo>
                              <a:cubicBezTo>
                                <a:pt x="28" y="237"/>
                                <a:pt x="30" y="234"/>
                                <a:pt x="29" y="232"/>
                              </a:cubicBezTo>
                              <a:cubicBezTo>
                                <a:pt x="29" y="228"/>
                                <a:pt x="26" y="226"/>
                                <a:pt x="25" y="223"/>
                              </a:cubicBezTo>
                              <a:cubicBezTo>
                                <a:pt x="23" y="218"/>
                                <a:pt x="21" y="213"/>
                                <a:pt x="20" y="208"/>
                              </a:cubicBezTo>
                              <a:cubicBezTo>
                                <a:pt x="19" y="206"/>
                                <a:pt x="22" y="203"/>
                                <a:pt x="21" y="201"/>
                              </a:cubicBezTo>
                              <a:cubicBezTo>
                                <a:pt x="21" y="200"/>
                                <a:pt x="19" y="200"/>
                                <a:pt x="18" y="199"/>
                              </a:cubicBezTo>
                              <a:cubicBezTo>
                                <a:pt x="17" y="198"/>
                                <a:pt x="16" y="196"/>
                                <a:pt x="16" y="194"/>
                              </a:cubicBezTo>
                              <a:cubicBezTo>
                                <a:pt x="15" y="192"/>
                                <a:pt x="15" y="189"/>
                                <a:pt x="15" y="186"/>
                              </a:cubicBezTo>
                              <a:cubicBezTo>
                                <a:pt x="15" y="185"/>
                                <a:pt x="15" y="183"/>
                                <a:pt x="16" y="184"/>
                              </a:cubicBezTo>
                              <a:cubicBezTo>
                                <a:pt x="18" y="184"/>
                                <a:pt x="18" y="187"/>
                                <a:pt x="19" y="187"/>
                              </a:cubicBezTo>
                              <a:cubicBezTo>
                                <a:pt x="20" y="187"/>
                                <a:pt x="19" y="185"/>
                                <a:pt x="19" y="184"/>
                              </a:cubicBezTo>
                              <a:cubicBezTo>
                                <a:pt x="20" y="182"/>
                                <a:pt x="21" y="181"/>
                                <a:pt x="21" y="180"/>
                              </a:cubicBezTo>
                              <a:cubicBezTo>
                                <a:pt x="21" y="179"/>
                                <a:pt x="20" y="178"/>
                                <a:pt x="19" y="178"/>
                              </a:cubicBezTo>
                              <a:cubicBezTo>
                                <a:pt x="18" y="178"/>
                                <a:pt x="18" y="180"/>
                                <a:pt x="18" y="181"/>
                              </a:cubicBezTo>
                              <a:cubicBezTo>
                                <a:pt x="17" y="182"/>
                                <a:pt x="16" y="182"/>
                                <a:pt x="15" y="181"/>
                              </a:cubicBezTo>
                              <a:cubicBezTo>
                                <a:pt x="13" y="180"/>
                                <a:pt x="12" y="179"/>
                                <a:pt x="11" y="178"/>
                              </a:cubicBezTo>
                              <a:cubicBezTo>
                                <a:pt x="10" y="176"/>
                                <a:pt x="9" y="174"/>
                                <a:pt x="7" y="172"/>
                              </a:cubicBezTo>
                              <a:cubicBezTo>
                                <a:pt x="6" y="170"/>
                                <a:pt x="3" y="168"/>
                                <a:pt x="3" y="166"/>
                              </a:cubicBezTo>
                              <a:cubicBezTo>
                                <a:pt x="2" y="163"/>
                                <a:pt x="5" y="161"/>
                                <a:pt x="4" y="158"/>
                              </a:cubicBezTo>
                              <a:cubicBezTo>
                                <a:pt x="4" y="155"/>
                                <a:pt x="1" y="152"/>
                                <a:pt x="0" y="149"/>
                              </a:cubicBezTo>
                              <a:cubicBezTo>
                                <a:pt x="0" y="147"/>
                                <a:pt x="0" y="146"/>
                                <a:pt x="0" y="144"/>
                              </a:cubicBezTo>
                              <a:cubicBezTo>
                                <a:pt x="1" y="141"/>
                                <a:pt x="2" y="138"/>
                                <a:pt x="3" y="135"/>
                              </a:cubicBezTo>
                              <a:cubicBezTo>
                                <a:pt x="4" y="133"/>
                                <a:pt x="5" y="132"/>
                                <a:pt x="5" y="130"/>
                              </a:cubicBezTo>
                              <a:cubicBezTo>
                                <a:pt x="5" y="127"/>
                                <a:pt x="4" y="125"/>
                                <a:pt x="4" y="122"/>
                              </a:cubicBezTo>
                              <a:cubicBezTo>
                                <a:pt x="4" y="121"/>
                                <a:pt x="6" y="119"/>
                                <a:pt x="6" y="118"/>
                              </a:cubicBezTo>
                              <a:cubicBezTo>
                                <a:pt x="6" y="114"/>
                                <a:pt x="5" y="110"/>
                                <a:pt x="5" y="106"/>
                              </a:cubicBezTo>
                              <a:cubicBezTo>
                                <a:pt x="5" y="105"/>
                                <a:pt x="6" y="104"/>
                                <a:pt x="6" y="102"/>
                              </a:cubicBezTo>
                              <a:cubicBezTo>
                                <a:pt x="8" y="98"/>
                                <a:pt x="10" y="94"/>
                                <a:pt x="12" y="90"/>
                              </a:cubicBezTo>
                              <a:cubicBezTo>
                                <a:pt x="14" y="82"/>
                                <a:pt x="17" y="75"/>
                                <a:pt x="19" y="67"/>
                              </a:cubicBezTo>
                              <a:cubicBezTo>
                                <a:pt x="20" y="62"/>
                                <a:pt x="21" y="56"/>
                                <a:pt x="23" y="51"/>
                              </a:cubicBezTo>
                              <a:cubicBezTo>
                                <a:pt x="23" y="50"/>
                                <a:pt x="26" y="50"/>
                                <a:pt x="26" y="49"/>
                              </a:cubicBezTo>
                              <a:cubicBezTo>
                                <a:pt x="26" y="49"/>
                                <a:pt x="24" y="50"/>
                                <a:pt x="24" y="49"/>
                              </a:cubicBezTo>
                              <a:cubicBezTo>
                                <a:pt x="23" y="47"/>
                                <a:pt x="25" y="45"/>
                                <a:pt x="25" y="44"/>
                              </a:cubicBezTo>
                              <a:cubicBezTo>
                                <a:pt x="25" y="40"/>
                                <a:pt x="26" y="36"/>
                                <a:pt x="26" y="32"/>
                              </a:cubicBezTo>
                              <a:cubicBezTo>
                                <a:pt x="25" y="27"/>
                                <a:pt x="22" y="23"/>
                                <a:pt x="21" y="18"/>
                              </a:cubicBezTo>
                              <a:cubicBezTo>
                                <a:pt x="21" y="16"/>
                                <a:pt x="21" y="15"/>
                                <a:pt x="22" y="13"/>
                              </a:cubicBezTo>
                              <a:cubicBezTo>
                                <a:pt x="22" y="12"/>
                                <a:pt x="23" y="11"/>
                                <a:pt x="25" y="11"/>
                              </a:cubicBezTo>
                              <a:cubicBezTo>
                                <a:pt x="26" y="12"/>
                                <a:pt x="27" y="13"/>
                                <a:pt x="29" y="14"/>
                              </a:cubicBezTo>
                              <a:cubicBezTo>
                                <a:pt x="31" y="14"/>
                                <a:pt x="33" y="14"/>
                                <a:pt x="35" y="14"/>
                              </a:cubicBezTo>
                              <a:cubicBezTo>
                                <a:pt x="38" y="14"/>
                                <a:pt x="41" y="13"/>
                                <a:pt x="43" y="14"/>
                              </a:cubicBezTo>
                              <a:cubicBezTo>
                                <a:pt x="45" y="14"/>
                                <a:pt x="45" y="17"/>
                                <a:pt x="46" y="18"/>
                              </a:cubicBezTo>
                              <a:cubicBezTo>
                                <a:pt x="47" y="19"/>
                                <a:pt x="47" y="20"/>
                                <a:pt x="47" y="21"/>
                              </a:cubicBezTo>
                              <a:cubicBezTo>
                                <a:pt x="47" y="22"/>
                                <a:pt x="46" y="24"/>
                                <a:pt x="45" y="25"/>
                              </a:cubicBezTo>
                              <a:cubicBezTo>
                                <a:pt x="44" y="27"/>
                                <a:pt x="42" y="27"/>
                                <a:pt x="41" y="28"/>
                              </a:cubicBezTo>
                              <a:cubicBezTo>
                                <a:pt x="40" y="29"/>
                                <a:pt x="39" y="32"/>
                                <a:pt x="40" y="32"/>
                              </a:cubicBezTo>
                              <a:cubicBezTo>
                                <a:pt x="43" y="31"/>
                                <a:pt x="45" y="29"/>
                                <a:pt x="47" y="27"/>
                              </a:cubicBezTo>
                              <a:cubicBezTo>
                                <a:pt x="48" y="25"/>
                                <a:pt x="50" y="23"/>
                                <a:pt x="50" y="20"/>
                              </a:cubicBezTo>
                              <a:cubicBezTo>
                                <a:pt x="51" y="18"/>
                                <a:pt x="50" y="15"/>
                                <a:pt x="50" y="13"/>
                              </a:cubicBezTo>
                              <a:cubicBezTo>
                                <a:pt x="50" y="10"/>
                                <a:pt x="51" y="8"/>
                                <a:pt x="51" y="6"/>
                              </a:cubicBezTo>
                              <a:cubicBezTo>
                                <a:pt x="50" y="4"/>
                                <a:pt x="50" y="2"/>
                                <a:pt x="49" y="0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26" name="Freeform 2658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1689384" y="1742522"/>
                          <a:ext cx="527927" cy="328113"/>
                        </a:xfrm>
                        <a:custGeom>
                          <a:avLst/>
                          <a:gdLst>
                            <a:gd name="T0" fmla="*/ 460 w 394"/>
                            <a:gd name="T1" fmla="*/ 395 h 329"/>
                            <a:gd name="T2" fmla="*/ 456 w 394"/>
                            <a:gd name="T3" fmla="*/ 369 h 329"/>
                            <a:gd name="T4" fmla="*/ 447 w 394"/>
                            <a:gd name="T5" fmla="*/ 366 h 329"/>
                            <a:gd name="T6" fmla="*/ 432 w 394"/>
                            <a:gd name="T7" fmla="*/ 343 h 329"/>
                            <a:gd name="T8" fmla="*/ 419 w 394"/>
                            <a:gd name="T9" fmla="*/ 311 h 329"/>
                            <a:gd name="T10" fmla="*/ 420 w 394"/>
                            <a:gd name="T11" fmla="*/ 324 h 329"/>
                            <a:gd name="T12" fmla="*/ 416 w 394"/>
                            <a:gd name="T13" fmla="*/ 347 h 329"/>
                            <a:gd name="T14" fmla="*/ 404 w 394"/>
                            <a:gd name="T15" fmla="*/ 309 h 329"/>
                            <a:gd name="T16" fmla="*/ 393 w 394"/>
                            <a:gd name="T17" fmla="*/ 322 h 329"/>
                            <a:gd name="T18" fmla="*/ 357 w 394"/>
                            <a:gd name="T19" fmla="*/ 298 h 329"/>
                            <a:gd name="T20" fmla="*/ 340 w 394"/>
                            <a:gd name="T21" fmla="*/ 285 h 329"/>
                            <a:gd name="T22" fmla="*/ 295 w 394"/>
                            <a:gd name="T23" fmla="*/ 270 h 329"/>
                            <a:gd name="T24" fmla="*/ 274 w 394"/>
                            <a:gd name="T25" fmla="*/ 257 h 329"/>
                            <a:gd name="T26" fmla="*/ 248 w 394"/>
                            <a:gd name="T27" fmla="*/ 256 h 329"/>
                            <a:gd name="T28" fmla="*/ 230 w 394"/>
                            <a:gd name="T29" fmla="*/ 280 h 329"/>
                            <a:gd name="T30" fmla="*/ 188 w 394"/>
                            <a:gd name="T31" fmla="*/ 297 h 329"/>
                            <a:gd name="T32" fmla="*/ 200 w 394"/>
                            <a:gd name="T33" fmla="*/ 271 h 329"/>
                            <a:gd name="T34" fmla="*/ 241 w 394"/>
                            <a:gd name="T35" fmla="*/ 253 h 329"/>
                            <a:gd name="T36" fmla="*/ 219 w 394"/>
                            <a:gd name="T37" fmla="*/ 246 h 329"/>
                            <a:gd name="T38" fmla="*/ 184 w 394"/>
                            <a:gd name="T39" fmla="*/ 281 h 329"/>
                            <a:gd name="T40" fmla="*/ 164 w 394"/>
                            <a:gd name="T41" fmla="*/ 307 h 329"/>
                            <a:gd name="T42" fmla="*/ 129 w 394"/>
                            <a:gd name="T43" fmla="*/ 334 h 329"/>
                            <a:gd name="T44" fmla="*/ 85 w 394"/>
                            <a:gd name="T45" fmla="*/ 357 h 329"/>
                            <a:gd name="T46" fmla="*/ 58 w 394"/>
                            <a:gd name="T47" fmla="*/ 373 h 329"/>
                            <a:gd name="T48" fmla="*/ 16 w 394"/>
                            <a:gd name="T49" fmla="*/ 389 h 329"/>
                            <a:gd name="T50" fmla="*/ 28 w 394"/>
                            <a:gd name="T51" fmla="*/ 371 h 329"/>
                            <a:gd name="T52" fmla="*/ 85 w 394"/>
                            <a:gd name="T53" fmla="*/ 342 h 329"/>
                            <a:gd name="T54" fmla="*/ 115 w 394"/>
                            <a:gd name="T55" fmla="*/ 304 h 329"/>
                            <a:gd name="T56" fmla="*/ 85 w 394"/>
                            <a:gd name="T57" fmla="*/ 319 h 329"/>
                            <a:gd name="T58" fmla="*/ 69 w 394"/>
                            <a:gd name="T59" fmla="*/ 303 h 329"/>
                            <a:gd name="T60" fmla="*/ 47 w 394"/>
                            <a:gd name="T61" fmla="*/ 305 h 329"/>
                            <a:gd name="T62" fmla="*/ 52 w 394"/>
                            <a:gd name="T63" fmla="*/ 275 h 329"/>
                            <a:gd name="T64" fmla="*/ 29 w 394"/>
                            <a:gd name="T65" fmla="*/ 285 h 329"/>
                            <a:gd name="T66" fmla="*/ 30 w 394"/>
                            <a:gd name="T67" fmla="*/ 259 h 329"/>
                            <a:gd name="T68" fmla="*/ 17 w 394"/>
                            <a:gd name="T69" fmla="*/ 250 h 329"/>
                            <a:gd name="T70" fmla="*/ 42 w 394"/>
                            <a:gd name="T71" fmla="*/ 211 h 329"/>
                            <a:gd name="T72" fmla="*/ 91 w 394"/>
                            <a:gd name="T73" fmla="*/ 198 h 329"/>
                            <a:gd name="T74" fmla="*/ 105 w 394"/>
                            <a:gd name="T75" fmla="*/ 173 h 329"/>
                            <a:gd name="T76" fmla="*/ 75 w 394"/>
                            <a:gd name="T77" fmla="*/ 175 h 329"/>
                            <a:gd name="T78" fmla="*/ 41 w 394"/>
                            <a:gd name="T79" fmla="*/ 152 h 329"/>
                            <a:gd name="T80" fmla="*/ 60 w 394"/>
                            <a:gd name="T81" fmla="*/ 133 h 329"/>
                            <a:gd name="T82" fmla="*/ 80 w 394"/>
                            <a:gd name="T83" fmla="*/ 133 h 329"/>
                            <a:gd name="T84" fmla="*/ 110 w 394"/>
                            <a:gd name="T85" fmla="*/ 116 h 329"/>
                            <a:gd name="T86" fmla="*/ 115 w 394"/>
                            <a:gd name="T87" fmla="*/ 116 h 329"/>
                            <a:gd name="T88" fmla="*/ 86 w 394"/>
                            <a:gd name="T89" fmla="*/ 95 h 329"/>
                            <a:gd name="T90" fmla="*/ 111 w 394"/>
                            <a:gd name="T91" fmla="*/ 60 h 329"/>
                            <a:gd name="T92" fmla="*/ 165 w 394"/>
                            <a:gd name="T93" fmla="*/ 24 h 329"/>
                            <a:gd name="T94" fmla="*/ 217 w 394"/>
                            <a:gd name="T95" fmla="*/ 12 h 329"/>
                            <a:gd name="T96" fmla="*/ 236 w 394"/>
                            <a:gd name="T97" fmla="*/ 17 h 329"/>
                            <a:gd name="T98" fmla="*/ 255 w 394"/>
                            <a:gd name="T99" fmla="*/ 19 h 329"/>
                            <a:gd name="T100" fmla="*/ 282 w 394"/>
                            <a:gd name="T101" fmla="*/ 20 h 329"/>
                            <a:gd name="T102" fmla="*/ 321 w 394"/>
                            <a:gd name="T103" fmla="*/ 23 h 329"/>
                            <a:gd name="T104" fmla="*/ 374 w 394"/>
                            <a:gd name="T105" fmla="*/ 38 h 329"/>
                            <a:gd name="T106" fmla="*/ 423 w 394"/>
                            <a:gd name="T107" fmla="*/ 46 h 329"/>
                            <a:gd name="T108" fmla="*/ 367 w 394"/>
                            <a:gd name="T109" fmla="*/ 269 h 329"/>
                            <a:gd name="T110" fmla="*/ 388 w 394"/>
                            <a:gd name="T111" fmla="*/ 304 h 329"/>
                            <a:gd name="T112" fmla="*/ 409 w 394"/>
                            <a:gd name="T113" fmla="*/ 289 h 329"/>
                            <a:gd name="T114" fmla="*/ 431 w 394"/>
                            <a:gd name="T115" fmla="*/ 304 h 329"/>
                            <a:gd name="T116" fmla="*/ 453 w 394"/>
                            <a:gd name="T117" fmla="*/ 355 h 329"/>
                            <a:gd name="T118" fmla="*/ 0 60000 65536"/>
                            <a:gd name="T119" fmla="*/ 0 60000 65536"/>
                            <a:gd name="T120" fmla="*/ 0 60000 65536"/>
                            <a:gd name="T121" fmla="*/ 0 60000 65536"/>
                            <a:gd name="T122" fmla="*/ 0 60000 65536"/>
                            <a:gd name="T123" fmla="*/ 0 60000 65536"/>
                            <a:gd name="T124" fmla="*/ 0 60000 65536"/>
                            <a:gd name="T125" fmla="*/ 0 60000 65536"/>
                            <a:gd name="T126" fmla="*/ 0 60000 65536"/>
                            <a:gd name="T127" fmla="*/ 0 60000 65536"/>
                            <a:gd name="T128" fmla="*/ 0 60000 65536"/>
                            <a:gd name="T129" fmla="*/ 0 60000 65536"/>
                            <a:gd name="T130" fmla="*/ 0 60000 65536"/>
                            <a:gd name="T131" fmla="*/ 0 60000 65536"/>
                            <a:gd name="T132" fmla="*/ 0 60000 65536"/>
                            <a:gd name="T133" fmla="*/ 0 60000 65536"/>
                            <a:gd name="T134" fmla="*/ 0 60000 65536"/>
                            <a:gd name="T135" fmla="*/ 0 60000 65536"/>
                            <a:gd name="T136" fmla="*/ 0 60000 65536"/>
                            <a:gd name="T137" fmla="*/ 0 60000 65536"/>
                            <a:gd name="T138" fmla="*/ 0 60000 65536"/>
                            <a:gd name="T139" fmla="*/ 0 60000 65536"/>
                            <a:gd name="T140" fmla="*/ 0 60000 65536"/>
                            <a:gd name="T141" fmla="*/ 0 60000 65536"/>
                            <a:gd name="T142" fmla="*/ 0 60000 65536"/>
                            <a:gd name="T143" fmla="*/ 0 60000 65536"/>
                            <a:gd name="T144" fmla="*/ 0 60000 65536"/>
                            <a:gd name="T145" fmla="*/ 0 60000 65536"/>
                            <a:gd name="T146" fmla="*/ 0 60000 65536"/>
                            <a:gd name="T147" fmla="*/ 0 60000 65536"/>
                            <a:gd name="T148" fmla="*/ 0 60000 65536"/>
                            <a:gd name="T149" fmla="*/ 0 60000 65536"/>
                            <a:gd name="T150" fmla="*/ 0 60000 65536"/>
                            <a:gd name="T151" fmla="*/ 0 60000 65536"/>
                            <a:gd name="T152" fmla="*/ 0 60000 65536"/>
                            <a:gd name="T153" fmla="*/ 0 60000 65536"/>
                            <a:gd name="T154" fmla="*/ 0 60000 65536"/>
                            <a:gd name="T155" fmla="*/ 0 60000 65536"/>
                            <a:gd name="T156" fmla="*/ 0 60000 65536"/>
                            <a:gd name="T157" fmla="*/ 0 60000 65536"/>
                            <a:gd name="T158" fmla="*/ 0 60000 65536"/>
                            <a:gd name="T159" fmla="*/ 0 60000 65536"/>
                            <a:gd name="T160" fmla="*/ 0 60000 65536"/>
                            <a:gd name="T161" fmla="*/ 0 60000 65536"/>
                            <a:gd name="T162" fmla="*/ 0 60000 65536"/>
                            <a:gd name="T163" fmla="*/ 0 60000 65536"/>
                            <a:gd name="T164" fmla="*/ 0 60000 65536"/>
                            <a:gd name="T165" fmla="*/ 0 60000 65536"/>
                            <a:gd name="T166" fmla="*/ 0 60000 65536"/>
                            <a:gd name="T167" fmla="*/ 0 60000 65536"/>
                            <a:gd name="T168" fmla="*/ 0 60000 65536"/>
                            <a:gd name="T169" fmla="*/ 0 60000 65536"/>
                            <a:gd name="T170" fmla="*/ 0 60000 65536"/>
                            <a:gd name="T171" fmla="*/ 0 60000 65536"/>
                            <a:gd name="T172" fmla="*/ 0 60000 65536"/>
                            <a:gd name="T173" fmla="*/ 0 60000 65536"/>
                            <a:gd name="T174" fmla="*/ 0 60000 65536"/>
                            <a:gd name="T175" fmla="*/ 0 60000 65536"/>
                            <a:gd name="T176" fmla="*/ 0 60000 65536"/>
                            <a:gd name="T177" fmla="*/ 0 w 394"/>
                            <a:gd name="T178" fmla="*/ 0 h 329"/>
                            <a:gd name="T179" fmla="*/ 394 w 394"/>
                            <a:gd name="T180" fmla="*/ 329 h 329"/>
                          </a:gdLst>
                          <a:ahLst/>
                          <a:cxnLst>
                            <a:cxn ang="T118">
                              <a:pos x="T0" y="T1"/>
                            </a:cxn>
                            <a:cxn ang="T119">
                              <a:pos x="T2" y="T3"/>
                            </a:cxn>
                            <a:cxn ang="T120">
                              <a:pos x="T4" y="T5"/>
                            </a:cxn>
                            <a:cxn ang="T121">
                              <a:pos x="T6" y="T7"/>
                            </a:cxn>
                            <a:cxn ang="T122">
                              <a:pos x="T8" y="T9"/>
                            </a:cxn>
                            <a:cxn ang="T123">
                              <a:pos x="T10" y="T11"/>
                            </a:cxn>
                            <a:cxn ang="T124">
                              <a:pos x="T12" y="T13"/>
                            </a:cxn>
                            <a:cxn ang="T125">
                              <a:pos x="T14" y="T15"/>
                            </a:cxn>
                            <a:cxn ang="T126">
                              <a:pos x="T16" y="T17"/>
                            </a:cxn>
                            <a:cxn ang="T127">
                              <a:pos x="T18" y="T19"/>
                            </a:cxn>
                            <a:cxn ang="T128">
                              <a:pos x="T20" y="T21"/>
                            </a:cxn>
                            <a:cxn ang="T129">
                              <a:pos x="T22" y="T23"/>
                            </a:cxn>
                            <a:cxn ang="T130">
                              <a:pos x="T24" y="T25"/>
                            </a:cxn>
                            <a:cxn ang="T131">
                              <a:pos x="T26" y="T27"/>
                            </a:cxn>
                            <a:cxn ang="T132">
                              <a:pos x="T28" y="T29"/>
                            </a:cxn>
                            <a:cxn ang="T133">
                              <a:pos x="T30" y="T31"/>
                            </a:cxn>
                            <a:cxn ang="T134">
                              <a:pos x="T32" y="T33"/>
                            </a:cxn>
                            <a:cxn ang="T135">
                              <a:pos x="T34" y="T35"/>
                            </a:cxn>
                            <a:cxn ang="T136">
                              <a:pos x="T36" y="T37"/>
                            </a:cxn>
                            <a:cxn ang="T137">
                              <a:pos x="T38" y="T39"/>
                            </a:cxn>
                            <a:cxn ang="T138">
                              <a:pos x="T40" y="T41"/>
                            </a:cxn>
                            <a:cxn ang="T139">
                              <a:pos x="T42" y="T43"/>
                            </a:cxn>
                            <a:cxn ang="T140">
                              <a:pos x="T44" y="T45"/>
                            </a:cxn>
                            <a:cxn ang="T141">
                              <a:pos x="T46" y="T47"/>
                            </a:cxn>
                            <a:cxn ang="T142">
                              <a:pos x="T48" y="T49"/>
                            </a:cxn>
                            <a:cxn ang="T143">
                              <a:pos x="T50" y="T51"/>
                            </a:cxn>
                            <a:cxn ang="T144">
                              <a:pos x="T52" y="T53"/>
                            </a:cxn>
                            <a:cxn ang="T145">
                              <a:pos x="T54" y="T55"/>
                            </a:cxn>
                            <a:cxn ang="T146">
                              <a:pos x="T56" y="T57"/>
                            </a:cxn>
                            <a:cxn ang="T147">
                              <a:pos x="T58" y="T59"/>
                            </a:cxn>
                            <a:cxn ang="T148">
                              <a:pos x="T60" y="T61"/>
                            </a:cxn>
                            <a:cxn ang="T149">
                              <a:pos x="T62" y="T63"/>
                            </a:cxn>
                            <a:cxn ang="T150">
                              <a:pos x="T64" y="T65"/>
                            </a:cxn>
                            <a:cxn ang="T151">
                              <a:pos x="T66" y="T67"/>
                            </a:cxn>
                            <a:cxn ang="T152">
                              <a:pos x="T68" y="T69"/>
                            </a:cxn>
                            <a:cxn ang="T153">
                              <a:pos x="T70" y="T71"/>
                            </a:cxn>
                            <a:cxn ang="T154">
                              <a:pos x="T72" y="T73"/>
                            </a:cxn>
                            <a:cxn ang="T155">
                              <a:pos x="T74" y="T75"/>
                            </a:cxn>
                            <a:cxn ang="T156">
                              <a:pos x="T76" y="T77"/>
                            </a:cxn>
                            <a:cxn ang="T157">
                              <a:pos x="T78" y="T79"/>
                            </a:cxn>
                            <a:cxn ang="T158">
                              <a:pos x="T80" y="T81"/>
                            </a:cxn>
                            <a:cxn ang="T159">
                              <a:pos x="T82" y="T83"/>
                            </a:cxn>
                            <a:cxn ang="T160">
                              <a:pos x="T84" y="T85"/>
                            </a:cxn>
                            <a:cxn ang="T161">
                              <a:pos x="T86" y="T87"/>
                            </a:cxn>
                            <a:cxn ang="T162">
                              <a:pos x="T88" y="T89"/>
                            </a:cxn>
                            <a:cxn ang="T163">
                              <a:pos x="T90" y="T91"/>
                            </a:cxn>
                            <a:cxn ang="T164">
                              <a:pos x="T92" y="T93"/>
                            </a:cxn>
                            <a:cxn ang="T165">
                              <a:pos x="T94" y="T95"/>
                            </a:cxn>
                            <a:cxn ang="T166">
                              <a:pos x="T96" y="T97"/>
                            </a:cxn>
                            <a:cxn ang="T167">
                              <a:pos x="T98" y="T99"/>
                            </a:cxn>
                            <a:cxn ang="T168">
                              <a:pos x="T100" y="T101"/>
                            </a:cxn>
                            <a:cxn ang="T169">
                              <a:pos x="T102" y="T103"/>
                            </a:cxn>
                            <a:cxn ang="T170">
                              <a:pos x="T104" y="T105"/>
                            </a:cxn>
                            <a:cxn ang="T171">
                              <a:pos x="T106" y="T107"/>
                            </a:cxn>
                            <a:cxn ang="T172">
                              <a:pos x="T108" y="T109"/>
                            </a:cxn>
                            <a:cxn ang="T173">
                              <a:pos x="T110" y="T111"/>
                            </a:cxn>
                            <a:cxn ang="T174">
                              <a:pos x="T112" y="T113"/>
                            </a:cxn>
                            <a:cxn ang="T175">
                              <a:pos x="T114" y="T115"/>
                            </a:cxn>
                            <a:cxn ang="T176">
                              <a:pos x="T116" y="T117"/>
                            </a:cxn>
                          </a:cxnLst>
                          <a:rect l="T177" t="T178" r="T179" b="T180"/>
                          <a:pathLst>
                            <a:path w="394" h="329">
                              <a:moveTo>
                                <a:pt x="394" y="307"/>
                              </a:moveTo>
                              <a:cubicBezTo>
                                <a:pt x="393" y="309"/>
                                <a:pt x="391" y="310"/>
                                <a:pt x="391" y="312"/>
                              </a:cubicBezTo>
                              <a:cubicBezTo>
                                <a:pt x="389" y="316"/>
                                <a:pt x="389" y="319"/>
                                <a:pt x="388" y="323"/>
                              </a:cubicBezTo>
                              <a:cubicBezTo>
                                <a:pt x="387" y="325"/>
                                <a:pt x="386" y="328"/>
                                <a:pt x="384" y="329"/>
                              </a:cubicBezTo>
                              <a:cubicBezTo>
                                <a:pt x="382" y="329"/>
                                <a:pt x="380" y="328"/>
                                <a:pt x="380" y="327"/>
                              </a:cubicBezTo>
                              <a:cubicBezTo>
                                <a:pt x="379" y="324"/>
                                <a:pt x="381" y="322"/>
                                <a:pt x="381" y="320"/>
                              </a:cubicBezTo>
                              <a:cubicBezTo>
                                <a:pt x="381" y="317"/>
                                <a:pt x="382" y="314"/>
                                <a:pt x="382" y="311"/>
                              </a:cubicBezTo>
                              <a:cubicBezTo>
                                <a:pt x="382" y="309"/>
                                <a:pt x="383" y="307"/>
                                <a:pt x="381" y="307"/>
                              </a:cubicBezTo>
                              <a:cubicBezTo>
                                <a:pt x="378" y="306"/>
                                <a:pt x="375" y="307"/>
                                <a:pt x="373" y="309"/>
                              </a:cubicBezTo>
                              <a:cubicBezTo>
                                <a:pt x="371" y="310"/>
                                <a:pt x="372" y="314"/>
                                <a:pt x="370" y="315"/>
                              </a:cubicBezTo>
                              <a:cubicBezTo>
                                <a:pt x="369" y="316"/>
                                <a:pt x="368" y="313"/>
                                <a:pt x="368" y="312"/>
                              </a:cubicBezTo>
                              <a:cubicBezTo>
                                <a:pt x="369" y="309"/>
                                <a:pt x="372" y="308"/>
                                <a:pt x="373" y="305"/>
                              </a:cubicBezTo>
                              <a:cubicBezTo>
                                <a:pt x="373" y="303"/>
                                <a:pt x="370" y="302"/>
                                <a:pt x="369" y="300"/>
                              </a:cubicBezTo>
                              <a:cubicBezTo>
                                <a:pt x="369" y="299"/>
                                <a:pt x="370" y="297"/>
                                <a:pt x="369" y="295"/>
                              </a:cubicBezTo>
                              <a:cubicBezTo>
                                <a:pt x="368" y="292"/>
                                <a:pt x="366" y="291"/>
                                <a:pt x="364" y="289"/>
                              </a:cubicBezTo>
                              <a:cubicBezTo>
                                <a:pt x="363" y="288"/>
                                <a:pt x="361" y="288"/>
                                <a:pt x="361" y="286"/>
                              </a:cubicBezTo>
                              <a:cubicBezTo>
                                <a:pt x="360" y="284"/>
                                <a:pt x="361" y="281"/>
                                <a:pt x="361" y="278"/>
                              </a:cubicBezTo>
                              <a:cubicBezTo>
                                <a:pt x="360" y="276"/>
                                <a:pt x="360" y="274"/>
                                <a:pt x="359" y="273"/>
                              </a:cubicBezTo>
                              <a:cubicBezTo>
                                <a:pt x="358" y="271"/>
                                <a:pt x="355" y="271"/>
                                <a:pt x="354" y="269"/>
                              </a:cubicBezTo>
                              <a:cubicBezTo>
                                <a:pt x="352" y="266"/>
                                <a:pt x="351" y="262"/>
                                <a:pt x="350" y="259"/>
                              </a:cubicBezTo>
                              <a:cubicBezTo>
                                <a:pt x="349" y="257"/>
                                <a:pt x="351" y="254"/>
                                <a:pt x="350" y="252"/>
                              </a:cubicBezTo>
                              <a:cubicBezTo>
                                <a:pt x="350" y="251"/>
                                <a:pt x="347" y="251"/>
                                <a:pt x="347" y="252"/>
                              </a:cubicBezTo>
                              <a:cubicBezTo>
                                <a:pt x="346" y="256"/>
                                <a:pt x="346" y="260"/>
                                <a:pt x="347" y="264"/>
                              </a:cubicBezTo>
                              <a:cubicBezTo>
                                <a:pt x="348" y="266"/>
                                <a:pt x="349" y="268"/>
                                <a:pt x="351" y="270"/>
                              </a:cubicBezTo>
                              <a:cubicBezTo>
                                <a:pt x="352" y="272"/>
                                <a:pt x="355" y="272"/>
                                <a:pt x="356" y="274"/>
                              </a:cubicBezTo>
                              <a:cubicBezTo>
                                <a:pt x="357" y="275"/>
                                <a:pt x="358" y="277"/>
                                <a:pt x="357" y="279"/>
                              </a:cubicBezTo>
                              <a:cubicBezTo>
                                <a:pt x="356" y="281"/>
                                <a:pt x="354" y="284"/>
                                <a:pt x="352" y="286"/>
                              </a:cubicBezTo>
                              <a:cubicBezTo>
                                <a:pt x="351" y="287"/>
                                <a:pt x="349" y="288"/>
                                <a:pt x="347" y="289"/>
                              </a:cubicBezTo>
                              <a:cubicBezTo>
                                <a:pt x="346" y="289"/>
                                <a:pt x="345" y="288"/>
                                <a:pt x="345" y="288"/>
                              </a:cubicBezTo>
                              <a:cubicBezTo>
                                <a:pt x="345" y="282"/>
                                <a:pt x="349" y="276"/>
                                <a:pt x="347" y="271"/>
                              </a:cubicBezTo>
                              <a:cubicBezTo>
                                <a:pt x="347" y="268"/>
                                <a:pt x="342" y="269"/>
                                <a:pt x="340" y="267"/>
                              </a:cubicBezTo>
                              <a:cubicBezTo>
                                <a:pt x="338" y="264"/>
                                <a:pt x="339" y="260"/>
                                <a:pt x="337" y="257"/>
                              </a:cubicBezTo>
                              <a:cubicBezTo>
                                <a:pt x="336" y="256"/>
                                <a:pt x="333" y="257"/>
                                <a:pt x="332" y="257"/>
                              </a:cubicBezTo>
                              <a:cubicBezTo>
                                <a:pt x="330" y="257"/>
                                <a:pt x="326" y="256"/>
                                <a:pt x="327" y="257"/>
                              </a:cubicBezTo>
                              <a:cubicBezTo>
                                <a:pt x="328" y="260"/>
                                <a:pt x="335" y="261"/>
                                <a:pt x="335" y="264"/>
                              </a:cubicBezTo>
                              <a:cubicBezTo>
                                <a:pt x="335" y="267"/>
                                <a:pt x="331" y="268"/>
                                <a:pt x="328" y="268"/>
                              </a:cubicBezTo>
                              <a:cubicBezTo>
                                <a:pt x="325" y="268"/>
                                <a:pt x="321" y="266"/>
                                <a:pt x="318" y="264"/>
                              </a:cubicBezTo>
                              <a:cubicBezTo>
                                <a:pt x="316" y="262"/>
                                <a:pt x="316" y="259"/>
                                <a:pt x="315" y="257"/>
                              </a:cubicBezTo>
                              <a:cubicBezTo>
                                <a:pt x="313" y="255"/>
                                <a:pt x="311" y="254"/>
                                <a:pt x="309" y="253"/>
                              </a:cubicBezTo>
                              <a:cubicBezTo>
                                <a:pt x="306" y="251"/>
                                <a:pt x="300" y="252"/>
                                <a:pt x="298" y="248"/>
                              </a:cubicBezTo>
                              <a:cubicBezTo>
                                <a:pt x="297" y="245"/>
                                <a:pt x="302" y="242"/>
                                <a:pt x="303" y="239"/>
                              </a:cubicBezTo>
                              <a:cubicBezTo>
                                <a:pt x="304" y="237"/>
                                <a:pt x="305" y="233"/>
                                <a:pt x="303" y="233"/>
                              </a:cubicBezTo>
                              <a:cubicBezTo>
                                <a:pt x="299" y="234"/>
                                <a:pt x="298" y="240"/>
                                <a:pt x="293" y="241"/>
                              </a:cubicBezTo>
                              <a:cubicBezTo>
                                <a:pt x="290" y="242"/>
                                <a:pt x="287" y="239"/>
                                <a:pt x="284" y="237"/>
                              </a:cubicBezTo>
                              <a:cubicBezTo>
                                <a:pt x="283" y="236"/>
                                <a:pt x="283" y="234"/>
                                <a:pt x="281" y="233"/>
                              </a:cubicBezTo>
                              <a:cubicBezTo>
                                <a:pt x="279" y="232"/>
                                <a:pt x="276" y="231"/>
                                <a:pt x="273" y="231"/>
                              </a:cubicBezTo>
                              <a:cubicBezTo>
                                <a:pt x="266" y="230"/>
                                <a:pt x="258" y="233"/>
                                <a:pt x="252" y="231"/>
                              </a:cubicBezTo>
                              <a:cubicBezTo>
                                <a:pt x="249" y="231"/>
                                <a:pt x="247" y="228"/>
                                <a:pt x="246" y="225"/>
                              </a:cubicBezTo>
                              <a:cubicBezTo>
                                <a:pt x="245" y="224"/>
                                <a:pt x="249" y="222"/>
                                <a:pt x="248" y="221"/>
                              </a:cubicBezTo>
                              <a:cubicBezTo>
                                <a:pt x="246" y="220"/>
                                <a:pt x="245" y="223"/>
                                <a:pt x="243" y="223"/>
                              </a:cubicBezTo>
                              <a:cubicBezTo>
                                <a:pt x="241" y="223"/>
                                <a:pt x="239" y="222"/>
                                <a:pt x="237" y="221"/>
                              </a:cubicBezTo>
                              <a:cubicBezTo>
                                <a:pt x="234" y="219"/>
                                <a:pt x="230" y="218"/>
                                <a:pt x="229" y="214"/>
                              </a:cubicBezTo>
                              <a:cubicBezTo>
                                <a:pt x="229" y="212"/>
                                <a:pt x="238" y="210"/>
                                <a:pt x="236" y="208"/>
                              </a:cubicBezTo>
                              <a:cubicBezTo>
                                <a:pt x="232" y="206"/>
                                <a:pt x="228" y="211"/>
                                <a:pt x="224" y="211"/>
                              </a:cubicBezTo>
                              <a:cubicBezTo>
                                <a:pt x="221" y="211"/>
                                <a:pt x="218" y="209"/>
                                <a:pt x="215" y="209"/>
                              </a:cubicBezTo>
                              <a:cubicBezTo>
                                <a:pt x="212" y="210"/>
                                <a:pt x="208" y="211"/>
                                <a:pt x="207" y="213"/>
                              </a:cubicBezTo>
                              <a:cubicBezTo>
                                <a:pt x="206" y="215"/>
                                <a:pt x="210" y="215"/>
                                <a:pt x="210" y="217"/>
                              </a:cubicBezTo>
                              <a:cubicBezTo>
                                <a:pt x="211" y="219"/>
                                <a:pt x="212" y="221"/>
                                <a:pt x="210" y="223"/>
                              </a:cubicBezTo>
                              <a:cubicBezTo>
                                <a:pt x="208" y="227"/>
                                <a:pt x="204" y="231"/>
                                <a:pt x="200" y="233"/>
                              </a:cubicBezTo>
                              <a:cubicBezTo>
                                <a:pt x="198" y="234"/>
                                <a:pt x="194" y="232"/>
                                <a:pt x="192" y="233"/>
                              </a:cubicBezTo>
                              <a:cubicBezTo>
                                <a:pt x="190" y="234"/>
                                <a:pt x="189" y="237"/>
                                <a:pt x="187" y="238"/>
                              </a:cubicBezTo>
                              <a:cubicBezTo>
                                <a:pt x="181" y="243"/>
                                <a:pt x="175" y="249"/>
                                <a:pt x="167" y="252"/>
                              </a:cubicBezTo>
                              <a:cubicBezTo>
                                <a:pt x="164" y="253"/>
                                <a:pt x="160" y="253"/>
                                <a:pt x="157" y="252"/>
                              </a:cubicBezTo>
                              <a:cubicBezTo>
                                <a:pt x="156" y="251"/>
                                <a:pt x="156" y="248"/>
                                <a:pt x="157" y="247"/>
                              </a:cubicBezTo>
                              <a:cubicBezTo>
                                <a:pt x="160" y="244"/>
                                <a:pt x="165" y="244"/>
                                <a:pt x="168" y="242"/>
                              </a:cubicBezTo>
                              <a:cubicBezTo>
                                <a:pt x="170" y="241"/>
                                <a:pt x="173" y="239"/>
                                <a:pt x="171" y="238"/>
                              </a:cubicBezTo>
                              <a:cubicBezTo>
                                <a:pt x="168" y="236"/>
                                <a:pt x="163" y="242"/>
                                <a:pt x="162" y="239"/>
                              </a:cubicBezTo>
                              <a:cubicBezTo>
                                <a:pt x="161" y="234"/>
                                <a:pt x="165" y="230"/>
                                <a:pt x="167" y="226"/>
                              </a:cubicBezTo>
                              <a:cubicBezTo>
                                <a:pt x="169" y="224"/>
                                <a:pt x="171" y="221"/>
                                <a:pt x="173" y="219"/>
                              </a:cubicBezTo>
                              <a:cubicBezTo>
                                <a:pt x="176" y="216"/>
                                <a:pt x="178" y="214"/>
                                <a:pt x="181" y="212"/>
                              </a:cubicBezTo>
                              <a:cubicBezTo>
                                <a:pt x="184" y="210"/>
                                <a:pt x="186" y="208"/>
                                <a:pt x="189" y="208"/>
                              </a:cubicBezTo>
                              <a:cubicBezTo>
                                <a:pt x="193" y="207"/>
                                <a:pt x="197" y="211"/>
                                <a:pt x="201" y="211"/>
                              </a:cubicBezTo>
                              <a:cubicBezTo>
                                <a:pt x="202" y="210"/>
                                <a:pt x="198" y="208"/>
                                <a:pt x="198" y="206"/>
                              </a:cubicBezTo>
                              <a:cubicBezTo>
                                <a:pt x="198" y="205"/>
                                <a:pt x="201" y="203"/>
                                <a:pt x="199" y="202"/>
                              </a:cubicBezTo>
                              <a:cubicBezTo>
                                <a:pt x="198" y="200"/>
                                <a:pt x="195" y="201"/>
                                <a:pt x="193" y="202"/>
                              </a:cubicBezTo>
                              <a:cubicBezTo>
                                <a:pt x="190" y="203"/>
                                <a:pt x="186" y="204"/>
                                <a:pt x="183" y="205"/>
                              </a:cubicBezTo>
                              <a:cubicBezTo>
                                <a:pt x="177" y="209"/>
                                <a:pt x="171" y="212"/>
                                <a:pt x="165" y="217"/>
                              </a:cubicBezTo>
                              <a:cubicBezTo>
                                <a:pt x="163" y="219"/>
                                <a:pt x="163" y="224"/>
                                <a:pt x="160" y="227"/>
                              </a:cubicBezTo>
                              <a:cubicBezTo>
                                <a:pt x="159" y="228"/>
                                <a:pt x="155" y="225"/>
                                <a:pt x="154" y="227"/>
                              </a:cubicBezTo>
                              <a:cubicBezTo>
                                <a:pt x="152" y="228"/>
                                <a:pt x="155" y="232"/>
                                <a:pt x="154" y="234"/>
                              </a:cubicBezTo>
                              <a:cubicBezTo>
                                <a:pt x="151" y="237"/>
                                <a:pt x="147" y="238"/>
                                <a:pt x="144" y="240"/>
                              </a:cubicBezTo>
                              <a:cubicBezTo>
                                <a:pt x="142" y="241"/>
                                <a:pt x="140" y="241"/>
                                <a:pt x="139" y="242"/>
                              </a:cubicBezTo>
                              <a:cubicBezTo>
                                <a:pt x="136" y="245"/>
                                <a:pt x="131" y="247"/>
                                <a:pt x="130" y="252"/>
                              </a:cubicBezTo>
                              <a:cubicBezTo>
                                <a:pt x="130" y="255"/>
                                <a:pt x="135" y="254"/>
                                <a:pt x="137" y="256"/>
                              </a:cubicBezTo>
                              <a:cubicBezTo>
                                <a:pt x="138" y="257"/>
                                <a:pt x="140" y="259"/>
                                <a:pt x="139" y="260"/>
                              </a:cubicBezTo>
                              <a:cubicBezTo>
                                <a:pt x="137" y="262"/>
                                <a:pt x="133" y="261"/>
                                <a:pt x="130" y="263"/>
                              </a:cubicBezTo>
                              <a:cubicBezTo>
                                <a:pt x="127" y="265"/>
                                <a:pt x="125" y="269"/>
                                <a:pt x="122" y="271"/>
                              </a:cubicBezTo>
                              <a:cubicBezTo>
                                <a:pt x="117" y="274"/>
                                <a:pt x="112" y="276"/>
                                <a:pt x="108" y="278"/>
                              </a:cubicBezTo>
                              <a:cubicBezTo>
                                <a:pt x="104" y="280"/>
                                <a:pt x="99" y="281"/>
                                <a:pt x="96" y="283"/>
                              </a:cubicBezTo>
                              <a:cubicBezTo>
                                <a:pt x="94" y="285"/>
                                <a:pt x="94" y="288"/>
                                <a:pt x="92" y="289"/>
                              </a:cubicBezTo>
                              <a:cubicBezTo>
                                <a:pt x="88" y="292"/>
                                <a:pt x="84" y="293"/>
                                <a:pt x="80" y="295"/>
                              </a:cubicBezTo>
                              <a:cubicBezTo>
                                <a:pt x="77" y="296"/>
                                <a:pt x="74" y="295"/>
                                <a:pt x="71" y="297"/>
                              </a:cubicBezTo>
                              <a:cubicBezTo>
                                <a:pt x="70" y="297"/>
                                <a:pt x="71" y="299"/>
                                <a:pt x="70" y="300"/>
                              </a:cubicBezTo>
                              <a:cubicBezTo>
                                <a:pt x="68" y="301"/>
                                <a:pt x="65" y="299"/>
                                <a:pt x="63" y="300"/>
                              </a:cubicBezTo>
                              <a:cubicBezTo>
                                <a:pt x="60" y="302"/>
                                <a:pt x="60" y="306"/>
                                <a:pt x="57" y="308"/>
                              </a:cubicBezTo>
                              <a:cubicBezTo>
                                <a:pt x="54" y="310"/>
                                <a:pt x="51" y="310"/>
                                <a:pt x="48" y="311"/>
                              </a:cubicBezTo>
                              <a:cubicBezTo>
                                <a:pt x="42" y="312"/>
                                <a:pt x="37" y="313"/>
                                <a:pt x="31" y="315"/>
                              </a:cubicBezTo>
                              <a:cubicBezTo>
                                <a:pt x="29" y="316"/>
                                <a:pt x="27" y="318"/>
                                <a:pt x="24" y="318"/>
                              </a:cubicBezTo>
                              <a:cubicBezTo>
                                <a:pt x="23" y="318"/>
                                <a:pt x="22" y="314"/>
                                <a:pt x="21" y="315"/>
                              </a:cubicBezTo>
                              <a:cubicBezTo>
                                <a:pt x="18" y="317"/>
                                <a:pt x="16" y="322"/>
                                <a:pt x="13" y="324"/>
                              </a:cubicBezTo>
                              <a:cubicBezTo>
                                <a:pt x="11" y="324"/>
                                <a:pt x="10" y="321"/>
                                <a:pt x="9" y="321"/>
                              </a:cubicBezTo>
                              <a:cubicBezTo>
                                <a:pt x="6" y="322"/>
                                <a:pt x="4" y="328"/>
                                <a:pt x="0" y="327"/>
                              </a:cubicBezTo>
                              <a:cubicBezTo>
                                <a:pt x="0" y="325"/>
                                <a:pt x="1" y="322"/>
                                <a:pt x="3" y="320"/>
                              </a:cubicBezTo>
                              <a:cubicBezTo>
                                <a:pt x="9" y="315"/>
                                <a:pt x="16" y="312"/>
                                <a:pt x="23" y="309"/>
                              </a:cubicBezTo>
                              <a:cubicBezTo>
                                <a:pt x="26" y="307"/>
                                <a:pt x="30" y="309"/>
                                <a:pt x="34" y="308"/>
                              </a:cubicBezTo>
                              <a:cubicBezTo>
                                <a:pt x="37" y="307"/>
                                <a:pt x="39" y="305"/>
                                <a:pt x="42" y="303"/>
                              </a:cubicBezTo>
                              <a:cubicBezTo>
                                <a:pt x="47" y="300"/>
                                <a:pt x="52" y="297"/>
                                <a:pt x="57" y="294"/>
                              </a:cubicBezTo>
                              <a:cubicBezTo>
                                <a:pt x="62" y="291"/>
                                <a:pt x="67" y="288"/>
                                <a:pt x="71" y="285"/>
                              </a:cubicBezTo>
                              <a:cubicBezTo>
                                <a:pt x="74" y="283"/>
                                <a:pt x="78" y="282"/>
                                <a:pt x="80" y="279"/>
                              </a:cubicBezTo>
                              <a:cubicBezTo>
                                <a:pt x="82" y="275"/>
                                <a:pt x="83" y="271"/>
                                <a:pt x="85" y="267"/>
                              </a:cubicBezTo>
                              <a:cubicBezTo>
                                <a:pt x="87" y="264"/>
                                <a:pt x="88" y="261"/>
                                <a:pt x="90" y="258"/>
                              </a:cubicBezTo>
                              <a:cubicBezTo>
                                <a:pt x="92" y="256"/>
                                <a:pt x="99" y="253"/>
                                <a:pt x="96" y="253"/>
                              </a:cubicBezTo>
                              <a:cubicBezTo>
                                <a:pt x="91" y="254"/>
                                <a:pt x="86" y="258"/>
                                <a:pt x="80" y="259"/>
                              </a:cubicBezTo>
                              <a:cubicBezTo>
                                <a:pt x="79" y="259"/>
                                <a:pt x="78" y="256"/>
                                <a:pt x="76" y="256"/>
                              </a:cubicBezTo>
                              <a:cubicBezTo>
                                <a:pt x="74" y="256"/>
                                <a:pt x="73" y="258"/>
                                <a:pt x="72" y="260"/>
                              </a:cubicBezTo>
                              <a:cubicBezTo>
                                <a:pt x="71" y="262"/>
                                <a:pt x="73" y="265"/>
                                <a:pt x="71" y="266"/>
                              </a:cubicBezTo>
                              <a:cubicBezTo>
                                <a:pt x="70" y="267"/>
                                <a:pt x="68" y="265"/>
                                <a:pt x="67" y="263"/>
                              </a:cubicBezTo>
                              <a:cubicBezTo>
                                <a:pt x="66" y="260"/>
                                <a:pt x="67" y="256"/>
                                <a:pt x="65" y="253"/>
                              </a:cubicBezTo>
                              <a:cubicBezTo>
                                <a:pt x="63" y="252"/>
                                <a:pt x="61" y="254"/>
                                <a:pt x="59" y="254"/>
                              </a:cubicBezTo>
                              <a:cubicBezTo>
                                <a:pt x="58" y="254"/>
                                <a:pt x="59" y="252"/>
                                <a:pt x="58" y="252"/>
                              </a:cubicBezTo>
                              <a:cubicBezTo>
                                <a:pt x="53" y="253"/>
                                <a:pt x="49" y="256"/>
                                <a:pt x="45" y="258"/>
                              </a:cubicBezTo>
                              <a:cubicBezTo>
                                <a:pt x="43" y="259"/>
                                <a:pt x="41" y="262"/>
                                <a:pt x="38" y="262"/>
                              </a:cubicBezTo>
                              <a:cubicBezTo>
                                <a:pt x="37" y="263"/>
                                <a:pt x="35" y="262"/>
                                <a:pt x="35" y="261"/>
                              </a:cubicBezTo>
                              <a:cubicBezTo>
                                <a:pt x="35" y="258"/>
                                <a:pt x="37" y="256"/>
                                <a:pt x="39" y="254"/>
                              </a:cubicBezTo>
                              <a:cubicBezTo>
                                <a:pt x="40" y="252"/>
                                <a:pt x="42" y="251"/>
                                <a:pt x="42" y="249"/>
                              </a:cubicBezTo>
                              <a:cubicBezTo>
                                <a:pt x="41" y="247"/>
                                <a:pt x="37" y="247"/>
                                <a:pt x="38" y="245"/>
                              </a:cubicBezTo>
                              <a:cubicBezTo>
                                <a:pt x="38" y="242"/>
                                <a:pt x="43" y="241"/>
                                <a:pt x="44" y="239"/>
                              </a:cubicBezTo>
                              <a:cubicBezTo>
                                <a:pt x="45" y="236"/>
                                <a:pt x="43" y="232"/>
                                <a:pt x="43" y="229"/>
                              </a:cubicBezTo>
                              <a:cubicBezTo>
                                <a:pt x="44" y="227"/>
                                <a:pt x="48" y="224"/>
                                <a:pt x="47" y="222"/>
                              </a:cubicBezTo>
                              <a:cubicBezTo>
                                <a:pt x="46" y="220"/>
                                <a:pt x="43" y="223"/>
                                <a:pt x="41" y="225"/>
                              </a:cubicBezTo>
                              <a:cubicBezTo>
                                <a:pt x="39" y="227"/>
                                <a:pt x="40" y="231"/>
                                <a:pt x="38" y="233"/>
                              </a:cubicBezTo>
                              <a:cubicBezTo>
                                <a:pt x="34" y="236"/>
                                <a:pt x="29" y="237"/>
                                <a:pt x="24" y="237"/>
                              </a:cubicBezTo>
                              <a:cubicBezTo>
                                <a:pt x="22" y="237"/>
                                <a:pt x="22" y="234"/>
                                <a:pt x="20" y="233"/>
                              </a:cubicBezTo>
                              <a:cubicBezTo>
                                <a:pt x="18" y="230"/>
                                <a:pt x="15" y="229"/>
                                <a:pt x="14" y="225"/>
                              </a:cubicBezTo>
                              <a:cubicBezTo>
                                <a:pt x="13" y="222"/>
                                <a:pt x="14" y="217"/>
                                <a:pt x="17" y="215"/>
                              </a:cubicBezTo>
                              <a:cubicBezTo>
                                <a:pt x="19" y="213"/>
                                <a:pt x="23" y="215"/>
                                <a:pt x="25" y="216"/>
                              </a:cubicBezTo>
                              <a:cubicBezTo>
                                <a:pt x="28" y="217"/>
                                <a:pt x="31" y="220"/>
                                <a:pt x="33" y="219"/>
                              </a:cubicBezTo>
                              <a:cubicBezTo>
                                <a:pt x="35" y="219"/>
                                <a:pt x="35" y="215"/>
                                <a:pt x="33" y="214"/>
                              </a:cubicBezTo>
                              <a:cubicBezTo>
                                <a:pt x="30" y="212"/>
                                <a:pt x="26" y="214"/>
                                <a:pt x="22" y="213"/>
                              </a:cubicBezTo>
                              <a:cubicBezTo>
                                <a:pt x="19" y="212"/>
                                <a:pt x="15" y="211"/>
                                <a:pt x="14" y="208"/>
                              </a:cubicBezTo>
                              <a:cubicBezTo>
                                <a:pt x="12" y="205"/>
                                <a:pt x="12" y="201"/>
                                <a:pt x="14" y="198"/>
                              </a:cubicBezTo>
                              <a:cubicBezTo>
                                <a:pt x="17" y="192"/>
                                <a:pt x="22" y="187"/>
                                <a:pt x="27" y="183"/>
                              </a:cubicBezTo>
                              <a:cubicBezTo>
                                <a:pt x="29" y="181"/>
                                <a:pt x="33" y="184"/>
                                <a:pt x="35" y="182"/>
                              </a:cubicBezTo>
                              <a:cubicBezTo>
                                <a:pt x="37" y="180"/>
                                <a:pt x="34" y="178"/>
                                <a:pt x="35" y="176"/>
                              </a:cubicBezTo>
                              <a:cubicBezTo>
                                <a:pt x="37" y="173"/>
                                <a:pt x="40" y="169"/>
                                <a:pt x="43" y="169"/>
                              </a:cubicBezTo>
                              <a:cubicBezTo>
                                <a:pt x="47" y="168"/>
                                <a:pt x="50" y="172"/>
                                <a:pt x="54" y="172"/>
                              </a:cubicBezTo>
                              <a:cubicBezTo>
                                <a:pt x="57" y="171"/>
                                <a:pt x="60" y="168"/>
                                <a:pt x="63" y="167"/>
                              </a:cubicBezTo>
                              <a:cubicBezTo>
                                <a:pt x="67" y="165"/>
                                <a:pt x="71" y="166"/>
                                <a:pt x="76" y="165"/>
                              </a:cubicBezTo>
                              <a:cubicBezTo>
                                <a:pt x="79" y="164"/>
                                <a:pt x="82" y="163"/>
                                <a:pt x="84" y="160"/>
                              </a:cubicBezTo>
                              <a:cubicBezTo>
                                <a:pt x="86" y="157"/>
                                <a:pt x="85" y="154"/>
                                <a:pt x="84" y="151"/>
                              </a:cubicBezTo>
                              <a:cubicBezTo>
                                <a:pt x="84" y="149"/>
                                <a:pt x="80" y="149"/>
                                <a:pt x="80" y="147"/>
                              </a:cubicBezTo>
                              <a:cubicBezTo>
                                <a:pt x="82" y="145"/>
                                <a:pt x="86" y="146"/>
                                <a:pt x="88" y="144"/>
                              </a:cubicBezTo>
                              <a:cubicBezTo>
                                <a:pt x="90" y="142"/>
                                <a:pt x="90" y="139"/>
                                <a:pt x="88" y="139"/>
                              </a:cubicBezTo>
                              <a:cubicBezTo>
                                <a:pt x="85" y="138"/>
                                <a:pt x="81" y="141"/>
                                <a:pt x="78" y="142"/>
                              </a:cubicBezTo>
                              <a:cubicBezTo>
                                <a:pt x="74" y="144"/>
                                <a:pt x="71" y="148"/>
                                <a:pt x="67" y="149"/>
                              </a:cubicBezTo>
                              <a:cubicBezTo>
                                <a:pt x="66" y="149"/>
                                <a:pt x="65" y="146"/>
                                <a:pt x="63" y="146"/>
                              </a:cubicBezTo>
                              <a:cubicBezTo>
                                <a:pt x="58" y="144"/>
                                <a:pt x="53" y="144"/>
                                <a:pt x="47" y="144"/>
                              </a:cubicBezTo>
                              <a:cubicBezTo>
                                <a:pt x="42" y="144"/>
                                <a:pt x="36" y="146"/>
                                <a:pt x="32" y="144"/>
                              </a:cubicBezTo>
                              <a:cubicBezTo>
                                <a:pt x="29" y="142"/>
                                <a:pt x="29" y="138"/>
                                <a:pt x="29" y="136"/>
                              </a:cubicBezTo>
                              <a:cubicBezTo>
                                <a:pt x="29" y="133"/>
                                <a:pt x="36" y="130"/>
                                <a:pt x="34" y="127"/>
                              </a:cubicBezTo>
                              <a:cubicBezTo>
                                <a:pt x="30" y="123"/>
                                <a:pt x="23" y="125"/>
                                <a:pt x="19" y="122"/>
                              </a:cubicBezTo>
                              <a:cubicBezTo>
                                <a:pt x="17" y="121"/>
                                <a:pt x="20" y="120"/>
                                <a:pt x="21" y="119"/>
                              </a:cubicBezTo>
                              <a:cubicBezTo>
                                <a:pt x="28" y="116"/>
                                <a:pt x="36" y="113"/>
                                <a:pt x="44" y="111"/>
                              </a:cubicBezTo>
                              <a:cubicBezTo>
                                <a:pt x="46" y="110"/>
                                <a:pt x="48" y="112"/>
                                <a:pt x="50" y="111"/>
                              </a:cubicBezTo>
                              <a:cubicBezTo>
                                <a:pt x="51" y="110"/>
                                <a:pt x="50" y="107"/>
                                <a:pt x="52" y="107"/>
                              </a:cubicBezTo>
                              <a:cubicBezTo>
                                <a:pt x="58" y="105"/>
                                <a:pt x="65" y="103"/>
                                <a:pt x="71" y="103"/>
                              </a:cubicBezTo>
                              <a:cubicBezTo>
                                <a:pt x="73" y="103"/>
                                <a:pt x="72" y="106"/>
                                <a:pt x="71" y="106"/>
                              </a:cubicBezTo>
                              <a:cubicBezTo>
                                <a:pt x="70" y="108"/>
                                <a:pt x="64" y="111"/>
                                <a:pt x="67" y="111"/>
                              </a:cubicBezTo>
                              <a:cubicBezTo>
                                <a:pt x="74" y="114"/>
                                <a:pt x="83" y="114"/>
                                <a:pt x="91" y="112"/>
                              </a:cubicBezTo>
                              <a:cubicBezTo>
                                <a:pt x="93" y="112"/>
                                <a:pt x="94" y="109"/>
                                <a:pt x="94" y="107"/>
                              </a:cubicBezTo>
                              <a:cubicBezTo>
                                <a:pt x="93" y="103"/>
                                <a:pt x="88" y="102"/>
                                <a:pt x="88" y="98"/>
                              </a:cubicBezTo>
                              <a:cubicBezTo>
                                <a:pt x="87" y="97"/>
                                <a:pt x="91" y="97"/>
                                <a:pt x="92" y="97"/>
                              </a:cubicBezTo>
                              <a:cubicBezTo>
                                <a:pt x="95" y="99"/>
                                <a:pt x="96" y="103"/>
                                <a:pt x="99" y="104"/>
                              </a:cubicBezTo>
                              <a:cubicBezTo>
                                <a:pt x="103" y="106"/>
                                <a:pt x="108" y="107"/>
                                <a:pt x="113" y="107"/>
                              </a:cubicBezTo>
                              <a:cubicBezTo>
                                <a:pt x="114" y="107"/>
                                <a:pt x="116" y="104"/>
                                <a:pt x="114" y="103"/>
                              </a:cubicBezTo>
                              <a:cubicBezTo>
                                <a:pt x="109" y="100"/>
                                <a:pt x="102" y="100"/>
                                <a:pt x="96" y="97"/>
                              </a:cubicBezTo>
                              <a:cubicBezTo>
                                <a:pt x="95" y="97"/>
                                <a:pt x="94" y="95"/>
                                <a:pt x="93" y="94"/>
                              </a:cubicBezTo>
                              <a:cubicBezTo>
                                <a:pt x="88" y="93"/>
                                <a:pt x="82" y="96"/>
                                <a:pt x="77" y="93"/>
                              </a:cubicBezTo>
                              <a:cubicBezTo>
                                <a:pt x="75" y="92"/>
                                <a:pt x="78" y="89"/>
                                <a:pt x="77" y="87"/>
                              </a:cubicBezTo>
                              <a:cubicBezTo>
                                <a:pt x="76" y="84"/>
                                <a:pt x="74" y="81"/>
                                <a:pt x="72" y="79"/>
                              </a:cubicBezTo>
                              <a:cubicBezTo>
                                <a:pt x="68" y="74"/>
                                <a:pt x="59" y="72"/>
                                <a:pt x="58" y="65"/>
                              </a:cubicBezTo>
                              <a:cubicBezTo>
                                <a:pt x="57" y="61"/>
                                <a:pt x="62" y="57"/>
                                <a:pt x="66" y="55"/>
                              </a:cubicBezTo>
                              <a:cubicBezTo>
                                <a:pt x="68" y="53"/>
                                <a:pt x="70" y="55"/>
                                <a:pt x="73" y="55"/>
                              </a:cubicBezTo>
                              <a:cubicBezTo>
                                <a:pt x="79" y="54"/>
                                <a:pt x="86" y="53"/>
                                <a:pt x="93" y="50"/>
                              </a:cubicBezTo>
                              <a:cubicBezTo>
                                <a:pt x="97" y="49"/>
                                <a:pt x="102" y="47"/>
                                <a:pt x="106" y="43"/>
                              </a:cubicBezTo>
                              <a:cubicBezTo>
                                <a:pt x="108" y="41"/>
                                <a:pt x="108" y="37"/>
                                <a:pt x="110" y="35"/>
                              </a:cubicBezTo>
                              <a:cubicBezTo>
                                <a:pt x="113" y="31"/>
                                <a:pt x="118" y="28"/>
                                <a:pt x="123" y="25"/>
                              </a:cubicBezTo>
                              <a:cubicBezTo>
                                <a:pt x="128" y="23"/>
                                <a:pt x="133" y="22"/>
                                <a:pt x="138" y="20"/>
                              </a:cubicBezTo>
                              <a:cubicBezTo>
                                <a:pt x="141" y="19"/>
                                <a:pt x="144" y="17"/>
                                <a:pt x="148" y="15"/>
                              </a:cubicBezTo>
                              <a:cubicBezTo>
                                <a:pt x="152" y="13"/>
                                <a:pt x="155" y="10"/>
                                <a:pt x="160" y="9"/>
                              </a:cubicBezTo>
                              <a:cubicBezTo>
                                <a:pt x="163" y="9"/>
                                <a:pt x="167" y="11"/>
                                <a:pt x="170" y="11"/>
                              </a:cubicBezTo>
                              <a:cubicBezTo>
                                <a:pt x="174" y="11"/>
                                <a:pt x="178" y="11"/>
                                <a:pt x="181" y="10"/>
                              </a:cubicBezTo>
                              <a:cubicBezTo>
                                <a:pt x="186" y="7"/>
                                <a:pt x="188" y="1"/>
                                <a:pt x="192" y="0"/>
                              </a:cubicBezTo>
                              <a:cubicBezTo>
                                <a:pt x="196" y="0"/>
                                <a:pt x="201" y="2"/>
                                <a:pt x="202" y="6"/>
                              </a:cubicBezTo>
                              <a:cubicBezTo>
                                <a:pt x="203" y="8"/>
                                <a:pt x="198" y="9"/>
                                <a:pt x="197" y="11"/>
                              </a:cubicBezTo>
                              <a:cubicBezTo>
                                <a:pt x="196" y="12"/>
                                <a:pt x="196" y="14"/>
                                <a:pt x="197" y="14"/>
                              </a:cubicBezTo>
                              <a:cubicBezTo>
                                <a:pt x="199" y="14"/>
                                <a:pt x="201" y="11"/>
                                <a:pt x="203" y="10"/>
                              </a:cubicBezTo>
                              <a:cubicBezTo>
                                <a:pt x="206" y="8"/>
                                <a:pt x="208" y="6"/>
                                <a:pt x="210" y="6"/>
                              </a:cubicBezTo>
                              <a:cubicBezTo>
                                <a:pt x="212" y="6"/>
                                <a:pt x="213" y="7"/>
                                <a:pt x="213" y="8"/>
                              </a:cubicBezTo>
                              <a:cubicBezTo>
                                <a:pt x="214" y="11"/>
                                <a:pt x="211" y="15"/>
                                <a:pt x="213" y="16"/>
                              </a:cubicBezTo>
                              <a:cubicBezTo>
                                <a:pt x="216" y="17"/>
                                <a:pt x="219" y="12"/>
                                <a:pt x="222" y="11"/>
                              </a:cubicBezTo>
                              <a:cubicBezTo>
                                <a:pt x="226" y="10"/>
                                <a:pt x="230" y="11"/>
                                <a:pt x="234" y="11"/>
                              </a:cubicBezTo>
                              <a:cubicBezTo>
                                <a:pt x="236" y="11"/>
                                <a:pt x="238" y="11"/>
                                <a:pt x="239" y="13"/>
                              </a:cubicBezTo>
                              <a:cubicBezTo>
                                <a:pt x="239" y="14"/>
                                <a:pt x="235" y="15"/>
                                <a:pt x="235" y="17"/>
                              </a:cubicBezTo>
                              <a:cubicBezTo>
                                <a:pt x="236" y="19"/>
                                <a:pt x="240" y="17"/>
                                <a:pt x="241" y="18"/>
                              </a:cubicBezTo>
                              <a:cubicBezTo>
                                <a:pt x="244" y="20"/>
                                <a:pt x="244" y="25"/>
                                <a:pt x="247" y="25"/>
                              </a:cubicBezTo>
                              <a:cubicBezTo>
                                <a:pt x="251" y="25"/>
                                <a:pt x="253" y="20"/>
                                <a:pt x="257" y="19"/>
                              </a:cubicBezTo>
                              <a:cubicBezTo>
                                <a:pt x="261" y="18"/>
                                <a:pt x="265" y="19"/>
                                <a:pt x="268" y="19"/>
                              </a:cubicBezTo>
                              <a:cubicBezTo>
                                <a:pt x="271" y="20"/>
                                <a:pt x="274" y="20"/>
                                <a:pt x="276" y="21"/>
                              </a:cubicBezTo>
                              <a:cubicBezTo>
                                <a:pt x="280" y="23"/>
                                <a:pt x="283" y="25"/>
                                <a:pt x="286" y="26"/>
                              </a:cubicBezTo>
                              <a:cubicBezTo>
                                <a:pt x="292" y="27"/>
                                <a:pt x="298" y="26"/>
                                <a:pt x="304" y="27"/>
                              </a:cubicBezTo>
                              <a:cubicBezTo>
                                <a:pt x="307" y="28"/>
                                <a:pt x="309" y="32"/>
                                <a:pt x="312" y="32"/>
                              </a:cubicBezTo>
                              <a:cubicBezTo>
                                <a:pt x="317" y="32"/>
                                <a:pt x="320" y="27"/>
                                <a:pt x="325" y="27"/>
                              </a:cubicBezTo>
                              <a:cubicBezTo>
                                <a:pt x="329" y="26"/>
                                <a:pt x="332" y="28"/>
                                <a:pt x="336" y="29"/>
                              </a:cubicBezTo>
                              <a:cubicBezTo>
                                <a:pt x="339" y="30"/>
                                <a:pt x="343" y="32"/>
                                <a:pt x="346" y="33"/>
                              </a:cubicBezTo>
                              <a:cubicBezTo>
                                <a:pt x="348" y="35"/>
                                <a:pt x="351" y="36"/>
                                <a:pt x="353" y="38"/>
                              </a:cubicBezTo>
                              <a:lnTo>
                                <a:pt x="291" y="226"/>
                              </a:lnTo>
                              <a:lnTo>
                                <a:pt x="296" y="229"/>
                              </a:lnTo>
                              <a:cubicBezTo>
                                <a:pt x="298" y="230"/>
                                <a:pt x="298" y="232"/>
                                <a:pt x="300" y="231"/>
                              </a:cubicBezTo>
                              <a:cubicBezTo>
                                <a:pt x="302" y="230"/>
                                <a:pt x="303" y="223"/>
                                <a:pt x="306" y="224"/>
                              </a:cubicBezTo>
                              <a:lnTo>
                                <a:pt x="312" y="227"/>
                              </a:lnTo>
                              <a:cubicBezTo>
                                <a:pt x="315" y="228"/>
                                <a:pt x="313" y="233"/>
                                <a:pt x="314" y="236"/>
                              </a:cubicBezTo>
                              <a:cubicBezTo>
                                <a:pt x="316" y="241"/>
                                <a:pt x="319" y="245"/>
                                <a:pt x="321" y="249"/>
                              </a:cubicBezTo>
                              <a:cubicBezTo>
                                <a:pt x="322" y="251"/>
                                <a:pt x="322" y="253"/>
                                <a:pt x="324" y="253"/>
                              </a:cubicBezTo>
                              <a:cubicBezTo>
                                <a:pt x="327" y="254"/>
                                <a:pt x="327" y="251"/>
                                <a:pt x="329" y="250"/>
                              </a:cubicBezTo>
                              <a:cubicBezTo>
                                <a:pt x="331" y="249"/>
                                <a:pt x="335" y="252"/>
                                <a:pt x="336" y="250"/>
                              </a:cubicBezTo>
                              <a:cubicBezTo>
                                <a:pt x="336" y="247"/>
                                <a:pt x="338" y="245"/>
                                <a:pt x="341" y="244"/>
                              </a:cubicBezTo>
                              <a:cubicBezTo>
                                <a:pt x="342" y="244"/>
                                <a:pt x="341" y="242"/>
                                <a:pt x="341" y="241"/>
                              </a:cubicBezTo>
                              <a:cubicBezTo>
                                <a:pt x="344" y="239"/>
                                <a:pt x="348" y="237"/>
                                <a:pt x="351" y="238"/>
                              </a:cubicBezTo>
                              <a:cubicBezTo>
                                <a:pt x="353" y="238"/>
                                <a:pt x="354" y="241"/>
                                <a:pt x="355" y="244"/>
                              </a:cubicBezTo>
                              <a:cubicBezTo>
                                <a:pt x="356" y="246"/>
                                <a:pt x="353" y="248"/>
                                <a:pt x="354" y="250"/>
                              </a:cubicBezTo>
                              <a:cubicBezTo>
                                <a:pt x="355" y="252"/>
                                <a:pt x="358" y="251"/>
                                <a:pt x="360" y="253"/>
                              </a:cubicBezTo>
                              <a:cubicBezTo>
                                <a:pt x="361" y="255"/>
                                <a:pt x="361" y="259"/>
                                <a:pt x="363" y="261"/>
                              </a:cubicBezTo>
                              <a:cubicBezTo>
                                <a:pt x="365" y="265"/>
                                <a:pt x="370" y="267"/>
                                <a:pt x="372" y="271"/>
                              </a:cubicBezTo>
                              <a:cubicBezTo>
                                <a:pt x="373" y="274"/>
                                <a:pt x="370" y="279"/>
                                <a:pt x="372" y="283"/>
                              </a:cubicBezTo>
                              <a:cubicBezTo>
                                <a:pt x="374" y="287"/>
                                <a:pt x="375" y="292"/>
                                <a:pt x="378" y="296"/>
                              </a:cubicBezTo>
                              <a:cubicBezTo>
                                <a:pt x="380" y="300"/>
                                <a:pt x="385" y="299"/>
                                <a:pt x="388" y="302"/>
                              </a:cubicBezTo>
                              <a:cubicBezTo>
                                <a:pt x="389" y="302"/>
                                <a:pt x="388" y="304"/>
                                <a:pt x="389" y="305"/>
                              </a:cubicBezTo>
                              <a:cubicBezTo>
                                <a:pt x="390" y="307"/>
                                <a:pt x="392" y="307"/>
                                <a:pt x="394" y="307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27" name="Freeform 3206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61773" y="3614013"/>
                          <a:ext cx="3356" cy="4984"/>
                        </a:xfrm>
                        <a:custGeom>
                          <a:avLst/>
                          <a:gdLst>
                            <a:gd name="T0" fmla="*/ 3 w 2"/>
                            <a:gd name="T1" fmla="*/ 4 h 5"/>
                            <a:gd name="T2" fmla="*/ 3 w 2"/>
                            <a:gd name="T3" fmla="*/ 6 h 5"/>
                            <a:gd name="T4" fmla="*/ 0 w 2"/>
                            <a:gd name="T5" fmla="*/ 4 h 5"/>
                            <a:gd name="T6" fmla="*/ 0 w 2"/>
                            <a:gd name="T7" fmla="*/ 0 h 5"/>
                            <a:gd name="T8" fmla="*/ 3 w 2"/>
                            <a:gd name="T9" fmla="*/ 4 h 5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2"/>
                            <a:gd name="T16" fmla="*/ 0 h 5"/>
                            <a:gd name="T17" fmla="*/ 2 w 2"/>
                            <a:gd name="T18" fmla="*/ 5 h 5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2" h="5">
                              <a:moveTo>
                                <a:pt x="2" y="3"/>
                              </a:moveTo>
                              <a:cubicBezTo>
                                <a:pt x="2" y="4"/>
                                <a:pt x="2" y="5"/>
                                <a:pt x="2" y="5"/>
                              </a:cubicBezTo>
                              <a:cubicBezTo>
                                <a:pt x="1" y="5"/>
                                <a:pt x="0" y="4"/>
                                <a:pt x="0" y="3"/>
                              </a:cubicBezTo>
                              <a:cubicBezTo>
                                <a:pt x="0" y="2"/>
                                <a:pt x="0" y="0"/>
                                <a:pt x="0" y="0"/>
                              </a:cubicBezTo>
                              <a:cubicBezTo>
                                <a:pt x="1" y="0"/>
                                <a:pt x="2" y="2"/>
                                <a:pt x="2" y="3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28" name="Freeform 3207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61773" y="3586601"/>
                          <a:ext cx="5593" cy="2493"/>
                        </a:xfrm>
                        <a:custGeom>
                          <a:avLst/>
                          <a:gdLst>
                            <a:gd name="T0" fmla="*/ 3 w 4"/>
                            <a:gd name="T1" fmla="*/ 3 h 3"/>
                            <a:gd name="T2" fmla="*/ 0 w 4"/>
                            <a:gd name="T3" fmla="*/ 3 h 3"/>
                            <a:gd name="T4" fmla="*/ 1 w 4"/>
                            <a:gd name="T5" fmla="*/ 1 h 3"/>
                            <a:gd name="T6" fmla="*/ 5 w 4"/>
                            <a:gd name="T7" fmla="*/ 1 h 3"/>
                            <a:gd name="T8" fmla="*/ 3 w 4"/>
                            <a:gd name="T9" fmla="*/ 3 h 3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4"/>
                            <a:gd name="T16" fmla="*/ 0 h 3"/>
                            <a:gd name="T17" fmla="*/ 4 w 4"/>
                            <a:gd name="T18" fmla="*/ 3 h 3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4" h="3">
                              <a:moveTo>
                                <a:pt x="2" y="3"/>
                              </a:moveTo>
                              <a:cubicBezTo>
                                <a:pt x="1" y="3"/>
                                <a:pt x="0" y="3"/>
                                <a:pt x="0" y="3"/>
                              </a:cubicBezTo>
                              <a:cubicBezTo>
                                <a:pt x="0" y="2"/>
                                <a:pt x="1" y="1"/>
                                <a:pt x="1" y="1"/>
                              </a:cubicBezTo>
                              <a:cubicBezTo>
                                <a:pt x="2" y="1"/>
                                <a:pt x="4" y="0"/>
                                <a:pt x="4" y="1"/>
                              </a:cubicBezTo>
                              <a:cubicBezTo>
                                <a:pt x="4" y="2"/>
                                <a:pt x="3" y="2"/>
                                <a:pt x="2" y="3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29" name="Freeform 3208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55061" y="3584109"/>
                          <a:ext cx="6712" cy="4984"/>
                        </a:xfrm>
                        <a:custGeom>
                          <a:avLst/>
                          <a:gdLst>
                            <a:gd name="T0" fmla="*/ 2 w 5"/>
                            <a:gd name="T1" fmla="*/ 5 h 5"/>
                            <a:gd name="T2" fmla="*/ 0 w 5"/>
                            <a:gd name="T3" fmla="*/ 5 h 5"/>
                            <a:gd name="T4" fmla="*/ 2 w 5"/>
                            <a:gd name="T5" fmla="*/ 2 h 5"/>
                            <a:gd name="T6" fmla="*/ 6 w 5"/>
                            <a:gd name="T7" fmla="*/ 1 h 5"/>
                            <a:gd name="T8" fmla="*/ 2 w 5"/>
                            <a:gd name="T9" fmla="*/ 5 h 5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5"/>
                            <a:gd name="T16" fmla="*/ 0 h 5"/>
                            <a:gd name="T17" fmla="*/ 5 w 5"/>
                            <a:gd name="T18" fmla="*/ 5 h 5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5" h="5">
                              <a:moveTo>
                                <a:pt x="2" y="4"/>
                              </a:moveTo>
                              <a:cubicBezTo>
                                <a:pt x="2" y="4"/>
                                <a:pt x="0" y="5"/>
                                <a:pt x="0" y="4"/>
                              </a:cubicBezTo>
                              <a:cubicBezTo>
                                <a:pt x="0" y="3"/>
                                <a:pt x="1" y="2"/>
                                <a:pt x="2" y="2"/>
                              </a:cubicBezTo>
                              <a:cubicBezTo>
                                <a:pt x="3" y="1"/>
                                <a:pt x="5" y="0"/>
                                <a:pt x="5" y="1"/>
                              </a:cubicBezTo>
                              <a:cubicBezTo>
                                <a:pt x="5" y="2"/>
                                <a:pt x="4" y="3"/>
                                <a:pt x="2" y="4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30" name="Freeform 3209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58416" y="3653885"/>
                          <a:ext cx="5593" cy="4984"/>
                        </a:xfrm>
                        <a:custGeom>
                          <a:avLst/>
                          <a:gdLst>
                            <a:gd name="T0" fmla="*/ 4 w 4"/>
                            <a:gd name="T1" fmla="*/ 4 h 5"/>
                            <a:gd name="T2" fmla="*/ 4 w 4"/>
                            <a:gd name="T3" fmla="*/ 6 h 5"/>
                            <a:gd name="T4" fmla="*/ 1 w 4"/>
                            <a:gd name="T5" fmla="*/ 4 h 5"/>
                            <a:gd name="T6" fmla="*/ 1 w 4"/>
                            <a:gd name="T7" fmla="*/ 1 h 5"/>
                            <a:gd name="T8" fmla="*/ 4 w 4"/>
                            <a:gd name="T9" fmla="*/ 4 h 5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4"/>
                            <a:gd name="T16" fmla="*/ 0 h 5"/>
                            <a:gd name="T17" fmla="*/ 4 w 4"/>
                            <a:gd name="T18" fmla="*/ 5 h 5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4" h="5">
                              <a:moveTo>
                                <a:pt x="3" y="3"/>
                              </a:moveTo>
                              <a:cubicBezTo>
                                <a:pt x="3" y="3"/>
                                <a:pt x="4" y="4"/>
                                <a:pt x="3" y="5"/>
                              </a:cubicBezTo>
                              <a:cubicBezTo>
                                <a:pt x="2" y="5"/>
                                <a:pt x="2" y="4"/>
                                <a:pt x="1" y="3"/>
                              </a:cubicBezTo>
                              <a:cubicBezTo>
                                <a:pt x="1" y="2"/>
                                <a:pt x="0" y="1"/>
                                <a:pt x="1" y="1"/>
                              </a:cubicBezTo>
                              <a:cubicBezTo>
                                <a:pt x="2" y="0"/>
                                <a:pt x="2" y="2"/>
                                <a:pt x="3" y="3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31" name="Freeform 3210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68483" y="3713693"/>
                          <a:ext cx="4474" cy="4984"/>
                        </a:xfrm>
                        <a:custGeom>
                          <a:avLst/>
                          <a:gdLst>
                            <a:gd name="T0" fmla="*/ 3 w 3"/>
                            <a:gd name="T1" fmla="*/ 4 h 5"/>
                            <a:gd name="T2" fmla="*/ 0 w 3"/>
                            <a:gd name="T3" fmla="*/ 5 h 5"/>
                            <a:gd name="T4" fmla="*/ 1 w 3"/>
                            <a:gd name="T5" fmla="*/ 2 h 5"/>
                            <a:gd name="T6" fmla="*/ 3 w 3"/>
                            <a:gd name="T7" fmla="*/ 0 h 5"/>
                            <a:gd name="T8" fmla="*/ 3 w 3"/>
                            <a:gd name="T9" fmla="*/ 4 h 5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3"/>
                            <a:gd name="T16" fmla="*/ 0 h 5"/>
                            <a:gd name="T17" fmla="*/ 3 w 3"/>
                            <a:gd name="T18" fmla="*/ 5 h 5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3" h="5">
                              <a:moveTo>
                                <a:pt x="2" y="3"/>
                              </a:moveTo>
                              <a:cubicBezTo>
                                <a:pt x="1" y="4"/>
                                <a:pt x="1" y="5"/>
                                <a:pt x="0" y="4"/>
                              </a:cubicBezTo>
                              <a:cubicBezTo>
                                <a:pt x="0" y="4"/>
                                <a:pt x="0" y="3"/>
                                <a:pt x="1" y="2"/>
                              </a:cubicBezTo>
                              <a:cubicBezTo>
                                <a:pt x="1" y="1"/>
                                <a:pt x="2" y="0"/>
                                <a:pt x="2" y="0"/>
                              </a:cubicBezTo>
                              <a:cubicBezTo>
                                <a:pt x="3" y="1"/>
                                <a:pt x="2" y="2"/>
                                <a:pt x="2" y="3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32" name="Freeform 3211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57298" y="3686281"/>
                          <a:ext cx="3356" cy="4154"/>
                        </a:xfrm>
                        <a:custGeom>
                          <a:avLst/>
                          <a:gdLst>
                            <a:gd name="T0" fmla="*/ 3 w 3"/>
                            <a:gd name="T1" fmla="*/ 3 h 4"/>
                            <a:gd name="T2" fmla="*/ 3 w 3"/>
                            <a:gd name="T3" fmla="*/ 5 h 4"/>
                            <a:gd name="T4" fmla="*/ 1 w 3"/>
                            <a:gd name="T5" fmla="*/ 3 h 4"/>
                            <a:gd name="T6" fmla="*/ 1 w 3"/>
                            <a:gd name="T7" fmla="*/ 0 h 4"/>
                            <a:gd name="T8" fmla="*/ 3 w 3"/>
                            <a:gd name="T9" fmla="*/ 3 h 4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3"/>
                            <a:gd name="T16" fmla="*/ 0 h 4"/>
                            <a:gd name="T17" fmla="*/ 3 w 3"/>
                            <a:gd name="T18" fmla="*/ 4 h 4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3" h="4">
                              <a:moveTo>
                                <a:pt x="3" y="2"/>
                              </a:moveTo>
                              <a:cubicBezTo>
                                <a:pt x="3" y="3"/>
                                <a:pt x="3" y="4"/>
                                <a:pt x="3" y="4"/>
                              </a:cubicBezTo>
                              <a:cubicBezTo>
                                <a:pt x="2" y="4"/>
                                <a:pt x="2" y="3"/>
                                <a:pt x="1" y="2"/>
                              </a:cubicBezTo>
                              <a:cubicBezTo>
                                <a:pt x="1" y="1"/>
                                <a:pt x="0" y="0"/>
                                <a:pt x="1" y="0"/>
                              </a:cubicBezTo>
                              <a:cubicBezTo>
                                <a:pt x="2" y="0"/>
                                <a:pt x="2" y="1"/>
                                <a:pt x="3" y="2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33" name="Freeform 3212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77432" y="3701233"/>
                          <a:ext cx="4474" cy="4984"/>
                        </a:xfrm>
                        <a:custGeom>
                          <a:avLst/>
                          <a:gdLst>
                            <a:gd name="T0" fmla="*/ 3 w 4"/>
                            <a:gd name="T1" fmla="*/ 4 h 5"/>
                            <a:gd name="T2" fmla="*/ 3 w 4"/>
                            <a:gd name="T3" fmla="*/ 6 h 5"/>
                            <a:gd name="T4" fmla="*/ 2 w 4"/>
                            <a:gd name="T5" fmla="*/ 4 h 5"/>
                            <a:gd name="T6" fmla="*/ 1 w 4"/>
                            <a:gd name="T7" fmla="*/ 1 h 5"/>
                            <a:gd name="T8" fmla="*/ 3 w 4"/>
                            <a:gd name="T9" fmla="*/ 4 h 5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4"/>
                            <a:gd name="T16" fmla="*/ 0 h 5"/>
                            <a:gd name="T17" fmla="*/ 4 w 4"/>
                            <a:gd name="T18" fmla="*/ 5 h 5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4" h="5">
                              <a:moveTo>
                                <a:pt x="3" y="3"/>
                              </a:moveTo>
                              <a:cubicBezTo>
                                <a:pt x="3" y="3"/>
                                <a:pt x="4" y="4"/>
                                <a:pt x="3" y="5"/>
                              </a:cubicBezTo>
                              <a:cubicBezTo>
                                <a:pt x="3" y="5"/>
                                <a:pt x="2" y="4"/>
                                <a:pt x="2" y="3"/>
                              </a:cubicBezTo>
                              <a:cubicBezTo>
                                <a:pt x="1" y="2"/>
                                <a:pt x="0" y="1"/>
                                <a:pt x="1" y="1"/>
                              </a:cubicBezTo>
                              <a:cubicBezTo>
                                <a:pt x="2" y="0"/>
                                <a:pt x="2" y="2"/>
                                <a:pt x="3" y="3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34" name="Freeform 3213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74075" y="3713693"/>
                          <a:ext cx="5593" cy="3322"/>
                        </a:xfrm>
                        <a:custGeom>
                          <a:avLst/>
                          <a:gdLst>
                            <a:gd name="T0" fmla="*/ 3 w 4"/>
                            <a:gd name="T1" fmla="*/ 3 h 3"/>
                            <a:gd name="T2" fmla="*/ 0 w 4"/>
                            <a:gd name="T3" fmla="*/ 3 h 3"/>
                            <a:gd name="T4" fmla="*/ 3 w 4"/>
                            <a:gd name="T5" fmla="*/ 1 h 3"/>
                            <a:gd name="T6" fmla="*/ 5 w 4"/>
                            <a:gd name="T7" fmla="*/ 0 h 3"/>
                            <a:gd name="T8" fmla="*/ 3 w 4"/>
                            <a:gd name="T9" fmla="*/ 3 h 3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4"/>
                            <a:gd name="T16" fmla="*/ 0 h 3"/>
                            <a:gd name="T17" fmla="*/ 4 w 4"/>
                            <a:gd name="T18" fmla="*/ 3 h 3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4" h="3">
                              <a:moveTo>
                                <a:pt x="2" y="2"/>
                              </a:moveTo>
                              <a:cubicBezTo>
                                <a:pt x="1" y="2"/>
                                <a:pt x="0" y="3"/>
                                <a:pt x="0" y="2"/>
                              </a:cubicBezTo>
                              <a:cubicBezTo>
                                <a:pt x="0" y="2"/>
                                <a:pt x="1" y="1"/>
                                <a:pt x="2" y="1"/>
                              </a:cubicBezTo>
                              <a:cubicBezTo>
                                <a:pt x="2" y="0"/>
                                <a:pt x="4" y="0"/>
                                <a:pt x="4" y="0"/>
                              </a:cubicBezTo>
                              <a:cubicBezTo>
                                <a:pt x="4" y="1"/>
                                <a:pt x="3" y="2"/>
                                <a:pt x="2" y="2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35" name="Freeform 3214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74075" y="3718677"/>
                          <a:ext cx="3356" cy="9137"/>
                        </a:xfrm>
                        <a:custGeom>
                          <a:avLst/>
                          <a:gdLst>
                            <a:gd name="T0" fmla="*/ 2 w 2"/>
                            <a:gd name="T1" fmla="*/ 7 h 9"/>
                            <a:gd name="T2" fmla="*/ 0 w 2"/>
                            <a:gd name="T3" fmla="*/ 11 h 9"/>
                            <a:gd name="T4" fmla="*/ 0 w 2"/>
                            <a:gd name="T5" fmla="*/ 6 h 9"/>
                            <a:gd name="T6" fmla="*/ 2 w 2"/>
                            <a:gd name="T7" fmla="*/ 1 h 9"/>
                            <a:gd name="T8" fmla="*/ 2 w 2"/>
                            <a:gd name="T9" fmla="*/ 7 h 9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2"/>
                            <a:gd name="T16" fmla="*/ 0 h 9"/>
                            <a:gd name="T17" fmla="*/ 2 w 2"/>
                            <a:gd name="T18" fmla="*/ 9 h 9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2" h="9">
                              <a:moveTo>
                                <a:pt x="1" y="6"/>
                              </a:moveTo>
                              <a:cubicBezTo>
                                <a:pt x="1" y="7"/>
                                <a:pt x="1" y="9"/>
                                <a:pt x="0" y="9"/>
                              </a:cubicBezTo>
                              <a:cubicBezTo>
                                <a:pt x="0" y="8"/>
                                <a:pt x="0" y="6"/>
                                <a:pt x="0" y="5"/>
                              </a:cubicBezTo>
                              <a:cubicBezTo>
                                <a:pt x="0" y="3"/>
                                <a:pt x="1" y="0"/>
                                <a:pt x="1" y="1"/>
                              </a:cubicBezTo>
                              <a:cubicBezTo>
                                <a:pt x="2" y="1"/>
                                <a:pt x="2" y="4"/>
                                <a:pt x="1" y="6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36" name="Freeform 3215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78550" y="3722000"/>
                          <a:ext cx="1118" cy="5815"/>
                        </a:xfrm>
                        <a:custGeom>
                          <a:avLst/>
                          <a:gdLst>
                            <a:gd name="T0" fmla="*/ 1 w 1"/>
                            <a:gd name="T1" fmla="*/ 5 h 6"/>
                            <a:gd name="T2" fmla="*/ 0 w 1"/>
                            <a:gd name="T3" fmla="*/ 7 h 6"/>
                            <a:gd name="T4" fmla="*/ 0 w 1"/>
                            <a:gd name="T5" fmla="*/ 4 h 6"/>
                            <a:gd name="T6" fmla="*/ 0 w 1"/>
                            <a:gd name="T7" fmla="*/ 0 h 6"/>
                            <a:gd name="T8" fmla="*/ 1 w 1"/>
                            <a:gd name="T9" fmla="*/ 5 h 6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1"/>
                            <a:gd name="T16" fmla="*/ 0 h 6"/>
                            <a:gd name="T17" fmla="*/ 1 w 1"/>
                            <a:gd name="T18" fmla="*/ 6 h 6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1" h="6">
                              <a:moveTo>
                                <a:pt x="1" y="4"/>
                              </a:moveTo>
                              <a:cubicBezTo>
                                <a:pt x="1" y="5"/>
                                <a:pt x="1" y="6"/>
                                <a:pt x="0" y="6"/>
                              </a:cubicBezTo>
                              <a:cubicBezTo>
                                <a:pt x="0" y="6"/>
                                <a:pt x="0" y="4"/>
                                <a:pt x="0" y="3"/>
                              </a:cubicBezTo>
                              <a:cubicBezTo>
                                <a:pt x="0" y="2"/>
                                <a:pt x="0" y="0"/>
                                <a:pt x="0" y="0"/>
                              </a:cubicBezTo>
                              <a:cubicBezTo>
                                <a:pt x="1" y="0"/>
                                <a:pt x="1" y="3"/>
                                <a:pt x="1" y="4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37" name="Freeform 3216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90853" y="3730306"/>
                          <a:ext cx="4474" cy="3322"/>
                        </a:xfrm>
                        <a:custGeom>
                          <a:avLst/>
                          <a:gdLst>
                            <a:gd name="T0" fmla="*/ 3 w 4"/>
                            <a:gd name="T1" fmla="*/ 2 h 4"/>
                            <a:gd name="T2" fmla="*/ 4 w 4"/>
                            <a:gd name="T3" fmla="*/ 3 h 4"/>
                            <a:gd name="T4" fmla="*/ 2 w 4"/>
                            <a:gd name="T5" fmla="*/ 3 h 4"/>
                            <a:gd name="T6" fmla="*/ 1 w 4"/>
                            <a:gd name="T7" fmla="*/ 0 h 4"/>
                            <a:gd name="T8" fmla="*/ 3 w 4"/>
                            <a:gd name="T9" fmla="*/ 2 h 4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4"/>
                            <a:gd name="T16" fmla="*/ 0 h 4"/>
                            <a:gd name="T17" fmla="*/ 4 w 4"/>
                            <a:gd name="T18" fmla="*/ 4 h 4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4" h="4">
                              <a:moveTo>
                                <a:pt x="3" y="2"/>
                              </a:moveTo>
                              <a:cubicBezTo>
                                <a:pt x="4" y="2"/>
                                <a:pt x="4" y="3"/>
                                <a:pt x="4" y="3"/>
                              </a:cubicBezTo>
                              <a:cubicBezTo>
                                <a:pt x="3" y="4"/>
                                <a:pt x="2" y="3"/>
                                <a:pt x="2" y="3"/>
                              </a:cubicBezTo>
                              <a:cubicBezTo>
                                <a:pt x="1" y="2"/>
                                <a:pt x="0" y="1"/>
                                <a:pt x="1" y="0"/>
                              </a:cubicBezTo>
                              <a:cubicBezTo>
                                <a:pt x="1" y="0"/>
                                <a:pt x="2" y="1"/>
                                <a:pt x="3" y="2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38" name="Freeform 3217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87497" y="3725322"/>
                          <a:ext cx="6712" cy="3322"/>
                        </a:xfrm>
                        <a:custGeom>
                          <a:avLst/>
                          <a:gdLst>
                            <a:gd name="T0" fmla="*/ 4 w 5"/>
                            <a:gd name="T1" fmla="*/ 2 h 4"/>
                            <a:gd name="T2" fmla="*/ 5 w 5"/>
                            <a:gd name="T3" fmla="*/ 4 h 4"/>
                            <a:gd name="T4" fmla="*/ 2 w 5"/>
                            <a:gd name="T5" fmla="*/ 3 h 4"/>
                            <a:gd name="T6" fmla="*/ 1 w 5"/>
                            <a:gd name="T7" fmla="*/ 1 h 4"/>
                            <a:gd name="T8" fmla="*/ 4 w 5"/>
                            <a:gd name="T9" fmla="*/ 2 h 4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5"/>
                            <a:gd name="T16" fmla="*/ 0 h 4"/>
                            <a:gd name="T17" fmla="*/ 5 w 5"/>
                            <a:gd name="T18" fmla="*/ 4 h 4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5" h="4">
                              <a:moveTo>
                                <a:pt x="3" y="2"/>
                              </a:moveTo>
                              <a:cubicBezTo>
                                <a:pt x="4" y="2"/>
                                <a:pt x="5" y="3"/>
                                <a:pt x="4" y="4"/>
                              </a:cubicBezTo>
                              <a:cubicBezTo>
                                <a:pt x="4" y="4"/>
                                <a:pt x="3" y="3"/>
                                <a:pt x="2" y="3"/>
                              </a:cubicBezTo>
                              <a:cubicBezTo>
                                <a:pt x="1" y="2"/>
                                <a:pt x="0" y="1"/>
                                <a:pt x="1" y="1"/>
                              </a:cubicBezTo>
                              <a:cubicBezTo>
                                <a:pt x="1" y="0"/>
                                <a:pt x="3" y="1"/>
                                <a:pt x="3" y="2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39" name="Freeform 3218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80787" y="3721169"/>
                          <a:ext cx="5593" cy="4154"/>
                        </a:xfrm>
                        <a:custGeom>
                          <a:avLst/>
                          <a:gdLst>
                            <a:gd name="T0" fmla="*/ 4 w 4"/>
                            <a:gd name="T1" fmla="*/ 3 h 4"/>
                            <a:gd name="T2" fmla="*/ 5 w 4"/>
                            <a:gd name="T3" fmla="*/ 4 h 4"/>
                            <a:gd name="T4" fmla="*/ 3 w 4"/>
                            <a:gd name="T5" fmla="*/ 3 h 4"/>
                            <a:gd name="T6" fmla="*/ 1 w 4"/>
                            <a:gd name="T7" fmla="*/ 0 h 4"/>
                            <a:gd name="T8" fmla="*/ 4 w 4"/>
                            <a:gd name="T9" fmla="*/ 3 h 4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4"/>
                            <a:gd name="T16" fmla="*/ 0 h 4"/>
                            <a:gd name="T17" fmla="*/ 4 w 4"/>
                            <a:gd name="T18" fmla="*/ 4 h 4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4" h="4">
                              <a:moveTo>
                                <a:pt x="3" y="2"/>
                              </a:moveTo>
                              <a:cubicBezTo>
                                <a:pt x="4" y="2"/>
                                <a:pt x="4" y="3"/>
                                <a:pt x="4" y="3"/>
                              </a:cubicBezTo>
                              <a:cubicBezTo>
                                <a:pt x="4" y="4"/>
                                <a:pt x="3" y="3"/>
                                <a:pt x="2" y="2"/>
                              </a:cubicBezTo>
                              <a:cubicBezTo>
                                <a:pt x="1" y="2"/>
                                <a:pt x="0" y="1"/>
                                <a:pt x="1" y="0"/>
                              </a:cubicBezTo>
                              <a:cubicBezTo>
                                <a:pt x="1" y="0"/>
                                <a:pt x="2" y="1"/>
                                <a:pt x="3" y="2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40" name="Freeform 3219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106512" y="3771840"/>
                          <a:ext cx="6712" cy="1661"/>
                        </a:xfrm>
                        <a:custGeom>
                          <a:avLst/>
                          <a:gdLst>
                            <a:gd name="T0" fmla="*/ 2 w 5"/>
                            <a:gd name="T1" fmla="*/ 2 h 2"/>
                            <a:gd name="T2" fmla="*/ 0 w 5"/>
                            <a:gd name="T3" fmla="*/ 1 h 2"/>
                            <a:gd name="T4" fmla="*/ 2 w 5"/>
                            <a:gd name="T5" fmla="*/ 0 h 2"/>
                            <a:gd name="T6" fmla="*/ 6 w 5"/>
                            <a:gd name="T7" fmla="*/ 1 h 2"/>
                            <a:gd name="T8" fmla="*/ 2 w 5"/>
                            <a:gd name="T9" fmla="*/ 2 h 2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5"/>
                            <a:gd name="T16" fmla="*/ 0 h 2"/>
                            <a:gd name="T17" fmla="*/ 5 w 5"/>
                            <a:gd name="T18" fmla="*/ 2 h 2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5" h="2">
                              <a:moveTo>
                                <a:pt x="2" y="2"/>
                              </a:moveTo>
                              <a:cubicBezTo>
                                <a:pt x="1" y="2"/>
                                <a:pt x="0" y="1"/>
                                <a:pt x="0" y="1"/>
                              </a:cubicBezTo>
                              <a:cubicBezTo>
                                <a:pt x="0" y="0"/>
                                <a:pt x="1" y="0"/>
                                <a:pt x="2" y="0"/>
                              </a:cubicBezTo>
                              <a:cubicBezTo>
                                <a:pt x="3" y="0"/>
                                <a:pt x="5" y="0"/>
                                <a:pt x="5" y="1"/>
                              </a:cubicBezTo>
                              <a:cubicBezTo>
                                <a:pt x="4" y="2"/>
                                <a:pt x="3" y="2"/>
                                <a:pt x="2" y="2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41" name="Freeform 3265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61773" y="3696249"/>
                          <a:ext cx="5593" cy="2493"/>
                        </a:xfrm>
                        <a:custGeom>
                          <a:avLst/>
                          <a:gdLst>
                            <a:gd name="T0" fmla="*/ 3 w 4"/>
                            <a:gd name="T1" fmla="*/ 2 h 3"/>
                            <a:gd name="T2" fmla="*/ 1 w 4"/>
                            <a:gd name="T3" fmla="*/ 3 h 3"/>
                            <a:gd name="T4" fmla="*/ 1 w 4"/>
                            <a:gd name="T5" fmla="*/ 1 h 3"/>
                            <a:gd name="T6" fmla="*/ 4 w 4"/>
                            <a:gd name="T7" fmla="*/ 0 h 3"/>
                            <a:gd name="T8" fmla="*/ 3 w 4"/>
                            <a:gd name="T9" fmla="*/ 2 h 3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4"/>
                            <a:gd name="T16" fmla="*/ 0 h 3"/>
                            <a:gd name="T17" fmla="*/ 4 w 4"/>
                            <a:gd name="T18" fmla="*/ 3 h 3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4" h="3">
                              <a:moveTo>
                                <a:pt x="2" y="2"/>
                              </a:moveTo>
                              <a:cubicBezTo>
                                <a:pt x="2" y="3"/>
                                <a:pt x="1" y="3"/>
                                <a:pt x="1" y="3"/>
                              </a:cubicBezTo>
                              <a:cubicBezTo>
                                <a:pt x="0" y="2"/>
                                <a:pt x="1" y="1"/>
                                <a:pt x="1" y="1"/>
                              </a:cubicBezTo>
                              <a:cubicBezTo>
                                <a:pt x="1" y="0"/>
                                <a:pt x="2" y="0"/>
                                <a:pt x="3" y="0"/>
                              </a:cubicBezTo>
                              <a:cubicBezTo>
                                <a:pt x="4" y="1"/>
                                <a:pt x="3" y="2"/>
                                <a:pt x="2" y="2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42" name="Freeform 3266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64010" y="3700403"/>
                          <a:ext cx="2237" cy="4984"/>
                        </a:xfrm>
                        <a:custGeom>
                          <a:avLst/>
                          <a:gdLst>
                            <a:gd name="T0" fmla="*/ 2 w 2"/>
                            <a:gd name="T1" fmla="*/ 4 h 5"/>
                            <a:gd name="T2" fmla="*/ 1 w 2"/>
                            <a:gd name="T3" fmla="*/ 6 h 5"/>
                            <a:gd name="T4" fmla="*/ 0 w 2"/>
                            <a:gd name="T5" fmla="*/ 4 h 5"/>
                            <a:gd name="T6" fmla="*/ 1 w 2"/>
                            <a:gd name="T7" fmla="*/ 0 h 5"/>
                            <a:gd name="T8" fmla="*/ 2 w 2"/>
                            <a:gd name="T9" fmla="*/ 4 h 5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2"/>
                            <a:gd name="T16" fmla="*/ 0 h 5"/>
                            <a:gd name="T17" fmla="*/ 2 w 2"/>
                            <a:gd name="T18" fmla="*/ 5 h 5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2" h="5">
                              <a:moveTo>
                                <a:pt x="2" y="3"/>
                              </a:moveTo>
                              <a:cubicBezTo>
                                <a:pt x="1" y="4"/>
                                <a:pt x="1" y="5"/>
                                <a:pt x="1" y="5"/>
                              </a:cubicBezTo>
                              <a:cubicBezTo>
                                <a:pt x="0" y="5"/>
                                <a:pt x="0" y="4"/>
                                <a:pt x="0" y="3"/>
                              </a:cubicBezTo>
                              <a:cubicBezTo>
                                <a:pt x="0" y="2"/>
                                <a:pt x="0" y="0"/>
                                <a:pt x="1" y="0"/>
                              </a:cubicBezTo>
                              <a:cubicBezTo>
                                <a:pt x="2" y="1"/>
                                <a:pt x="2" y="2"/>
                                <a:pt x="2" y="3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43" name="Freeform 3267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94209" y="3736121"/>
                          <a:ext cx="3356" cy="4154"/>
                        </a:xfrm>
                        <a:custGeom>
                          <a:avLst/>
                          <a:gdLst>
                            <a:gd name="T0" fmla="*/ 3 w 2"/>
                            <a:gd name="T1" fmla="*/ 4 h 4"/>
                            <a:gd name="T2" fmla="*/ 2 w 2"/>
                            <a:gd name="T3" fmla="*/ 5 h 4"/>
                            <a:gd name="T4" fmla="*/ 0 w 2"/>
                            <a:gd name="T5" fmla="*/ 3 h 4"/>
                            <a:gd name="T6" fmla="*/ 2 w 2"/>
                            <a:gd name="T7" fmla="*/ 0 h 4"/>
                            <a:gd name="T8" fmla="*/ 3 w 2"/>
                            <a:gd name="T9" fmla="*/ 4 h 4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2"/>
                            <a:gd name="T16" fmla="*/ 0 h 4"/>
                            <a:gd name="T17" fmla="*/ 2 w 2"/>
                            <a:gd name="T18" fmla="*/ 4 h 4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2" h="4">
                              <a:moveTo>
                                <a:pt x="2" y="3"/>
                              </a:moveTo>
                              <a:cubicBezTo>
                                <a:pt x="2" y="3"/>
                                <a:pt x="2" y="4"/>
                                <a:pt x="1" y="4"/>
                              </a:cubicBezTo>
                              <a:cubicBezTo>
                                <a:pt x="0" y="4"/>
                                <a:pt x="0" y="3"/>
                                <a:pt x="0" y="2"/>
                              </a:cubicBezTo>
                              <a:cubicBezTo>
                                <a:pt x="0" y="1"/>
                                <a:pt x="0" y="0"/>
                                <a:pt x="1" y="0"/>
                              </a:cubicBezTo>
                              <a:cubicBezTo>
                                <a:pt x="2" y="0"/>
                                <a:pt x="2" y="2"/>
                                <a:pt x="2" y="3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44" name="Freeform 3268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207177" y="3796760"/>
                          <a:ext cx="2237" cy="4154"/>
                        </a:xfrm>
                        <a:custGeom>
                          <a:avLst/>
                          <a:gdLst>
                            <a:gd name="T0" fmla="*/ 2 w 2"/>
                            <a:gd name="T1" fmla="*/ 3 h 4"/>
                            <a:gd name="T2" fmla="*/ 1 w 2"/>
                            <a:gd name="T3" fmla="*/ 5 h 4"/>
                            <a:gd name="T4" fmla="*/ 0 w 2"/>
                            <a:gd name="T5" fmla="*/ 3 h 4"/>
                            <a:gd name="T6" fmla="*/ 1 w 2"/>
                            <a:gd name="T7" fmla="*/ 0 h 4"/>
                            <a:gd name="T8" fmla="*/ 2 w 2"/>
                            <a:gd name="T9" fmla="*/ 3 h 4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2"/>
                            <a:gd name="T16" fmla="*/ 0 h 4"/>
                            <a:gd name="T17" fmla="*/ 2 w 2"/>
                            <a:gd name="T18" fmla="*/ 4 h 4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2" h="4">
                              <a:moveTo>
                                <a:pt x="2" y="2"/>
                              </a:moveTo>
                              <a:cubicBezTo>
                                <a:pt x="2" y="3"/>
                                <a:pt x="2" y="4"/>
                                <a:pt x="1" y="4"/>
                              </a:cubicBezTo>
                              <a:cubicBezTo>
                                <a:pt x="0" y="3"/>
                                <a:pt x="0" y="3"/>
                                <a:pt x="0" y="2"/>
                              </a:cubicBezTo>
                              <a:cubicBezTo>
                                <a:pt x="0" y="1"/>
                                <a:pt x="0" y="0"/>
                                <a:pt x="1" y="0"/>
                              </a:cubicBezTo>
                              <a:cubicBezTo>
                                <a:pt x="2" y="0"/>
                                <a:pt x="2" y="1"/>
                                <a:pt x="2" y="2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45" name="Freeform 3269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142304" y="3780146"/>
                          <a:ext cx="4474" cy="1661"/>
                        </a:xfrm>
                        <a:custGeom>
                          <a:avLst/>
                          <a:gdLst>
                            <a:gd name="T0" fmla="*/ 3 w 3"/>
                            <a:gd name="T1" fmla="*/ 0 h 2"/>
                            <a:gd name="T2" fmla="*/ 4 w 3"/>
                            <a:gd name="T3" fmla="*/ 1 h 2"/>
                            <a:gd name="T4" fmla="*/ 3 w 3"/>
                            <a:gd name="T5" fmla="*/ 2 h 2"/>
                            <a:gd name="T6" fmla="*/ 0 w 3"/>
                            <a:gd name="T7" fmla="*/ 1 h 2"/>
                            <a:gd name="T8" fmla="*/ 3 w 3"/>
                            <a:gd name="T9" fmla="*/ 0 h 2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3"/>
                            <a:gd name="T16" fmla="*/ 0 h 2"/>
                            <a:gd name="T17" fmla="*/ 3 w 3"/>
                            <a:gd name="T18" fmla="*/ 2 h 2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3" h="2">
                              <a:moveTo>
                                <a:pt x="2" y="0"/>
                              </a:moveTo>
                              <a:cubicBezTo>
                                <a:pt x="3" y="0"/>
                                <a:pt x="3" y="1"/>
                                <a:pt x="3" y="1"/>
                              </a:cubicBezTo>
                              <a:cubicBezTo>
                                <a:pt x="3" y="2"/>
                                <a:pt x="2" y="2"/>
                                <a:pt x="2" y="2"/>
                              </a:cubicBezTo>
                              <a:cubicBezTo>
                                <a:pt x="1" y="2"/>
                                <a:pt x="0" y="2"/>
                                <a:pt x="0" y="1"/>
                              </a:cubicBezTo>
                              <a:cubicBezTo>
                                <a:pt x="0" y="0"/>
                                <a:pt x="1" y="0"/>
                                <a:pt x="2" y="0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46" name="Freeform 3371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72958" y="3621488"/>
                          <a:ext cx="2237" cy="1661"/>
                        </a:xfrm>
                        <a:custGeom>
                          <a:avLst/>
                          <a:gdLst>
                            <a:gd name="T0" fmla="*/ 2 w 2"/>
                            <a:gd name="T1" fmla="*/ 1 h 2"/>
                            <a:gd name="T2" fmla="*/ 1 w 2"/>
                            <a:gd name="T3" fmla="*/ 2 h 2"/>
                            <a:gd name="T4" fmla="*/ 0 w 2"/>
                            <a:gd name="T5" fmla="*/ 1 h 2"/>
                            <a:gd name="T6" fmla="*/ 1 w 2"/>
                            <a:gd name="T7" fmla="*/ 0 h 2"/>
                            <a:gd name="T8" fmla="*/ 2 w 2"/>
                            <a:gd name="T9" fmla="*/ 1 h 2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2"/>
                            <a:gd name="T16" fmla="*/ 0 h 2"/>
                            <a:gd name="T17" fmla="*/ 2 w 2"/>
                            <a:gd name="T18" fmla="*/ 2 h 2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2" h="2">
                              <a:moveTo>
                                <a:pt x="2" y="1"/>
                              </a:moveTo>
                              <a:cubicBezTo>
                                <a:pt x="2" y="2"/>
                                <a:pt x="1" y="2"/>
                                <a:pt x="1" y="2"/>
                              </a:cubicBezTo>
                              <a:cubicBezTo>
                                <a:pt x="0" y="2"/>
                                <a:pt x="0" y="2"/>
                                <a:pt x="0" y="1"/>
                              </a:cubicBezTo>
                              <a:cubicBezTo>
                                <a:pt x="0" y="1"/>
                                <a:pt x="0" y="0"/>
                                <a:pt x="1" y="0"/>
                              </a:cubicBezTo>
                              <a:cubicBezTo>
                                <a:pt x="2" y="0"/>
                                <a:pt x="2" y="1"/>
                                <a:pt x="2" y="1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47" name="Freeform 3372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74075" y="3562512"/>
                          <a:ext cx="3356" cy="2493"/>
                        </a:xfrm>
                        <a:custGeom>
                          <a:avLst/>
                          <a:gdLst>
                            <a:gd name="T0" fmla="*/ 3 w 2"/>
                            <a:gd name="T1" fmla="*/ 2 h 3"/>
                            <a:gd name="T2" fmla="*/ 2 w 2"/>
                            <a:gd name="T3" fmla="*/ 3 h 3"/>
                            <a:gd name="T4" fmla="*/ 0 w 2"/>
                            <a:gd name="T5" fmla="*/ 2 h 3"/>
                            <a:gd name="T6" fmla="*/ 2 w 2"/>
                            <a:gd name="T7" fmla="*/ 0 h 3"/>
                            <a:gd name="T8" fmla="*/ 3 w 2"/>
                            <a:gd name="T9" fmla="*/ 2 h 3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2"/>
                            <a:gd name="T16" fmla="*/ 0 h 3"/>
                            <a:gd name="T17" fmla="*/ 2 w 2"/>
                            <a:gd name="T18" fmla="*/ 3 h 3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2" h="3">
                              <a:moveTo>
                                <a:pt x="2" y="2"/>
                              </a:moveTo>
                              <a:cubicBezTo>
                                <a:pt x="2" y="2"/>
                                <a:pt x="1" y="3"/>
                                <a:pt x="1" y="3"/>
                              </a:cubicBezTo>
                              <a:cubicBezTo>
                                <a:pt x="0" y="3"/>
                                <a:pt x="0" y="2"/>
                                <a:pt x="0" y="2"/>
                              </a:cubicBezTo>
                              <a:cubicBezTo>
                                <a:pt x="0" y="1"/>
                                <a:pt x="0" y="0"/>
                                <a:pt x="1" y="0"/>
                              </a:cubicBezTo>
                              <a:cubicBezTo>
                                <a:pt x="2" y="0"/>
                                <a:pt x="2" y="1"/>
                                <a:pt x="2" y="2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48" name="Freeform 3373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58416" y="3597400"/>
                          <a:ext cx="2237" cy="1661"/>
                        </a:xfrm>
                        <a:custGeom>
                          <a:avLst/>
                          <a:gdLst>
                            <a:gd name="T0" fmla="*/ 1 w 2"/>
                            <a:gd name="T1" fmla="*/ 2 h 2"/>
                            <a:gd name="T2" fmla="*/ 0 w 2"/>
                            <a:gd name="T3" fmla="*/ 2 h 2"/>
                            <a:gd name="T4" fmla="*/ 0 w 2"/>
                            <a:gd name="T5" fmla="*/ 1 h 2"/>
                            <a:gd name="T6" fmla="*/ 2 w 2"/>
                            <a:gd name="T7" fmla="*/ 0 h 2"/>
                            <a:gd name="T8" fmla="*/ 1 w 2"/>
                            <a:gd name="T9" fmla="*/ 2 h 2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2"/>
                            <a:gd name="T16" fmla="*/ 0 h 2"/>
                            <a:gd name="T17" fmla="*/ 2 w 2"/>
                            <a:gd name="T18" fmla="*/ 2 h 2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2" h="2">
                              <a:moveTo>
                                <a:pt x="1" y="2"/>
                              </a:moveTo>
                              <a:cubicBezTo>
                                <a:pt x="1" y="2"/>
                                <a:pt x="0" y="2"/>
                                <a:pt x="0" y="2"/>
                              </a:cubicBezTo>
                              <a:cubicBezTo>
                                <a:pt x="0" y="1"/>
                                <a:pt x="0" y="1"/>
                                <a:pt x="0" y="1"/>
                              </a:cubicBezTo>
                              <a:cubicBezTo>
                                <a:pt x="1" y="0"/>
                                <a:pt x="2" y="0"/>
                                <a:pt x="2" y="0"/>
                              </a:cubicBezTo>
                              <a:cubicBezTo>
                                <a:pt x="2" y="1"/>
                                <a:pt x="2" y="1"/>
                                <a:pt x="1" y="2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49" name="Freeform 3374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64010" y="3606537"/>
                          <a:ext cx="3356" cy="1661"/>
                        </a:xfrm>
                        <a:custGeom>
                          <a:avLst/>
                          <a:gdLst>
                            <a:gd name="T0" fmla="*/ 2 w 3"/>
                            <a:gd name="T1" fmla="*/ 2 h 2"/>
                            <a:gd name="T2" fmla="*/ 0 w 3"/>
                            <a:gd name="T3" fmla="*/ 1 h 2"/>
                            <a:gd name="T4" fmla="*/ 1 w 3"/>
                            <a:gd name="T5" fmla="*/ 0 h 2"/>
                            <a:gd name="T6" fmla="*/ 3 w 3"/>
                            <a:gd name="T7" fmla="*/ 1 h 2"/>
                            <a:gd name="T8" fmla="*/ 2 w 3"/>
                            <a:gd name="T9" fmla="*/ 2 h 2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3"/>
                            <a:gd name="T16" fmla="*/ 0 h 2"/>
                            <a:gd name="T17" fmla="*/ 3 w 3"/>
                            <a:gd name="T18" fmla="*/ 2 h 2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3" h="2">
                              <a:moveTo>
                                <a:pt x="2" y="2"/>
                              </a:moveTo>
                              <a:cubicBezTo>
                                <a:pt x="1" y="2"/>
                                <a:pt x="1" y="2"/>
                                <a:pt x="0" y="1"/>
                              </a:cubicBezTo>
                              <a:cubicBezTo>
                                <a:pt x="0" y="1"/>
                                <a:pt x="1" y="0"/>
                                <a:pt x="1" y="0"/>
                              </a:cubicBezTo>
                              <a:cubicBezTo>
                                <a:pt x="2" y="0"/>
                                <a:pt x="3" y="0"/>
                                <a:pt x="3" y="1"/>
                              </a:cubicBezTo>
                              <a:cubicBezTo>
                                <a:pt x="3" y="1"/>
                                <a:pt x="2" y="2"/>
                                <a:pt x="2" y="2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50" name="Freeform 3375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60653" y="3609859"/>
                          <a:ext cx="4474" cy="2493"/>
                        </a:xfrm>
                        <a:custGeom>
                          <a:avLst/>
                          <a:gdLst>
                            <a:gd name="T0" fmla="*/ 1 w 3"/>
                            <a:gd name="T1" fmla="*/ 3 h 2"/>
                            <a:gd name="T2" fmla="*/ 0 w 3"/>
                            <a:gd name="T3" fmla="*/ 3 h 2"/>
                            <a:gd name="T4" fmla="*/ 1 w 3"/>
                            <a:gd name="T5" fmla="*/ 2 h 2"/>
                            <a:gd name="T6" fmla="*/ 3 w 3"/>
                            <a:gd name="T7" fmla="*/ 0 h 2"/>
                            <a:gd name="T8" fmla="*/ 1 w 3"/>
                            <a:gd name="T9" fmla="*/ 3 h 2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3"/>
                            <a:gd name="T16" fmla="*/ 0 h 2"/>
                            <a:gd name="T17" fmla="*/ 3 w 3"/>
                            <a:gd name="T18" fmla="*/ 2 h 2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3" h="2">
                              <a:moveTo>
                                <a:pt x="1" y="2"/>
                              </a:moveTo>
                              <a:cubicBezTo>
                                <a:pt x="1" y="2"/>
                                <a:pt x="0" y="2"/>
                                <a:pt x="0" y="2"/>
                              </a:cubicBezTo>
                              <a:cubicBezTo>
                                <a:pt x="0" y="1"/>
                                <a:pt x="0" y="1"/>
                                <a:pt x="1" y="1"/>
                              </a:cubicBezTo>
                              <a:cubicBezTo>
                                <a:pt x="1" y="0"/>
                                <a:pt x="2" y="0"/>
                                <a:pt x="2" y="0"/>
                              </a:cubicBezTo>
                              <a:cubicBezTo>
                                <a:pt x="3" y="1"/>
                                <a:pt x="2" y="2"/>
                                <a:pt x="1" y="2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51" name="Freeform 3376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71838" y="3601552"/>
                          <a:ext cx="2237" cy="2493"/>
                        </a:xfrm>
                        <a:custGeom>
                          <a:avLst/>
                          <a:gdLst>
                            <a:gd name="T0" fmla="*/ 1 w 2"/>
                            <a:gd name="T1" fmla="*/ 2 h 3"/>
                            <a:gd name="T2" fmla="*/ 1 w 2"/>
                            <a:gd name="T3" fmla="*/ 3 h 3"/>
                            <a:gd name="T4" fmla="*/ 0 w 2"/>
                            <a:gd name="T5" fmla="*/ 2 h 3"/>
                            <a:gd name="T6" fmla="*/ 1 w 2"/>
                            <a:gd name="T7" fmla="*/ 0 h 3"/>
                            <a:gd name="T8" fmla="*/ 1 w 2"/>
                            <a:gd name="T9" fmla="*/ 2 h 3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2"/>
                            <a:gd name="T16" fmla="*/ 0 h 3"/>
                            <a:gd name="T17" fmla="*/ 2 w 2"/>
                            <a:gd name="T18" fmla="*/ 3 h 3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2" h="3">
                              <a:moveTo>
                                <a:pt x="1" y="2"/>
                              </a:moveTo>
                              <a:cubicBezTo>
                                <a:pt x="1" y="2"/>
                                <a:pt x="1" y="3"/>
                                <a:pt x="1" y="3"/>
                              </a:cubicBezTo>
                              <a:cubicBezTo>
                                <a:pt x="0" y="3"/>
                                <a:pt x="0" y="2"/>
                                <a:pt x="0" y="2"/>
                              </a:cubicBezTo>
                              <a:cubicBezTo>
                                <a:pt x="0" y="1"/>
                                <a:pt x="0" y="0"/>
                                <a:pt x="1" y="0"/>
                              </a:cubicBezTo>
                              <a:cubicBezTo>
                                <a:pt x="2" y="0"/>
                                <a:pt x="1" y="1"/>
                                <a:pt x="1" y="2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52" name="Oval 3377"/>
                        <p:cNvSpPr>
                          <a:spLocks noChangeAspect="1" noChangeArrowheads="1"/>
                        </p:cNvSpPr>
                        <p:nvPr/>
                      </p:nvSpPr>
                      <p:spPr bwMode="auto">
                        <a:xfrm>
                          <a:off x="3070720" y="3604045"/>
                          <a:ext cx="1118" cy="3322"/>
                        </a:xfrm>
                        <a:prstGeom prst="ellipse">
                          <a:avLst/>
                        </a:pr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53" name="Freeform 3378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70720" y="3589923"/>
                          <a:ext cx="2237" cy="3322"/>
                        </a:xfrm>
                        <a:custGeom>
                          <a:avLst/>
                          <a:gdLst>
                            <a:gd name="T0" fmla="*/ 2 w 2"/>
                            <a:gd name="T1" fmla="*/ 3 h 3"/>
                            <a:gd name="T2" fmla="*/ 2 w 2"/>
                            <a:gd name="T3" fmla="*/ 4 h 3"/>
                            <a:gd name="T4" fmla="*/ 0 w 2"/>
                            <a:gd name="T5" fmla="*/ 3 h 3"/>
                            <a:gd name="T6" fmla="*/ 1 w 2"/>
                            <a:gd name="T7" fmla="*/ 1 h 3"/>
                            <a:gd name="T8" fmla="*/ 2 w 2"/>
                            <a:gd name="T9" fmla="*/ 3 h 3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2"/>
                            <a:gd name="T16" fmla="*/ 0 h 3"/>
                            <a:gd name="T17" fmla="*/ 2 w 2"/>
                            <a:gd name="T18" fmla="*/ 3 h 3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2" h="3">
                              <a:moveTo>
                                <a:pt x="2" y="2"/>
                              </a:moveTo>
                              <a:cubicBezTo>
                                <a:pt x="2" y="2"/>
                                <a:pt x="2" y="3"/>
                                <a:pt x="2" y="3"/>
                              </a:cubicBezTo>
                              <a:cubicBezTo>
                                <a:pt x="1" y="3"/>
                                <a:pt x="1" y="3"/>
                                <a:pt x="0" y="2"/>
                              </a:cubicBezTo>
                              <a:cubicBezTo>
                                <a:pt x="0" y="2"/>
                                <a:pt x="0" y="1"/>
                                <a:pt x="1" y="1"/>
                              </a:cubicBezTo>
                              <a:cubicBezTo>
                                <a:pt x="1" y="0"/>
                                <a:pt x="2" y="1"/>
                                <a:pt x="2" y="2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54" name="Freeform 3379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68483" y="3614844"/>
                          <a:ext cx="3356" cy="2493"/>
                        </a:xfrm>
                        <a:custGeom>
                          <a:avLst/>
                          <a:gdLst>
                            <a:gd name="T0" fmla="*/ 2 w 2"/>
                            <a:gd name="T1" fmla="*/ 0 h 2"/>
                            <a:gd name="T2" fmla="*/ 3 w 2"/>
                            <a:gd name="T3" fmla="*/ 2 h 2"/>
                            <a:gd name="T4" fmla="*/ 2 w 2"/>
                            <a:gd name="T5" fmla="*/ 2 h 2"/>
                            <a:gd name="T6" fmla="*/ 0 w 2"/>
                            <a:gd name="T7" fmla="*/ 0 h 2"/>
                            <a:gd name="T8" fmla="*/ 2 w 2"/>
                            <a:gd name="T9" fmla="*/ 0 h 2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2"/>
                            <a:gd name="T16" fmla="*/ 0 h 2"/>
                            <a:gd name="T17" fmla="*/ 2 w 2"/>
                            <a:gd name="T18" fmla="*/ 2 h 2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2" h="2">
                              <a:moveTo>
                                <a:pt x="1" y="0"/>
                              </a:moveTo>
                              <a:cubicBezTo>
                                <a:pt x="2" y="0"/>
                                <a:pt x="2" y="1"/>
                                <a:pt x="2" y="1"/>
                              </a:cubicBezTo>
                              <a:cubicBezTo>
                                <a:pt x="2" y="2"/>
                                <a:pt x="1" y="2"/>
                                <a:pt x="1" y="1"/>
                              </a:cubicBezTo>
                              <a:cubicBezTo>
                                <a:pt x="0" y="1"/>
                                <a:pt x="0" y="1"/>
                                <a:pt x="0" y="0"/>
                              </a:cubicBezTo>
                              <a:cubicBezTo>
                                <a:pt x="0" y="0"/>
                                <a:pt x="1" y="0"/>
                                <a:pt x="1" y="0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55" name="Freeform 3380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67365" y="3612352"/>
                          <a:ext cx="4474" cy="1661"/>
                        </a:xfrm>
                        <a:custGeom>
                          <a:avLst/>
                          <a:gdLst>
                            <a:gd name="T0" fmla="*/ 3 w 3"/>
                            <a:gd name="T1" fmla="*/ 0 h 2"/>
                            <a:gd name="T2" fmla="*/ 3 w 3"/>
                            <a:gd name="T3" fmla="*/ 1 h 2"/>
                            <a:gd name="T4" fmla="*/ 1 w 3"/>
                            <a:gd name="T5" fmla="*/ 1 h 2"/>
                            <a:gd name="T6" fmla="*/ 0 w 3"/>
                            <a:gd name="T7" fmla="*/ 0 h 2"/>
                            <a:gd name="T8" fmla="*/ 3 w 3"/>
                            <a:gd name="T9" fmla="*/ 0 h 2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3"/>
                            <a:gd name="T16" fmla="*/ 0 h 2"/>
                            <a:gd name="T17" fmla="*/ 3 w 3"/>
                            <a:gd name="T18" fmla="*/ 2 h 2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3" h="2">
                              <a:moveTo>
                                <a:pt x="2" y="0"/>
                              </a:moveTo>
                              <a:cubicBezTo>
                                <a:pt x="2" y="0"/>
                                <a:pt x="3" y="1"/>
                                <a:pt x="2" y="1"/>
                              </a:cubicBezTo>
                              <a:cubicBezTo>
                                <a:pt x="2" y="2"/>
                                <a:pt x="2" y="2"/>
                                <a:pt x="1" y="1"/>
                              </a:cubicBezTo>
                              <a:cubicBezTo>
                                <a:pt x="1" y="1"/>
                                <a:pt x="0" y="1"/>
                                <a:pt x="0" y="0"/>
                              </a:cubicBezTo>
                              <a:cubicBezTo>
                                <a:pt x="0" y="0"/>
                                <a:pt x="1" y="0"/>
                                <a:pt x="2" y="0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56" name="Freeform 3381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67365" y="3609029"/>
                          <a:ext cx="4474" cy="2493"/>
                        </a:xfrm>
                        <a:custGeom>
                          <a:avLst/>
                          <a:gdLst>
                            <a:gd name="T0" fmla="*/ 3 w 3"/>
                            <a:gd name="T1" fmla="*/ 0 h 2"/>
                            <a:gd name="T2" fmla="*/ 4 w 3"/>
                            <a:gd name="T3" fmla="*/ 2 h 2"/>
                            <a:gd name="T4" fmla="*/ 3 w 3"/>
                            <a:gd name="T5" fmla="*/ 3 h 2"/>
                            <a:gd name="T6" fmla="*/ 0 w 3"/>
                            <a:gd name="T7" fmla="*/ 0 h 2"/>
                            <a:gd name="T8" fmla="*/ 3 w 3"/>
                            <a:gd name="T9" fmla="*/ 0 h 2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3"/>
                            <a:gd name="T16" fmla="*/ 0 h 2"/>
                            <a:gd name="T17" fmla="*/ 3 w 3"/>
                            <a:gd name="T18" fmla="*/ 2 h 2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3" h="2">
                              <a:moveTo>
                                <a:pt x="2" y="0"/>
                              </a:moveTo>
                              <a:cubicBezTo>
                                <a:pt x="3" y="0"/>
                                <a:pt x="3" y="1"/>
                                <a:pt x="3" y="1"/>
                              </a:cubicBezTo>
                              <a:cubicBezTo>
                                <a:pt x="3" y="2"/>
                                <a:pt x="2" y="2"/>
                                <a:pt x="2" y="2"/>
                              </a:cubicBezTo>
                              <a:cubicBezTo>
                                <a:pt x="1" y="1"/>
                                <a:pt x="0" y="1"/>
                                <a:pt x="0" y="0"/>
                              </a:cubicBezTo>
                              <a:cubicBezTo>
                                <a:pt x="1" y="0"/>
                                <a:pt x="2" y="0"/>
                                <a:pt x="2" y="0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57" name="Oval 3382"/>
                        <p:cNvSpPr>
                          <a:spLocks noChangeAspect="1" noChangeArrowheads="1"/>
                        </p:cNvSpPr>
                        <p:nvPr/>
                      </p:nvSpPr>
                      <p:spPr bwMode="auto">
                        <a:xfrm>
                          <a:off x="3048351" y="3604045"/>
                          <a:ext cx="2237" cy="2493"/>
                        </a:xfrm>
                        <a:prstGeom prst="ellipse">
                          <a:avLst/>
                        </a:pr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58" name="Freeform 3383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48351" y="3584109"/>
                          <a:ext cx="4474" cy="3322"/>
                        </a:xfrm>
                        <a:custGeom>
                          <a:avLst/>
                          <a:gdLst>
                            <a:gd name="T0" fmla="*/ 3 w 3"/>
                            <a:gd name="T1" fmla="*/ 3 h 3"/>
                            <a:gd name="T2" fmla="*/ 0 w 3"/>
                            <a:gd name="T3" fmla="*/ 3 h 3"/>
                            <a:gd name="T4" fmla="*/ 1 w 3"/>
                            <a:gd name="T5" fmla="*/ 1 h 3"/>
                            <a:gd name="T6" fmla="*/ 3 w 3"/>
                            <a:gd name="T7" fmla="*/ 1 h 3"/>
                            <a:gd name="T8" fmla="*/ 3 w 3"/>
                            <a:gd name="T9" fmla="*/ 3 h 3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3"/>
                            <a:gd name="T16" fmla="*/ 0 h 3"/>
                            <a:gd name="T17" fmla="*/ 3 w 3"/>
                            <a:gd name="T18" fmla="*/ 3 h 3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3" h="3">
                              <a:moveTo>
                                <a:pt x="2" y="2"/>
                              </a:moveTo>
                              <a:cubicBezTo>
                                <a:pt x="1" y="3"/>
                                <a:pt x="1" y="3"/>
                                <a:pt x="0" y="2"/>
                              </a:cubicBezTo>
                              <a:cubicBezTo>
                                <a:pt x="0" y="2"/>
                                <a:pt x="1" y="1"/>
                                <a:pt x="1" y="1"/>
                              </a:cubicBezTo>
                              <a:cubicBezTo>
                                <a:pt x="1" y="1"/>
                                <a:pt x="2" y="0"/>
                                <a:pt x="2" y="1"/>
                              </a:cubicBezTo>
                              <a:cubicBezTo>
                                <a:pt x="3" y="2"/>
                                <a:pt x="2" y="2"/>
                                <a:pt x="2" y="2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59" name="Freeform 3384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81905" y="3654716"/>
                          <a:ext cx="4474" cy="3322"/>
                        </a:xfrm>
                        <a:custGeom>
                          <a:avLst/>
                          <a:gdLst>
                            <a:gd name="T0" fmla="*/ 4 w 3"/>
                            <a:gd name="T1" fmla="*/ 3 h 3"/>
                            <a:gd name="T2" fmla="*/ 1 w 3"/>
                            <a:gd name="T3" fmla="*/ 4 h 3"/>
                            <a:gd name="T4" fmla="*/ 0 w 3"/>
                            <a:gd name="T5" fmla="*/ 3 h 3"/>
                            <a:gd name="T6" fmla="*/ 1 w 3"/>
                            <a:gd name="T7" fmla="*/ 0 h 3"/>
                            <a:gd name="T8" fmla="*/ 4 w 3"/>
                            <a:gd name="T9" fmla="*/ 3 h 3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3"/>
                            <a:gd name="T16" fmla="*/ 0 h 3"/>
                            <a:gd name="T17" fmla="*/ 3 w 3"/>
                            <a:gd name="T18" fmla="*/ 3 h 3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3" h="3">
                              <a:moveTo>
                                <a:pt x="3" y="2"/>
                              </a:moveTo>
                              <a:cubicBezTo>
                                <a:pt x="3" y="2"/>
                                <a:pt x="2" y="3"/>
                                <a:pt x="1" y="3"/>
                              </a:cubicBezTo>
                              <a:cubicBezTo>
                                <a:pt x="0" y="3"/>
                                <a:pt x="0" y="2"/>
                                <a:pt x="0" y="2"/>
                              </a:cubicBezTo>
                              <a:cubicBezTo>
                                <a:pt x="0" y="1"/>
                                <a:pt x="0" y="0"/>
                                <a:pt x="1" y="0"/>
                              </a:cubicBezTo>
                              <a:cubicBezTo>
                                <a:pt x="3" y="0"/>
                                <a:pt x="3" y="1"/>
                                <a:pt x="3" y="2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60" name="Freeform 3385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55061" y="3672160"/>
                          <a:ext cx="3356" cy="1661"/>
                        </a:xfrm>
                        <a:custGeom>
                          <a:avLst/>
                          <a:gdLst>
                            <a:gd name="T0" fmla="*/ 3 w 2"/>
                            <a:gd name="T1" fmla="*/ 1 h 2"/>
                            <a:gd name="T2" fmla="*/ 2 w 2"/>
                            <a:gd name="T3" fmla="*/ 2 h 2"/>
                            <a:gd name="T4" fmla="*/ 0 w 2"/>
                            <a:gd name="T5" fmla="*/ 2 h 2"/>
                            <a:gd name="T6" fmla="*/ 0 w 2"/>
                            <a:gd name="T7" fmla="*/ 0 h 2"/>
                            <a:gd name="T8" fmla="*/ 3 w 2"/>
                            <a:gd name="T9" fmla="*/ 1 h 2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2"/>
                            <a:gd name="T16" fmla="*/ 0 h 2"/>
                            <a:gd name="T17" fmla="*/ 2 w 2"/>
                            <a:gd name="T18" fmla="*/ 2 h 2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2" h="2">
                              <a:moveTo>
                                <a:pt x="2" y="1"/>
                              </a:moveTo>
                              <a:cubicBezTo>
                                <a:pt x="2" y="1"/>
                                <a:pt x="2" y="2"/>
                                <a:pt x="1" y="2"/>
                              </a:cubicBezTo>
                              <a:cubicBezTo>
                                <a:pt x="1" y="2"/>
                                <a:pt x="0" y="2"/>
                                <a:pt x="0" y="2"/>
                              </a:cubicBezTo>
                              <a:cubicBezTo>
                                <a:pt x="0" y="1"/>
                                <a:pt x="0" y="0"/>
                                <a:pt x="0" y="0"/>
                              </a:cubicBezTo>
                              <a:cubicBezTo>
                                <a:pt x="1" y="0"/>
                                <a:pt x="1" y="1"/>
                                <a:pt x="2" y="1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61" name="Freeform 3386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53943" y="3675482"/>
                          <a:ext cx="3356" cy="2493"/>
                        </a:xfrm>
                        <a:custGeom>
                          <a:avLst/>
                          <a:gdLst>
                            <a:gd name="T0" fmla="*/ 2 w 2"/>
                            <a:gd name="T1" fmla="*/ 2 h 3"/>
                            <a:gd name="T2" fmla="*/ 2 w 2"/>
                            <a:gd name="T3" fmla="*/ 3 h 3"/>
                            <a:gd name="T4" fmla="*/ 0 w 2"/>
                            <a:gd name="T5" fmla="*/ 2 h 3"/>
                            <a:gd name="T6" fmla="*/ 2 w 2"/>
                            <a:gd name="T7" fmla="*/ 0 h 3"/>
                            <a:gd name="T8" fmla="*/ 2 w 2"/>
                            <a:gd name="T9" fmla="*/ 2 h 3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2"/>
                            <a:gd name="T16" fmla="*/ 0 h 3"/>
                            <a:gd name="T17" fmla="*/ 2 w 2"/>
                            <a:gd name="T18" fmla="*/ 3 h 3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2" h="3">
                              <a:moveTo>
                                <a:pt x="1" y="2"/>
                              </a:moveTo>
                              <a:cubicBezTo>
                                <a:pt x="1" y="2"/>
                                <a:pt x="1" y="3"/>
                                <a:pt x="1" y="3"/>
                              </a:cubicBezTo>
                              <a:cubicBezTo>
                                <a:pt x="0" y="3"/>
                                <a:pt x="0" y="2"/>
                                <a:pt x="0" y="2"/>
                              </a:cubicBezTo>
                              <a:cubicBezTo>
                                <a:pt x="0" y="1"/>
                                <a:pt x="0" y="0"/>
                                <a:pt x="1" y="0"/>
                              </a:cubicBezTo>
                              <a:cubicBezTo>
                                <a:pt x="2" y="1"/>
                                <a:pt x="1" y="1"/>
                                <a:pt x="1" y="2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62" name="Freeform 3387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58416" y="3670499"/>
                          <a:ext cx="2237" cy="2493"/>
                        </a:xfrm>
                        <a:custGeom>
                          <a:avLst/>
                          <a:gdLst>
                            <a:gd name="T0" fmla="*/ 2 w 2"/>
                            <a:gd name="T1" fmla="*/ 2 h 3"/>
                            <a:gd name="T2" fmla="*/ 1 w 2"/>
                            <a:gd name="T3" fmla="*/ 3 h 3"/>
                            <a:gd name="T4" fmla="*/ 0 w 2"/>
                            <a:gd name="T5" fmla="*/ 2 h 3"/>
                            <a:gd name="T6" fmla="*/ 1 w 2"/>
                            <a:gd name="T7" fmla="*/ 1 h 3"/>
                            <a:gd name="T8" fmla="*/ 2 w 2"/>
                            <a:gd name="T9" fmla="*/ 2 h 3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2"/>
                            <a:gd name="T16" fmla="*/ 0 h 3"/>
                            <a:gd name="T17" fmla="*/ 2 w 2"/>
                            <a:gd name="T18" fmla="*/ 3 h 3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2" h="3">
                              <a:moveTo>
                                <a:pt x="2" y="2"/>
                              </a:moveTo>
                              <a:cubicBezTo>
                                <a:pt x="2" y="3"/>
                                <a:pt x="1" y="3"/>
                                <a:pt x="1" y="3"/>
                              </a:cubicBezTo>
                              <a:cubicBezTo>
                                <a:pt x="0" y="3"/>
                                <a:pt x="0" y="2"/>
                                <a:pt x="0" y="2"/>
                              </a:cubicBezTo>
                              <a:cubicBezTo>
                                <a:pt x="0" y="1"/>
                                <a:pt x="0" y="0"/>
                                <a:pt x="1" y="1"/>
                              </a:cubicBezTo>
                              <a:cubicBezTo>
                                <a:pt x="2" y="1"/>
                                <a:pt x="2" y="2"/>
                                <a:pt x="2" y="2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63" name="Freeform 3388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59536" y="3667175"/>
                          <a:ext cx="2237" cy="3322"/>
                        </a:xfrm>
                        <a:custGeom>
                          <a:avLst/>
                          <a:gdLst>
                            <a:gd name="T0" fmla="*/ 2 w 2"/>
                            <a:gd name="T1" fmla="*/ 3 h 3"/>
                            <a:gd name="T2" fmla="*/ 1 w 2"/>
                            <a:gd name="T3" fmla="*/ 4 h 3"/>
                            <a:gd name="T4" fmla="*/ 0 w 2"/>
                            <a:gd name="T5" fmla="*/ 3 h 3"/>
                            <a:gd name="T6" fmla="*/ 1 w 2"/>
                            <a:gd name="T7" fmla="*/ 0 h 3"/>
                            <a:gd name="T8" fmla="*/ 2 w 2"/>
                            <a:gd name="T9" fmla="*/ 3 h 3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2"/>
                            <a:gd name="T16" fmla="*/ 0 h 3"/>
                            <a:gd name="T17" fmla="*/ 2 w 2"/>
                            <a:gd name="T18" fmla="*/ 3 h 3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2" h="3">
                              <a:moveTo>
                                <a:pt x="2" y="2"/>
                              </a:moveTo>
                              <a:cubicBezTo>
                                <a:pt x="1" y="2"/>
                                <a:pt x="1" y="3"/>
                                <a:pt x="1" y="3"/>
                              </a:cubicBezTo>
                              <a:cubicBezTo>
                                <a:pt x="0" y="3"/>
                                <a:pt x="0" y="2"/>
                                <a:pt x="0" y="2"/>
                              </a:cubicBezTo>
                              <a:cubicBezTo>
                                <a:pt x="0" y="1"/>
                                <a:pt x="0" y="0"/>
                                <a:pt x="1" y="0"/>
                              </a:cubicBezTo>
                              <a:cubicBezTo>
                                <a:pt x="2" y="1"/>
                                <a:pt x="2" y="1"/>
                                <a:pt x="2" y="2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64" name="Freeform 3389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60653" y="3673821"/>
                          <a:ext cx="3356" cy="3322"/>
                        </a:xfrm>
                        <a:custGeom>
                          <a:avLst/>
                          <a:gdLst>
                            <a:gd name="T0" fmla="*/ 3 w 2"/>
                            <a:gd name="T1" fmla="*/ 3 h 3"/>
                            <a:gd name="T2" fmla="*/ 2 w 2"/>
                            <a:gd name="T3" fmla="*/ 4 h 3"/>
                            <a:gd name="T4" fmla="*/ 0 w 2"/>
                            <a:gd name="T5" fmla="*/ 3 h 3"/>
                            <a:gd name="T6" fmla="*/ 2 w 2"/>
                            <a:gd name="T7" fmla="*/ 0 h 3"/>
                            <a:gd name="T8" fmla="*/ 3 w 2"/>
                            <a:gd name="T9" fmla="*/ 3 h 3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2"/>
                            <a:gd name="T16" fmla="*/ 0 h 3"/>
                            <a:gd name="T17" fmla="*/ 2 w 2"/>
                            <a:gd name="T18" fmla="*/ 3 h 3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2" h="3">
                              <a:moveTo>
                                <a:pt x="2" y="2"/>
                              </a:moveTo>
                              <a:cubicBezTo>
                                <a:pt x="2" y="2"/>
                                <a:pt x="1" y="3"/>
                                <a:pt x="1" y="3"/>
                              </a:cubicBezTo>
                              <a:cubicBezTo>
                                <a:pt x="0" y="3"/>
                                <a:pt x="0" y="2"/>
                                <a:pt x="0" y="2"/>
                              </a:cubicBezTo>
                              <a:cubicBezTo>
                                <a:pt x="0" y="1"/>
                                <a:pt x="0" y="0"/>
                                <a:pt x="1" y="0"/>
                              </a:cubicBezTo>
                              <a:cubicBezTo>
                                <a:pt x="2" y="0"/>
                                <a:pt x="2" y="1"/>
                                <a:pt x="2" y="2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65" name="Oval 3390"/>
                        <p:cNvSpPr>
                          <a:spLocks noChangeAspect="1" noChangeArrowheads="1"/>
                        </p:cNvSpPr>
                        <p:nvPr/>
                      </p:nvSpPr>
                      <p:spPr bwMode="auto">
                        <a:xfrm>
                          <a:off x="3059536" y="3658869"/>
                          <a:ext cx="1118" cy="3322"/>
                        </a:xfrm>
                        <a:prstGeom prst="ellipse">
                          <a:avLst/>
                        </a:pr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66" name="Freeform 3391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55061" y="3651392"/>
                          <a:ext cx="4474" cy="1661"/>
                        </a:xfrm>
                        <a:custGeom>
                          <a:avLst/>
                          <a:gdLst>
                            <a:gd name="T0" fmla="*/ 1 w 3"/>
                            <a:gd name="T1" fmla="*/ 1 h 2"/>
                            <a:gd name="T2" fmla="*/ 0 w 3"/>
                            <a:gd name="T3" fmla="*/ 1 h 2"/>
                            <a:gd name="T4" fmla="*/ 1 w 3"/>
                            <a:gd name="T5" fmla="*/ 0 h 2"/>
                            <a:gd name="T6" fmla="*/ 4 w 3"/>
                            <a:gd name="T7" fmla="*/ 0 h 2"/>
                            <a:gd name="T8" fmla="*/ 1 w 3"/>
                            <a:gd name="T9" fmla="*/ 1 h 2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3"/>
                            <a:gd name="T16" fmla="*/ 0 h 2"/>
                            <a:gd name="T17" fmla="*/ 3 w 3"/>
                            <a:gd name="T18" fmla="*/ 2 h 2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3" h="2">
                              <a:moveTo>
                                <a:pt x="1" y="1"/>
                              </a:moveTo>
                              <a:cubicBezTo>
                                <a:pt x="1" y="2"/>
                                <a:pt x="0" y="2"/>
                                <a:pt x="0" y="1"/>
                              </a:cubicBezTo>
                              <a:cubicBezTo>
                                <a:pt x="0" y="1"/>
                                <a:pt x="1" y="0"/>
                                <a:pt x="1" y="0"/>
                              </a:cubicBezTo>
                              <a:cubicBezTo>
                                <a:pt x="2" y="0"/>
                                <a:pt x="3" y="0"/>
                                <a:pt x="3" y="0"/>
                              </a:cubicBezTo>
                              <a:cubicBezTo>
                                <a:pt x="3" y="1"/>
                                <a:pt x="2" y="1"/>
                                <a:pt x="1" y="1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67" name="Freeform 3392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65128" y="3639763"/>
                          <a:ext cx="2237" cy="3322"/>
                        </a:xfrm>
                        <a:custGeom>
                          <a:avLst/>
                          <a:gdLst>
                            <a:gd name="T0" fmla="*/ 1 w 2"/>
                            <a:gd name="T1" fmla="*/ 4 h 3"/>
                            <a:gd name="T2" fmla="*/ 0 w 2"/>
                            <a:gd name="T3" fmla="*/ 4 h 3"/>
                            <a:gd name="T4" fmla="*/ 0 w 2"/>
                            <a:gd name="T5" fmla="*/ 1 h 3"/>
                            <a:gd name="T6" fmla="*/ 2 w 2"/>
                            <a:gd name="T7" fmla="*/ 1 h 3"/>
                            <a:gd name="T8" fmla="*/ 1 w 2"/>
                            <a:gd name="T9" fmla="*/ 4 h 3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2"/>
                            <a:gd name="T16" fmla="*/ 0 h 3"/>
                            <a:gd name="T17" fmla="*/ 2 w 2"/>
                            <a:gd name="T18" fmla="*/ 3 h 3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2" h="3">
                              <a:moveTo>
                                <a:pt x="1" y="3"/>
                              </a:moveTo>
                              <a:cubicBezTo>
                                <a:pt x="1" y="3"/>
                                <a:pt x="1" y="3"/>
                                <a:pt x="0" y="3"/>
                              </a:cubicBezTo>
                              <a:cubicBezTo>
                                <a:pt x="0" y="2"/>
                                <a:pt x="0" y="2"/>
                                <a:pt x="0" y="1"/>
                              </a:cubicBezTo>
                              <a:cubicBezTo>
                                <a:pt x="1" y="1"/>
                                <a:pt x="1" y="0"/>
                                <a:pt x="2" y="1"/>
                              </a:cubicBezTo>
                              <a:cubicBezTo>
                                <a:pt x="2" y="1"/>
                                <a:pt x="2" y="2"/>
                                <a:pt x="1" y="3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68" name="Freeform 3393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61773" y="3692096"/>
                          <a:ext cx="4474" cy="1661"/>
                        </a:xfrm>
                        <a:custGeom>
                          <a:avLst/>
                          <a:gdLst>
                            <a:gd name="T0" fmla="*/ 3 w 3"/>
                            <a:gd name="T1" fmla="*/ 1 h 2"/>
                            <a:gd name="T2" fmla="*/ 3 w 3"/>
                            <a:gd name="T3" fmla="*/ 2 h 2"/>
                            <a:gd name="T4" fmla="*/ 1 w 3"/>
                            <a:gd name="T5" fmla="*/ 2 h 2"/>
                            <a:gd name="T6" fmla="*/ 0 w 3"/>
                            <a:gd name="T7" fmla="*/ 0 h 2"/>
                            <a:gd name="T8" fmla="*/ 3 w 3"/>
                            <a:gd name="T9" fmla="*/ 1 h 2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3"/>
                            <a:gd name="T16" fmla="*/ 0 h 2"/>
                            <a:gd name="T17" fmla="*/ 3 w 3"/>
                            <a:gd name="T18" fmla="*/ 2 h 2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3" h="2">
                              <a:moveTo>
                                <a:pt x="2" y="1"/>
                              </a:moveTo>
                              <a:cubicBezTo>
                                <a:pt x="2" y="1"/>
                                <a:pt x="3" y="2"/>
                                <a:pt x="2" y="2"/>
                              </a:cubicBezTo>
                              <a:cubicBezTo>
                                <a:pt x="2" y="2"/>
                                <a:pt x="1" y="2"/>
                                <a:pt x="1" y="2"/>
                              </a:cubicBezTo>
                              <a:cubicBezTo>
                                <a:pt x="0" y="1"/>
                                <a:pt x="0" y="1"/>
                                <a:pt x="0" y="0"/>
                              </a:cubicBezTo>
                              <a:cubicBezTo>
                                <a:pt x="1" y="0"/>
                                <a:pt x="2" y="0"/>
                                <a:pt x="2" y="1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69" name="Freeform 3394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84142" y="3713693"/>
                          <a:ext cx="2237" cy="3322"/>
                        </a:xfrm>
                        <a:custGeom>
                          <a:avLst/>
                          <a:gdLst>
                            <a:gd name="T0" fmla="*/ 2 w 2"/>
                            <a:gd name="T1" fmla="*/ 1 h 3"/>
                            <a:gd name="T2" fmla="*/ 1 w 2"/>
                            <a:gd name="T3" fmla="*/ 4 h 3"/>
                            <a:gd name="T4" fmla="*/ 0 w 2"/>
                            <a:gd name="T5" fmla="*/ 3 h 3"/>
                            <a:gd name="T6" fmla="*/ 0 w 2"/>
                            <a:gd name="T7" fmla="*/ 0 h 3"/>
                            <a:gd name="T8" fmla="*/ 2 w 2"/>
                            <a:gd name="T9" fmla="*/ 1 h 3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2"/>
                            <a:gd name="T16" fmla="*/ 0 h 3"/>
                            <a:gd name="T17" fmla="*/ 2 w 2"/>
                            <a:gd name="T18" fmla="*/ 3 h 3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2" h="3">
                              <a:moveTo>
                                <a:pt x="2" y="1"/>
                              </a:moveTo>
                              <a:cubicBezTo>
                                <a:pt x="2" y="2"/>
                                <a:pt x="2" y="2"/>
                                <a:pt x="1" y="3"/>
                              </a:cubicBezTo>
                              <a:cubicBezTo>
                                <a:pt x="1" y="3"/>
                                <a:pt x="0" y="2"/>
                                <a:pt x="0" y="2"/>
                              </a:cubicBezTo>
                              <a:cubicBezTo>
                                <a:pt x="0" y="1"/>
                                <a:pt x="0" y="0"/>
                                <a:pt x="0" y="0"/>
                              </a:cubicBezTo>
                              <a:cubicBezTo>
                                <a:pt x="1" y="0"/>
                                <a:pt x="1" y="1"/>
                                <a:pt x="2" y="1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70" name="Freeform 3395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71838" y="3697910"/>
                          <a:ext cx="2237" cy="3322"/>
                        </a:xfrm>
                        <a:custGeom>
                          <a:avLst/>
                          <a:gdLst>
                            <a:gd name="T0" fmla="*/ 2 w 2"/>
                            <a:gd name="T1" fmla="*/ 3 h 3"/>
                            <a:gd name="T2" fmla="*/ 1 w 2"/>
                            <a:gd name="T3" fmla="*/ 3 h 3"/>
                            <a:gd name="T4" fmla="*/ 1 w 2"/>
                            <a:gd name="T5" fmla="*/ 1 h 3"/>
                            <a:gd name="T6" fmla="*/ 2 w 2"/>
                            <a:gd name="T7" fmla="*/ 0 h 3"/>
                            <a:gd name="T8" fmla="*/ 2 w 2"/>
                            <a:gd name="T9" fmla="*/ 3 h 3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2"/>
                            <a:gd name="T16" fmla="*/ 0 h 3"/>
                            <a:gd name="T17" fmla="*/ 2 w 2"/>
                            <a:gd name="T18" fmla="*/ 3 h 3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2" h="3">
                              <a:moveTo>
                                <a:pt x="2" y="2"/>
                              </a:moveTo>
                              <a:cubicBezTo>
                                <a:pt x="2" y="2"/>
                                <a:pt x="1" y="3"/>
                                <a:pt x="1" y="2"/>
                              </a:cubicBezTo>
                              <a:cubicBezTo>
                                <a:pt x="0" y="2"/>
                                <a:pt x="0" y="2"/>
                                <a:pt x="1" y="1"/>
                              </a:cubicBezTo>
                              <a:cubicBezTo>
                                <a:pt x="1" y="1"/>
                                <a:pt x="1" y="0"/>
                                <a:pt x="2" y="0"/>
                              </a:cubicBezTo>
                              <a:cubicBezTo>
                                <a:pt x="2" y="0"/>
                                <a:pt x="2" y="1"/>
                                <a:pt x="2" y="2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71" name="Freeform 3396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77432" y="3730306"/>
                          <a:ext cx="3356" cy="1661"/>
                        </a:xfrm>
                        <a:custGeom>
                          <a:avLst/>
                          <a:gdLst>
                            <a:gd name="T0" fmla="*/ 1 w 3"/>
                            <a:gd name="T1" fmla="*/ 2 h 2"/>
                            <a:gd name="T2" fmla="*/ 0 w 3"/>
                            <a:gd name="T3" fmla="*/ 1 h 2"/>
                            <a:gd name="T4" fmla="*/ 1 w 3"/>
                            <a:gd name="T5" fmla="*/ 0 h 2"/>
                            <a:gd name="T6" fmla="*/ 3 w 3"/>
                            <a:gd name="T7" fmla="*/ 1 h 2"/>
                            <a:gd name="T8" fmla="*/ 1 w 3"/>
                            <a:gd name="T9" fmla="*/ 2 h 2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3"/>
                            <a:gd name="T16" fmla="*/ 0 h 2"/>
                            <a:gd name="T17" fmla="*/ 3 w 3"/>
                            <a:gd name="T18" fmla="*/ 2 h 2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3" h="2">
                              <a:moveTo>
                                <a:pt x="1" y="2"/>
                              </a:moveTo>
                              <a:cubicBezTo>
                                <a:pt x="1" y="2"/>
                                <a:pt x="0" y="1"/>
                                <a:pt x="0" y="1"/>
                              </a:cubicBezTo>
                              <a:cubicBezTo>
                                <a:pt x="0" y="0"/>
                                <a:pt x="1" y="0"/>
                                <a:pt x="1" y="0"/>
                              </a:cubicBezTo>
                              <a:cubicBezTo>
                                <a:pt x="2" y="0"/>
                                <a:pt x="3" y="0"/>
                                <a:pt x="3" y="1"/>
                              </a:cubicBezTo>
                              <a:cubicBezTo>
                                <a:pt x="3" y="2"/>
                                <a:pt x="2" y="2"/>
                                <a:pt x="1" y="2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72" name="Freeform 3397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209413" y="3787622"/>
                          <a:ext cx="4474" cy="3322"/>
                        </a:xfrm>
                        <a:custGeom>
                          <a:avLst/>
                          <a:gdLst>
                            <a:gd name="T0" fmla="*/ 3 w 3"/>
                            <a:gd name="T1" fmla="*/ 3 h 3"/>
                            <a:gd name="T2" fmla="*/ 1 w 3"/>
                            <a:gd name="T3" fmla="*/ 3 h 3"/>
                            <a:gd name="T4" fmla="*/ 1 w 3"/>
                            <a:gd name="T5" fmla="*/ 1 h 3"/>
                            <a:gd name="T6" fmla="*/ 3 w 3"/>
                            <a:gd name="T7" fmla="*/ 0 h 3"/>
                            <a:gd name="T8" fmla="*/ 3 w 3"/>
                            <a:gd name="T9" fmla="*/ 3 h 3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3"/>
                            <a:gd name="T16" fmla="*/ 0 h 3"/>
                            <a:gd name="T17" fmla="*/ 3 w 3"/>
                            <a:gd name="T18" fmla="*/ 3 h 3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3" h="3">
                              <a:moveTo>
                                <a:pt x="2" y="2"/>
                              </a:moveTo>
                              <a:cubicBezTo>
                                <a:pt x="2" y="2"/>
                                <a:pt x="1" y="3"/>
                                <a:pt x="1" y="2"/>
                              </a:cubicBezTo>
                              <a:cubicBezTo>
                                <a:pt x="0" y="2"/>
                                <a:pt x="1" y="1"/>
                                <a:pt x="1" y="1"/>
                              </a:cubicBezTo>
                              <a:cubicBezTo>
                                <a:pt x="1" y="1"/>
                                <a:pt x="2" y="0"/>
                                <a:pt x="2" y="0"/>
                              </a:cubicBezTo>
                              <a:cubicBezTo>
                                <a:pt x="3" y="1"/>
                                <a:pt x="2" y="2"/>
                                <a:pt x="2" y="2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73" name="Freeform 3398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201583" y="3800913"/>
                          <a:ext cx="4474" cy="1661"/>
                        </a:xfrm>
                        <a:custGeom>
                          <a:avLst/>
                          <a:gdLst>
                            <a:gd name="T0" fmla="*/ 1 w 3"/>
                            <a:gd name="T1" fmla="*/ 2 h 2"/>
                            <a:gd name="T2" fmla="*/ 0 w 3"/>
                            <a:gd name="T3" fmla="*/ 2 h 2"/>
                            <a:gd name="T4" fmla="*/ 1 w 3"/>
                            <a:gd name="T5" fmla="*/ 0 h 2"/>
                            <a:gd name="T6" fmla="*/ 3 w 3"/>
                            <a:gd name="T7" fmla="*/ 0 h 2"/>
                            <a:gd name="T8" fmla="*/ 1 w 3"/>
                            <a:gd name="T9" fmla="*/ 2 h 2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3"/>
                            <a:gd name="T16" fmla="*/ 0 h 2"/>
                            <a:gd name="T17" fmla="*/ 3 w 3"/>
                            <a:gd name="T18" fmla="*/ 2 h 2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3" h="2">
                              <a:moveTo>
                                <a:pt x="1" y="2"/>
                              </a:moveTo>
                              <a:cubicBezTo>
                                <a:pt x="1" y="2"/>
                                <a:pt x="0" y="2"/>
                                <a:pt x="0" y="2"/>
                              </a:cubicBezTo>
                              <a:cubicBezTo>
                                <a:pt x="0" y="1"/>
                                <a:pt x="0" y="0"/>
                                <a:pt x="1" y="0"/>
                              </a:cubicBezTo>
                              <a:cubicBezTo>
                                <a:pt x="1" y="0"/>
                                <a:pt x="2" y="0"/>
                                <a:pt x="2" y="0"/>
                              </a:cubicBezTo>
                              <a:cubicBezTo>
                                <a:pt x="3" y="1"/>
                                <a:pt x="2" y="1"/>
                                <a:pt x="1" y="2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74" name="Freeform 3482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175858" y="3740274"/>
                          <a:ext cx="63754" cy="44856"/>
                        </a:xfrm>
                        <a:custGeom>
                          <a:avLst/>
                          <a:gdLst>
                            <a:gd name="T0" fmla="*/ 29 w 47"/>
                            <a:gd name="T1" fmla="*/ 53 h 45"/>
                            <a:gd name="T2" fmla="*/ 44 w 47"/>
                            <a:gd name="T3" fmla="*/ 54 h 45"/>
                            <a:gd name="T4" fmla="*/ 56 w 47"/>
                            <a:gd name="T5" fmla="*/ 48 h 45"/>
                            <a:gd name="T6" fmla="*/ 56 w 47"/>
                            <a:gd name="T7" fmla="*/ 44 h 45"/>
                            <a:gd name="T8" fmla="*/ 45 w 47"/>
                            <a:gd name="T9" fmla="*/ 43 h 45"/>
                            <a:gd name="T10" fmla="*/ 33 w 47"/>
                            <a:gd name="T11" fmla="*/ 36 h 45"/>
                            <a:gd name="T12" fmla="*/ 17 w 47"/>
                            <a:gd name="T13" fmla="*/ 25 h 45"/>
                            <a:gd name="T14" fmla="*/ 8 w 47"/>
                            <a:gd name="T15" fmla="*/ 17 h 45"/>
                            <a:gd name="T16" fmla="*/ 5 w 47"/>
                            <a:gd name="T17" fmla="*/ 12 h 45"/>
                            <a:gd name="T18" fmla="*/ 7 w 47"/>
                            <a:gd name="T19" fmla="*/ 8 h 45"/>
                            <a:gd name="T20" fmla="*/ 4 w 47"/>
                            <a:gd name="T21" fmla="*/ 1 h 45"/>
                            <a:gd name="T22" fmla="*/ 0 w 47"/>
                            <a:gd name="T23" fmla="*/ 0 h 45"/>
                            <a:gd name="T24" fmla="*/ 7 w 47"/>
                            <a:gd name="T25" fmla="*/ 48 h 45"/>
                            <a:gd name="T26" fmla="*/ 12 w 47"/>
                            <a:gd name="T27" fmla="*/ 48 h 45"/>
                            <a:gd name="T28" fmla="*/ 17 w 47"/>
                            <a:gd name="T29" fmla="*/ 50 h 45"/>
                            <a:gd name="T30" fmla="*/ 24 w 47"/>
                            <a:gd name="T31" fmla="*/ 50 h 45"/>
                            <a:gd name="T32" fmla="*/ 29 w 47"/>
                            <a:gd name="T33" fmla="*/ 53 h 45"/>
                            <a:gd name="T34" fmla="*/ 0 60000 65536"/>
                            <a:gd name="T35" fmla="*/ 0 60000 65536"/>
                            <a:gd name="T36" fmla="*/ 0 60000 65536"/>
                            <a:gd name="T37" fmla="*/ 0 60000 65536"/>
                            <a:gd name="T38" fmla="*/ 0 60000 65536"/>
                            <a:gd name="T39" fmla="*/ 0 60000 65536"/>
                            <a:gd name="T40" fmla="*/ 0 60000 65536"/>
                            <a:gd name="T41" fmla="*/ 0 60000 65536"/>
                            <a:gd name="T42" fmla="*/ 0 60000 65536"/>
                            <a:gd name="T43" fmla="*/ 0 60000 65536"/>
                            <a:gd name="T44" fmla="*/ 0 60000 65536"/>
                            <a:gd name="T45" fmla="*/ 0 60000 65536"/>
                            <a:gd name="T46" fmla="*/ 0 60000 65536"/>
                            <a:gd name="T47" fmla="*/ 0 60000 65536"/>
                            <a:gd name="T48" fmla="*/ 0 60000 65536"/>
                            <a:gd name="T49" fmla="*/ 0 60000 65536"/>
                            <a:gd name="T50" fmla="*/ 0 60000 65536"/>
                            <a:gd name="T51" fmla="*/ 0 w 47"/>
                            <a:gd name="T52" fmla="*/ 0 h 45"/>
                            <a:gd name="T53" fmla="*/ 47 w 47"/>
                            <a:gd name="T54" fmla="*/ 45 h 45"/>
                          </a:gdLst>
                          <a:ahLst/>
                          <a:cxnLst>
                            <a:cxn ang="T34">
                              <a:pos x="T0" y="T1"/>
                            </a:cxn>
                            <a:cxn ang="T35">
                              <a:pos x="T2" y="T3"/>
                            </a:cxn>
                            <a:cxn ang="T36">
                              <a:pos x="T4" y="T5"/>
                            </a:cxn>
                            <a:cxn ang="T37">
                              <a:pos x="T6" y="T7"/>
                            </a:cxn>
                            <a:cxn ang="T38">
                              <a:pos x="T8" y="T9"/>
                            </a:cxn>
                            <a:cxn ang="T39">
                              <a:pos x="T10" y="T11"/>
                            </a:cxn>
                            <a:cxn ang="T40">
                              <a:pos x="T12" y="T13"/>
                            </a:cxn>
                            <a:cxn ang="T41">
                              <a:pos x="T14" y="T15"/>
                            </a:cxn>
                            <a:cxn ang="T42">
                              <a:pos x="T16" y="T17"/>
                            </a:cxn>
                            <a:cxn ang="T43">
                              <a:pos x="T18" y="T19"/>
                            </a:cxn>
                            <a:cxn ang="T44">
                              <a:pos x="T20" y="T21"/>
                            </a:cxn>
                            <a:cxn ang="T45">
                              <a:pos x="T22" y="T23"/>
                            </a:cxn>
                            <a:cxn ang="T46">
                              <a:pos x="T24" y="T25"/>
                            </a:cxn>
                            <a:cxn ang="T47">
                              <a:pos x="T26" y="T27"/>
                            </a:cxn>
                            <a:cxn ang="T48">
                              <a:pos x="T28" y="T29"/>
                            </a:cxn>
                            <a:cxn ang="T49">
                              <a:pos x="T30" y="T31"/>
                            </a:cxn>
                            <a:cxn ang="T50">
                              <a:pos x="T32" y="T33"/>
                            </a:cxn>
                          </a:cxnLst>
                          <a:rect l="T51" t="T52" r="T53" b="T54"/>
                          <a:pathLst>
                            <a:path w="47" h="45">
                              <a:moveTo>
                                <a:pt x="24" y="44"/>
                              </a:moveTo>
                              <a:cubicBezTo>
                                <a:pt x="28" y="44"/>
                                <a:pt x="32" y="45"/>
                                <a:pt x="36" y="45"/>
                              </a:cubicBezTo>
                              <a:cubicBezTo>
                                <a:pt x="40" y="44"/>
                                <a:pt x="43" y="43"/>
                                <a:pt x="46" y="40"/>
                              </a:cubicBezTo>
                              <a:cubicBezTo>
                                <a:pt x="47" y="40"/>
                                <a:pt x="47" y="38"/>
                                <a:pt x="46" y="37"/>
                              </a:cubicBezTo>
                              <a:cubicBezTo>
                                <a:pt x="43" y="36"/>
                                <a:pt x="40" y="37"/>
                                <a:pt x="37" y="36"/>
                              </a:cubicBezTo>
                              <a:cubicBezTo>
                                <a:pt x="33" y="35"/>
                                <a:pt x="30" y="32"/>
                                <a:pt x="27" y="30"/>
                              </a:cubicBezTo>
                              <a:cubicBezTo>
                                <a:pt x="22" y="27"/>
                                <a:pt x="18" y="25"/>
                                <a:pt x="14" y="21"/>
                              </a:cubicBezTo>
                              <a:cubicBezTo>
                                <a:pt x="11" y="19"/>
                                <a:pt x="9" y="16"/>
                                <a:pt x="7" y="14"/>
                              </a:cubicBezTo>
                              <a:cubicBezTo>
                                <a:pt x="6" y="13"/>
                                <a:pt x="4" y="12"/>
                                <a:pt x="4" y="10"/>
                              </a:cubicBezTo>
                              <a:cubicBezTo>
                                <a:pt x="4" y="9"/>
                                <a:pt x="7" y="9"/>
                                <a:pt x="6" y="7"/>
                              </a:cubicBezTo>
                              <a:cubicBezTo>
                                <a:pt x="6" y="5"/>
                                <a:pt x="5" y="3"/>
                                <a:pt x="3" y="1"/>
                              </a:cubicBezTo>
                              <a:cubicBezTo>
                                <a:pt x="2" y="1"/>
                                <a:pt x="1" y="0"/>
                                <a:pt x="0" y="0"/>
                              </a:cubicBezTo>
                              <a:cubicBezTo>
                                <a:pt x="2" y="13"/>
                                <a:pt x="4" y="27"/>
                                <a:pt x="6" y="40"/>
                              </a:cubicBezTo>
                              <a:cubicBezTo>
                                <a:pt x="7" y="40"/>
                                <a:pt x="9" y="40"/>
                                <a:pt x="10" y="40"/>
                              </a:cubicBezTo>
                              <a:cubicBezTo>
                                <a:pt x="12" y="41"/>
                                <a:pt x="13" y="42"/>
                                <a:pt x="14" y="42"/>
                              </a:cubicBezTo>
                              <a:cubicBezTo>
                                <a:pt x="16" y="42"/>
                                <a:pt x="18" y="42"/>
                                <a:pt x="20" y="42"/>
                              </a:cubicBezTo>
                              <a:cubicBezTo>
                                <a:pt x="21" y="43"/>
                                <a:pt x="23" y="43"/>
                                <a:pt x="24" y="44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75" name="Freeform 3483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194873" y="3781807"/>
                          <a:ext cx="14540" cy="6646"/>
                        </a:xfrm>
                        <a:custGeom>
                          <a:avLst/>
                          <a:gdLst>
                            <a:gd name="T0" fmla="*/ 12 w 11"/>
                            <a:gd name="T1" fmla="*/ 2 h 7"/>
                            <a:gd name="T2" fmla="*/ 12 w 11"/>
                            <a:gd name="T3" fmla="*/ 8 h 7"/>
                            <a:gd name="T4" fmla="*/ 7 w 11"/>
                            <a:gd name="T5" fmla="*/ 6 h 7"/>
                            <a:gd name="T6" fmla="*/ 1 w 11"/>
                            <a:gd name="T7" fmla="*/ 7 h 7"/>
                            <a:gd name="T8" fmla="*/ 0 w 11"/>
                            <a:gd name="T9" fmla="*/ 3 h 7"/>
                            <a:gd name="T10" fmla="*/ 0 w 11"/>
                            <a:gd name="T11" fmla="*/ 0 h 7"/>
                            <a:gd name="T12" fmla="*/ 7 w 11"/>
                            <a:gd name="T13" fmla="*/ 0 h 7"/>
                            <a:gd name="T14" fmla="*/ 12 w 11"/>
                            <a:gd name="T15" fmla="*/ 2 h 7"/>
                            <a:gd name="T16" fmla="*/ 0 60000 65536"/>
                            <a:gd name="T17" fmla="*/ 0 60000 65536"/>
                            <a:gd name="T18" fmla="*/ 0 60000 65536"/>
                            <a:gd name="T19" fmla="*/ 0 60000 65536"/>
                            <a:gd name="T20" fmla="*/ 0 60000 65536"/>
                            <a:gd name="T21" fmla="*/ 0 60000 65536"/>
                            <a:gd name="T22" fmla="*/ 0 60000 65536"/>
                            <a:gd name="T23" fmla="*/ 0 60000 65536"/>
                            <a:gd name="T24" fmla="*/ 0 w 11"/>
                            <a:gd name="T25" fmla="*/ 0 h 7"/>
                            <a:gd name="T26" fmla="*/ 11 w 11"/>
                            <a:gd name="T27" fmla="*/ 7 h 7"/>
                          </a:gdLst>
                          <a:ahLst/>
                          <a:cxnLst>
                            <a:cxn ang="T16">
                              <a:pos x="T0" y="T1"/>
                            </a:cxn>
                            <a:cxn ang="T17">
                              <a:pos x="T2" y="T3"/>
                            </a:cxn>
                            <a:cxn ang="T18">
                              <a:pos x="T4" y="T5"/>
                            </a:cxn>
                            <a:cxn ang="T19">
                              <a:pos x="T6" y="T7"/>
                            </a:cxn>
                            <a:cxn ang="T20">
                              <a:pos x="T8" y="T9"/>
                            </a:cxn>
                            <a:cxn ang="T21">
                              <a:pos x="T10" y="T11"/>
                            </a:cxn>
                            <a:cxn ang="T22">
                              <a:pos x="T12" y="T13"/>
                            </a:cxn>
                            <a:cxn ang="T23">
                              <a:pos x="T14" y="T15"/>
                            </a:cxn>
                          </a:cxnLst>
                          <a:rect l="T24" t="T25" r="T26" b="T27"/>
                          <a:pathLst>
                            <a:path w="11" h="7">
                              <a:moveTo>
                                <a:pt x="10" y="2"/>
                              </a:moveTo>
                              <a:cubicBezTo>
                                <a:pt x="10" y="3"/>
                                <a:pt x="11" y="6"/>
                                <a:pt x="10" y="7"/>
                              </a:cubicBezTo>
                              <a:cubicBezTo>
                                <a:pt x="9" y="7"/>
                                <a:pt x="7" y="5"/>
                                <a:pt x="6" y="5"/>
                              </a:cubicBezTo>
                              <a:cubicBezTo>
                                <a:pt x="4" y="4"/>
                                <a:pt x="3" y="6"/>
                                <a:pt x="1" y="6"/>
                              </a:cubicBezTo>
                              <a:cubicBezTo>
                                <a:pt x="0" y="5"/>
                                <a:pt x="0" y="4"/>
                                <a:pt x="0" y="3"/>
                              </a:cubicBezTo>
                              <a:cubicBezTo>
                                <a:pt x="0" y="2"/>
                                <a:pt x="0" y="1"/>
                                <a:pt x="0" y="0"/>
                              </a:cubicBezTo>
                              <a:cubicBezTo>
                                <a:pt x="2" y="0"/>
                                <a:pt x="4" y="0"/>
                                <a:pt x="6" y="0"/>
                              </a:cubicBezTo>
                              <a:cubicBezTo>
                                <a:pt x="7" y="1"/>
                                <a:pt x="9" y="1"/>
                                <a:pt x="10" y="2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76" name="Freeform 3484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113224" y="3721169"/>
                          <a:ext cx="53687" cy="40702"/>
                        </a:xfrm>
                        <a:custGeom>
                          <a:avLst/>
                          <a:gdLst>
                            <a:gd name="T0" fmla="*/ 48 w 40"/>
                            <a:gd name="T1" fmla="*/ 14 h 41"/>
                            <a:gd name="T2" fmla="*/ 43 w 40"/>
                            <a:gd name="T3" fmla="*/ 18 h 41"/>
                            <a:gd name="T4" fmla="*/ 30 w 40"/>
                            <a:gd name="T5" fmla="*/ 22 h 41"/>
                            <a:gd name="T6" fmla="*/ 28 w 40"/>
                            <a:gd name="T7" fmla="*/ 32 h 41"/>
                            <a:gd name="T8" fmla="*/ 30 w 40"/>
                            <a:gd name="T9" fmla="*/ 45 h 41"/>
                            <a:gd name="T10" fmla="*/ 23 w 40"/>
                            <a:gd name="T11" fmla="*/ 49 h 41"/>
                            <a:gd name="T12" fmla="*/ 13 w 40"/>
                            <a:gd name="T13" fmla="*/ 41 h 41"/>
                            <a:gd name="T14" fmla="*/ 10 w 40"/>
                            <a:gd name="T15" fmla="*/ 36 h 41"/>
                            <a:gd name="T16" fmla="*/ 13 w 40"/>
                            <a:gd name="T17" fmla="*/ 33 h 41"/>
                            <a:gd name="T18" fmla="*/ 13 w 40"/>
                            <a:gd name="T19" fmla="*/ 38 h 41"/>
                            <a:gd name="T20" fmla="*/ 17 w 40"/>
                            <a:gd name="T21" fmla="*/ 37 h 41"/>
                            <a:gd name="T22" fmla="*/ 20 w 40"/>
                            <a:gd name="T23" fmla="*/ 31 h 41"/>
                            <a:gd name="T24" fmla="*/ 24 w 40"/>
                            <a:gd name="T25" fmla="*/ 24 h 41"/>
                            <a:gd name="T26" fmla="*/ 19 w 40"/>
                            <a:gd name="T27" fmla="*/ 22 h 41"/>
                            <a:gd name="T28" fmla="*/ 18 w 40"/>
                            <a:gd name="T29" fmla="*/ 19 h 41"/>
                            <a:gd name="T30" fmla="*/ 6 w 40"/>
                            <a:gd name="T31" fmla="*/ 19 h 41"/>
                            <a:gd name="T32" fmla="*/ 5 w 40"/>
                            <a:gd name="T33" fmla="*/ 22 h 41"/>
                            <a:gd name="T34" fmla="*/ 1 w 40"/>
                            <a:gd name="T35" fmla="*/ 18 h 41"/>
                            <a:gd name="T36" fmla="*/ 1 w 40"/>
                            <a:gd name="T37" fmla="*/ 16 h 41"/>
                            <a:gd name="T38" fmla="*/ 5 w 40"/>
                            <a:gd name="T39" fmla="*/ 13 h 41"/>
                            <a:gd name="T40" fmla="*/ 4 w 40"/>
                            <a:gd name="T41" fmla="*/ 8 h 41"/>
                            <a:gd name="T42" fmla="*/ 1 w 40"/>
                            <a:gd name="T43" fmla="*/ 5 h 41"/>
                            <a:gd name="T44" fmla="*/ 5 w 40"/>
                            <a:gd name="T45" fmla="*/ 0 h 41"/>
                            <a:gd name="T46" fmla="*/ 11 w 40"/>
                            <a:gd name="T47" fmla="*/ 11 h 41"/>
                            <a:gd name="T48" fmla="*/ 37 w 40"/>
                            <a:gd name="T49" fmla="*/ 11 h 41"/>
                            <a:gd name="T50" fmla="*/ 48 w 40"/>
                            <a:gd name="T51" fmla="*/ 14 h 41"/>
                            <a:gd name="T52" fmla="*/ 0 60000 65536"/>
                            <a:gd name="T53" fmla="*/ 0 60000 65536"/>
                            <a:gd name="T54" fmla="*/ 0 60000 65536"/>
                            <a:gd name="T55" fmla="*/ 0 60000 65536"/>
                            <a:gd name="T56" fmla="*/ 0 60000 65536"/>
                            <a:gd name="T57" fmla="*/ 0 60000 65536"/>
                            <a:gd name="T58" fmla="*/ 0 60000 65536"/>
                            <a:gd name="T59" fmla="*/ 0 60000 65536"/>
                            <a:gd name="T60" fmla="*/ 0 60000 65536"/>
                            <a:gd name="T61" fmla="*/ 0 60000 65536"/>
                            <a:gd name="T62" fmla="*/ 0 60000 65536"/>
                            <a:gd name="T63" fmla="*/ 0 60000 65536"/>
                            <a:gd name="T64" fmla="*/ 0 60000 65536"/>
                            <a:gd name="T65" fmla="*/ 0 60000 65536"/>
                            <a:gd name="T66" fmla="*/ 0 60000 65536"/>
                            <a:gd name="T67" fmla="*/ 0 60000 65536"/>
                            <a:gd name="T68" fmla="*/ 0 60000 65536"/>
                            <a:gd name="T69" fmla="*/ 0 60000 65536"/>
                            <a:gd name="T70" fmla="*/ 0 60000 65536"/>
                            <a:gd name="T71" fmla="*/ 0 60000 65536"/>
                            <a:gd name="T72" fmla="*/ 0 60000 65536"/>
                            <a:gd name="T73" fmla="*/ 0 60000 65536"/>
                            <a:gd name="T74" fmla="*/ 0 60000 65536"/>
                            <a:gd name="T75" fmla="*/ 0 60000 65536"/>
                            <a:gd name="T76" fmla="*/ 0 60000 65536"/>
                            <a:gd name="T77" fmla="*/ 0 60000 65536"/>
                            <a:gd name="T78" fmla="*/ 0 w 40"/>
                            <a:gd name="T79" fmla="*/ 0 h 41"/>
                            <a:gd name="T80" fmla="*/ 40 w 40"/>
                            <a:gd name="T81" fmla="*/ 41 h 41"/>
                          </a:gdLst>
                          <a:ahLst/>
                          <a:cxnLst>
                            <a:cxn ang="T52">
                              <a:pos x="T0" y="T1"/>
                            </a:cxn>
                            <a:cxn ang="T53">
                              <a:pos x="T2" y="T3"/>
                            </a:cxn>
                            <a:cxn ang="T54">
                              <a:pos x="T4" y="T5"/>
                            </a:cxn>
                            <a:cxn ang="T55">
                              <a:pos x="T6" y="T7"/>
                            </a:cxn>
                            <a:cxn ang="T56">
                              <a:pos x="T8" y="T9"/>
                            </a:cxn>
                            <a:cxn ang="T57">
                              <a:pos x="T10" y="T11"/>
                            </a:cxn>
                            <a:cxn ang="T58">
                              <a:pos x="T12" y="T13"/>
                            </a:cxn>
                            <a:cxn ang="T59">
                              <a:pos x="T14" y="T15"/>
                            </a:cxn>
                            <a:cxn ang="T60">
                              <a:pos x="T16" y="T17"/>
                            </a:cxn>
                            <a:cxn ang="T61">
                              <a:pos x="T18" y="T19"/>
                            </a:cxn>
                            <a:cxn ang="T62">
                              <a:pos x="T20" y="T21"/>
                            </a:cxn>
                            <a:cxn ang="T63">
                              <a:pos x="T22" y="T23"/>
                            </a:cxn>
                            <a:cxn ang="T64">
                              <a:pos x="T24" y="T25"/>
                            </a:cxn>
                            <a:cxn ang="T65">
                              <a:pos x="T26" y="T27"/>
                            </a:cxn>
                            <a:cxn ang="T66">
                              <a:pos x="T28" y="T29"/>
                            </a:cxn>
                            <a:cxn ang="T67">
                              <a:pos x="T30" y="T31"/>
                            </a:cxn>
                            <a:cxn ang="T68">
                              <a:pos x="T32" y="T33"/>
                            </a:cxn>
                            <a:cxn ang="T69">
                              <a:pos x="T34" y="T35"/>
                            </a:cxn>
                            <a:cxn ang="T70">
                              <a:pos x="T36" y="T37"/>
                            </a:cxn>
                            <a:cxn ang="T71">
                              <a:pos x="T38" y="T39"/>
                            </a:cxn>
                            <a:cxn ang="T72">
                              <a:pos x="T40" y="T41"/>
                            </a:cxn>
                            <a:cxn ang="T73">
                              <a:pos x="T42" y="T43"/>
                            </a:cxn>
                            <a:cxn ang="T74">
                              <a:pos x="T44" y="T45"/>
                            </a:cxn>
                            <a:cxn ang="T75">
                              <a:pos x="T46" y="T47"/>
                            </a:cxn>
                            <a:cxn ang="T76">
                              <a:pos x="T48" y="T49"/>
                            </a:cxn>
                            <a:cxn ang="T77">
                              <a:pos x="T50" y="T51"/>
                            </a:cxn>
                          </a:cxnLst>
                          <a:rect l="T78" t="T79" r="T80" b="T81"/>
                          <a:pathLst>
                            <a:path w="40" h="41">
                              <a:moveTo>
                                <a:pt x="40" y="12"/>
                              </a:moveTo>
                              <a:cubicBezTo>
                                <a:pt x="39" y="13"/>
                                <a:pt x="38" y="15"/>
                                <a:pt x="36" y="15"/>
                              </a:cubicBezTo>
                              <a:cubicBezTo>
                                <a:pt x="33" y="17"/>
                                <a:pt x="28" y="16"/>
                                <a:pt x="25" y="18"/>
                              </a:cubicBezTo>
                              <a:cubicBezTo>
                                <a:pt x="23" y="20"/>
                                <a:pt x="23" y="24"/>
                                <a:pt x="23" y="27"/>
                              </a:cubicBezTo>
                              <a:cubicBezTo>
                                <a:pt x="22" y="31"/>
                                <a:pt x="26" y="35"/>
                                <a:pt x="25" y="38"/>
                              </a:cubicBezTo>
                              <a:cubicBezTo>
                                <a:pt x="24" y="40"/>
                                <a:pt x="21" y="41"/>
                                <a:pt x="19" y="41"/>
                              </a:cubicBezTo>
                              <a:cubicBezTo>
                                <a:pt x="16" y="39"/>
                                <a:pt x="13" y="36"/>
                                <a:pt x="11" y="34"/>
                              </a:cubicBezTo>
                              <a:cubicBezTo>
                                <a:pt x="10" y="33"/>
                                <a:pt x="8" y="32"/>
                                <a:pt x="8" y="30"/>
                              </a:cubicBezTo>
                              <a:cubicBezTo>
                                <a:pt x="8" y="29"/>
                                <a:pt x="10" y="28"/>
                                <a:pt x="11" y="28"/>
                              </a:cubicBezTo>
                              <a:cubicBezTo>
                                <a:pt x="12" y="29"/>
                                <a:pt x="11" y="31"/>
                                <a:pt x="11" y="32"/>
                              </a:cubicBezTo>
                              <a:cubicBezTo>
                                <a:pt x="12" y="33"/>
                                <a:pt x="14" y="32"/>
                                <a:pt x="14" y="31"/>
                              </a:cubicBezTo>
                              <a:cubicBezTo>
                                <a:pt x="16" y="30"/>
                                <a:pt x="17" y="28"/>
                                <a:pt x="17" y="26"/>
                              </a:cubicBezTo>
                              <a:cubicBezTo>
                                <a:pt x="18" y="24"/>
                                <a:pt x="20" y="22"/>
                                <a:pt x="20" y="20"/>
                              </a:cubicBezTo>
                              <a:cubicBezTo>
                                <a:pt x="20" y="19"/>
                                <a:pt x="17" y="19"/>
                                <a:pt x="16" y="18"/>
                              </a:cubicBezTo>
                              <a:cubicBezTo>
                                <a:pt x="15" y="18"/>
                                <a:pt x="15" y="16"/>
                                <a:pt x="15" y="16"/>
                              </a:cubicBezTo>
                              <a:cubicBezTo>
                                <a:pt x="12" y="15"/>
                                <a:pt x="8" y="15"/>
                                <a:pt x="5" y="16"/>
                              </a:cubicBezTo>
                              <a:cubicBezTo>
                                <a:pt x="4" y="16"/>
                                <a:pt x="5" y="18"/>
                                <a:pt x="4" y="18"/>
                              </a:cubicBezTo>
                              <a:cubicBezTo>
                                <a:pt x="3" y="18"/>
                                <a:pt x="2" y="16"/>
                                <a:pt x="1" y="15"/>
                              </a:cubicBezTo>
                              <a:cubicBezTo>
                                <a:pt x="0" y="15"/>
                                <a:pt x="0" y="14"/>
                                <a:pt x="1" y="13"/>
                              </a:cubicBezTo>
                              <a:cubicBezTo>
                                <a:pt x="2" y="12"/>
                                <a:pt x="4" y="13"/>
                                <a:pt x="4" y="11"/>
                              </a:cubicBezTo>
                              <a:cubicBezTo>
                                <a:pt x="5" y="10"/>
                                <a:pt x="3" y="8"/>
                                <a:pt x="3" y="7"/>
                              </a:cubicBezTo>
                              <a:cubicBezTo>
                                <a:pt x="2" y="6"/>
                                <a:pt x="1" y="5"/>
                                <a:pt x="1" y="4"/>
                              </a:cubicBezTo>
                              <a:cubicBezTo>
                                <a:pt x="1" y="3"/>
                                <a:pt x="3" y="2"/>
                                <a:pt x="4" y="0"/>
                              </a:cubicBezTo>
                              <a:cubicBezTo>
                                <a:pt x="5" y="3"/>
                                <a:pt x="6" y="8"/>
                                <a:pt x="9" y="9"/>
                              </a:cubicBezTo>
                              <a:cubicBezTo>
                                <a:pt x="16" y="11"/>
                                <a:pt x="23" y="8"/>
                                <a:pt x="31" y="9"/>
                              </a:cubicBezTo>
                              <a:cubicBezTo>
                                <a:pt x="34" y="9"/>
                                <a:pt x="37" y="11"/>
                                <a:pt x="40" y="12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77" name="Freeform 3485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162436" y="3781807"/>
                          <a:ext cx="38029" cy="16614"/>
                        </a:xfrm>
                        <a:custGeom>
                          <a:avLst/>
                          <a:gdLst>
                            <a:gd name="T0" fmla="*/ 1 w 28"/>
                            <a:gd name="T1" fmla="*/ 7 h 17"/>
                            <a:gd name="T2" fmla="*/ 16 w 28"/>
                            <a:gd name="T3" fmla="*/ 2 h 17"/>
                            <a:gd name="T4" fmla="*/ 24 w 28"/>
                            <a:gd name="T5" fmla="*/ 1 h 17"/>
                            <a:gd name="T6" fmla="*/ 23 w 28"/>
                            <a:gd name="T7" fmla="*/ 5 h 17"/>
                            <a:gd name="T8" fmla="*/ 17 w 28"/>
                            <a:gd name="T9" fmla="*/ 5 h 17"/>
                            <a:gd name="T10" fmla="*/ 26 w 28"/>
                            <a:gd name="T11" fmla="*/ 6 h 17"/>
                            <a:gd name="T12" fmla="*/ 23 w 28"/>
                            <a:gd name="T13" fmla="*/ 8 h 17"/>
                            <a:gd name="T14" fmla="*/ 30 w 28"/>
                            <a:gd name="T15" fmla="*/ 12 h 17"/>
                            <a:gd name="T16" fmla="*/ 32 w 28"/>
                            <a:gd name="T17" fmla="*/ 19 h 17"/>
                            <a:gd name="T18" fmla="*/ 27 w 28"/>
                            <a:gd name="T19" fmla="*/ 14 h 17"/>
                            <a:gd name="T20" fmla="*/ 21 w 28"/>
                            <a:gd name="T21" fmla="*/ 14 h 17"/>
                            <a:gd name="T22" fmla="*/ 19 w 28"/>
                            <a:gd name="T23" fmla="*/ 7 h 17"/>
                            <a:gd name="T24" fmla="*/ 16 w 28"/>
                            <a:gd name="T25" fmla="*/ 8 h 17"/>
                            <a:gd name="T26" fmla="*/ 11 w 28"/>
                            <a:gd name="T27" fmla="*/ 8 h 17"/>
                            <a:gd name="T28" fmla="*/ 16 w 28"/>
                            <a:gd name="T29" fmla="*/ 15 h 17"/>
                            <a:gd name="T30" fmla="*/ 10 w 28"/>
                            <a:gd name="T31" fmla="*/ 15 h 17"/>
                            <a:gd name="T32" fmla="*/ 7 w 28"/>
                            <a:gd name="T33" fmla="*/ 8 h 17"/>
                            <a:gd name="T34" fmla="*/ 1 w 28"/>
                            <a:gd name="T35" fmla="*/ 7 h 17"/>
                            <a:gd name="T36" fmla="*/ 0 60000 65536"/>
                            <a:gd name="T37" fmla="*/ 0 60000 65536"/>
                            <a:gd name="T38" fmla="*/ 0 60000 65536"/>
                            <a:gd name="T39" fmla="*/ 0 60000 65536"/>
                            <a:gd name="T40" fmla="*/ 0 60000 65536"/>
                            <a:gd name="T41" fmla="*/ 0 60000 65536"/>
                            <a:gd name="T42" fmla="*/ 0 60000 65536"/>
                            <a:gd name="T43" fmla="*/ 0 60000 65536"/>
                            <a:gd name="T44" fmla="*/ 0 60000 65536"/>
                            <a:gd name="T45" fmla="*/ 0 60000 65536"/>
                            <a:gd name="T46" fmla="*/ 0 60000 65536"/>
                            <a:gd name="T47" fmla="*/ 0 60000 65536"/>
                            <a:gd name="T48" fmla="*/ 0 60000 65536"/>
                            <a:gd name="T49" fmla="*/ 0 60000 65536"/>
                            <a:gd name="T50" fmla="*/ 0 60000 65536"/>
                            <a:gd name="T51" fmla="*/ 0 60000 65536"/>
                            <a:gd name="T52" fmla="*/ 0 60000 65536"/>
                            <a:gd name="T53" fmla="*/ 0 60000 65536"/>
                            <a:gd name="T54" fmla="*/ 0 w 28"/>
                            <a:gd name="T55" fmla="*/ 0 h 17"/>
                            <a:gd name="T56" fmla="*/ 28 w 28"/>
                            <a:gd name="T57" fmla="*/ 17 h 17"/>
                          </a:gdLst>
                          <a:ahLst/>
                          <a:cxnLst>
                            <a:cxn ang="T36">
                              <a:pos x="T0" y="T1"/>
                            </a:cxn>
                            <a:cxn ang="T37">
                              <a:pos x="T2" y="T3"/>
                            </a:cxn>
                            <a:cxn ang="T38">
                              <a:pos x="T4" y="T5"/>
                            </a:cxn>
                            <a:cxn ang="T39">
                              <a:pos x="T6" y="T7"/>
                            </a:cxn>
                            <a:cxn ang="T40">
                              <a:pos x="T8" y="T9"/>
                            </a:cxn>
                            <a:cxn ang="T41">
                              <a:pos x="T10" y="T11"/>
                            </a:cxn>
                            <a:cxn ang="T42">
                              <a:pos x="T12" y="T13"/>
                            </a:cxn>
                            <a:cxn ang="T43">
                              <a:pos x="T14" y="T15"/>
                            </a:cxn>
                            <a:cxn ang="T44">
                              <a:pos x="T16" y="T17"/>
                            </a:cxn>
                            <a:cxn ang="T45">
                              <a:pos x="T18" y="T19"/>
                            </a:cxn>
                            <a:cxn ang="T46">
                              <a:pos x="T20" y="T21"/>
                            </a:cxn>
                            <a:cxn ang="T47">
                              <a:pos x="T22" y="T23"/>
                            </a:cxn>
                            <a:cxn ang="T48">
                              <a:pos x="T24" y="T25"/>
                            </a:cxn>
                            <a:cxn ang="T49">
                              <a:pos x="T26" y="T27"/>
                            </a:cxn>
                            <a:cxn ang="T50">
                              <a:pos x="T28" y="T29"/>
                            </a:cxn>
                            <a:cxn ang="T51">
                              <a:pos x="T30" y="T31"/>
                            </a:cxn>
                            <a:cxn ang="T52">
                              <a:pos x="T32" y="T33"/>
                            </a:cxn>
                            <a:cxn ang="T53">
                              <a:pos x="T34" y="T35"/>
                            </a:cxn>
                          </a:cxnLst>
                          <a:rect l="T54" t="T55" r="T56" b="T57"/>
                          <a:pathLst>
                            <a:path w="28" h="17">
                              <a:moveTo>
                                <a:pt x="1" y="6"/>
                              </a:moveTo>
                              <a:cubicBezTo>
                                <a:pt x="4" y="3"/>
                                <a:pt x="9" y="3"/>
                                <a:pt x="13" y="2"/>
                              </a:cubicBezTo>
                              <a:cubicBezTo>
                                <a:pt x="15" y="1"/>
                                <a:pt x="18" y="0"/>
                                <a:pt x="20" y="1"/>
                              </a:cubicBezTo>
                              <a:cubicBezTo>
                                <a:pt x="21" y="1"/>
                                <a:pt x="20" y="3"/>
                                <a:pt x="19" y="4"/>
                              </a:cubicBezTo>
                              <a:cubicBezTo>
                                <a:pt x="17" y="4"/>
                                <a:pt x="12" y="2"/>
                                <a:pt x="14" y="4"/>
                              </a:cubicBezTo>
                              <a:cubicBezTo>
                                <a:pt x="16" y="5"/>
                                <a:pt x="19" y="4"/>
                                <a:pt x="21" y="5"/>
                              </a:cubicBezTo>
                              <a:cubicBezTo>
                                <a:pt x="22" y="6"/>
                                <a:pt x="18" y="6"/>
                                <a:pt x="19" y="7"/>
                              </a:cubicBezTo>
                              <a:cubicBezTo>
                                <a:pt x="20" y="9"/>
                                <a:pt x="23" y="8"/>
                                <a:pt x="25" y="10"/>
                              </a:cubicBezTo>
                              <a:cubicBezTo>
                                <a:pt x="26" y="11"/>
                                <a:pt x="28" y="15"/>
                                <a:pt x="26" y="16"/>
                              </a:cubicBezTo>
                              <a:cubicBezTo>
                                <a:pt x="25" y="17"/>
                                <a:pt x="24" y="13"/>
                                <a:pt x="22" y="12"/>
                              </a:cubicBezTo>
                              <a:cubicBezTo>
                                <a:pt x="21" y="11"/>
                                <a:pt x="18" y="13"/>
                                <a:pt x="17" y="12"/>
                              </a:cubicBezTo>
                              <a:cubicBezTo>
                                <a:pt x="16" y="10"/>
                                <a:pt x="17" y="8"/>
                                <a:pt x="16" y="6"/>
                              </a:cubicBezTo>
                              <a:cubicBezTo>
                                <a:pt x="15" y="5"/>
                                <a:pt x="14" y="7"/>
                                <a:pt x="13" y="7"/>
                              </a:cubicBezTo>
                              <a:cubicBezTo>
                                <a:pt x="12" y="7"/>
                                <a:pt x="9" y="6"/>
                                <a:pt x="9" y="7"/>
                              </a:cubicBezTo>
                              <a:cubicBezTo>
                                <a:pt x="9" y="9"/>
                                <a:pt x="13" y="11"/>
                                <a:pt x="13" y="13"/>
                              </a:cubicBezTo>
                              <a:cubicBezTo>
                                <a:pt x="12" y="14"/>
                                <a:pt x="9" y="14"/>
                                <a:pt x="8" y="13"/>
                              </a:cubicBezTo>
                              <a:cubicBezTo>
                                <a:pt x="7" y="11"/>
                                <a:pt x="8" y="9"/>
                                <a:pt x="6" y="7"/>
                              </a:cubicBezTo>
                              <a:cubicBezTo>
                                <a:pt x="5" y="6"/>
                                <a:pt x="0" y="7"/>
                                <a:pt x="1" y="6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78" name="Freeform 3486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99802" y="3752734"/>
                          <a:ext cx="26844" cy="14952"/>
                        </a:xfrm>
                        <a:custGeom>
                          <a:avLst/>
                          <a:gdLst>
                            <a:gd name="T0" fmla="*/ 10 w 20"/>
                            <a:gd name="T1" fmla="*/ 0 h 15"/>
                            <a:gd name="T2" fmla="*/ 18 w 20"/>
                            <a:gd name="T3" fmla="*/ 5 h 15"/>
                            <a:gd name="T4" fmla="*/ 23 w 20"/>
                            <a:gd name="T5" fmla="*/ 10 h 15"/>
                            <a:gd name="T6" fmla="*/ 20 w 20"/>
                            <a:gd name="T7" fmla="*/ 16 h 15"/>
                            <a:gd name="T8" fmla="*/ 16 w 20"/>
                            <a:gd name="T9" fmla="*/ 12 h 15"/>
                            <a:gd name="T10" fmla="*/ 14 w 20"/>
                            <a:gd name="T11" fmla="*/ 18 h 15"/>
                            <a:gd name="T12" fmla="*/ 12 w 20"/>
                            <a:gd name="T13" fmla="*/ 13 h 15"/>
                            <a:gd name="T14" fmla="*/ 8 w 20"/>
                            <a:gd name="T15" fmla="*/ 14 h 15"/>
                            <a:gd name="T16" fmla="*/ 7 w 20"/>
                            <a:gd name="T17" fmla="*/ 7 h 15"/>
                            <a:gd name="T18" fmla="*/ 0 w 20"/>
                            <a:gd name="T19" fmla="*/ 1 h 15"/>
                            <a:gd name="T20" fmla="*/ 2 w 20"/>
                            <a:gd name="T21" fmla="*/ 0 h 15"/>
                            <a:gd name="T22" fmla="*/ 8 w 20"/>
                            <a:gd name="T23" fmla="*/ 2 h 15"/>
                            <a:gd name="T24" fmla="*/ 10 w 20"/>
                            <a:gd name="T25" fmla="*/ 0 h 15"/>
                            <a:gd name="T26" fmla="*/ 0 60000 65536"/>
                            <a:gd name="T27" fmla="*/ 0 60000 65536"/>
                            <a:gd name="T28" fmla="*/ 0 60000 65536"/>
                            <a:gd name="T29" fmla="*/ 0 60000 65536"/>
                            <a:gd name="T30" fmla="*/ 0 60000 65536"/>
                            <a:gd name="T31" fmla="*/ 0 60000 65536"/>
                            <a:gd name="T32" fmla="*/ 0 60000 65536"/>
                            <a:gd name="T33" fmla="*/ 0 60000 65536"/>
                            <a:gd name="T34" fmla="*/ 0 60000 65536"/>
                            <a:gd name="T35" fmla="*/ 0 60000 65536"/>
                            <a:gd name="T36" fmla="*/ 0 60000 65536"/>
                            <a:gd name="T37" fmla="*/ 0 60000 65536"/>
                            <a:gd name="T38" fmla="*/ 0 60000 65536"/>
                            <a:gd name="T39" fmla="*/ 0 w 20"/>
                            <a:gd name="T40" fmla="*/ 0 h 15"/>
                            <a:gd name="T41" fmla="*/ 20 w 20"/>
                            <a:gd name="T42" fmla="*/ 15 h 15"/>
                          </a:gdLst>
                          <a:ahLst/>
                          <a:cxnLst>
                            <a:cxn ang="T26">
                              <a:pos x="T0" y="T1"/>
                            </a:cxn>
                            <a:cxn ang="T27">
                              <a:pos x="T2" y="T3"/>
                            </a:cxn>
                            <a:cxn ang="T28">
                              <a:pos x="T4" y="T5"/>
                            </a:cxn>
                            <a:cxn ang="T29">
                              <a:pos x="T6" y="T7"/>
                            </a:cxn>
                            <a:cxn ang="T30">
                              <a:pos x="T8" y="T9"/>
                            </a:cxn>
                            <a:cxn ang="T31">
                              <a:pos x="T10" y="T11"/>
                            </a:cxn>
                            <a:cxn ang="T32">
                              <a:pos x="T12" y="T13"/>
                            </a:cxn>
                            <a:cxn ang="T33">
                              <a:pos x="T14" y="T15"/>
                            </a:cxn>
                            <a:cxn ang="T34">
                              <a:pos x="T16" y="T17"/>
                            </a:cxn>
                            <a:cxn ang="T35">
                              <a:pos x="T18" y="T19"/>
                            </a:cxn>
                            <a:cxn ang="T36">
                              <a:pos x="T20" y="T21"/>
                            </a:cxn>
                            <a:cxn ang="T37">
                              <a:pos x="T22" y="T23"/>
                            </a:cxn>
                            <a:cxn ang="T38">
                              <a:pos x="T24" y="T25"/>
                            </a:cxn>
                          </a:cxnLst>
                          <a:rect l="T39" t="T40" r="T41" b="T42"/>
                          <a:pathLst>
                            <a:path w="20" h="15">
                              <a:moveTo>
                                <a:pt x="8" y="0"/>
                              </a:moveTo>
                              <a:cubicBezTo>
                                <a:pt x="11" y="1"/>
                                <a:pt x="13" y="2"/>
                                <a:pt x="15" y="4"/>
                              </a:cubicBezTo>
                              <a:cubicBezTo>
                                <a:pt x="17" y="5"/>
                                <a:pt x="19" y="6"/>
                                <a:pt x="19" y="8"/>
                              </a:cubicBezTo>
                              <a:cubicBezTo>
                                <a:pt x="20" y="10"/>
                                <a:pt x="19" y="12"/>
                                <a:pt x="17" y="13"/>
                              </a:cubicBezTo>
                              <a:cubicBezTo>
                                <a:pt x="16" y="13"/>
                                <a:pt x="15" y="10"/>
                                <a:pt x="13" y="10"/>
                              </a:cubicBezTo>
                              <a:cubicBezTo>
                                <a:pt x="12" y="11"/>
                                <a:pt x="13" y="14"/>
                                <a:pt x="12" y="15"/>
                              </a:cubicBezTo>
                              <a:cubicBezTo>
                                <a:pt x="10" y="15"/>
                                <a:pt x="11" y="12"/>
                                <a:pt x="10" y="11"/>
                              </a:cubicBezTo>
                              <a:cubicBezTo>
                                <a:pt x="9" y="11"/>
                                <a:pt x="7" y="13"/>
                                <a:pt x="7" y="12"/>
                              </a:cubicBezTo>
                              <a:cubicBezTo>
                                <a:pt x="5" y="10"/>
                                <a:pt x="7" y="8"/>
                                <a:pt x="6" y="6"/>
                              </a:cubicBezTo>
                              <a:cubicBezTo>
                                <a:pt x="5" y="4"/>
                                <a:pt x="2" y="3"/>
                                <a:pt x="0" y="1"/>
                              </a:cubicBezTo>
                              <a:cubicBezTo>
                                <a:pt x="0" y="1"/>
                                <a:pt x="1" y="0"/>
                                <a:pt x="2" y="0"/>
                              </a:cubicBezTo>
                              <a:cubicBezTo>
                                <a:pt x="4" y="0"/>
                                <a:pt x="5" y="1"/>
                                <a:pt x="7" y="2"/>
                              </a:cubicBezTo>
                              <a:cubicBezTo>
                                <a:pt x="8" y="2"/>
                                <a:pt x="8" y="0"/>
                                <a:pt x="8" y="0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79" name="Freeform 3487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147896" y="3753565"/>
                          <a:ext cx="10067" cy="14952"/>
                        </a:xfrm>
                        <a:custGeom>
                          <a:avLst/>
                          <a:gdLst>
                            <a:gd name="T0" fmla="*/ 3 w 7"/>
                            <a:gd name="T1" fmla="*/ 1 h 15"/>
                            <a:gd name="T2" fmla="*/ 5 w 7"/>
                            <a:gd name="T3" fmla="*/ 13 h 15"/>
                            <a:gd name="T4" fmla="*/ 6 w 7"/>
                            <a:gd name="T5" fmla="*/ 18 h 15"/>
                            <a:gd name="T6" fmla="*/ 0 w 7"/>
                            <a:gd name="T7" fmla="*/ 12 h 15"/>
                            <a:gd name="T8" fmla="*/ 1 w 7"/>
                            <a:gd name="T9" fmla="*/ 8 h 15"/>
                            <a:gd name="T10" fmla="*/ 3 w 7"/>
                            <a:gd name="T11" fmla="*/ 1 h 15"/>
                            <a:gd name="T12" fmla="*/ 0 60000 65536"/>
                            <a:gd name="T13" fmla="*/ 0 60000 65536"/>
                            <a:gd name="T14" fmla="*/ 0 60000 65536"/>
                            <a:gd name="T15" fmla="*/ 0 60000 65536"/>
                            <a:gd name="T16" fmla="*/ 0 60000 65536"/>
                            <a:gd name="T17" fmla="*/ 0 60000 65536"/>
                            <a:gd name="T18" fmla="*/ 0 w 7"/>
                            <a:gd name="T19" fmla="*/ 0 h 15"/>
                            <a:gd name="T20" fmla="*/ 7 w 7"/>
                            <a:gd name="T21" fmla="*/ 15 h 15"/>
                          </a:gdLst>
                          <a:ahLst/>
                          <a:cxnLst>
                            <a:cxn ang="T12">
                              <a:pos x="T0" y="T1"/>
                            </a:cxn>
                            <a:cxn ang="T13">
                              <a:pos x="T2" y="T3"/>
                            </a:cxn>
                            <a:cxn ang="T14">
                              <a:pos x="T4" y="T5"/>
                            </a:cxn>
                            <a:cxn ang="T15">
                              <a:pos x="T6" y="T7"/>
                            </a:cxn>
                            <a:cxn ang="T16">
                              <a:pos x="T8" y="T9"/>
                            </a:cxn>
                            <a:cxn ang="T17">
                              <a:pos x="T10" y="T11"/>
                            </a:cxn>
                          </a:cxnLst>
                          <a:rect l="T18" t="T19" r="T20" b="T21"/>
                          <a:pathLst>
                            <a:path w="7" h="15">
                              <a:moveTo>
                                <a:pt x="2" y="1"/>
                              </a:moveTo>
                              <a:cubicBezTo>
                                <a:pt x="4" y="4"/>
                                <a:pt x="3" y="8"/>
                                <a:pt x="4" y="11"/>
                              </a:cubicBezTo>
                              <a:cubicBezTo>
                                <a:pt x="4" y="12"/>
                                <a:pt x="7" y="15"/>
                                <a:pt x="5" y="15"/>
                              </a:cubicBezTo>
                              <a:cubicBezTo>
                                <a:pt x="3" y="14"/>
                                <a:pt x="2" y="12"/>
                                <a:pt x="0" y="10"/>
                              </a:cubicBezTo>
                              <a:cubicBezTo>
                                <a:pt x="0" y="9"/>
                                <a:pt x="1" y="8"/>
                                <a:pt x="1" y="7"/>
                              </a:cubicBezTo>
                              <a:cubicBezTo>
                                <a:pt x="1" y="5"/>
                                <a:pt x="0" y="0"/>
                                <a:pt x="2" y="1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80" name="Freeform 3488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126645" y="3761041"/>
                          <a:ext cx="11185" cy="9137"/>
                        </a:xfrm>
                        <a:custGeom>
                          <a:avLst/>
                          <a:gdLst>
                            <a:gd name="T0" fmla="*/ 1 w 8"/>
                            <a:gd name="T1" fmla="*/ 4 h 9"/>
                            <a:gd name="T2" fmla="*/ 7 w 8"/>
                            <a:gd name="T3" fmla="*/ 1 h 9"/>
                            <a:gd name="T4" fmla="*/ 9 w 8"/>
                            <a:gd name="T5" fmla="*/ 10 h 9"/>
                            <a:gd name="T6" fmla="*/ 3 w 8"/>
                            <a:gd name="T7" fmla="*/ 9 h 9"/>
                            <a:gd name="T8" fmla="*/ 1 w 8"/>
                            <a:gd name="T9" fmla="*/ 4 h 9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8"/>
                            <a:gd name="T16" fmla="*/ 0 h 9"/>
                            <a:gd name="T17" fmla="*/ 8 w 8"/>
                            <a:gd name="T18" fmla="*/ 9 h 9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8" h="9">
                              <a:moveTo>
                                <a:pt x="1" y="3"/>
                              </a:moveTo>
                              <a:cubicBezTo>
                                <a:pt x="2" y="1"/>
                                <a:pt x="5" y="0"/>
                                <a:pt x="6" y="1"/>
                              </a:cubicBezTo>
                              <a:cubicBezTo>
                                <a:pt x="8" y="3"/>
                                <a:pt x="8" y="6"/>
                                <a:pt x="7" y="8"/>
                              </a:cubicBezTo>
                              <a:cubicBezTo>
                                <a:pt x="6" y="9"/>
                                <a:pt x="3" y="8"/>
                                <a:pt x="2" y="7"/>
                              </a:cubicBezTo>
                              <a:cubicBezTo>
                                <a:pt x="1" y="6"/>
                                <a:pt x="0" y="4"/>
                                <a:pt x="1" y="3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81" name="Freeform 3489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138948" y="3763533"/>
                          <a:ext cx="8948" cy="7476"/>
                        </a:xfrm>
                        <a:custGeom>
                          <a:avLst/>
                          <a:gdLst>
                            <a:gd name="T0" fmla="*/ 2 w 7"/>
                            <a:gd name="T1" fmla="*/ 1 h 7"/>
                            <a:gd name="T2" fmla="*/ 7 w 7"/>
                            <a:gd name="T3" fmla="*/ 5 h 7"/>
                            <a:gd name="T4" fmla="*/ 7 w 7"/>
                            <a:gd name="T5" fmla="*/ 9 h 7"/>
                            <a:gd name="T6" fmla="*/ 2 w 7"/>
                            <a:gd name="T7" fmla="*/ 5 h 7"/>
                            <a:gd name="T8" fmla="*/ 2 w 7"/>
                            <a:gd name="T9" fmla="*/ 1 h 7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7"/>
                            <a:gd name="T16" fmla="*/ 0 h 7"/>
                            <a:gd name="T17" fmla="*/ 7 w 7"/>
                            <a:gd name="T18" fmla="*/ 7 h 7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7" h="7">
                              <a:moveTo>
                                <a:pt x="2" y="1"/>
                              </a:moveTo>
                              <a:cubicBezTo>
                                <a:pt x="3" y="0"/>
                                <a:pt x="5" y="2"/>
                                <a:pt x="6" y="4"/>
                              </a:cubicBezTo>
                              <a:cubicBezTo>
                                <a:pt x="6" y="5"/>
                                <a:pt x="7" y="7"/>
                                <a:pt x="6" y="7"/>
                              </a:cubicBezTo>
                              <a:cubicBezTo>
                                <a:pt x="4" y="7"/>
                                <a:pt x="3" y="6"/>
                                <a:pt x="2" y="4"/>
                              </a:cubicBezTo>
                              <a:cubicBezTo>
                                <a:pt x="1" y="3"/>
                                <a:pt x="0" y="1"/>
                                <a:pt x="2" y="1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82" name="Freeform 3490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133356" y="3771009"/>
                          <a:ext cx="13422" cy="4984"/>
                        </a:xfrm>
                        <a:custGeom>
                          <a:avLst/>
                          <a:gdLst>
                            <a:gd name="T0" fmla="*/ 11 w 10"/>
                            <a:gd name="T1" fmla="*/ 2 h 5"/>
                            <a:gd name="T2" fmla="*/ 11 w 10"/>
                            <a:gd name="T3" fmla="*/ 6 h 5"/>
                            <a:gd name="T4" fmla="*/ 1 w 10"/>
                            <a:gd name="T5" fmla="*/ 5 h 5"/>
                            <a:gd name="T6" fmla="*/ 1 w 10"/>
                            <a:gd name="T7" fmla="*/ 1 h 5"/>
                            <a:gd name="T8" fmla="*/ 11 w 10"/>
                            <a:gd name="T9" fmla="*/ 2 h 5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10"/>
                            <a:gd name="T16" fmla="*/ 0 h 5"/>
                            <a:gd name="T17" fmla="*/ 10 w 10"/>
                            <a:gd name="T18" fmla="*/ 5 h 5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10" h="5">
                              <a:moveTo>
                                <a:pt x="9" y="2"/>
                              </a:moveTo>
                              <a:cubicBezTo>
                                <a:pt x="9" y="3"/>
                                <a:pt x="10" y="4"/>
                                <a:pt x="9" y="5"/>
                              </a:cubicBezTo>
                              <a:cubicBezTo>
                                <a:pt x="6" y="5"/>
                                <a:pt x="3" y="5"/>
                                <a:pt x="1" y="4"/>
                              </a:cubicBezTo>
                              <a:cubicBezTo>
                                <a:pt x="0" y="4"/>
                                <a:pt x="0" y="1"/>
                                <a:pt x="1" y="1"/>
                              </a:cubicBezTo>
                              <a:cubicBezTo>
                                <a:pt x="3" y="0"/>
                                <a:pt x="6" y="1"/>
                                <a:pt x="9" y="2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83" name="Freeform 3491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147896" y="3781807"/>
                          <a:ext cx="12303" cy="6646"/>
                        </a:xfrm>
                        <a:custGeom>
                          <a:avLst/>
                          <a:gdLst>
                            <a:gd name="T0" fmla="*/ 6 w 9"/>
                            <a:gd name="T1" fmla="*/ 0 h 7"/>
                            <a:gd name="T2" fmla="*/ 1 w 9"/>
                            <a:gd name="T3" fmla="*/ 3 h 7"/>
                            <a:gd name="T4" fmla="*/ 9 w 9"/>
                            <a:gd name="T5" fmla="*/ 8 h 7"/>
                            <a:gd name="T6" fmla="*/ 7 w 9"/>
                            <a:gd name="T7" fmla="*/ 5 h 7"/>
                            <a:gd name="T8" fmla="*/ 9 w 9"/>
                            <a:gd name="T9" fmla="*/ 1 h 7"/>
                            <a:gd name="T10" fmla="*/ 6 w 9"/>
                            <a:gd name="T11" fmla="*/ 0 h 7"/>
                            <a:gd name="T12" fmla="*/ 0 60000 65536"/>
                            <a:gd name="T13" fmla="*/ 0 60000 65536"/>
                            <a:gd name="T14" fmla="*/ 0 60000 65536"/>
                            <a:gd name="T15" fmla="*/ 0 60000 65536"/>
                            <a:gd name="T16" fmla="*/ 0 60000 65536"/>
                            <a:gd name="T17" fmla="*/ 0 60000 65536"/>
                            <a:gd name="T18" fmla="*/ 0 w 9"/>
                            <a:gd name="T19" fmla="*/ 0 h 7"/>
                            <a:gd name="T20" fmla="*/ 9 w 9"/>
                            <a:gd name="T21" fmla="*/ 7 h 7"/>
                          </a:gdLst>
                          <a:ahLst/>
                          <a:cxnLst>
                            <a:cxn ang="T12">
                              <a:pos x="T0" y="T1"/>
                            </a:cxn>
                            <a:cxn ang="T13">
                              <a:pos x="T2" y="T3"/>
                            </a:cxn>
                            <a:cxn ang="T14">
                              <a:pos x="T4" y="T5"/>
                            </a:cxn>
                            <a:cxn ang="T15">
                              <a:pos x="T6" y="T7"/>
                            </a:cxn>
                            <a:cxn ang="T16">
                              <a:pos x="T8" y="T9"/>
                            </a:cxn>
                            <a:cxn ang="T17">
                              <a:pos x="T10" y="T11"/>
                            </a:cxn>
                          </a:cxnLst>
                          <a:rect l="T18" t="T19" r="T20" b="T21"/>
                          <a:pathLst>
                            <a:path w="9" h="7">
                              <a:moveTo>
                                <a:pt x="5" y="0"/>
                              </a:moveTo>
                              <a:cubicBezTo>
                                <a:pt x="4" y="0"/>
                                <a:pt x="0" y="1"/>
                                <a:pt x="1" y="3"/>
                              </a:cubicBezTo>
                              <a:cubicBezTo>
                                <a:pt x="1" y="5"/>
                                <a:pt x="5" y="6"/>
                                <a:pt x="7" y="7"/>
                              </a:cubicBezTo>
                              <a:cubicBezTo>
                                <a:pt x="9" y="7"/>
                                <a:pt x="6" y="5"/>
                                <a:pt x="6" y="4"/>
                              </a:cubicBezTo>
                              <a:cubicBezTo>
                                <a:pt x="6" y="3"/>
                                <a:pt x="7" y="2"/>
                                <a:pt x="7" y="1"/>
                              </a:cubicBezTo>
                              <a:cubicBezTo>
                                <a:pt x="7" y="0"/>
                                <a:pt x="6" y="0"/>
                                <a:pt x="5" y="0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84" name="Freeform 3492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162436" y="3780977"/>
                          <a:ext cx="11185" cy="4154"/>
                        </a:xfrm>
                        <a:custGeom>
                          <a:avLst/>
                          <a:gdLst>
                            <a:gd name="T0" fmla="*/ 1 w 8"/>
                            <a:gd name="T1" fmla="*/ 1 h 4"/>
                            <a:gd name="T2" fmla="*/ 1 w 8"/>
                            <a:gd name="T3" fmla="*/ 5 h 4"/>
                            <a:gd name="T4" fmla="*/ 9 w 8"/>
                            <a:gd name="T5" fmla="*/ 3 h 4"/>
                            <a:gd name="T6" fmla="*/ 7 w 8"/>
                            <a:gd name="T7" fmla="*/ 1 h 4"/>
                            <a:gd name="T8" fmla="*/ 1 w 8"/>
                            <a:gd name="T9" fmla="*/ 1 h 4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8"/>
                            <a:gd name="T16" fmla="*/ 0 h 4"/>
                            <a:gd name="T17" fmla="*/ 8 w 8"/>
                            <a:gd name="T18" fmla="*/ 4 h 4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8" h="4">
                              <a:moveTo>
                                <a:pt x="1" y="1"/>
                              </a:moveTo>
                              <a:cubicBezTo>
                                <a:pt x="0" y="2"/>
                                <a:pt x="0" y="4"/>
                                <a:pt x="1" y="4"/>
                              </a:cubicBezTo>
                              <a:cubicBezTo>
                                <a:pt x="3" y="4"/>
                                <a:pt x="6" y="3"/>
                                <a:pt x="7" y="2"/>
                              </a:cubicBezTo>
                              <a:cubicBezTo>
                                <a:pt x="8" y="2"/>
                                <a:pt x="6" y="1"/>
                                <a:pt x="6" y="1"/>
                              </a:cubicBezTo>
                              <a:cubicBezTo>
                                <a:pt x="4" y="1"/>
                                <a:pt x="2" y="0"/>
                                <a:pt x="1" y="1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85" name="Freeform 3493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112104" y="3737782"/>
                          <a:ext cx="22370" cy="15783"/>
                        </a:xfrm>
                        <a:custGeom>
                          <a:avLst/>
                          <a:gdLst>
                            <a:gd name="T0" fmla="*/ 18 w 17"/>
                            <a:gd name="T1" fmla="*/ 0 h 16"/>
                            <a:gd name="T2" fmla="*/ 19 w 17"/>
                            <a:gd name="T3" fmla="*/ 5 h 16"/>
                            <a:gd name="T4" fmla="*/ 12 w 17"/>
                            <a:gd name="T5" fmla="*/ 11 h 16"/>
                            <a:gd name="T6" fmla="*/ 7 w 17"/>
                            <a:gd name="T7" fmla="*/ 10 h 16"/>
                            <a:gd name="T8" fmla="*/ 7 w 17"/>
                            <a:gd name="T9" fmla="*/ 15 h 16"/>
                            <a:gd name="T10" fmla="*/ 8 w 17"/>
                            <a:gd name="T11" fmla="*/ 18 h 16"/>
                            <a:gd name="T12" fmla="*/ 5 w 17"/>
                            <a:gd name="T13" fmla="*/ 15 h 16"/>
                            <a:gd name="T14" fmla="*/ 1 w 17"/>
                            <a:gd name="T15" fmla="*/ 12 h 16"/>
                            <a:gd name="T16" fmla="*/ 2 w 17"/>
                            <a:gd name="T17" fmla="*/ 5 h 16"/>
                            <a:gd name="T18" fmla="*/ 9 w 17"/>
                            <a:gd name="T19" fmla="*/ 2 h 16"/>
                            <a:gd name="T20" fmla="*/ 15 w 17"/>
                            <a:gd name="T21" fmla="*/ 2 h 16"/>
                            <a:gd name="T22" fmla="*/ 18 w 17"/>
                            <a:gd name="T23" fmla="*/ 0 h 16"/>
                            <a:gd name="T24" fmla="*/ 0 60000 65536"/>
                            <a:gd name="T25" fmla="*/ 0 60000 65536"/>
                            <a:gd name="T26" fmla="*/ 0 60000 65536"/>
                            <a:gd name="T27" fmla="*/ 0 60000 65536"/>
                            <a:gd name="T28" fmla="*/ 0 60000 65536"/>
                            <a:gd name="T29" fmla="*/ 0 60000 65536"/>
                            <a:gd name="T30" fmla="*/ 0 60000 65536"/>
                            <a:gd name="T31" fmla="*/ 0 60000 65536"/>
                            <a:gd name="T32" fmla="*/ 0 60000 65536"/>
                            <a:gd name="T33" fmla="*/ 0 60000 65536"/>
                            <a:gd name="T34" fmla="*/ 0 60000 65536"/>
                            <a:gd name="T35" fmla="*/ 0 60000 65536"/>
                            <a:gd name="T36" fmla="*/ 0 w 17"/>
                            <a:gd name="T37" fmla="*/ 0 h 16"/>
                            <a:gd name="T38" fmla="*/ 17 w 17"/>
                            <a:gd name="T39" fmla="*/ 16 h 16"/>
                          </a:gdLst>
                          <a:ahLst/>
                          <a:cxnLst>
                            <a:cxn ang="T24">
                              <a:pos x="T0" y="T1"/>
                            </a:cxn>
                            <a:cxn ang="T25">
                              <a:pos x="T2" y="T3"/>
                            </a:cxn>
                            <a:cxn ang="T26">
                              <a:pos x="T4" y="T5"/>
                            </a:cxn>
                            <a:cxn ang="T27">
                              <a:pos x="T6" y="T7"/>
                            </a:cxn>
                            <a:cxn ang="T28">
                              <a:pos x="T8" y="T9"/>
                            </a:cxn>
                            <a:cxn ang="T29">
                              <a:pos x="T10" y="T11"/>
                            </a:cxn>
                            <a:cxn ang="T30">
                              <a:pos x="T12" y="T13"/>
                            </a:cxn>
                            <a:cxn ang="T31">
                              <a:pos x="T14" y="T15"/>
                            </a:cxn>
                            <a:cxn ang="T32">
                              <a:pos x="T16" y="T17"/>
                            </a:cxn>
                            <a:cxn ang="T33">
                              <a:pos x="T18" y="T19"/>
                            </a:cxn>
                            <a:cxn ang="T34">
                              <a:pos x="T20" y="T21"/>
                            </a:cxn>
                            <a:cxn ang="T35">
                              <a:pos x="T22" y="T23"/>
                            </a:cxn>
                          </a:cxnLst>
                          <a:rect l="T36" t="T37" r="T38" b="T39"/>
                          <a:pathLst>
                            <a:path w="17" h="16">
                              <a:moveTo>
                                <a:pt x="15" y="0"/>
                              </a:moveTo>
                              <a:cubicBezTo>
                                <a:pt x="16" y="1"/>
                                <a:pt x="17" y="3"/>
                                <a:pt x="16" y="4"/>
                              </a:cubicBezTo>
                              <a:cubicBezTo>
                                <a:pt x="15" y="6"/>
                                <a:pt x="12" y="8"/>
                                <a:pt x="10" y="9"/>
                              </a:cubicBezTo>
                              <a:cubicBezTo>
                                <a:pt x="9" y="9"/>
                                <a:pt x="7" y="7"/>
                                <a:pt x="6" y="8"/>
                              </a:cubicBezTo>
                              <a:cubicBezTo>
                                <a:pt x="5" y="9"/>
                                <a:pt x="6" y="11"/>
                                <a:pt x="6" y="13"/>
                              </a:cubicBezTo>
                              <a:cubicBezTo>
                                <a:pt x="6" y="14"/>
                                <a:pt x="8" y="15"/>
                                <a:pt x="7" y="15"/>
                              </a:cubicBezTo>
                              <a:cubicBezTo>
                                <a:pt x="6" y="16"/>
                                <a:pt x="5" y="14"/>
                                <a:pt x="4" y="13"/>
                              </a:cubicBezTo>
                              <a:cubicBezTo>
                                <a:pt x="3" y="13"/>
                                <a:pt x="1" y="12"/>
                                <a:pt x="1" y="10"/>
                              </a:cubicBezTo>
                              <a:cubicBezTo>
                                <a:pt x="0" y="8"/>
                                <a:pt x="0" y="6"/>
                                <a:pt x="2" y="4"/>
                              </a:cubicBezTo>
                              <a:cubicBezTo>
                                <a:pt x="3" y="2"/>
                                <a:pt x="6" y="2"/>
                                <a:pt x="8" y="2"/>
                              </a:cubicBezTo>
                              <a:cubicBezTo>
                                <a:pt x="10" y="1"/>
                                <a:pt x="11" y="2"/>
                                <a:pt x="13" y="2"/>
                              </a:cubicBezTo>
                              <a:cubicBezTo>
                                <a:pt x="14" y="1"/>
                                <a:pt x="14" y="0"/>
                                <a:pt x="15" y="0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86" name="Freeform 3494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80787" y="3737782"/>
                          <a:ext cx="30200" cy="12461"/>
                        </a:xfrm>
                        <a:custGeom>
                          <a:avLst/>
                          <a:gdLst>
                            <a:gd name="T0" fmla="*/ 1 w 22"/>
                            <a:gd name="T1" fmla="*/ 1 h 12"/>
                            <a:gd name="T2" fmla="*/ 4 w 22"/>
                            <a:gd name="T3" fmla="*/ 6 h 12"/>
                            <a:gd name="T4" fmla="*/ 11 w 22"/>
                            <a:gd name="T5" fmla="*/ 13 h 12"/>
                            <a:gd name="T6" fmla="*/ 26 w 22"/>
                            <a:gd name="T7" fmla="*/ 15 h 12"/>
                            <a:gd name="T8" fmla="*/ 26 w 22"/>
                            <a:gd name="T9" fmla="*/ 13 h 12"/>
                            <a:gd name="T10" fmla="*/ 16 w 22"/>
                            <a:gd name="T11" fmla="*/ 8 h 12"/>
                            <a:gd name="T12" fmla="*/ 7 w 22"/>
                            <a:gd name="T13" fmla="*/ 6 h 12"/>
                            <a:gd name="T14" fmla="*/ 4 w 22"/>
                            <a:gd name="T15" fmla="*/ 3 h 12"/>
                            <a:gd name="T16" fmla="*/ 1 w 22"/>
                            <a:gd name="T17" fmla="*/ 1 h 12"/>
                            <a:gd name="T18" fmla="*/ 0 60000 65536"/>
                            <a:gd name="T19" fmla="*/ 0 60000 65536"/>
                            <a:gd name="T20" fmla="*/ 0 60000 65536"/>
                            <a:gd name="T21" fmla="*/ 0 60000 65536"/>
                            <a:gd name="T22" fmla="*/ 0 60000 65536"/>
                            <a:gd name="T23" fmla="*/ 0 60000 65536"/>
                            <a:gd name="T24" fmla="*/ 0 60000 65536"/>
                            <a:gd name="T25" fmla="*/ 0 60000 65536"/>
                            <a:gd name="T26" fmla="*/ 0 60000 65536"/>
                            <a:gd name="T27" fmla="*/ 0 w 22"/>
                            <a:gd name="T28" fmla="*/ 0 h 12"/>
                            <a:gd name="T29" fmla="*/ 22 w 22"/>
                            <a:gd name="T30" fmla="*/ 12 h 12"/>
                          </a:gdLst>
                          <a:ahLst/>
                          <a:cxnLst>
                            <a:cxn ang="T18">
                              <a:pos x="T0" y="T1"/>
                            </a:cxn>
                            <a:cxn ang="T19">
                              <a:pos x="T2" y="T3"/>
                            </a:cxn>
                            <a:cxn ang="T20">
                              <a:pos x="T4" y="T5"/>
                            </a:cxn>
                            <a:cxn ang="T21">
                              <a:pos x="T6" y="T7"/>
                            </a:cxn>
                            <a:cxn ang="T22">
                              <a:pos x="T8" y="T9"/>
                            </a:cxn>
                            <a:cxn ang="T23">
                              <a:pos x="T10" y="T11"/>
                            </a:cxn>
                            <a:cxn ang="T24">
                              <a:pos x="T12" y="T13"/>
                            </a:cxn>
                            <a:cxn ang="T25">
                              <a:pos x="T14" y="T15"/>
                            </a:cxn>
                            <a:cxn ang="T26">
                              <a:pos x="T16" y="T17"/>
                            </a:cxn>
                          </a:cxnLst>
                          <a:rect l="T27" t="T28" r="T29" b="T30"/>
                          <a:pathLst>
                            <a:path w="22" h="12">
                              <a:moveTo>
                                <a:pt x="1" y="1"/>
                              </a:moveTo>
                              <a:cubicBezTo>
                                <a:pt x="0" y="3"/>
                                <a:pt x="2" y="4"/>
                                <a:pt x="3" y="5"/>
                              </a:cubicBezTo>
                              <a:cubicBezTo>
                                <a:pt x="4" y="7"/>
                                <a:pt x="7" y="9"/>
                                <a:pt x="9" y="10"/>
                              </a:cubicBezTo>
                              <a:cubicBezTo>
                                <a:pt x="13" y="11"/>
                                <a:pt x="17" y="12"/>
                                <a:pt x="21" y="12"/>
                              </a:cubicBezTo>
                              <a:cubicBezTo>
                                <a:pt x="22" y="12"/>
                                <a:pt x="21" y="10"/>
                                <a:pt x="21" y="10"/>
                              </a:cubicBezTo>
                              <a:cubicBezTo>
                                <a:pt x="18" y="8"/>
                                <a:pt x="16" y="7"/>
                                <a:pt x="13" y="6"/>
                              </a:cubicBezTo>
                              <a:cubicBezTo>
                                <a:pt x="11" y="6"/>
                                <a:pt x="8" y="6"/>
                                <a:pt x="6" y="5"/>
                              </a:cubicBezTo>
                              <a:cubicBezTo>
                                <a:pt x="5" y="4"/>
                                <a:pt x="5" y="3"/>
                                <a:pt x="3" y="2"/>
                              </a:cubicBezTo>
                              <a:cubicBezTo>
                                <a:pt x="3" y="1"/>
                                <a:pt x="1" y="0"/>
                                <a:pt x="1" y="1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87" name="Freeform 3495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98682" y="3726153"/>
                          <a:ext cx="15659" cy="19105"/>
                        </a:xfrm>
                        <a:custGeom>
                          <a:avLst/>
                          <a:gdLst>
                            <a:gd name="T0" fmla="*/ 12 w 12"/>
                            <a:gd name="T1" fmla="*/ 0 h 19"/>
                            <a:gd name="T2" fmla="*/ 14 w 12"/>
                            <a:gd name="T3" fmla="*/ 5 h 19"/>
                            <a:gd name="T4" fmla="*/ 11 w 12"/>
                            <a:gd name="T5" fmla="*/ 11 h 19"/>
                            <a:gd name="T6" fmla="*/ 11 w 12"/>
                            <a:gd name="T7" fmla="*/ 18 h 19"/>
                            <a:gd name="T8" fmla="*/ 11 w 12"/>
                            <a:gd name="T9" fmla="*/ 23 h 19"/>
                            <a:gd name="T10" fmla="*/ 4 w 12"/>
                            <a:gd name="T11" fmla="*/ 18 h 19"/>
                            <a:gd name="T12" fmla="*/ 2 w 12"/>
                            <a:gd name="T13" fmla="*/ 15 h 19"/>
                            <a:gd name="T14" fmla="*/ 1 w 12"/>
                            <a:gd name="T15" fmla="*/ 6 h 19"/>
                            <a:gd name="T16" fmla="*/ 8 w 12"/>
                            <a:gd name="T17" fmla="*/ 5 h 19"/>
                            <a:gd name="T18" fmla="*/ 12 w 12"/>
                            <a:gd name="T19" fmla="*/ 5 h 19"/>
                            <a:gd name="T20" fmla="*/ 12 w 12"/>
                            <a:gd name="T21" fmla="*/ 0 h 19"/>
                            <a:gd name="T22" fmla="*/ 0 60000 65536"/>
                            <a:gd name="T23" fmla="*/ 0 60000 65536"/>
                            <a:gd name="T24" fmla="*/ 0 60000 65536"/>
                            <a:gd name="T25" fmla="*/ 0 60000 65536"/>
                            <a:gd name="T26" fmla="*/ 0 60000 65536"/>
                            <a:gd name="T27" fmla="*/ 0 60000 65536"/>
                            <a:gd name="T28" fmla="*/ 0 60000 65536"/>
                            <a:gd name="T29" fmla="*/ 0 60000 65536"/>
                            <a:gd name="T30" fmla="*/ 0 60000 65536"/>
                            <a:gd name="T31" fmla="*/ 0 60000 65536"/>
                            <a:gd name="T32" fmla="*/ 0 60000 65536"/>
                            <a:gd name="T33" fmla="*/ 0 w 12"/>
                            <a:gd name="T34" fmla="*/ 0 h 19"/>
                            <a:gd name="T35" fmla="*/ 12 w 12"/>
                            <a:gd name="T36" fmla="*/ 19 h 19"/>
                          </a:gdLst>
                          <a:ahLst/>
                          <a:cxnLst>
                            <a:cxn ang="T22">
                              <a:pos x="T0" y="T1"/>
                            </a:cxn>
                            <a:cxn ang="T23">
                              <a:pos x="T2" y="T3"/>
                            </a:cxn>
                            <a:cxn ang="T24">
                              <a:pos x="T4" y="T5"/>
                            </a:cxn>
                            <a:cxn ang="T25">
                              <a:pos x="T6" y="T7"/>
                            </a:cxn>
                            <a:cxn ang="T26">
                              <a:pos x="T8" y="T9"/>
                            </a:cxn>
                            <a:cxn ang="T27">
                              <a:pos x="T10" y="T11"/>
                            </a:cxn>
                            <a:cxn ang="T28">
                              <a:pos x="T12" y="T13"/>
                            </a:cxn>
                            <a:cxn ang="T29">
                              <a:pos x="T14" y="T15"/>
                            </a:cxn>
                            <a:cxn ang="T30">
                              <a:pos x="T16" y="T17"/>
                            </a:cxn>
                            <a:cxn ang="T31">
                              <a:pos x="T18" y="T19"/>
                            </a:cxn>
                            <a:cxn ang="T32">
                              <a:pos x="T20" y="T21"/>
                            </a:cxn>
                          </a:cxnLst>
                          <a:rect l="T33" t="T34" r="T35" b="T36"/>
                          <a:pathLst>
                            <a:path w="12" h="19">
                              <a:moveTo>
                                <a:pt x="10" y="0"/>
                              </a:moveTo>
                              <a:cubicBezTo>
                                <a:pt x="11" y="0"/>
                                <a:pt x="12" y="3"/>
                                <a:pt x="12" y="4"/>
                              </a:cubicBezTo>
                              <a:cubicBezTo>
                                <a:pt x="12" y="6"/>
                                <a:pt x="9" y="7"/>
                                <a:pt x="9" y="9"/>
                              </a:cubicBezTo>
                              <a:cubicBezTo>
                                <a:pt x="8" y="11"/>
                                <a:pt x="9" y="13"/>
                                <a:pt x="9" y="15"/>
                              </a:cubicBezTo>
                              <a:cubicBezTo>
                                <a:pt x="9" y="16"/>
                                <a:pt x="10" y="19"/>
                                <a:pt x="9" y="19"/>
                              </a:cubicBezTo>
                              <a:cubicBezTo>
                                <a:pt x="6" y="19"/>
                                <a:pt x="4" y="17"/>
                                <a:pt x="3" y="15"/>
                              </a:cubicBezTo>
                              <a:cubicBezTo>
                                <a:pt x="2" y="15"/>
                                <a:pt x="2" y="13"/>
                                <a:pt x="2" y="12"/>
                              </a:cubicBezTo>
                              <a:cubicBezTo>
                                <a:pt x="2" y="10"/>
                                <a:pt x="0" y="7"/>
                                <a:pt x="1" y="5"/>
                              </a:cubicBezTo>
                              <a:cubicBezTo>
                                <a:pt x="2" y="4"/>
                                <a:pt x="5" y="5"/>
                                <a:pt x="7" y="4"/>
                              </a:cubicBezTo>
                              <a:cubicBezTo>
                                <a:pt x="8" y="4"/>
                                <a:pt x="9" y="5"/>
                                <a:pt x="10" y="4"/>
                              </a:cubicBezTo>
                              <a:cubicBezTo>
                                <a:pt x="11" y="3"/>
                                <a:pt x="9" y="1"/>
                                <a:pt x="10" y="0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88" name="Freeform 3496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84142" y="3717846"/>
                          <a:ext cx="6712" cy="5815"/>
                        </a:xfrm>
                        <a:custGeom>
                          <a:avLst/>
                          <a:gdLst>
                            <a:gd name="T0" fmla="*/ 1 w 5"/>
                            <a:gd name="T1" fmla="*/ 2 h 6"/>
                            <a:gd name="T2" fmla="*/ 6 w 5"/>
                            <a:gd name="T3" fmla="*/ 7 h 6"/>
                            <a:gd name="T4" fmla="*/ 6 w 5"/>
                            <a:gd name="T5" fmla="*/ 5 h 6"/>
                            <a:gd name="T6" fmla="*/ 4 w 5"/>
                            <a:gd name="T7" fmla="*/ 0 h 6"/>
                            <a:gd name="T8" fmla="*/ 1 w 5"/>
                            <a:gd name="T9" fmla="*/ 2 h 6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5"/>
                            <a:gd name="T16" fmla="*/ 0 h 6"/>
                            <a:gd name="T17" fmla="*/ 5 w 5"/>
                            <a:gd name="T18" fmla="*/ 6 h 6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5" h="6">
                              <a:moveTo>
                                <a:pt x="1" y="2"/>
                              </a:moveTo>
                              <a:cubicBezTo>
                                <a:pt x="1" y="4"/>
                                <a:pt x="3" y="5"/>
                                <a:pt x="5" y="6"/>
                              </a:cubicBezTo>
                              <a:cubicBezTo>
                                <a:pt x="5" y="6"/>
                                <a:pt x="5" y="5"/>
                                <a:pt x="5" y="4"/>
                              </a:cubicBezTo>
                              <a:cubicBezTo>
                                <a:pt x="5" y="3"/>
                                <a:pt x="4" y="1"/>
                                <a:pt x="3" y="0"/>
                              </a:cubicBezTo>
                              <a:cubicBezTo>
                                <a:pt x="2" y="0"/>
                                <a:pt x="0" y="2"/>
                                <a:pt x="1" y="2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89" name="Freeform 3497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70720" y="3702894"/>
                          <a:ext cx="8948" cy="9137"/>
                        </a:xfrm>
                        <a:custGeom>
                          <a:avLst/>
                          <a:gdLst>
                            <a:gd name="T0" fmla="*/ 1 w 7"/>
                            <a:gd name="T1" fmla="*/ 0 h 9"/>
                            <a:gd name="T2" fmla="*/ 7 w 7"/>
                            <a:gd name="T3" fmla="*/ 2 h 9"/>
                            <a:gd name="T4" fmla="*/ 8 w 7"/>
                            <a:gd name="T5" fmla="*/ 10 h 9"/>
                            <a:gd name="T6" fmla="*/ 3 w 7"/>
                            <a:gd name="T7" fmla="*/ 10 h 9"/>
                            <a:gd name="T8" fmla="*/ 1 w 7"/>
                            <a:gd name="T9" fmla="*/ 6 h 9"/>
                            <a:gd name="T10" fmla="*/ 1 w 7"/>
                            <a:gd name="T11" fmla="*/ 0 h 9"/>
                            <a:gd name="T12" fmla="*/ 0 60000 65536"/>
                            <a:gd name="T13" fmla="*/ 0 60000 65536"/>
                            <a:gd name="T14" fmla="*/ 0 60000 65536"/>
                            <a:gd name="T15" fmla="*/ 0 60000 65536"/>
                            <a:gd name="T16" fmla="*/ 0 60000 65536"/>
                            <a:gd name="T17" fmla="*/ 0 60000 65536"/>
                            <a:gd name="T18" fmla="*/ 0 w 7"/>
                            <a:gd name="T19" fmla="*/ 0 h 9"/>
                            <a:gd name="T20" fmla="*/ 7 w 7"/>
                            <a:gd name="T21" fmla="*/ 9 h 9"/>
                          </a:gdLst>
                          <a:ahLst/>
                          <a:cxnLst>
                            <a:cxn ang="T12">
                              <a:pos x="T0" y="T1"/>
                            </a:cxn>
                            <a:cxn ang="T13">
                              <a:pos x="T2" y="T3"/>
                            </a:cxn>
                            <a:cxn ang="T14">
                              <a:pos x="T4" y="T5"/>
                            </a:cxn>
                            <a:cxn ang="T15">
                              <a:pos x="T6" y="T7"/>
                            </a:cxn>
                            <a:cxn ang="T16">
                              <a:pos x="T8" y="T9"/>
                            </a:cxn>
                            <a:cxn ang="T17">
                              <a:pos x="T10" y="T11"/>
                            </a:cxn>
                          </a:cxnLst>
                          <a:rect l="T18" t="T19" r="T20" b="T21"/>
                          <a:pathLst>
                            <a:path w="7" h="9">
                              <a:moveTo>
                                <a:pt x="1" y="0"/>
                              </a:moveTo>
                              <a:cubicBezTo>
                                <a:pt x="3" y="0"/>
                                <a:pt x="5" y="1"/>
                                <a:pt x="6" y="2"/>
                              </a:cubicBezTo>
                              <a:cubicBezTo>
                                <a:pt x="7" y="4"/>
                                <a:pt x="7" y="6"/>
                                <a:pt x="7" y="8"/>
                              </a:cubicBezTo>
                              <a:cubicBezTo>
                                <a:pt x="6" y="9"/>
                                <a:pt x="4" y="8"/>
                                <a:pt x="3" y="8"/>
                              </a:cubicBezTo>
                              <a:cubicBezTo>
                                <a:pt x="2" y="7"/>
                                <a:pt x="2" y="6"/>
                                <a:pt x="1" y="5"/>
                              </a:cubicBezTo>
                              <a:cubicBezTo>
                                <a:pt x="1" y="3"/>
                                <a:pt x="0" y="1"/>
                                <a:pt x="1" y="0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90" name="Freeform 3498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57298" y="3668006"/>
                          <a:ext cx="17895" cy="24920"/>
                        </a:xfrm>
                        <a:custGeom>
                          <a:avLst/>
                          <a:gdLst>
                            <a:gd name="T0" fmla="*/ 11 w 14"/>
                            <a:gd name="T1" fmla="*/ 1 h 25"/>
                            <a:gd name="T2" fmla="*/ 16 w 14"/>
                            <a:gd name="T3" fmla="*/ 26 h 25"/>
                            <a:gd name="T4" fmla="*/ 13 w 14"/>
                            <a:gd name="T5" fmla="*/ 30 h 25"/>
                            <a:gd name="T6" fmla="*/ 9 w 14"/>
                            <a:gd name="T7" fmla="*/ 26 h 25"/>
                            <a:gd name="T8" fmla="*/ 10 w 14"/>
                            <a:gd name="T9" fmla="*/ 18 h 25"/>
                            <a:gd name="T10" fmla="*/ 8 w 14"/>
                            <a:gd name="T11" fmla="*/ 18 h 25"/>
                            <a:gd name="T12" fmla="*/ 7 w 14"/>
                            <a:gd name="T13" fmla="*/ 23 h 25"/>
                            <a:gd name="T14" fmla="*/ 7 w 14"/>
                            <a:gd name="T15" fmla="*/ 25 h 25"/>
                            <a:gd name="T16" fmla="*/ 3 w 14"/>
                            <a:gd name="T17" fmla="*/ 19 h 25"/>
                            <a:gd name="T18" fmla="*/ 1 w 14"/>
                            <a:gd name="T19" fmla="*/ 12 h 25"/>
                            <a:gd name="T20" fmla="*/ 6 w 14"/>
                            <a:gd name="T21" fmla="*/ 13 h 25"/>
                            <a:gd name="T22" fmla="*/ 7 w 14"/>
                            <a:gd name="T23" fmla="*/ 16 h 25"/>
                            <a:gd name="T24" fmla="*/ 8 w 14"/>
                            <a:gd name="T25" fmla="*/ 8 h 25"/>
                            <a:gd name="T26" fmla="*/ 7 w 14"/>
                            <a:gd name="T27" fmla="*/ 2 h 25"/>
                            <a:gd name="T28" fmla="*/ 11 w 14"/>
                            <a:gd name="T29" fmla="*/ 1 h 25"/>
                            <a:gd name="T30" fmla="*/ 0 60000 65536"/>
                            <a:gd name="T31" fmla="*/ 0 60000 65536"/>
                            <a:gd name="T32" fmla="*/ 0 60000 65536"/>
                            <a:gd name="T33" fmla="*/ 0 60000 65536"/>
                            <a:gd name="T34" fmla="*/ 0 60000 65536"/>
                            <a:gd name="T35" fmla="*/ 0 60000 65536"/>
                            <a:gd name="T36" fmla="*/ 0 60000 65536"/>
                            <a:gd name="T37" fmla="*/ 0 60000 65536"/>
                            <a:gd name="T38" fmla="*/ 0 60000 65536"/>
                            <a:gd name="T39" fmla="*/ 0 60000 65536"/>
                            <a:gd name="T40" fmla="*/ 0 60000 65536"/>
                            <a:gd name="T41" fmla="*/ 0 60000 65536"/>
                            <a:gd name="T42" fmla="*/ 0 60000 65536"/>
                            <a:gd name="T43" fmla="*/ 0 60000 65536"/>
                            <a:gd name="T44" fmla="*/ 0 60000 65536"/>
                            <a:gd name="T45" fmla="*/ 0 w 14"/>
                            <a:gd name="T46" fmla="*/ 0 h 25"/>
                            <a:gd name="T47" fmla="*/ 14 w 14"/>
                            <a:gd name="T48" fmla="*/ 25 h 25"/>
                          </a:gdLst>
                          <a:ahLst/>
                          <a:cxnLst>
                            <a:cxn ang="T30">
                              <a:pos x="T0" y="T1"/>
                            </a:cxn>
                            <a:cxn ang="T31">
                              <a:pos x="T2" y="T3"/>
                            </a:cxn>
                            <a:cxn ang="T32">
                              <a:pos x="T4" y="T5"/>
                            </a:cxn>
                            <a:cxn ang="T33">
                              <a:pos x="T6" y="T7"/>
                            </a:cxn>
                            <a:cxn ang="T34">
                              <a:pos x="T8" y="T9"/>
                            </a:cxn>
                            <a:cxn ang="T35">
                              <a:pos x="T10" y="T11"/>
                            </a:cxn>
                            <a:cxn ang="T36">
                              <a:pos x="T12" y="T13"/>
                            </a:cxn>
                            <a:cxn ang="T37">
                              <a:pos x="T14" y="T15"/>
                            </a:cxn>
                            <a:cxn ang="T38">
                              <a:pos x="T16" y="T17"/>
                            </a:cxn>
                            <a:cxn ang="T39">
                              <a:pos x="T18" y="T19"/>
                            </a:cxn>
                            <a:cxn ang="T40">
                              <a:pos x="T20" y="T21"/>
                            </a:cxn>
                            <a:cxn ang="T41">
                              <a:pos x="T22" y="T23"/>
                            </a:cxn>
                            <a:cxn ang="T42">
                              <a:pos x="T24" y="T25"/>
                            </a:cxn>
                            <a:cxn ang="T43">
                              <a:pos x="T26" y="T27"/>
                            </a:cxn>
                            <a:cxn ang="T44">
                              <a:pos x="T28" y="T29"/>
                            </a:cxn>
                          </a:cxnLst>
                          <a:rect l="T45" t="T46" r="T47" b="T48"/>
                          <a:pathLst>
                            <a:path w="14" h="25">
                              <a:moveTo>
                                <a:pt x="10" y="1"/>
                              </a:moveTo>
                              <a:cubicBezTo>
                                <a:pt x="12" y="8"/>
                                <a:pt x="13" y="15"/>
                                <a:pt x="14" y="22"/>
                              </a:cubicBezTo>
                              <a:cubicBezTo>
                                <a:pt x="14" y="23"/>
                                <a:pt x="12" y="25"/>
                                <a:pt x="11" y="25"/>
                              </a:cubicBezTo>
                              <a:cubicBezTo>
                                <a:pt x="9" y="25"/>
                                <a:pt x="8" y="23"/>
                                <a:pt x="8" y="22"/>
                              </a:cubicBezTo>
                              <a:cubicBezTo>
                                <a:pt x="8" y="20"/>
                                <a:pt x="10" y="18"/>
                                <a:pt x="9" y="15"/>
                              </a:cubicBezTo>
                              <a:cubicBezTo>
                                <a:pt x="9" y="15"/>
                                <a:pt x="8" y="14"/>
                                <a:pt x="7" y="15"/>
                              </a:cubicBezTo>
                              <a:cubicBezTo>
                                <a:pt x="6" y="16"/>
                                <a:pt x="6" y="17"/>
                                <a:pt x="6" y="19"/>
                              </a:cubicBezTo>
                              <a:cubicBezTo>
                                <a:pt x="6" y="20"/>
                                <a:pt x="7" y="22"/>
                                <a:pt x="6" y="21"/>
                              </a:cubicBezTo>
                              <a:cubicBezTo>
                                <a:pt x="4" y="20"/>
                                <a:pt x="3" y="18"/>
                                <a:pt x="3" y="16"/>
                              </a:cubicBezTo>
                              <a:cubicBezTo>
                                <a:pt x="2" y="15"/>
                                <a:pt x="0" y="12"/>
                                <a:pt x="1" y="10"/>
                              </a:cubicBezTo>
                              <a:cubicBezTo>
                                <a:pt x="1" y="9"/>
                                <a:pt x="4" y="11"/>
                                <a:pt x="5" y="11"/>
                              </a:cubicBezTo>
                              <a:cubicBezTo>
                                <a:pt x="5" y="12"/>
                                <a:pt x="6" y="13"/>
                                <a:pt x="6" y="13"/>
                              </a:cubicBezTo>
                              <a:cubicBezTo>
                                <a:pt x="7" y="11"/>
                                <a:pt x="7" y="9"/>
                                <a:pt x="7" y="7"/>
                              </a:cubicBezTo>
                              <a:cubicBezTo>
                                <a:pt x="7" y="6"/>
                                <a:pt x="5" y="4"/>
                                <a:pt x="6" y="2"/>
                              </a:cubicBezTo>
                              <a:cubicBezTo>
                                <a:pt x="6" y="1"/>
                                <a:pt x="9" y="0"/>
                                <a:pt x="10" y="1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91" name="Freeform 3499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52825" y="3657207"/>
                          <a:ext cx="6712" cy="13290"/>
                        </a:xfrm>
                        <a:custGeom>
                          <a:avLst/>
                          <a:gdLst>
                            <a:gd name="T0" fmla="*/ 2 w 5"/>
                            <a:gd name="T1" fmla="*/ 1 h 13"/>
                            <a:gd name="T2" fmla="*/ 0 w 5"/>
                            <a:gd name="T3" fmla="*/ 1 h 13"/>
                            <a:gd name="T4" fmla="*/ 2 w 5"/>
                            <a:gd name="T5" fmla="*/ 7 h 13"/>
                            <a:gd name="T6" fmla="*/ 2 w 5"/>
                            <a:gd name="T7" fmla="*/ 15 h 13"/>
                            <a:gd name="T8" fmla="*/ 5 w 5"/>
                            <a:gd name="T9" fmla="*/ 14 h 13"/>
                            <a:gd name="T10" fmla="*/ 6 w 5"/>
                            <a:gd name="T11" fmla="*/ 10 h 13"/>
                            <a:gd name="T12" fmla="*/ 2 w 5"/>
                            <a:gd name="T13" fmla="*/ 1 h 13"/>
                            <a:gd name="T14" fmla="*/ 0 60000 65536"/>
                            <a:gd name="T15" fmla="*/ 0 60000 65536"/>
                            <a:gd name="T16" fmla="*/ 0 60000 65536"/>
                            <a:gd name="T17" fmla="*/ 0 60000 65536"/>
                            <a:gd name="T18" fmla="*/ 0 60000 65536"/>
                            <a:gd name="T19" fmla="*/ 0 60000 65536"/>
                            <a:gd name="T20" fmla="*/ 0 60000 65536"/>
                            <a:gd name="T21" fmla="*/ 0 w 5"/>
                            <a:gd name="T22" fmla="*/ 0 h 13"/>
                            <a:gd name="T23" fmla="*/ 5 w 5"/>
                            <a:gd name="T24" fmla="*/ 13 h 13"/>
                          </a:gdLst>
                          <a:ahLst/>
                          <a:cxnLst>
                            <a:cxn ang="T14">
                              <a:pos x="T0" y="T1"/>
                            </a:cxn>
                            <a:cxn ang="T15">
                              <a:pos x="T2" y="T3"/>
                            </a:cxn>
                            <a:cxn ang="T16">
                              <a:pos x="T4" y="T5"/>
                            </a:cxn>
                            <a:cxn ang="T17">
                              <a:pos x="T6" y="T7"/>
                            </a:cxn>
                            <a:cxn ang="T18">
                              <a:pos x="T8" y="T9"/>
                            </a:cxn>
                            <a:cxn ang="T19">
                              <a:pos x="T10" y="T11"/>
                            </a:cxn>
                            <a:cxn ang="T20">
                              <a:pos x="T12" y="T13"/>
                            </a:cxn>
                          </a:cxnLst>
                          <a:rect l="T21" t="T22" r="T23" b="T24"/>
                          <a:pathLst>
                            <a:path w="5" h="13">
                              <a:moveTo>
                                <a:pt x="2" y="1"/>
                              </a:moveTo>
                              <a:cubicBezTo>
                                <a:pt x="2" y="0"/>
                                <a:pt x="0" y="0"/>
                                <a:pt x="0" y="1"/>
                              </a:cubicBezTo>
                              <a:cubicBezTo>
                                <a:pt x="0" y="3"/>
                                <a:pt x="2" y="4"/>
                                <a:pt x="2" y="6"/>
                              </a:cubicBezTo>
                              <a:cubicBezTo>
                                <a:pt x="2" y="8"/>
                                <a:pt x="1" y="10"/>
                                <a:pt x="2" y="12"/>
                              </a:cubicBezTo>
                              <a:cubicBezTo>
                                <a:pt x="2" y="13"/>
                                <a:pt x="3" y="12"/>
                                <a:pt x="4" y="11"/>
                              </a:cubicBezTo>
                              <a:cubicBezTo>
                                <a:pt x="4" y="10"/>
                                <a:pt x="5" y="9"/>
                                <a:pt x="5" y="8"/>
                              </a:cubicBezTo>
                              <a:cubicBezTo>
                                <a:pt x="4" y="5"/>
                                <a:pt x="4" y="3"/>
                                <a:pt x="2" y="1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92" name="Freeform 3500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61773" y="3661360"/>
                          <a:ext cx="6712" cy="5815"/>
                        </a:xfrm>
                        <a:custGeom>
                          <a:avLst/>
                          <a:gdLst>
                            <a:gd name="T0" fmla="*/ 0 w 5"/>
                            <a:gd name="T1" fmla="*/ 4 h 6"/>
                            <a:gd name="T2" fmla="*/ 5 w 5"/>
                            <a:gd name="T3" fmla="*/ 7 h 6"/>
                            <a:gd name="T4" fmla="*/ 5 w 5"/>
                            <a:gd name="T5" fmla="*/ 4 h 6"/>
                            <a:gd name="T6" fmla="*/ 4 w 5"/>
                            <a:gd name="T7" fmla="*/ 0 h 6"/>
                            <a:gd name="T8" fmla="*/ 0 w 5"/>
                            <a:gd name="T9" fmla="*/ 4 h 6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5"/>
                            <a:gd name="T16" fmla="*/ 0 h 6"/>
                            <a:gd name="T17" fmla="*/ 5 w 5"/>
                            <a:gd name="T18" fmla="*/ 6 h 6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5" h="6">
                              <a:moveTo>
                                <a:pt x="0" y="3"/>
                              </a:moveTo>
                              <a:cubicBezTo>
                                <a:pt x="1" y="4"/>
                                <a:pt x="3" y="6"/>
                                <a:pt x="4" y="6"/>
                              </a:cubicBezTo>
                              <a:cubicBezTo>
                                <a:pt x="5" y="6"/>
                                <a:pt x="4" y="4"/>
                                <a:pt x="4" y="3"/>
                              </a:cubicBezTo>
                              <a:cubicBezTo>
                                <a:pt x="4" y="2"/>
                                <a:pt x="4" y="0"/>
                                <a:pt x="3" y="0"/>
                              </a:cubicBezTo>
                              <a:cubicBezTo>
                                <a:pt x="2" y="0"/>
                                <a:pt x="0" y="2"/>
                                <a:pt x="0" y="3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93" name="Freeform 3501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53943" y="3555036"/>
                          <a:ext cx="16778" cy="28243"/>
                        </a:xfrm>
                        <a:custGeom>
                          <a:avLst/>
                          <a:gdLst>
                            <a:gd name="T0" fmla="*/ 6 w 12"/>
                            <a:gd name="T1" fmla="*/ 1 h 28"/>
                            <a:gd name="T2" fmla="*/ 3 w 12"/>
                            <a:gd name="T3" fmla="*/ 10 h 28"/>
                            <a:gd name="T4" fmla="*/ 5 w 12"/>
                            <a:gd name="T5" fmla="*/ 22 h 28"/>
                            <a:gd name="T6" fmla="*/ 1 w 12"/>
                            <a:gd name="T7" fmla="*/ 32 h 28"/>
                            <a:gd name="T8" fmla="*/ 11 w 12"/>
                            <a:gd name="T9" fmla="*/ 33 h 28"/>
                            <a:gd name="T10" fmla="*/ 13 w 12"/>
                            <a:gd name="T11" fmla="*/ 26 h 28"/>
                            <a:gd name="T12" fmla="*/ 11 w 12"/>
                            <a:gd name="T13" fmla="*/ 21 h 28"/>
                            <a:gd name="T14" fmla="*/ 14 w 12"/>
                            <a:gd name="T15" fmla="*/ 19 h 28"/>
                            <a:gd name="T16" fmla="*/ 10 w 12"/>
                            <a:gd name="T17" fmla="*/ 15 h 28"/>
                            <a:gd name="T18" fmla="*/ 13 w 12"/>
                            <a:gd name="T19" fmla="*/ 12 h 28"/>
                            <a:gd name="T20" fmla="*/ 15 w 12"/>
                            <a:gd name="T21" fmla="*/ 10 h 28"/>
                            <a:gd name="T22" fmla="*/ 11 w 12"/>
                            <a:gd name="T23" fmla="*/ 2 h 28"/>
                            <a:gd name="T24" fmla="*/ 6 w 12"/>
                            <a:gd name="T25" fmla="*/ 1 h 28"/>
                            <a:gd name="T26" fmla="*/ 0 60000 65536"/>
                            <a:gd name="T27" fmla="*/ 0 60000 65536"/>
                            <a:gd name="T28" fmla="*/ 0 60000 65536"/>
                            <a:gd name="T29" fmla="*/ 0 60000 65536"/>
                            <a:gd name="T30" fmla="*/ 0 60000 65536"/>
                            <a:gd name="T31" fmla="*/ 0 60000 65536"/>
                            <a:gd name="T32" fmla="*/ 0 60000 65536"/>
                            <a:gd name="T33" fmla="*/ 0 60000 65536"/>
                            <a:gd name="T34" fmla="*/ 0 60000 65536"/>
                            <a:gd name="T35" fmla="*/ 0 60000 65536"/>
                            <a:gd name="T36" fmla="*/ 0 60000 65536"/>
                            <a:gd name="T37" fmla="*/ 0 60000 65536"/>
                            <a:gd name="T38" fmla="*/ 0 60000 65536"/>
                            <a:gd name="T39" fmla="*/ 0 w 12"/>
                            <a:gd name="T40" fmla="*/ 0 h 28"/>
                            <a:gd name="T41" fmla="*/ 12 w 12"/>
                            <a:gd name="T42" fmla="*/ 28 h 28"/>
                          </a:gdLst>
                          <a:ahLst/>
                          <a:cxnLst>
                            <a:cxn ang="T26">
                              <a:pos x="T0" y="T1"/>
                            </a:cxn>
                            <a:cxn ang="T27">
                              <a:pos x="T2" y="T3"/>
                            </a:cxn>
                            <a:cxn ang="T28">
                              <a:pos x="T4" y="T5"/>
                            </a:cxn>
                            <a:cxn ang="T29">
                              <a:pos x="T6" y="T7"/>
                            </a:cxn>
                            <a:cxn ang="T30">
                              <a:pos x="T8" y="T9"/>
                            </a:cxn>
                            <a:cxn ang="T31">
                              <a:pos x="T10" y="T11"/>
                            </a:cxn>
                            <a:cxn ang="T32">
                              <a:pos x="T12" y="T13"/>
                            </a:cxn>
                            <a:cxn ang="T33">
                              <a:pos x="T14" y="T15"/>
                            </a:cxn>
                            <a:cxn ang="T34">
                              <a:pos x="T16" y="T17"/>
                            </a:cxn>
                            <a:cxn ang="T35">
                              <a:pos x="T18" y="T19"/>
                            </a:cxn>
                            <a:cxn ang="T36">
                              <a:pos x="T20" y="T21"/>
                            </a:cxn>
                            <a:cxn ang="T37">
                              <a:pos x="T22" y="T23"/>
                            </a:cxn>
                            <a:cxn ang="T38">
                              <a:pos x="T24" y="T25"/>
                            </a:cxn>
                          </a:cxnLst>
                          <a:rect l="T39" t="T40" r="T41" b="T42"/>
                          <a:pathLst>
                            <a:path w="12" h="28">
                              <a:moveTo>
                                <a:pt x="5" y="1"/>
                              </a:moveTo>
                              <a:cubicBezTo>
                                <a:pt x="3" y="3"/>
                                <a:pt x="3" y="6"/>
                                <a:pt x="2" y="8"/>
                              </a:cubicBezTo>
                              <a:cubicBezTo>
                                <a:pt x="2" y="11"/>
                                <a:pt x="4" y="14"/>
                                <a:pt x="4" y="18"/>
                              </a:cubicBezTo>
                              <a:cubicBezTo>
                                <a:pt x="4" y="21"/>
                                <a:pt x="0" y="23"/>
                                <a:pt x="1" y="26"/>
                              </a:cubicBezTo>
                              <a:cubicBezTo>
                                <a:pt x="2" y="28"/>
                                <a:pt x="6" y="28"/>
                                <a:pt x="9" y="27"/>
                              </a:cubicBezTo>
                              <a:cubicBezTo>
                                <a:pt x="10" y="26"/>
                                <a:pt x="10" y="23"/>
                                <a:pt x="10" y="21"/>
                              </a:cubicBezTo>
                              <a:cubicBezTo>
                                <a:pt x="11" y="20"/>
                                <a:pt x="9" y="18"/>
                                <a:pt x="9" y="17"/>
                              </a:cubicBezTo>
                              <a:cubicBezTo>
                                <a:pt x="10" y="16"/>
                                <a:pt x="11" y="16"/>
                                <a:pt x="11" y="16"/>
                              </a:cubicBezTo>
                              <a:cubicBezTo>
                                <a:pt x="11" y="14"/>
                                <a:pt x="9" y="14"/>
                                <a:pt x="8" y="12"/>
                              </a:cubicBezTo>
                              <a:cubicBezTo>
                                <a:pt x="8" y="11"/>
                                <a:pt x="9" y="10"/>
                                <a:pt x="10" y="10"/>
                              </a:cubicBezTo>
                              <a:cubicBezTo>
                                <a:pt x="10" y="9"/>
                                <a:pt x="12" y="9"/>
                                <a:pt x="12" y="8"/>
                              </a:cubicBezTo>
                              <a:cubicBezTo>
                                <a:pt x="12" y="6"/>
                                <a:pt x="11" y="4"/>
                                <a:pt x="9" y="2"/>
                              </a:cubicBezTo>
                              <a:cubicBezTo>
                                <a:pt x="8" y="1"/>
                                <a:pt x="6" y="0"/>
                                <a:pt x="5" y="1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94" name="Freeform 3502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78550" y="3599061"/>
                          <a:ext cx="8948" cy="8307"/>
                        </a:xfrm>
                        <a:custGeom>
                          <a:avLst/>
                          <a:gdLst>
                            <a:gd name="T0" fmla="*/ 2 w 7"/>
                            <a:gd name="T1" fmla="*/ 9 h 8"/>
                            <a:gd name="T2" fmla="*/ 6 w 7"/>
                            <a:gd name="T3" fmla="*/ 6 h 8"/>
                            <a:gd name="T4" fmla="*/ 7 w 7"/>
                            <a:gd name="T5" fmla="*/ 1 h 8"/>
                            <a:gd name="T6" fmla="*/ 2 w 7"/>
                            <a:gd name="T7" fmla="*/ 0 h 8"/>
                            <a:gd name="T8" fmla="*/ 0 w 7"/>
                            <a:gd name="T9" fmla="*/ 4 h 8"/>
                            <a:gd name="T10" fmla="*/ 1 w 7"/>
                            <a:gd name="T11" fmla="*/ 7 h 8"/>
                            <a:gd name="T12" fmla="*/ 2 w 7"/>
                            <a:gd name="T13" fmla="*/ 9 h 8"/>
                            <a:gd name="T14" fmla="*/ 0 60000 65536"/>
                            <a:gd name="T15" fmla="*/ 0 60000 65536"/>
                            <a:gd name="T16" fmla="*/ 0 60000 65536"/>
                            <a:gd name="T17" fmla="*/ 0 60000 65536"/>
                            <a:gd name="T18" fmla="*/ 0 60000 65536"/>
                            <a:gd name="T19" fmla="*/ 0 60000 65536"/>
                            <a:gd name="T20" fmla="*/ 0 60000 65536"/>
                            <a:gd name="T21" fmla="*/ 0 w 7"/>
                            <a:gd name="T22" fmla="*/ 0 h 8"/>
                            <a:gd name="T23" fmla="*/ 7 w 7"/>
                            <a:gd name="T24" fmla="*/ 8 h 8"/>
                          </a:gdLst>
                          <a:ahLst/>
                          <a:cxnLst>
                            <a:cxn ang="T14">
                              <a:pos x="T0" y="T1"/>
                            </a:cxn>
                            <a:cxn ang="T15">
                              <a:pos x="T2" y="T3"/>
                            </a:cxn>
                            <a:cxn ang="T16">
                              <a:pos x="T4" y="T5"/>
                            </a:cxn>
                            <a:cxn ang="T17">
                              <a:pos x="T6" y="T7"/>
                            </a:cxn>
                            <a:cxn ang="T18">
                              <a:pos x="T8" y="T9"/>
                            </a:cxn>
                            <a:cxn ang="T19">
                              <a:pos x="T10" y="T11"/>
                            </a:cxn>
                            <a:cxn ang="T20">
                              <a:pos x="T12" y="T13"/>
                            </a:cxn>
                          </a:cxnLst>
                          <a:rect l="T21" t="T22" r="T23" b="T24"/>
                          <a:pathLst>
                            <a:path w="7" h="8">
                              <a:moveTo>
                                <a:pt x="2" y="7"/>
                              </a:moveTo>
                              <a:cubicBezTo>
                                <a:pt x="4" y="7"/>
                                <a:pt x="5" y="6"/>
                                <a:pt x="5" y="5"/>
                              </a:cubicBezTo>
                              <a:cubicBezTo>
                                <a:pt x="6" y="4"/>
                                <a:pt x="7" y="2"/>
                                <a:pt x="6" y="1"/>
                              </a:cubicBezTo>
                              <a:cubicBezTo>
                                <a:pt x="5" y="0"/>
                                <a:pt x="4" y="0"/>
                                <a:pt x="2" y="0"/>
                              </a:cubicBezTo>
                              <a:cubicBezTo>
                                <a:pt x="1" y="0"/>
                                <a:pt x="0" y="2"/>
                                <a:pt x="0" y="3"/>
                              </a:cubicBezTo>
                              <a:cubicBezTo>
                                <a:pt x="0" y="4"/>
                                <a:pt x="0" y="5"/>
                                <a:pt x="1" y="6"/>
                              </a:cubicBezTo>
                              <a:cubicBezTo>
                                <a:pt x="1" y="7"/>
                                <a:pt x="2" y="8"/>
                                <a:pt x="2" y="7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95" name="Freeform 3503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77432" y="3613183"/>
                          <a:ext cx="6712" cy="4984"/>
                        </a:xfrm>
                        <a:custGeom>
                          <a:avLst/>
                          <a:gdLst>
                            <a:gd name="T0" fmla="*/ 0 w 5"/>
                            <a:gd name="T1" fmla="*/ 1 h 5"/>
                            <a:gd name="T2" fmla="*/ 1 w 5"/>
                            <a:gd name="T3" fmla="*/ 5 h 5"/>
                            <a:gd name="T4" fmla="*/ 5 w 5"/>
                            <a:gd name="T5" fmla="*/ 4 h 5"/>
                            <a:gd name="T6" fmla="*/ 2 w 5"/>
                            <a:gd name="T7" fmla="*/ 1 h 5"/>
                            <a:gd name="T8" fmla="*/ 0 w 5"/>
                            <a:gd name="T9" fmla="*/ 1 h 5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5"/>
                            <a:gd name="T16" fmla="*/ 0 h 5"/>
                            <a:gd name="T17" fmla="*/ 5 w 5"/>
                            <a:gd name="T18" fmla="*/ 5 h 5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5" h="5">
                              <a:moveTo>
                                <a:pt x="0" y="1"/>
                              </a:moveTo>
                              <a:cubicBezTo>
                                <a:pt x="0" y="2"/>
                                <a:pt x="0" y="4"/>
                                <a:pt x="1" y="4"/>
                              </a:cubicBezTo>
                              <a:cubicBezTo>
                                <a:pt x="2" y="5"/>
                                <a:pt x="4" y="4"/>
                                <a:pt x="4" y="3"/>
                              </a:cubicBezTo>
                              <a:cubicBezTo>
                                <a:pt x="5" y="2"/>
                                <a:pt x="3" y="1"/>
                                <a:pt x="2" y="1"/>
                              </a:cubicBezTo>
                              <a:cubicBezTo>
                                <a:pt x="2" y="1"/>
                                <a:pt x="0" y="0"/>
                                <a:pt x="0" y="1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96" name="Freeform 3504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060653" y="3599891"/>
                          <a:ext cx="7830" cy="4984"/>
                        </a:xfrm>
                        <a:custGeom>
                          <a:avLst/>
                          <a:gdLst>
                            <a:gd name="T0" fmla="*/ 1 w 6"/>
                            <a:gd name="T1" fmla="*/ 1 h 5"/>
                            <a:gd name="T2" fmla="*/ 6 w 6"/>
                            <a:gd name="T3" fmla="*/ 2 h 5"/>
                            <a:gd name="T4" fmla="*/ 1 w 6"/>
                            <a:gd name="T5" fmla="*/ 5 h 5"/>
                            <a:gd name="T6" fmla="*/ 1 w 6"/>
                            <a:gd name="T7" fmla="*/ 1 h 5"/>
                            <a:gd name="T8" fmla="*/ 0 60000 65536"/>
                            <a:gd name="T9" fmla="*/ 0 60000 65536"/>
                            <a:gd name="T10" fmla="*/ 0 60000 65536"/>
                            <a:gd name="T11" fmla="*/ 0 60000 65536"/>
                            <a:gd name="T12" fmla="*/ 0 w 6"/>
                            <a:gd name="T13" fmla="*/ 0 h 5"/>
                            <a:gd name="T14" fmla="*/ 6 w 6"/>
                            <a:gd name="T15" fmla="*/ 5 h 5"/>
                          </a:gdLst>
                          <a:ahLst/>
                          <a:cxnLst>
                            <a:cxn ang="T8">
                              <a:pos x="T0" y="T1"/>
                            </a:cxn>
                            <a:cxn ang="T9">
                              <a:pos x="T2" y="T3"/>
                            </a:cxn>
                            <a:cxn ang="T10">
                              <a:pos x="T4" y="T5"/>
                            </a:cxn>
                            <a:cxn ang="T11">
                              <a:pos x="T6" y="T7"/>
                            </a:cxn>
                          </a:cxnLst>
                          <a:rect l="T12" t="T13" r="T14" b="T15"/>
                          <a:pathLst>
                            <a:path w="6" h="5">
                              <a:moveTo>
                                <a:pt x="1" y="1"/>
                              </a:moveTo>
                              <a:cubicBezTo>
                                <a:pt x="2" y="0"/>
                                <a:pt x="5" y="1"/>
                                <a:pt x="5" y="2"/>
                              </a:cubicBezTo>
                              <a:cubicBezTo>
                                <a:pt x="6" y="4"/>
                                <a:pt x="3" y="5"/>
                                <a:pt x="1" y="4"/>
                              </a:cubicBezTo>
                              <a:cubicBezTo>
                                <a:pt x="0" y="4"/>
                                <a:pt x="0" y="1"/>
                                <a:pt x="1" y="1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  <p:sp>
                      <p:nvSpPr>
                        <p:cNvPr id="2297" name="Freeform 3652"/>
                        <p:cNvSpPr>
                          <a:spLocks noChangeAspect="1"/>
                        </p:cNvSpPr>
                        <p:nvPr/>
                      </p:nvSpPr>
                      <p:spPr bwMode="auto">
                        <a:xfrm>
                          <a:off x="3246324" y="3777654"/>
                          <a:ext cx="16778" cy="4984"/>
                        </a:xfrm>
                        <a:custGeom>
                          <a:avLst/>
                          <a:gdLst>
                            <a:gd name="T0" fmla="*/ 1 w 13"/>
                            <a:gd name="T1" fmla="*/ 4 h 5"/>
                            <a:gd name="T2" fmla="*/ 5 w 13"/>
                            <a:gd name="T3" fmla="*/ 1 h 5"/>
                            <a:gd name="T4" fmla="*/ 14 w 13"/>
                            <a:gd name="T5" fmla="*/ 1 h 5"/>
                            <a:gd name="T6" fmla="*/ 12 w 13"/>
                            <a:gd name="T7" fmla="*/ 4 h 5"/>
                            <a:gd name="T8" fmla="*/ 6 w 13"/>
                            <a:gd name="T9" fmla="*/ 4 h 5"/>
                            <a:gd name="T10" fmla="*/ 3 w 13"/>
                            <a:gd name="T11" fmla="*/ 6 h 5"/>
                            <a:gd name="T12" fmla="*/ 1 w 13"/>
                            <a:gd name="T13" fmla="*/ 4 h 5"/>
                            <a:gd name="T14" fmla="*/ 0 60000 65536"/>
                            <a:gd name="T15" fmla="*/ 0 60000 65536"/>
                            <a:gd name="T16" fmla="*/ 0 60000 65536"/>
                            <a:gd name="T17" fmla="*/ 0 60000 65536"/>
                            <a:gd name="T18" fmla="*/ 0 60000 65536"/>
                            <a:gd name="T19" fmla="*/ 0 60000 65536"/>
                            <a:gd name="T20" fmla="*/ 0 60000 65536"/>
                            <a:gd name="T21" fmla="*/ 0 w 13"/>
                            <a:gd name="T22" fmla="*/ 0 h 5"/>
                            <a:gd name="T23" fmla="*/ 13 w 13"/>
                            <a:gd name="T24" fmla="*/ 5 h 5"/>
                          </a:gdLst>
                          <a:ahLst/>
                          <a:cxnLst>
                            <a:cxn ang="T14">
                              <a:pos x="T0" y="T1"/>
                            </a:cxn>
                            <a:cxn ang="T15">
                              <a:pos x="T2" y="T3"/>
                            </a:cxn>
                            <a:cxn ang="T16">
                              <a:pos x="T4" y="T5"/>
                            </a:cxn>
                            <a:cxn ang="T17">
                              <a:pos x="T6" y="T7"/>
                            </a:cxn>
                            <a:cxn ang="T18">
                              <a:pos x="T8" y="T9"/>
                            </a:cxn>
                            <a:cxn ang="T19">
                              <a:pos x="T10" y="T11"/>
                            </a:cxn>
                            <a:cxn ang="T20">
                              <a:pos x="T12" y="T13"/>
                            </a:cxn>
                          </a:cxnLst>
                          <a:rect l="T21" t="T22" r="T23" b="T24"/>
                          <a:pathLst>
                            <a:path w="13" h="5">
                              <a:moveTo>
                                <a:pt x="1" y="3"/>
                              </a:moveTo>
                              <a:cubicBezTo>
                                <a:pt x="1" y="2"/>
                                <a:pt x="3" y="1"/>
                                <a:pt x="4" y="1"/>
                              </a:cubicBezTo>
                              <a:cubicBezTo>
                                <a:pt x="7" y="1"/>
                                <a:pt x="10" y="0"/>
                                <a:pt x="12" y="1"/>
                              </a:cubicBezTo>
                              <a:cubicBezTo>
                                <a:pt x="13" y="2"/>
                                <a:pt x="11" y="3"/>
                                <a:pt x="10" y="3"/>
                              </a:cubicBezTo>
                              <a:cubicBezTo>
                                <a:pt x="8" y="4"/>
                                <a:pt x="7" y="3"/>
                                <a:pt x="5" y="3"/>
                              </a:cubicBezTo>
                              <a:cubicBezTo>
                                <a:pt x="4" y="3"/>
                                <a:pt x="4" y="5"/>
                                <a:pt x="3" y="5"/>
                              </a:cubicBezTo>
                              <a:cubicBezTo>
                                <a:pt x="2" y="4"/>
                                <a:pt x="0" y="4"/>
                                <a:pt x="1" y="3"/>
                              </a:cubicBezTo>
                              <a:close/>
                            </a:path>
                          </a:pathLst>
                        </a:custGeom>
                        <a:grpFill/>
                        <a:ln w="3175" cap="rnd">
                          <a:solidFill>
                            <a:schemeClr val="bg1">
                              <a:lumMod val="75000"/>
                            </a:schemeClr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685800" fontAlgn="base">
                            <a:spcBef>
                              <a:spcPct val="0"/>
                            </a:spcBef>
                            <a:spcAft>
                              <a:spcPct val="0"/>
                            </a:spcAft>
                          </a:pPr>
                          <a:endParaRPr lang="it-IT">
                            <a:solidFill>
                              <a:srgbClr val="133B9C"/>
                            </a:solidFill>
                            <a:latin typeface="Arial" charset="0"/>
                            <a:cs typeface="Arial" charset="0"/>
                          </a:endParaRPr>
                        </a:p>
                      </p:txBody>
                    </p:sp>
                  </p:grpSp>
                </p:grpSp>
              </p:grpSp>
              <p:grpSp>
                <p:nvGrpSpPr>
                  <p:cNvPr id="1975" name="Gruppo 1123"/>
                  <p:cNvGrpSpPr/>
                  <p:nvPr/>
                </p:nvGrpSpPr>
                <p:grpSpPr>
                  <a:xfrm>
                    <a:off x="4304152" y="2414474"/>
                    <a:ext cx="839987" cy="1259291"/>
                    <a:chOff x="4153338" y="2190251"/>
                    <a:chExt cx="839987" cy="1259291"/>
                  </a:xfrm>
                  <a:grpFill/>
                </p:grpSpPr>
                <p:sp>
                  <p:nvSpPr>
                    <p:cNvPr id="2031" name="Freeform 2511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717058" y="3253505"/>
                      <a:ext cx="276267" cy="196037"/>
                    </a:xfrm>
                    <a:custGeom>
                      <a:avLst/>
                      <a:gdLst>
                        <a:gd name="T0" fmla="*/ 235 w 206"/>
                        <a:gd name="T1" fmla="*/ 85 h 197"/>
                        <a:gd name="T2" fmla="*/ 229 w 206"/>
                        <a:gd name="T3" fmla="*/ 95 h 197"/>
                        <a:gd name="T4" fmla="*/ 215 w 206"/>
                        <a:gd name="T5" fmla="*/ 86 h 197"/>
                        <a:gd name="T6" fmla="*/ 218 w 206"/>
                        <a:gd name="T7" fmla="*/ 71 h 197"/>
                        <a:gd name="T8" fmla="*/ 235 w 206"/>
                        <a:gd name="T9" fmla="*/ 72 h 197"/>
                        <a:gd name="T10" fmla="*/ 233 w 206"/>
                        <a:gd name="T11" fmla="*/ 62 h 197"/>
                        <a:gd name="T12" fmla="*/ 231 w 206"/>
                        <a:gd name="T13" fmla="*/ 36 h 197"/>
                        <a:gd name="T14" fmla="*/ 229 w 206"/>
                        <a:gd name="T15" fmla="*/ 19 h 197"/>
                        <a:gd name="T16" fmla="*/ 225 w 206"/>
                        <a:gd name="T17" fmla="*/ 5 h 197"/>
                        <a:gd name="T18" fmla="*/ 218 w 206"/>
                        <a:gd name="T19" fmla="*/ 2 h 197"/>
                        <a:gd name="T20" fmla="*/ 201 w 206"/>
                        <a:gd name="T21" fmla="*/ 1 h 197"/>
                        <a:gd name="T22" fmla="*/ 188 w 206"/>
                        <a:gd name="T23" fmla="*/ 4 h 197"/>
                        <a:gd name="T24" fmla="*/ 175 w 206"/>
                        <a:gd name="T25" fmla="*/ 12 h 197"/>
                        <a:gd name="T26" fmla="*/ 158 w 206"/>
                        <a:gd name="T27" fmla="*/ 36 h 197"/>
                        <a:gd name="T28" fmla="*/ 143 w 206"/>
                        <a:gd name="T29" fmla="*/ 46 h 197"/>
                        <a:gd name="T30" fmla="*/ 138 w 206"/>
                        <a:gd name="T31" fmla="*/ 63 h 197"/>
                        <a:gd name="T32" fmla="*/ 122 w 206"/>
                        <a:gd name="T33" fmla="*/ 66 h 197"/>
                        <a:gd name="T34" fmla="*/ 109 w 206"/>
                        <a:gd name="T35" fmla="*/ 56 h 197"/>
                        <a:gd name="T36" fmla="*/ 97 w 206"/>
                        <a:gd name="T37" fmla="*/ 59 h 197"/>
                        <a:gd name="T38" fmla="*/ 89 w 206"/>
                        <a:gd name="T39" fmla="*/ 74 h 197"/>
                        <a:gd name="T40" fmla="*/ 79 w 206"/>
                        <a:gd name="T41" fmla="*/ 84 h 197"/>
                        <a:gd name="T42" fmla="*/ 62 w 206"/>
                        <a:gd name="T43" fmla="*/ 85 h 197"/>
                        <a:gd name="T44" fmla="*/ 65 w 206"/>
                        <a:gd name="T45" fmla="*/ 69 h 197"/>
                        <a:gd name="T46" fmla="*/ 59 w 206"/>
                        <a:gd name="T47" fmla="*/ 53 h 197"/>
                        <a:gd name="T48" fmla="*/ 53 w 206"/>
                        <a:gd name="T49" fmla="*/ 115 h 197"/>
                        <a:gd name="T50" fmla="*/ 44 w 206"/>
                        <a:gd name="T51" fmla="*/ 121 h 197"/>
                        <a:gd name="T52" fmla="*/ 34 w 206"/>
                        <a:gd name="T53" fmla="*/ 122 h 197"/>
                        <a:gd name="T54" fmla="*/ 16 w 206"/>
                        <a:gd name="T55" fmla="*/ 121 h 197"/>
                        <a:gd name="T56" fmla="*/ 8 w 206"/>
                        <a:gd name="T57" fmla="*/ 108 h 197"/>
                        <a:gd name="T58" fmla="*/ 5 w 206"/>
                        <a:gd name="T59" fmla="*/ 117 h 197"/>
                        <a:gd name="T60" fmla="*/ 4 w 206"/>
                        <a:gd name="T61" fmla="*/ 129 h 197"/>
                        <a:gd name="T62" fmla="*/ 19 w 206"/>
                        <a:gd name="T63" fmla="*/ 168 h 197"/>
                        <a:gd name="T64" fmla="*/ 25 w 206"/>
                        <a:gd name="T65" fmla="*/ 195 h 197"/>
                        <a:gd name="T66" fmla="*/ 20 w 206"/>
                        <a:gd name="T67" fmla="*/ 199 h 197"/>
                        <a:gd name="T68" fmla="*/ 26 w 206"/>
                        <a:gd name="T69" fmla="*/ 217 h 197"/>
                        <a:gd name="T70" fmla="*/ 34 w 206"/>
                        <a:gd name="T71" fmla="*/ 224 h 197"/>
                        <a:gd name="T72" fmla="*/ 49 w 206"/>
                        <a:gd name="T73" fmla="*/ 235 h 197"/>
                        <a:gd name="T74" fmla="*/ 65 w 206"/>
                        <a:gd name="T75" fmla="*/ 225 h 197"/>
                        <a:gd name="T76" fmla="*/ 80 w 206"/>
                        <a:gd name="T77" fmla="*/ 222 h 197"/>
                        <a:gd name="T78" fmla="*/ 100 w 206"/>
                        <a:gd name="T79" fmla="*/ 222 h 197"/>
                        <a:gd name="T80" fmla="*/ 121 w 206"/>
                        <a:gd name="T81" fmla="*/ 222 h 197"/>
                        <a:gd name="T82" fmla="*/ 134 w 206"/>
                        <a:gd name="T83" fmla="*/ 218 h 197"/>
                        <a:gd name="T84" fmla="*/ 147 w 206"/>
                        <a:gd name="T85" fmla="*/ 213 h 197"/>
                        <a:gd name="T86" fmla="*/ 169 w 206"/>
                        <a:gd name="T87" fmla="*/ 200 h 197"/>
                        <a:gd name="T88" fmla="*/ 191 w 206"/>
                        <a:gd name="T89" fmla="*/ 177 h 197"/>
                        <a:gd name="T90" fmla="*/ 206 w 206"/>
                        <a:gd name="T91" fmla="*/ 161 h 197"/>
                        <a:gd name="T92" fmla="*/ 219 w 206"/>
                        <a:gd name="T93" fmla="*/ 133 h 197"/>
                        <a:gd name="T94" fmla="*/ 235 w 206"/>
                        <a:gd name="T95" fmla="*/ 121 h 197"/>
                        <a:gd name="T96" fmla="*/ 243 w 206"/>
                        <a:gd name="T97" fmla="*/ 97 h 197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w 206"/>
                        <a:gd name="T148" fmla="*/ 0 h 197"/>
                        <a:gd name="T149" fmla="*/ 206 w 206"/>
                        <a:gd name="T150" fmla="*/ 197 h 197"/>
                      </a:gdLst>
                      <a:ahLst/>
                      <a:cxnLst>
                        <a:cxn ang="T98">
                          <a:pos x="T0" y="T1"/>
                        </a:cxn>
                        <a:cxn ang="T99">
                          <a:pos x="T2" y="T3"/>
                        </a:cxn>
                        <a:cxn ang="T100">
                          <a:pos x="T4" y="T5"/>
                        </a:cxn>
                        <a:cxn ang="T101">
                          <a:pos x="T6" y="T7"/>
                        </a:cxn>
                        <a:cxn ang="T102">
                          <a:pos x="T8" y="T9"/>
                        </a:cxn>
                        <a:cxn ang="T103">
                          <a:pos x="T10" y="T11"/>
                        </a:cxn>
                        <a:cxn ang="T104">
                          <a:pos x="T12" y="T13"/>
                        </a:cxn>
                        <a:cxn ang="T105">
                          <a:pos x="T14" y="T15"/>
                        </a:cxn>
                        <a:cxn ang="T106">
                          <a:pos x="T16" y="T17"/>
                        </a:cxn>
                        <a:cxn ang="T107">
                          <a:pos x="T18" y="T19"/>
                        </a:cxn>
                        <a:cxn ang="T108">
                          <a:pos x="T20" y="T21"/>
                        </a:cxn>
                        <a:cxn ang="T109">
                          <a:pos x="T22" y="T23"/>
                        </a:cxn>
                        <a:cxn ang="T110">
                          <a:pos x="T24" y="T25"/>
                        </a:cxn>
                        <a:cxn ang="T111">
                          <a:pos x="T26" y="T27"/>
                        </a:cxn>
                        <a:cxn ang="T112">
                          <a:pos x="T28" y="T29"/>
                        </a:cxn>
                        <a:cxn ang="T113">
                          <a:pos x="T30" y="T31"/>
                        </a:cxn>
                        <a:cxn ang="T114">
                          <a:pos x="T32" y="T33"/>
                        </a:cxn>
                        <a:cxn ang="T115">
                          <a:pos x="T34" y="T35"/>
                        </a:cxn>
                        <a:cxn ang="T116">
                          <a:pos x="T36" y="T37"/>
                        </a:cxn>
                        <a:cxn ang="T117">
                          <a:pos x="T38" y="T39"/>
                        </a:cxn>
                        <a:cxn ang="T118">
                          <a:pos x="T40" y="T41"/>
                        </a:cxn>
                        <a:cxn ang="T119">
                          <a:pos x="T42" y="T43"/>
                        </a:cxn>
                        <a:cxn ang="T120">
                          <a:pos x="T44" y="T45"/>
                        </a:cxn>
                        <a:cxn ang="T121">
                          <a:pos x="T46" y="T47"/>
                        </a:cxn>
                        <a:cxn ang="T122">
                          <a:pos x="T48" y="T49"/>
                        </a:cxn>
                        <a:cxn ang="T123">
                          <a:pos x="T50" y="T51"/>
                        </a:cxn>
                        <a:cxn ang="T124">
                          <a:pos x="T52" y="T53"/>
                        </a:cxn>
                        <a:cxn ang="T125">
                          <a:pos x="T54" y="T55"/>
                        </a:cxn>
                        <a:cxn ang="T126">
                          <a:pos x="T56" y="T57"/>
                        </a:cxn>
                        <a:cxn ang="T127">
                          <a:pos x="T58" y="T59"/>
                        </a:cxn>
                        <a:cxn ang="T128">
                          <a:pos x="T60" y="T61"/>
                        </a:cxn>
                        <a:cxn ang="T129">
                          <a:pos x="T62" y="T63"/>
                        </a:cxn>
                        <a:cxn ang="T130">
                          <a:pos x="T64" y="T65"/>
                        </a:cxn>
                        <a:cxn ang="T131">
                          <a:pos x="T66" y="T67"/>
                        </a:cxn>
                        <a:cxn ang="T132">
                          <a:pos x="T68" y="T69"/>
                        </a:cxn>
                        <a:cxn ang="T133">
                          <a:pos x="T70" y="T71"/>
                        </a:cxn>
                        <a:cxn ang="T134">
                          <a:pos x="T72" y="T73"/>
                        </a:cxn>
                        <a:cxn ang="T135">
                          <a:pos x="T74" y="T75"/>
                        </a:cxn>
                        <a:cxn ang="T136">
                          <a:pos x="T76" y="T77"/>
                        </a:cxn>
                        <a:cxn ang="T137">
                          <a:pos x="T78" y="T79"/>
                        </a:cxn>
                        <a:cxn ang="T138">
                          <a:pos x="T80" y="T81"/>
                        </a:cxn>
                        <a:cxn ang="T139">
                          <a:pos x="T82" y="T83"/>
                        </a:cxn>
                        <a:cxn ang="T140">
                          <a:pos x="T84" y="T85"/>
                        </a:cxn>
                        <a:cxn ang="T141">
                          <a:pos x="T86" y="T87"/>
                        </a:cxn>
                        <a:cxn ang="T142">
                          <a:pos x="T88" y="T89"/>
                        </a:cxn>
                        <a:cxn ang="T143">
                          <a:pos x="T90" y="T91"/>
                        </a:cxn>
                        <a:cxn ang="T144">
                          <a:pos x="T92" y="T93"/>
                        </a:cxn>
                        <a:cxn ang="T145">
                          <a:pos x="T94" y="T95"/>
                        </a:cxn>
                        <a:cxn ang="T146">
                          <a:pos x="T96" y="T97"/>
                        </a:cxn>
                      </a:cxnLst>
                      <a:rect l="T147" t="T148" r="T149" b="T150"/>
                      <a:pathLst>
                        <a:path w="206" h="197">
                          <a:moveTo>
                            <a:pt x="206" y="72"/>
                          </a:moveTo>
                          <a:lnTo>
                            <a:pt x="196" y="71"/>
                          </a:lnTo>
                          <a:cubicBezTo>
                            <a:pt x="196" y="74"/>
                            <a:pt x="195" y="76"/>
                            <a:pt x="194" y="77"/>
                          </a:cubicBezTo>
                          <a:cubicBezTo>
                            <a:pt x="193" y="78"/>
                            <a:pt x="192" y="79"/>
                            <a:pt x="191" y="79"/>
                          </a:cubicBezTo>
                          <a:cubicBezTo>
                            <a:pt x="189" y="79"/>
                            <a:pt x="186" y="78"/>
                            <a:pt x="185" y="77"/>
                          </a:cubicBezTo>
                          <a:cubicBezTo>
                            <a:pt x="182" y="76"/>
                            <a:pt x="180" y="74"/>
                            <a:pt x="179" y="72"/>
                          </a:cubicBezTo>
                          <a:cubicBezTo>
                            <a:pt x="178" y="70"/>
                            <a:pt x="178" y="67"/>
                            <a:pt x="179" y="65"/>
                          </a:cubicBezTo>
                          <a:cubicBezTo>
                            <a:pt x="179" y="63"/>
                            <a:pt x="181" y="61"/>
                            <a:pt x="182" y="59"/>
                          </a:cubicBezTo>
                          <a:cubicBezTo>
                            <a:pt x="184" y="57"/>
                            <a:pt x="185" y="55"/>
                            <a:pt x="187" y="55"/>
                          </a:cubicBezTo>
                          <a:cubicBezTo>
                            <a:pt x="190" y="55"/>
                            <a:pt x="193" y="58"/>
                            <a:pt x="196" y="60"/>
                          </a:cubicBezTo>
                          <a:cubicBezTo>
                            <a:pt x="195" y="58"/>
                            <a:pt x="194" y="57"/>
                            <a:pt x="194" y="56"/>
                          </a:cubicBezTo>
                          <a:cubicBezTo>
                            <a:pt x="194" y="55"/>
                            <a:pt x="194" y="54"/>
                            <a:pt x="194" y="52"/>
                          </a:cubicBezTo>
                          <a:cubicBezTo>
                            <a:pt x="195" y="47"/>
                            <a:pt x="195" y="42"/>
                            <a:pt x="195" y="37"/>
                          </a:cubicBezTo>
                          <a:cubicBezTo>
                            <a:pt x="195" y="35"/>
                            <a:pt x="194" y="32"/>
                            <a:pt x="193" y="30"/>
                          </a:cubicBezTo>
                          <a:cubicBezTo>
                            <a:pt x="192" y="27"/>
                            <a:pt x="191" y="25"/>
                            <a:pt x="191" y="22"/>
                          </a:cubicBezTo>
                          <a:cubicBezTo>
                            <a:pt x="190" y="20"/>
                            <a:pt x="191" y="18"/>
                            <a:pt x="191" y="16"/>
                          </a:cubicBezTo>
                          <a:cubicBezTo>
                            <a:pt x="191" y="15"/>
                            <a:pt x="189" y="13"/>
                            <a:pt x="189" y="12"/>
                          </a:cubicBezTo>
                          <a:cubicBezTo>
                            <a:pt x="188" y="9"/>
                            <a:pt x="188" y="7"/>
                            <a:pt x="188" y="4"/>
                          </a:cubicBezTo>
                          <a:cubicBezTo>
                            <a:pt x="187" y="4"/>
                            <a:pt x="187" y="5"/>
                            <a:pt x="186" y="4"/>
                          </a:cubicBezTo>
                          <a:cubicBezTo>
                            <a:pt x="185" y="4"/>
                            <a:pt x="184" y="2"/>
                            <a:pt x="182" y="2"/>
                          </a:cubicBezTo>
                          <a:cubicBezTo>
                            <a:pt x="180" y="2"/>
                            <a:pt x="178" y="2"/>
                            <a:pt x="177" y="2"/>
                          </a:cubicBezTo>
                          <a:cubicBezTo>
                            <a:pt x="174" y="2"/>
                            <a:pt x="171" y="1"/>
                            <a:pt x="168" y="1"/>
                          </a:cubicBezTo>
                          <a:cubicBezTo>
                            <a:pt x="166" y="0"/>
                            <a:pt x="164" y="0"/>
                            <a:pt x="161" y="0"/>
                          </a:cubicBezTo>
                          <a:cubicBezTo>
                            <a:pt x="160" y="1"/>
                            <a:pt x="158" y="2"/>
                            <a:pt x="157" y="3"/>
                          </a:cubicBezTo>
                          <a:cubicBezTo>
                            <a:pt x="156" y="4"/>
                            <a:pt x="154" y="5"/>
                            <a:pt x="153" y="5"/>
                          </a:cubicBezTo>
                          <a:cubicBezTo>
                            <a:pt x="150" y="7"/>
                            <a:pt x="148" y="9"/>
                            <a:pt x="146" y="10"/>
                          </a:cubicBezTo>
                          <a:cubicBezTo>
                            <a:pt x="142" y="14"/>
                            <a:pt x="137" y="17"/>
                            <a:pt x="134" y="21"/>
                          </a:cubicBezTo>
                          <a:cubicBezTo>
                            <a:pt x="133" y="23"/>
                            <a:pt x="134" y="27"/>
                            <a:pt x="132" y="30"/>
                          </a:cubicBezTo>
                          <a:cubicBezTo>
                            <a:pt x="131" y="32"/>
                            <a:pt x="129" y="34"/>
                            <a:pt x="126" y="36"/>
                          </a:cubicBezTo>
                          <a:cubicBezTo>
                            <a:pt x="124" y="37"/>
                            <a:pt x="121" y="37"/>
                            <a:pt x="119" y="38"/>
                          </a:cubicBezTo>
                          <a:cubicBezTo>
                            <a:pt x="117" y="41"/>
                            <a:pt x="118" y="44"/>
                            <a:pt x="117" y="47"/>
                          </a:cubicBezTo>
                          <a:cubicBezTo>
                            <a:pt x="116" y="49"/>
                            <a:pt x="116" y="51"/>
                            <a:pt x="115" y="53"/>
                          </a:cubicBezTo>
                          <a:cubicBezTo>
                            <a:pt x="112" y="54"/>
                            <a:pt x="109" y="54"/>
                            <a:pt x="106" y="54"/>
                          </a:cubicBezTo>
                          <a:cubicBezTo>
                            <a:pt x="105" y="55"/>
                            <a:pt x="104" y="55"/>
                            <a:pt x="102" y="55"/>
                          </a:cubicBezTo>
                          <a:cubicBezTo>
                            <a:pt x="100" y="55"/>
                            <a:pt x="97" y="54"/>
                            <a:pt x="95" y="53"/>
                          </a:cubicBezTo>
                          <a:cubicBezTo>
                            <a:pt x="93" y="51"/>
                            <a:pt x="93" y="48"/>
                            <a:pt x="91" y="47"/>
                          </a:cubicBezTo>
                          <a:cubicBezTo>
                            <a:pt x="90" y="46"/>
                            <a:pt x="88" y="46"/>
                            <a:pt x="86" y="47"/>
                          </a:cubicBezTo>
                          <a:cubicBezTo>
                            <a:pt x="84" y="47"/>
                            <a:pt x="82" y="48"/>
                            <a:pt x="81" y="49"/>
                          </a:cubicBezTo>
                          <a:cubicBezTo>
                            <a:pt x="80" y="52"/>
                            <a:pt x="80" y="55"/>
                            <a:pt x="78" y="57"/>
                          </a:cubicBezTo>
                          <a:cubicBezTo>
                            <a:pt x="77" y="59"/>
                            <a:pt x="76" y="61"/>
                            <a:pt x="74" y="62"/>
                          </a:cubicBezTo>
                          <a:cubicBezTo>
                            <a:pt x="72" y="64"/>
                            <a:pt x="69" y="65"/>
                            <a:pt x="67" y="67"/>
                          </a:cubicBezTo>
                          <a:cubicBezTo>
                            <a:pt x="66" y="67"/>
                            <a:pt x="67" y="70"/>
                            <a:pt x="66" y="70"/>
                          </a:cubicBezTo>
                          <a:cubicBezTo>
                            <a:pt x="63" y="71"/>
                            <a:pt x="60" y="69"/>
                            <a:pt x="57" y="69"/>
                          </a:cubicBezTo>
                          <a:cubicBezTo>
                            <a:pt x="55" y="70"/>
                            <a:pt x="53" y="72"/>
                            <a:pt x="52" y="71"/>
                          </a:cubicBezTo>
                          <a:cubicBezTo>
                            <a:pt x="50" y="70"/>
                            <a:pt x="50" y="68"/>
                            <a:pt x="50" y="66"/>
                          </a:cubicBezTo>
                          <a:cubicBezTo>
                            <a:pt x="51" y="63"/>
                            <a:pt x="54" y="61"/>
                            <a:pt x="54" y="58"/>
                          </a:cubicBezTo>
                          <a:cubicBezTo>
                            <a:pt x="54" y="56"/>
                            <a:pt x="52" y="55"/>
                            <a:pt x="51" y="53"/>
                          </a:cubicBezTo>
                          <a:cubicBezTo>
                            <a:pt x="50" y="50"/>
                            <a:pt x="51" y="47"/>
                            <a:pt x="49" y="44"/>
                          </a:cubicBezTo>
                          <a:cubicBezTo>
                            <a:pt x="48" y="42"/>
                            <a:pt x="46" y="41"/>
                            <a:pt x="45" y="40"/>
                          </a:cubicBezTo>
                          <a:lnTo>
                            <a:pt x="44" y="96"/>
                          </a:lnTo>
                          <a:cubicBezTo>
                            <a:pt x="43" y="97"/>
                            <a:pt x="42" y="98"/>
                            <a:pt x="41" y="99"/>
                          </a:cubicBezTo>
                          <a:cubicBezTo>
                            <a:pt x="39" y="100"/>
                            <a:pt x="38" y="100"/>
                            <a:pt x="37" y="101"/>
                          </a:cubicBezTo>
                          <a:cubicBezTo>
                            <a:pt x="36" y="102"/>
                            <a:pt x="35" y="104"/>
                            <a:pt x="34" y="104"/>
                          </a:cubicBezTo>
                          <a:cubicBezTo>
                            <a:pt x="32" y="105"/>
                            <a:pt x="30" y="102"/>
                            <a:pt x="28" y="102"/>
                          </a:cubicBezTo>
                          <a:cubicBezTo>
                            <a:pt x="25" y="102"/>
                            <a:pt x="23" y="104"/>
                            <a:pt x="20" y="104"/>
                          </a:cubicBezTo>
                          <a:cubicBezTo>
                            <a:pt x="18" y="103"/>
                            <a:pt x="15" y="103"/>
                            <a:pt x="13" y="101"/>
                          </a:cubicBezTo>
                          <a:cubicBezTo>
                            <a:pt x="11" y="100"/>
                            <a:pt x="12" y="97"/>
                            <a:pt x="11" y="95"/>
                          </a:cubicBezTo>
                          <a:cubicBezTo>
                            <a:pt x="10" y="93"/>
                            <a:pt x="9" y="90"/>
                            <a:pt x="7" y="90"/>
                          </a:cubicBezTo>
                          <a:cubicBezTo>
                            <a:pt x="6" y="89"/>
                            <a:pt x="4" y="91"/>
                            <a:pt x="4" y="92"/>
                          </a:cubicBezTo>
                          <a:cubicBezTo>
                            <a:pt x="3" y="94"/>
                            <a:pt x="4" y="96"/>
                            <a:pt x="4" y="98"/>
                          </a:cubicBezTo>
                          <a:cubicBezTo>
                            <a:pt x="3" y="98"/>
                            <a:pt x="1" y="98"/>
                            <a:pt x="0" y="98"/>
                          </a:cubicBezTo>
                          <a:cubicBezTo>
                            <a:pt x="1" y="102"/>
                            <a:pt x="2" y="104"/>
                            <a:pt x="3" y="108"/>
                          </a:cubicBezTo>
                          <a:cubicBezTo>
                            <a:pt x="5" y="112"/>
                            <a:pt x="6" y="116"/>
                            <a:pt x="8" y="120"/>
                          </a:cubicBezTo>
                          <a:cubicBezTo>
                            <a:pt x="11" y="127"/>
                            <a:pt x="14" y="133"/>
                            <a:pt x="16" y="140"/>
                          </a:cubicBezTo>
                          <a:cubicBezTo>
                            <a:pt x="18" y="144"/>
                            <a:pt x="21" y="148"/>
                            <a:pt x="22" y="153"/>
                          </a:cubicBezTo>
                          <a:cubicBezTo>
                            <a:pt x="22" y="156"/>
                            <a:pt x="23" y="160"/>
                            <a:pt x="21" y="163"/>
                          </a:cubicBezTo>
                          <a:cubicBezTo>
                            <a:pt x="20" y="164"/>
                            <a:pt x="18" y="159"/>
                            <a:pt x="17" y="160"/>
                          </a:cubicBezTo>
                          <a:cubicBezTo>
                            <a:pt x="15" y="161"/>
                            <a:pt x="16" y="164"/>
                            <a:pt x="17" y="166"/>
                          </a:cubicBezTo>
                          <a:cubicBezTo>
                            <a:pt x="18" y="170"/>
                            <a:pt x="21" y="173"/>
                            <a:pt x="22" y="177"/>
                          </a:cubicBezTo>
                          <a:cubicBezTo>
                            <a:pt x="23" y="178"/>
                            <a:pt x="22" y="180"/>
                            <a:pt x="22" y="181"/>
                          </a:cubicBezTo>
                          <a:cubicBezTo>
                            <a:pt x="23" y="182"/>
                            <a:pt x="24" y="182"/>
                            <a:pt x="25" y="183"/>
                          </a:cubicBezTo>
                          <a:cubicBezTo>
                            <a:pt x="26" y="184"/>
                            <a:pt x="27" y="186"/>
                            <a:pt x="28" y="187"/>
                          </a:cubicBezTo>
                          <a:cubicBezTo>
                            <a:pt x="31" y="189"/>
                            <a:pt x="33" y="190"/>
                            <a:pt x="36" y="192"/>
                          </a:cubicBezTo>
                          <a:cubicBezTo>
                            <a:pt x="38" y="193"/>
                            <a:pt x="39" y="196"/>
                            <a:pt x="41" y="196"/>
                          </a:cubicBezTo>
                          <a:cubicBezTo>
                            <a:pt x="43" y="197"/>
                            <a:pt x="44" y="194"/>
                            <a:pt x="45" y="193"/>
                          </a:cubicBezTo>
                          <a:cubicBezTo>
                            <a:pt x="48" y="191"/>
                            <a:pt x="51" y="189"/>
                            <a:pt x="54" y="188"/>
                          </a:cubicBezTo>
                          <a:cubicBezTo>
                            <a:pt x="57" y="188"/>
                            <a:pt x="60" y="189"/>
                            <a:pt x="62" y="188"/>
                          </a:cubicBezTo>
                          <a:cubicBezTo>
                            <a:pt x="64" y="188"/>
                            <a:pt x="65" y="186"/>
                            <a:pt x="67" y="185"/>
                          </a:cubicBezTo>
                          <a:cubicBezTo>
                            <a:pt x="69" y="184"/>
                            <a:pt x="70" y="182"/>
                            <a:pt x="72" y="182"/>
                          </a:cubicBezTo>
                          <a:cubicBezTo>
                            <a:pt x="75" y="182"/>
                            <a:pt x="79" y="185"/>
                            <a:pt x="83" y="185"/>
                          </a:cubicBezTo>
                          <a:cubicBezTo>
                            <a:pt x="85" y="185"/>
                            <a:pt x="86" y="181"/>
                            <a:pt x="87" y="181"/>
                          </a:cubicBezTo>
                          <a:cubicBezTo>
                            <a:pt x="92" y="181"/>
                            <a:pt x="96" y="185"/>
                            <a:pt x="101" y="185"/>
                          </a:cubicBezTo>
                          <a:cubicBezTo>
                            <a:pt x="103" y="185"/>
                            <a:pt x="102" y="182"/>
                            <a:pt x="104" y="182"/>
                          </a:cubicBezTo>
                          <a:cubicBezTo>
                            <a:pt x="106" y="181"/>
                            <a:pt x="109" y="183"/>
                            <a:pt x="112" y="182"/>
                          </a:cubicBezTo>
                          <a:cubicBezTo>
                            <a:pt x="113" y="182"/>
                            <a:pt x="113" y="179"/>
                            <a:pt x="114" y="178"/>
                          </a:cubicBezTo>
                          <a:cubicBezTo>
                            <a:pt x="117" y="177"/>
                            <a:pt x="120" y="179"/>
                            <a:pt x="123" y="178"/>
                          </a:cubicBezTo>
                          <a:cubicBezTo>
                            <a:pt x="126" y="177"/>
                            <a:pt x="128" y="176"/>
                            <a:pt x="131" y="174"/>
                          </a:cubicBezTo>
                          <a:cubicBezTo>
                            <a:pt x="135" y="172"/>
                            <a:pt x="138" y="169"/>
                            <a:pt x="141" y="167"/>
                          </a:cubicBezTo>
                          <a:cubicBezTo>
                            <a:pt x="144" y="164"/>
                            <a:pt x="146" y="161"/>
                            <a:pt x="149" y="158"/>
                          </a:cubicBezTo>
                          <a:cubicBezTo>
                            <a:pt x="153" y="154"/>
                            <a:pt x="156" y="151"/>
                            <a:pt x="159" y="148"/>
                          </a:cubicBezTo>
                          <a:cubicBezTo>
                            <a:pt x="160" y="146"/>
                            <a:pt x="162" y="144"/>
                            <a:pt x="164" y="143"/>
                          </a:cubicBezTo>
                          <a:cubicBezTo>
                            <a:pt x="167" y="140"/>
                            <a:pt x="170" y="137"/>
                            <a:pt x="172" y="134"/>
                          </a:cubicBezTo>
                          <a:cubicBezTo>
                            <a:pt x="175" y="131"/>
                            <a:pt x="177" y="126"/>
                            <a:pt x="178" y="122"/>
                          </a:cubicBezTo>
                          <a:cubicBezTo>
                            <a:pt x="180" y="118"/>
                            <a:pt x="181" y="114"/>
                            <a:pt x="183" y="111"/>
                          </a:cubicBezTo>
                          <a:cubicBezTo>
                            <a:pt x="184" y="109"/>
                            <a:pt x="186" y="107"/>
                            <a:pt x="188" y="106"/>
                          </a:cubicBezTo>
                          <a:cubicBezTo>
                            <a:pt x="190" y="104"/>
                            <a:pt x="194" y="103"/>
                            <a:pt x="196" y="101"/>
                          </a:cubicBezTo>
                          <a:cubicBezTo>
                            <a:pt x="198" y="98"/>
                            <a:pt x="199" y="96"/>
                            <a:pt x="200" y="93"/>
                          </a:cubicBezTo>
                          <a:cubicBezTo>
                            <a:pt x="201" y="89"/>
                            <a:pt x="202" y="85"/>
                            <a:pt x="203" y="81"/>
                          </a:cubicBezTo>
                          <a:cubicBezTo>
                            <a:pt x="204" y="78"/>
                            <a:pt x="205" y="75"/>
                            <a:pt x="206" y="72"/>
                          </a:cubicBezTo>
                          <a:close/>
                        </a:path>
                      </a:pathLst>
                    </a:custGeom>
                    <a:grpFill/>
                    <a:ln w="3175" cap="rnd">
                      <a:solidFill>
                        <a:schemeClr val="bg1">
                          <a:lumMod val="75000"/>
                        </a:schemeClr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it-IT">
                        <a:solidFill>
                          <a:srgbClr val="133B9C"/>
                        </a:solidFill>
                        <a:latin typeface="Arial" charset="0"/>
                        <a:cs typeface="Arial" charset="0"/>
                      </a:endParaRPr>
                    </a:p>
                  </p:txBody>
                </p:sp>
                <p:sp>
                  <p:nvSpPr>
                    <p:cNvPr id="2032" name="Freeform 2550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153338" y="2524179"/>
                      <a:ext cx="138693" cy="99680"/>
                    </a:xfrm>
                    <a:custGeom>
                      <a:avLst/>
                      <a:gdLst>
                        <a:gd name="T0" fmla="*/ 1 w 104"/>
                        <a:gd name="T1" fmla="*/ 120 h 100"/>
                        <a:gd name="T2" fmla="*/ 1 w 104"/>
                        <a:gd name="T3" fmla="*/ 103 h 100"/>
                        <a:gd name="T4" fmla="*/ 5 w 104"/>
                        <a:gd name="T5" fmla="*/ 95 h 100"/>
                        <a:gd name="T6" fmla="*/ 11 w 104"/>
                        <a:gd name="T7" fmla="*/ 83 h 100"/>
                        <a:gd name="T8" fmla="*/ 18 w 104"/>
                        <a:gd name="T9" fmla="*/ 71 h 100"/>
                        <a:gd name="T10" fmla="*/ 24 w 104"/>
                        <a:gd name="T11" fmla="*/ 60 h 100"/>
                        <a:gd name="T12" fmla="*/ 32 w 104"/>
                        <a:gd name="T13" fmla="*/ 52 h 100"/>
                        <a:gd name="T14" fmla="*/ 36 w 104"/>
                        <a:gd name="T15" fmla="*/ 28 h 100"/>
                        <a:gd name="T16" fmla="*/ 50 w 104"/>
                        <a:gd name="T17" fmla="*/ 19 h 100"/>
                        <a:gd name="T18" fmla="*/ 54 w 104"/>
                        <a:gd name="T19" fmla="*/ 4 h 100"/>
                        <a:gd name="T20" fmla="*/ 57 w 104"/>
                        <a:gd name="T21" fmla="*/ 0 h 100"/>
                        <a:gd name="T22" fmla="*/ 124 w 104"/>
                        <a:gd name="T23" fmla="*/ 0 h 100"/>
                        <a:gd name="T24" fmla="*/ 124 w 104"/>
                        <a:gd name="T25" fmla="*/ 6 h 100"/>
                        <a:gd name="T26" fmla="*/ 124 w 104"/>
                        <a:gd name="T27" fmla="*/ 31 h 100"/>
                        <a:gd name="T28" fmla="*/ 75 w 104"/>
                        <a:gd name="T29" fmla="*/ 31 h 100"/>
                        <a:gd name="T30" fmla="*/ 75 w 104"/>
                        <a:gd name="T31" fmla="*/ 76 h 100"/>
                        <a:gd name="T32" fmla="*/ 70 w 104"/>
                        <a:gd name="T33" fmla="*/ 78 h 100"/>
                        <a:gd name="T34" fmla="*/ 64 w 104"/>
                        <a:gd name="T35" fmla="*/ 79 h 100"/>
                        <a:gd name="T36" fmla="*/ 56 w 104"/>
                        <a:gd name="T37" fmla="*/ 89 h 100"/>
                        <a:gd name="T38" fmla="*/ 58 w 104"/>
                        <a:gd name="T39" fmla="*/ 110 h 100"/>
                        <a:gd name="T40" fmla="*/ 56 w 104"/>
                        <a:gd name="T41" fmla="*/ 114 h 100"/>
                        <a:gd name="T42" fmla="*/ 6 w 104"/>
                        <a:gd name="T43" fmla="*/ 113 h 100"/>
                        <a:gd name="T44" fmla="*/ 1 w 104"/>
                        <a:gd name="T45" fmla="*/ 120 h 100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w 104"/>
                        <a:gd name="T70" fmla="*/ 0 h 100"/>
                        <a:gd name="T71" fmla="*/ 104 w 104"/>
                        <a:gd name="T72" fmla="*/ 100 h 100"/>
                      </a:gdLst>
                      <a:ahLst/>
                      <a:cxnLst>
                        <a:cxn ang="T46">
                          <a:pos x="T0" y="T1"/>
                        </a:cxn>
                        <a:cxn ang="T47">
                          <a:pos x="T2" y="T3"/>
                        </a:cxn>
                        <a:cxn ang="T48">
                          <a:pos x="T4" y="T5"/>
                        </a:cxn>
                        <a:cxn ang="T49">
                          <a:pos x="T6" y="T7"/>
                        </a:cxn>
                        <a:cxn ang="T50">
                          <a:pos x="T8" y="T9"/>
                        </a:cxn>
                        <a:cxn ang="T51">
                          <a:pos x="T10" y="T11"/>
                        </a:cxn>
                        <a:cxn ang="T52">
                          <a:pos x="T12" y="T13"/>
                        </a:cxn>
                        <a:cxn ang="T53">
                          <a:pos x="T14" y="T15"/>
                        </a:cxn>
                        <a:cxn ang="T54">
                          <a:pos x="T16" y="T17"/>
                        </a:cxn>
                        <a:cxn ang="T55">
                          <a:pos x="T18" y="T19"/>
                        </a:cxn>
                        <a:cxn ang="T56">
                          <a:pos x="T20" y="T21"/>
                        </a:cxn>
                        <a:cxn ang="T57">
                          <a:pos x="T22" y="T23"/>
                        </a:cxn>
                        <a:cxn ang="T58">
                          <a:pos x="T24" y="T25"/>
                        </a:cxn>
                        <a:cxn ang="T59">
                          <a:pos x="T26" y="T27"/>
                        </a:cxn>
                        <a:cxn ang="T60">
                          <a:pos x="T28" y="T29"/>
                        </a:cxn>
                        <a:cxn ang="T61">
                          <a:pos x="T30" y="T31"/>
                        </a:cxn>
                        <a:cxn ang="T62">
                          <a:pos x="T32" y="T33"/>
                        </a:cxn>
                        <a:cxn ang="T63">
                          <a:pos x="T34" y="T35"/>
                        </a:cxn>
                        <a:cxn ang="T64">
                          <a:pos x="T36" y="T37"/>
                        </a:cxn>
                        <a:cxn ang="T65">
                          <a:pos x="T38" y="T39"/>
                        </a:cxn>
                        <a:cxn ang="T66">
                          <a:pos x="T40" y="T41"/>
                        </a:cxn>
                        <a:cxn ang="T67">
                          <a:pos x="T42" y="T43"/>
                        </a:cxn>
                        <a:cxn ang="T68">
                          <a:pos x="T44" y="T45"/>
                        </a:cxn>
                      </a:cxnLst>
                      <a:rect l="T69" t="T70" r="T71" b="T72"/>
                      <a:pathLst>
                        <a:path w="104" h="100">
                          <a:moveTo>
                            <a:pt x="1" y="100"/>
                          </a:moveTo>
                          <a:cubicBezTo>
                            <a:pt x="1" y="95"/>
                            <a:pt x="0" y="91"/>
                            <a:pt x="1" y="86"/>
                          </a:cubicBezTo>
                          <a:cubicBezTo>
                            <a:pt x="1" y="84"/>
                            <a:pt x="3" y="81"/>
                            <a:pt x="4" y="79"/>
                          </a:cubicBezTo>
                          <a:cubicBezTo>
                            <a:pt x="6" y="76"/>
                            <a:pt x="8" y="72"/>
                            <a:pt x="9" y="69"/>
                          </a:cubicBezTo>
                          <a:cubicBezTo>
                            <a:pt x="11" y="66"/>
                            <a:pt x="13" y="62"/>
                            <a:pt x="15" y="59"/>
                          </a:cubicBezTo>
                          <a:cubicBezTo>
                            <a:pt x="16" y="56"/>
                            <a:pt x="18" y="53"/>
                            <a:pt x="20" y="50"/>
                          </a:cubicBezTo>
                          <a:cubicBezTo>
                            <a:pt x="22" y="47"/>
                            <a:pt x="26" y="46"/>
                            <a:pt x="27" y="43"/>
                          </a:cubicBezTo>
                          <a:cubicBezTo>
                            <a:pt x="30" y="37"/>
                            <a:pt x="27" y="29"/>
                            <a:pt x="30" y="23"/>
                          </a:cubicBezTo>
                          <a:cubicBezTo>
                            <a:pt x="32" y="19"/>
                            <a:pt x="39" y="19"/>
                            <a:pt x="42" y="16"/>
                          </a:cubicBezTo>
                          <a:cubicBezTo>
                            <a:pt x="44" y="12"/>
                            <a:pt x="43" y="7"/>
                            <a:pt x="45" y="3"/>
                          </a:cubicBezTo>
                          <a:cubicBezTo>
                            <a:pt x="45" y="2"/>
                            <a:pt x="47" y="1"/>
                            <a:pt x="48" y="0"/>
                          </a:cubicBezTo>
                          <a:lnTo>
                            <a:pt x="104" y="0"/>
                          </a:lnTo>
                          <a:lnTo>
                            <a:pt x="104" y="5"/>
                          </a:lnTo>
                          <a:lnTo>
                            <a:pt x="104" y="26"/>
                          </a:lnTo>
                          <a:lnTo>
                            <a:pt x="63" y="26"/>
                          </a:lnTo>
                          <a:lnTo>
                            <a:pt x="63" y="63"/>
                          </a:lnTo>
                          <a:lnTo>
                            <a:pt x="59" y="65"/>
                          </a:lnTo>
                          <a:cubicBezTo>
                            <a:pt x="57" y="65"/>
                            <a:pt x="55" y="65"/>
                            <a:pt x="54" y="66"/>
                          </a:cubicBezTo>
                          <a:cubicBezTo>
                            <a:pt x="51" y="68"/>
                            <a:pt x="49" y="71"/>
                            <a:pt x="47" y="74"/>
                          </a:cubicBezTo>
                          <a:cubicBezTo>
                            <a:pt x="47" y="80"/>
                            <a:pt x="49" y="86"/>
                            <a:pt x="49" y="92"/>
                          </a:cubicBezTo>
                          <a:cubicBezTo>
                            <a:pt x="49" y="94"/>
                            <a:pt x="47" y="94"/>
                            <a:pt x="47" y="95"/>
                          </a:cubicBezTo>
                          <a:lnTo>
                            <a:pt x="5" y="94"/>
                          </a:lnTo>
                          <a:lnTo>
                            <a:pt x="1" y="100"/>
                          </a:lnTo>
                          <a:close/>
                        </a:path>
                      </a:pathLst>
                    </a:custGeom>
                    <a:grpFill/>
                    <a:ln w="3175" cap="rnd">
                      <a:solidFill>
                        <a:schemeClr val="bg1">
                          <a:lumMod val="75000"/>
                        </a:schemeClr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it-IT">
                        <a:solidFill>
                          <a:srgbClr val="133B9C"/>
                        </a:solidFill>
                        <a:latin typeface="Arial" charset="0"/>
                        <a:cs typeface="Arial" charset="0"/>
                      </a:endParaRPr>
                    </a:p>
                  </p:txBody>
                </p:sp>
                <p:sp>
                  <p:nvSpPr>
                    <p:cNvPr id="2033" name="Freeform 2551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217092" y="2394596"/>
                      <a:ext cx="201328" cy="129583"/>
                    </a:xfrm>
                    <a:custGeom>
                      <a:avLst/>
                      <a:gdLst>
                        <a:gd name="T0" fmla="*/ 166 w 150"/>
                        <a:gd name="T1" fmla="*/ 17 h 130"/>
                        <a:gd name="T2" fmla="*/ 157 w 150"/>
                        <a:gd name="T3" fmla="*/ 16 h 130"/>
                        <a:gd name="T4" fmla="*/ 151 w 150"/>
                        <a:gd name="T5" fmla="*/ 12 h 130"/>
                        <a:gd name="T6" fmla="*/ 142 w 150"/>
                        <a:gd name="T7" fmla="*/ 13 h 130"/>
                        <a:gd name="T8" fmla="*/ 128 w 150"/>
                        <a:gd name="T9" fmla="*/ 14 h 130"/>
                        <a:gd name="T10" fmla="*/ 121 w 150"/>
                        <a:gd name="T11" fmla="*/ 6 h 130"/>
                        <a:gd name="T12" fmla="*/ 122 w 150"/>
                        <a:gd name="T13" fmla="*/ 1 h 130"/>
                        <a:gd name="T14" fmla="*/ 112 w 150"/>
                        <a:gd name="T15" fmla="*/ 4 h 130"/>
                        <a:gd name="T16" fmla="*/ 106 w 150"/>
                        <a:gd name="T17" fmla="*/ 14 h 130"/>
                        <a:gd name="T18" fmla="*/ 98 w 150"/>
                        <a:gd name="T19" fmla="*/ 31 h 130"/>
                        <a:gd name="T20" fmla="*/ 91 w 150"/>
                        <a:gd name="T21" fmla="*/ 42 h 130"/>
                        <a:gd name="T22" fmla="*/ 78 w 150"/>
                        <a:gd name="T23" fmla="*/ 48 h 130"/>
                        <a:gd name="T24" fmla="*/ 70 w 150"/>
                        <a:gd name="T25" fmla="*/ 54 h 130"/>
                        <a:gd name="T26" fmla="*/ 59 w 150"/>
                        <a:gd name="T27" fmla="*/ 65 h 130"/>
                        <a:gd name="T28" fmla="*/ 59 w 150"/>
                        <a:gd name="T29" fmla="*/ 70 h 130"/>
                        <a:gd name="T30" fmla="*/ 52 w 150"/>
                        <a:gd name="T31" fmla="*/ 82 h 130"/>
                        <a:gd name="T32" fmla="*/ 50 w 150"/>
                        <a:gd name="T33" fmla="*/ 101 h 130"/>
                        <a:gd name="T34" fmla="*/ 55 w 150"/>
                        <a:gd name="T35" fmla="*/ 108 h 130"/>
                        <a:gd name="T36" fmla="*/ 46 w 150"/>
                        <a:gd name="T37" fmla="*/ 120 h 130"/>
                        <a:gd name="T38" fmla="*/ 42 w 150"/>
                        <a:gd name="T39" fmla="*/ 126 h 130"/>
                        <a:gd name="T40" fmla="*/ 30 w 150"/>
                        <a:gd name="T41" fmla="*/ 136 h 130"/>
                        <a:gd name="T42" fmla="*/ 25 w 150"/>
                        <a:gd name="T43" fmla="*/ 144 h 130"/>
                        <a:gd name="T44" fmla="*/ 18 w 150"/>
                        <a:gd name="T45" fmla="*/ 144 h 130"/>
                        <a:gd name="T46" fmla="*/ 6 w 150"/>
                        <a:gd name="T47" fmla="*/ 150 h 130"/>
                        <a:gd name="T48" fmla="*/ 0 w 150"/>
                        <a:gd name="T49" fmla="*/ 156 h 130"/>
                        <a:gd name="T50" fmla="*/ 67 w 150"/>
                        <a:gd name="T51" fmla="*/ 156 h 130"/>
                        <a:gd name="T52" fmla="*/ 67 w 150"/>
                        <a:gd name="T53" fmla="*/ 138 h 130"/>
                        <a:gd name="T54" fmla="*/ 79 w 150"/>
                        <a:gd name="T55" fmla="*/ 128 h 130"/>
                        <a:gd name="T56" fmla="*/ 89 w 150"/>
                        <a:gd name="T57" fmla="*/ 122 h 130"/>
                        <a:gd name="T58" fmla="*/ 97 w 150"/>
                        <a:gd name="T59" fmla="*/ 120 h 130"/>
                        <a:gd name="T60" fmla="*/ 101 w 150"/>
                        <a:gd name="T61" fmla="*/ 116 h 130"/>
                        <a:gd name="T62" fmla="*/ 110 w 150"/>
                        <a:gd name="T63" fmla="*/ 116 h 130"/>
                        <a:gd name="T64" fmla="*/ 120 w 150"/>
                        <a:gd name="T65" fmla="*/ 114 h 130"/>
                        <a:gd name="T66" fmla="*/ 127 w 150"/>
                        <a:gd name="T67" fmla="*/ 103 h 130"/>
                        <a:gd name="T68" fmla="*/ 142 w 150"/>
                        <a:gd name="T69" fmla="*/ 100 h 130"/>
                        <a:gd name="T70" fmla="*/ 145 w 150"/>
                        <a:gd name="T71" fmla="*/ 95 h 130"/>
                        <a:gd name="T72" fmla="*/ 139 w 150"/>
                        <a:gd name="T73" fmla="*/ 90 h 130"/>
                        <a:gd name="T74" fmla="*/ 144 w 150"/>
                        <a:gd name="T75" fmla="*/ 83 h 130"/>
                        <a:gd name="T76" fmla="*/ 155 w 150"/>
                        <a:gd name="T77" fmla="*/ 80 h 130"/>
                        <a:gd name="T78" fmla="*/ 169 w 150"/>
                        <a:gd name="T79" fmla="*/ 77 h 130"/>
                        <a:gd name="T80" fmla="*/ 176 w 150"/>
                        <a:gd name="T81" fmla="*/ 76 h 130"/>
                        <a:gd name="T82" fmla="*/ 180 w 150"/>
                        <a:gd name="T83" fmla="*/ 67 h 130"/>
                        <a:gd name="T84" fmla="*/ 175 w 150"/>
                        <a:gd name="T85" fmla="*/ 62 h 130"/>
                        <a:gd name="T86" fmla="*/ 175 w 150"/>
                        <a:gd name="T87" fmla="*/ 58 h 130"/>
                        <a:gd name="T88" fmla="*/ 172 w 150"/>
                        <a:gd name="T89" fmla="*/ 53 h 130"/>
                        <a:gd name="T90" fmla="*/ 173 w 150"/>
                        <a:gd name="T91" fmla="*/ 40 h 130"/>
                        <a:gd name="T92" fmla="*/ 172 w 150"/>
                        <a:gd name="T93" fmla="*/ 24 h 130"/>
                        <a:gd name="T94" fmla="*/ 166 w 150"/>
                        <a:gd name="T95" fmla="*/ 17 h 130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w 150"/>
                        <a:gd name="T145" fmla="*/ 0 h 130"/>
                        <a:gd name="T146" fmla="*/ 150 w 150"/>
                        <a:gd name="T147" fmla="*/ 130 h 130"/>
                      </a:gdLst>
                      <a:ahLst/>
                      <a:cxnLst>
                        <a:cxn ang="T96">
                          <a:pos x="T0" y="T1"/>
                        </a:cxn>
                        <a:cxn ang="T97">
                          <a:pos x="T2" y="T3"/>
                        </a:cxn>
                        <a:cxn ang="T98">
                          <a:pos x="T4" y="T5"/>
                        </a:cxn>
                        <a:cxn ang="T99">
                          <a:pos x="T6" y="T7"/>
                        </a:cxn>
                        <a:cxn ang="T100">
                          <a:pos x="T8" y="T9"/>
                        </a:cxn>
                        <a:cxn ang="T101">
                          <a:pos x="T10" y="T11"/>
                        </a:cxn>
                        <a:cxn ang="T102">
                          <a:pos x="T12" y="T13"/>
                        </a:cxn>
                        <a:cxn ang="T103">
                          <a:pos x="T14" y="T15"/>
                        </a:cxn>
                        <a:cxn ang="T104">
                          <a:pos x="T16" y="T17"/>
                        </a:cxn>
                        <a:cxn ang="T105">
                          <a:pos x="T18" y="T19"/>
                        </a:cxn>
                        <a:cxn ang="T106">
                          <a:pos x="T20" y="T21"/>
                        </a:cxn>
                        <a:cxn ang="T107">
                          <a:pos x="T22" y="T23"/>
                        </a:cxn>
                        <a:cxn ang="T108">
                          <a:pos x="T24" y="T25"/>
                        </a:cxn>
                        <a:cxn ang="T109">
                          <a:pos x="T26" y="T27"/>
                        </a:cxn>
                        <a:cxn ang="T110">
                          <a:pos x="T28" y="T29"/>
                        </a:cxn>
                        <a:cxn ang="T111">
                          <a:pos x="T30" y="T31"/>
                        </a:cxn>
                        <a:cxn ang="T112">
                          <a:pos x="T32" y="T33"/>
                        </a:cxn>
                        <a:cxn ang="T113">
                          <a:pos x="T34" y="T35"/>
                        </a:cxn>
                        <a:cxn ang="T114">
                          <a:pos x="T36" y="T37"/>
                        </a:cxn>
                        <a:cxn ang="T115">
                          <a:pos x="T38" y="T39"/>
                        </a:cxn>
                        <a:cxn ang="T116">
                          <a:pos x="T40" y="T41"/>
                        </a:cxn>
                        <a:cxn ang="T117">
                          <a:pos x="T42" y="T43"/>
                        </a:cxn>
                        <a:cxn ang="T118">
                          <a:pos x="T44" y="T45"/>
                        </a:cxn>
                        <a:cxn ang="T119">
                          <a:pos x="T46" y="T47"/>
                        </a:cxn>
                        <a:cxn ang="T120">
                          <a:pos x="T48" y="T49"/>
                        </a:cxn>
                        <a:cxn ang="T121">
                          <a:pos x="T50" y="T51"/>
                        </a:cxn>
                        <a:cxn ang="T122">
                          <a:pos x="T52" y="T53"/>
                        </a:cxn>
                        <a:cxn ang="T123">
                          <a:pos x="T54" y="T55"/>
                        </a:cxn>
                        <a:cxn ang="T124">
                          <a:pos x="T56" y="T57"/>
                        </a:cxn>
                        <a:cxn ang="T125">
                          <a:pos x="T58" y="T59"/>
                        </a:cxn>
                        <a:cxn ang="T126">
                          <a:pos x="T60" y="T61"/>
                        </a:cxn>
                        <a:cxn ang="T127">
                          <a:pos x="T62" y="T63"/>
                        </a:cxn>
                        <a:cxn ang="T128">
                          <a:pos x="T64" y="T65"/>
                        </a:cxn>
                        <a:cxn ang="T129">
                          <a:pos x="T66" y="T67"/>
                        </a:cxn>
                        <a:cxn ang="T130">
                          <a:pos x="T68" y="T69"/>
                        </a:cxn>
                        <a:cxn ang="T131">
                          <a:pos x="T70" y="T71"/>
                        </a:cxn>
                        <a:cxn ang="T132">
                          <a:pos x="T72" y="T73"/>
                        </a:cxn>
                        <a:cxn ang="T133">
                          <a:pos x="T74" y="T75"/>
                        </a:cxn>
                        <a:cxn ang="T134">
                          <a:pos x="T76" y="T77"/>
                        </a:cxn>
                        <a:cxn ang="T135">
                          <a:pos x="T78" y="T79"/>
                        </a:cxn>
                        <a:cxn ang="T136">
                          <a:pos x="T80" y="T81"/>
                        </a:cxn>
                        <a:cxn ang="T137">
                          <a:pos x="T82" y="T83"/>
                        </a:cxn>
                        <a:cxn ang="T138">
                          <a:pos x="T84" y="T85"/>
                        </a:cxn>
                        <a:cxn ang="T139">
                          <a:pos x="T86" y="T87"/>
                        </a:cxn>
                        <a:cxn ang="T140">
                          <a:pos x="T88" y="T89"/>
                        </a:cxn>
                        <a:cxn ang="T141">
                          <a:pos x="T90" y="T91"/>
                        </a:cxn>
                        <a:cxn ang="T142">
                          <a:pos x="T92" y="T93"/>
                        </a:cxn>
                        <a:cxn ang="T143">
                          <a:pos x="T94" y="T95"/>
                        </a:cxn>
                      </a:cxnLst>
                      <a:rect l="T144" t="T145" r="T146" b="T147"/>
                      <a:pathLst>
                        <a:path w="150" h="130">
                          <a:moveTo>
                            <a:pt x="138" y="14"/>
                          </a:moveTo>
                          <a:lnTo>
                            <a:pt x="131" y="13"/>
                          </a:lnTo>
                          <a:cubicBezTo>
                            <a:pt x="129" y="13"/>
                            <a:pt x="128" y="10"/>
                            <a:pt x="126" y="10"/>
                          </a:cubicBezTo>
                          <a:cubicBezTo>
                            <a:pt x="124" y="9"/>
                            <a:pt x="121" y="11"/>
                            <a:pt x="118" y="11"/>
                          </a:cubicBezTo>
                          <a:cubicBezTo>
                            <a:pt x="115" y="12"/>
                            <a:pt x="111" y="13"/>
                            <a:pt x="107" y="12"/>
                          </a:cubicBezTo>
                          <a:cubicBezTo>
                            <a:pt x="104" y="11"/>
                            <a:pt x="102" y="8"/>
                            <a:pt x="101" y="5"/>
                          </a:cubicBezTo>
                          <a:cubicBezTo>
                            <a:pt x="100" y="4"/>
                            <a:pt x="103" y="2"/>
                            <a:pt x="102" y="1"/>
                          </a:cubicBezTo>
                          <a:cubicBezTo>
                            <a:pt x="99" y="0"/>
                            <a:pt x="95" y="1"/>
                            <a:pt x="93" y="3"/>
                          </a:cubicBezTo>
                          <a:cubicBezTo>
                            <a:pt x="91" y="5"/>
                            <a:pt x="90" y="9"/>
                            <a:pt x="88" y="12"/>
                          </a:cubicBezTo>
                          <a:cubicBezTo>
                            <a:pt x="86" y="16"/>
                            <a:pt x="85" y="21"/>
                            <a:pt x="82" y="26"/>
                          </a:cubicBezTo>
                          <a:cubicBezTo>
                            <a:pt x="80" y="29"/>
                            <a:pt x="79" y="33"/>
                            <a:pt x="76" y="35"/>
                          </a:cubicBezTo>
                          <a:cubicBezTo>
                            <a:pt x="73" y="38"/>
                            <a:pt x="68" y="38"/>
                            <a:pt x="65" y="40"/>
                          </a:cubicBezTo>
                          <a:cubicBezTo>
                            <a:pt x="62" y="41"/>
                            <a:pt x="60" y="43"/>
                            <a:pt x="58" y="45"/>
                          </a:cubicBezTo>
                          <a:cubicBezTo>
                            <a:pt x="55" y="48"/>
                            <a:pt x="51" y="51"/>
                            <a:pt x="49" y="54"/>
                          </a:cubicBezTo>
                          <a:cubicBezTo>
                            <a:pt x="48" y="55"/>
                            <a:pt x="49" y="57"/>
                            <a:pt x="49" y="58"/>
                          </a:cubicBezTo>
                          <a:cubicBezTo>
                            <a:pt x="47" y="62"/>
                            <a:pt x="44" y="64"/>
                            <a:pt x="43" y="68"/>
                          </a:cubicBezTo>
                          <a:cubicBezTo>
                            <a:pt x="41" y="73"/>
                            <a:pt x="41" y="79"/>
                            <a:pt x="42" y="84"/>
                          </a:cubicBezTo>
                          <a:cubicBezTo>
                            <a:pt x="43" y="86"/>
                            <a:pt x="46" y="88"/>
                            <a:pt x="46" y="90"/>
                          </a:cubicBezTo>
                          <a:cubicBezTo>
                            <a:pt x="44" y="94"/>
                            <a:pt x="40" y="96"/>
                            <a:pt x="38" y="100"/>
                          </a:cubicBezTo>
                          <a:cubicBezTo>
                            <a:pt x="37" y="101"/>
                            <a:pt x="37" y="104"/>
                            <a:pt x="35" y="105"/>
                          </a:cubicBezTo>
                          <a:cubicBezTo>
                            <a:pt x="33" y="108"/>
                            <a:pt x="28" y="110"/>
                            <a:pt x="25" y="113"/>
                          </a:cubicBezTo>
                          <a:cubicBezTo>
                            <a:pt x="23" y="115"/>
                            <a:pt x="23" y="118"/>
                            <a:pt x="21" y="120"/>
                          </a:cubicBezTo>
                          <a:cubicBezTo>
                            <a:pt x="19" y="121"/>
                            <a:pt x="17" y="119"/>
                            <a:pt x="15" y="120"/>
                          </a:cubicBezTo>
                          <a:cubicBezTo>
                            <a:pt x="12" y="121"/>
                            <a:pt x="8" y="123"/>
                            <a:pt x="5" y="125"/>
                          </a:cubicBezTo>
                          <a:cubicBezTo>
                            <a:pt x="3" y="126"/>
                            <a:pt x="2" y="128"/>
                            <a:pt x="0" y="130"/>
                          </a:cubicBezTo>
                          <a:lnTo>
                            <a:pt x="56" y="130"/>
                          </a:lnTo>
                          <a:lnTo>
                            <a:pt x="56" y="115"/>
                          </a:lnTo>
                          <a:cubicBezTo>
                            <a:pt x="56" y="112"/>
                            <a:pt x="63" y="110"/>
                            <a:pt x="66" y="107"/>
                          </a:cubicBezTo>
                          <a:cubicBezTo>
                            <a:pt x="68" y="105"/>
                            <a:pt x="71" y="103"/>
                            <a:pt x="74" y="102"/>
                          </a:cubicBezTo>
                          <a:cubicBezTo>
                            <a:pt x="76" y="101"/>
                            <a:pt x="79" y="102"/>
                            <a:pt x="81" y="100"/>
                          </a:cubicBezTo>
                          <a:cubicBezTo>
                            <a:pt x="82" y="100"/>
                            <a:pt x="82" y="97"/>
                            <a:pt x="84" y="97"/>
                          </a:cubicBezTo>
                          <a:cubicBezTo>
                            <a:pt x="86" y="96"/>
                            <a:pt x="89" y="97"/>
                            <a:pt x="92" y="97"/>
                          </a:cubicBezTo>
                          <a:cubicBezTo>
                            <a:pt x="95" y="96"/>
                            <a:pt x="98" y="96"/>
                            <a:pt x="100" y="95"/>
                          </a:cubicBezTo>
                          <a:cubicBezTo>
                            <a:pt x="103" y="92"/>
                            <a:pt x="103" y="88"/>
                            <a:pt x="106" y="86"/>
                          </a:cubicBezTo>
                          <a:cubicBezTo>
                            <a:pt x="109" y="83"/>
                            <a:pt x="114" y="84"/>
                            <a:pt x="118" y="83"/>
                          </a:cubicBezTo>
                          <a:cubicBezTo>
                            <a:pt x="120" y="82"/>
                            <a:pt x="121" y="80"/>
                            <a:pt x="121" y="79"/>
                          </a:cubicBezTo>
                          <a:cubicBezTo>
                            <a:pt x="120" y="77"/>
                            <a:pt x="116" y="77"/>
                            <a:pt x="116" y="75"/>
                          </a:cubicBezTo>
                          <a:cubicBezTo>
                            <a:pt x="116" y="73"/>
                            <a:pt x="118" y="70"/>
                            <a:pt x="120" y="69"/>
                          </a:cubicBezTo>
                          <a:cubicBezTo>
                            <a:pt x="123" y="67"/>
                            <a:pt x="126" y="67"/>
                            <a:pt x="129" y="67"/>
                          </a:cubicBezTo>
                          <a:cubicBezTo>
                            <a:pt x="133" y="66"/>
                            <a:pt x="137" y="64"/>
                            <a:pt x="141" y="64"/>
                          </a:cubicBezTo>
                          <a:cubicBezTo>
                            <a:pt x="143" y="63"/>
                            <a:pt x="145" y="64"/>
                            <a:pt x="147" y="63"/>
                          </a:cubicBezTo>
                          <a:cubicBezTo>
                            <a:pt x="148" y="61"/>
                            <a:pt x="150" y="59"/>
                            <a:pt x="150" y="56"/>
                          </a:cubicBezTo>
                          <a:cubicBezTo>
                            <a:pt x="150" y="54"/>
                            <a:pt x="147" y="54"/>
                            <a:pt x="146" y="52"/>
                          </a:cubicBezTo>
                          <a:cubicBezTo>
                            <a:pt x="146" y="51"/>
                            <a:pt x="147" y="49"/>
                            <a:pt x="146" y="48"/>
                          </a:cubicBezTo>
                          <a:cubicBezTo>
                            <a:pt x="146" y="46"/>
                            <a:pt x="144" y="46"/>
                            <a:pt x="143" y="44"/>
                          </a:cubicBezTo>
                          <a:cubicBezTo>
                            <a:pt x="143" y="41"/>
                            <a:pt x="144" y="37"/>
                            <a:pt x="144" y="33"/>
                          </a:cubicBezTo>
                          <a:cubicBezTo>
                            <a:pt x="144" y="29"/>
                            <a:pt x="144" y="24"/>
                            <a:pt x="143" y="20"/>
                          </a:cubicBezTo>
                          <a:cubicBezTo>
                            <a:pt x="142" y="18"/>
                            <a:pt x="140" y="16"/>
                            <a:pt x="138" y="14"/>
                          </a:cubicBezTo>
                          <a:close/>
                        </a:path>
                      </a:pathLst>
                    </a:custGeom>
                    <a:grpFill/>
                    <a:ln w="3175" cap="rnd">
                      <a:solidFill>
                        <a:schemeClr val="bg1">
                          <a:lumMod val="75000"/>
                        </a:schemeClr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it-IT">
                        <a:solidFill>
                          <a:srgbClr val="133B9C"/>
                        </a:solidFill>
                        <a:latin typeface="Arial" charset="0"/>
                        <a:cs typeface="Arial" charset="0"/>
                      </a:endParaRPr>
                    </a:p>
                  </p:txBody>
                </p:sp>
                <p:sp>
                  <p:nvSpPr>
                    <p:cNvPr id="2034" name="Freeform 2567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292032" y="2377982"/>
                      <a:ext cx="346731" cy="277443"/>
                    </a:xfrm>
                    <a:custGeom>
                      <a:avLst/>
                      <a:gdLst>
                        <a:gd name="T0" fmla="*/ 215 w 258"/>
                        <a:gd name="T1" fmla="*/ 323 h 278"/>
                        <a:gd name="T2" fmla="*/ 181 w 258"/>
                        <a:gd name="T3" fmla="*/ 334 h 278"/>
                        <a:gd name="T4" fmla="*/ 179 w 258"/>
                        <a:gd name="T5" fmla="*/ 320 h 278"/>
                        <a:gd name="T6" fmla="*/ 161 w 258"/>
                        <a:gd name="T7" fmla="*/ 312 h 278"/>
                        <a:gd name="T8" fmla="*/ 149 w 258"/>
                        <a:gd name="T9" fmla="*/ 304 h 278"/>
                        <a:gd name="T10" fmla="*/ 58 w 258"/>
                        <a:gd name="T11" fmla="*/ 225 h 278"/>
                        <a:gd name="T12" fmla="*/ 0 w 258"/>
                        <a:gd name="T13" fmla="*/ 177 h 278"/>
                        <a:gd name="T14" fmla="*/ 12 w 258"/>
                        <a:gd name="T15" fmla="*/ 149 h 278"/>
                        <a:gd name="T16" fmla="*/ 30 w 258"/>
                        <a:gd name="T17" fmla="*/ 141 h 278"/>
                        <a:gd name="T18" fmla="*/ 43 w 258"/>
                        <a:gd name="T19" fmla="*/ 137 h 278"/>
                        <a:gd name="T20" fmla="*/ 60 w 258"/>
                        <a:gd name="T21" fmla="*/ 124 h 278"/>
                        <a:gd name="T22" fmla="*/ 78 w 258"/>
                        <a:gd name="T23" fmla="*/ 115 h 278"/>
                        <a:gd name="T24" fmla="*/ 77 w 258"/>
                        <a:gd name="T25" fmla="*/ 103 h 278"/>
                        <a:gd name="T26" fmla="*/ 102 w 258"/>
                        <a:gd name="T27" fmla="*/ 97 h 278"/>
                        <a:gd name="T28" fmla="*/ 113 w 258"/>
                        <a:gd name="T29" fmla="*/ 88 h 278"/>
                        <a:gd name="T30" fmla="*/ 108 w 258"/>
                        <a:gd name="T31" fmla="*/ 78 h 278"/>
                        <a:gd name="T32" fmla="*/ 106 w 258"/>
                        <a:gd name="T33" fmla="*/ 60 h 278"/>
                        <a:gd name="T34" fmla="*/ 99 w 258"/>
                        <a:gd name="T35" fmla="*/ 37 h 278"/>
                        <a:gd name="T36" fmla="*/ 112 w 258"/>
                        <a:gd name="T37" fmla="*/ 28 h 278"/>
                        <a:gd name="T38" fmla="*/ 129 w 258"/>
                        <a:gd name="T39" fmla="*/ 22 h 278"/>
                        <a:gd name="T40" fmla="*/ 150 w 258"/>
                        <a:gd name="T41" fmla="*/ 8 h 278"/>
                        <a:gd name="T42" fmla="*/ 181 w 258"/>
                        <a:gd name="T43" fmla="*/ 4 h 278"/>
                        <a:gd name="T44" fmla="*/ 205 w 258"/>
                        <a:gd name="T45" fmla="*/ 5 h 278"/>
                        <a:gd name="T46" fmla="*/ 216 w 258"/>
                        <a:gd name="T47" fmla="*/ 4 h 278"/>
                        <a:gd name="T48" fmla="*/ 231 w 258"/>
                        <a:gd name="T49" fmla="*/ 0 h 278"/>
                        <a:gd name="T50" fmla="*/ 240 w 258"/>
                        <a:gd name="T51" fmla="*/ 0 h 278"/>
                        <a:gd name="T52" fmla="*/ 257 w 258"/>
                        <a:gd name="T53" fmla="*/ 2 h 278"/>
                        <a:gd name="T54" fmla="*/ 254 w 258"/>
                        <a:gd name="T55" fmla="*/ 10 h 278"/>
                        <a:gd name="T56" fmla="*/ 255 w 258"/>
                        <a:gd name="T57" fmla="*/ 17 h 278"/>
                        <a:gd name="T58" fmla="*/ 255 w 258"/>
                        <a:gd name="T59" fmla="*/ 35 h 278"/>
                        <a:gd name="T60" fmla="*/ 248 w 258"/>
                        <a:gd name="T61" fmla="*/ 50 h 278"/>
                        <a:gd name="T62" fmla="*/ 242 w 258"/>
                        <a:gd name="T63" fmla="*/ 64 h 278"/>
                        <a:gd name="T64" fmla="*/ 254 w 258"/>
                        <a:gd name="T65" fmla="*/ 79 h 278"/>
                        <a:gd name="T66" fmla="*/ 260 w 258"/>
                        <a:gd name="T67" fmla="*/ 91 h 278"/>
                        <a:gd name="T68" fmla="*/ 272 w 258"/>
                        <a:gd name="T69" fmla="*/ 129 h 278"/>
                        <a:gd name="T70" fmla="*/ 278 w 258"/>
                        <a:gd name="T71" fmla="*/ 156 h 278"/>
                        <a:gd name="T72" fmla="*/ 280 w 258"/>
                        <a:gd name="T73" fmla="*/ 197 h 278"/>
                        <a:gd name="T74" fmla="*/ 282 w 258"/>
                        <a:gd name="T75" fmla="*/ 225 h 278"/>
                        <a:gd name="T76" fmla="*/ 293 w 258"/>
                        <a:gd name="T77" fmla="*/ 237 h 278"/>
                        <a:gd name="T78" fmla="*/ 302 w 258"/>
                        <a:gd name="T79" fmla="*/ 246 h 278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w 258"/>
                        <a:gd name="T121" fmla="*/ 0 h 278"/>
                        <a:gd name="T122" fmla="*/ 258 w 258"/>
                        <a:gd name="T123" fmla="*/ 278 h 278"/>
                      </a:gdLst>
                      <a:ahLst/>
                      <a:cxnLst>
                        <a:cxn ang="T80">
                          <a:pos x="T0" y="T1"/>
                        </a:cxn>
                        <a:cxn ang="T81">
                          <a:pos x="T2" y="T3"/>
                        </a:cxn>
                        <a:cxn ang="T82">
                          <a:pos x="T4" y="T5"/>
                        </a:cxn>
                        <a:cxn ang="T83">
                          <a:pos x="T6" y="T7"/>
                        </a:cxn>
                        <a:cxn ang="T84">
                          <a:pos x="T8" y="T9"/>
                        </a:cxn>
                        <a:cxn ang="T85">
                          <a:pos x="T10" y="T11"/>
                        </a:cxn>
                        <a:cxn ang="T86">
                          <a:pos x="T12" y="T13"/>
                        </a:cxn>
                        <a:cxn ang="T87">
                          <a:pos x="T14" y="T15"/>
                        </a:cxn>
                        <a:cxn ang="T88">
                          <a:pos x="T16" y="T17"/>
                        </a:cxn>
                        <a:cxn ang="T89">
                          <a:pos x="T18" y="T19"/>
                        </a:cxn>
                        <a:cxn ang="T90">
                          <a:pos x="T20" y="T21"/>
                        </a:cxn>
                        <a:cxn ang="T91">
                          <a:pos x="T22" y="T23"/>
                        </a:cxn>
                        <a:cxn ang="T92">
                          <a:pos x="T24" y="T25"/>
                        </a:cxn>
                        <a:cxn ang="T93">
                          <a:pos x="T26" y="T27"/>
                        </a:cxn>
                        <a:cxn ang="T94">
                          <a:pos x="T28" y="T29"/>
                        </a:cxn>
                        <a:cxn ang="T95">
                          <a:pos x="T30" y="T31"/>
                        </a:cxn>
                        <a:cxn ang="T96">
                          <a:pos x="T32" y="T33"/>
                        </a:cxn>
                        <a:cxn ang="T97">
                          <a:pos x="T34" y="T35"/>
                        </a:cxn>
                        <a:cxn ang="T98">
                          <a:pos x="T36" y="T37"/>
                        </a:cxn>
                        <a:cxn ang="T99">
                          <a:pos x="T38" y="T39"/>
                        </a:cxn>
                        <a:cxn ang="T100">
                          <a:pos x="T40" y="T41"/>
                        </a:cxn>
                        <a:cxn ang="T101">
                          <a:pos x="T42" y="T43"/>
                        </a:cxn>
                        <a:cxn ang="T102">
                          <a:pos x="T44" y="T45"/>
                        </a:cxn>
                        <a:cxn ang="T103">
                          <a:pos x="T46" y="T47"/>
                        </a:cxn>
                        <a:cxn ang="T104">
                          <a:pos x="T48" y="T49"/>
                        </a:cxn>
                        <a:cxn ang="T105">
                          <a:pos x="T50" y="T51"/>
                        </a:cxn>
                        <a:cxn ang="T106">
                          <a:pos x="T52" y="T53"/>
                        </a:cxn>
                        <a:cxn ang="T107">
                          <a:pos x="T54" y="T55"/>
                        </a:cxn>
                        <a:cxn ang="T108">
                          <a:pos x="T56" y="T57"/>
                        </a:cxn>
                        <a:cxn ang="T109">
                          <a:pos x="T58" y="T59"/>
                        </a:cxn>
                        <a:cxn ang="T110">
                          <a:pos x="T60" y="T61"/>
                        </a:cxn>
                        <a:cxn ang="T111">
                          <a:pos x="T62" y="T63"/>
                        </a:cxn>
                        <a:cxn ang="T112">
                          <a:pos x="T64" y="T65"/>
                        </a:cxn>
                        <a:cxn ang="T113">
                          <a:pos x="T66" y="T67"/>
                        </a:cxn>
                        <a:cxn ang="T114">
                          <a:pos x="T68" y="T69"/>
                        </a:cxn>
                        <a:cxn ang="T115">
                          <a:pos x="T70" y="T71"/>
                        </a:cxn>
                        <a:cxn ang="T116">
                          <a:pos x="T72" y="T73"/>
                        </a:cxn>
                        <a:cxn ang="T117">
                          <a:pos x="T74" y="T75"/>
                        </a:cxn>
                        <a:cxn ang="T118">
                          <a:pos x="T76" y="T77"/>
                        </a:cxn>
                        <a:cxn ang="T119">
                          <a:pos x="T78" y="T79"/>
                        </a:cxn>
                      </a:cxnLst>
                      <a:rect l="T120" t="T121" r="T122" b="T123"/>
                      <a:pathLst>
                        <a:path w="258" h="278">
                          <a:moveTo>
                            <a:pt x="258" y="210"/>
                          </a:moveTo>
                          <a:lnTo>
                            <a:pt x="179" y="269"/>
                          </a:lnTo>
                          <a:lnTo>
                            <a:pt x="163" y="275"/>
                          </a:lnTo>
                          <a:cubicBezTo>
                            <a:pt x="159" y="276"/>
                            <a:pt x="156" y="278"/>
                            <a:pt x="151" y="278"/>
                          </a:cubicBezTo>
                          <a:cubicBezTo>
                            <a:pt x="150" y="278"/>
                            <a:pt x="148" y="278"/>
                            <a:pt x="148" y="277"/>
                          </a:cubicBezTo>
                          <a:cubicBezTo>
                            <a:pt x="147" y="273"/>
                            <a:pt x="150" y="269"/>
                            <a:pt x="149" y="266"/>
                          </a:cubicBezTo>
                          <a:cubicBezTo>
                            <a:pt x="147" y="263"/>
                            <a:pt x="143" y="262"/>
                            <a:pt x="140" y="261"/>
                          </a:cubicBezTo>
                          <a:cubicBezTo>
                            <a:pt x="138" y="260"/>
                            <a:pt x="136" y="261"/>
                            <a:pt x="134" y="260"/>
                          </a:cubicBezTo>
                          <a:cubicBezTo>
                            <a:pt x="132" y="259"/>
                            <a:pt x="131" y="257"/>
                            <a:pt x="130" y="255"/>
                          </a:cubicBezTo>
                          <a:cubicBezTo>
                            <a:pt x="128" y="254"/>
                            <a:pt x="125" y="255"/>
                            <a:pt x="124" y="253"/>
                          </a:cubicBezTo>
                          <a:cubicBezTo>
                            <a:pt x="123" y="251"/>
                            <a:pt x="124" y="249"/>
                            <a:pt x="124" y="246"/>
                          </a:cubicBezTo>
                          <a:lnTo>
                            <a:pt x="48" y="187"/>
                          </a:lnTo>
                          <a:lnTo>
                            <a:pt x="0" y="152"/>
                          </a:lnTo>
                          <a:lnTo>
                            <a:pt x="0" y="147"/>
                          </a:lnTo>
                          <a:lnTo>
                            <a:pt x="0" y="132"/>
                          </a:lnTo>
                          <a:cubicBezTo>
                            <a:pt x="0" y="129"/>
                            <a:pt x="7" y="127"/>
                            <a:pt x="10" y="124"/>
                          </a:cubicBezTo>
                          <a:cubicBezTo>
                            <a:pt x="12" y="122"/>
                            <a:pt x="15" y="120"/>
                            <a:pt x="18" y="119"/>
                          </a:cubicBezTo>
                          <a:cubicBezTo>
                            <a:pt x="20" y="118"/>
                            <a:pt x="23" y="119"/>
                            <a:pt x="25" y="117"/>
                          </a:cubicBezTo>
                          <a:cubicBezTo>
                            <a:pt x="26" y="117"/>
                            <a:pt x="26" y="114"/>
                            <a:pt x="28" y="114"/>
                          </a:cubicBezTo>
                          <a:cubicBezTo>
                            <a:pt x="30" y="113"/>
                            <a:pt x="33" y="114"/>
                            <a:pt x="36" y="114"/>
                          </a:cubicBezTo>
                          <a:cubicBezTo>
                            <a:pt x="39" y="113"/>
                            <a:pt x="42" y="113"/>
                            <a:pt x="44" y="112"/>
                          </a:cubicBezTo>
                          <a:cubicBezTo>
                            <a:pt x="47" y="109"/>
                            <a:pt x="47" y="105"/>
                            <a:pt x="50" y="103"/>
                          </a:cubicBezTo>
                          <a:cubicBezTo>
                            <a:pt x="53" y="100"/>
                            <a:pt x="58" y="101"/>
                            <a:pt x="62" y="100"/>
                          </a:cubicBezTo>
                          <a:cubicBezTo>
                            <a:pt x="64" y="99"/>
                            <a:pt x="65" y="97"/>
                            <a:pt x="65" y="96"/>
                          </a:cubicBezTo>
                          <a:cubicBezTo>
                            <a:pt x="64" y="94"/>
                            <a:pt x="60" y="94"/>
                            <a:pt x="60" y="92"/>
                          </a:cubicBezTo>
                          <a:cubicBezTo>
                            <a:pt x="60" y="90"/>
                            <a:pt x="62" y="87"/>
                            <a:pt x="64" y="86"/>
                          </a:cubicBezTo>
                          <a:cubicBezTo>
                            <a:pt x="67" y="84"/>
                            <a:pt x="70" y="84"/>
                            <a:pt x="73" y="84"/>
                          </a:cubicBezTo>
                          <a:cubicBezTo>
                            <a:pt x="77" y="83"/>
                            <a:pt x="81" y="81"/>
                            <a:pt x="85" y="81"/>
                          </a:cubicBezTo>
                          <a:cubicBezTo>
                            <a:pt x="87" y="80"/>
                            <a:pt x="89" y="81"/>
                            <a:pt x="91" y="80"/>
                          </a:cubicBezTo>
                          <a:cubicBezTo>
                            <a:pt x="92" y="78"/>
                            <a:pt x="94" y="76"/>
                            <a:pt x="94" y="73"/>
                          </a:cubicBezTo>
                          <a:cubicBezTo>
                            <a:pt x="94" y="71"/>
                            <a:pt x="91" y="71"/>
                            <a:pt x="90" y="69"/>
                          </a:cubicBezTo>
                          <a:cubicBezTo>
                            <a:pt x="90" y="68"/>
                            <a:pt x="91" y="66"/>
                            <a:pt x="90" y="65"/>
                          </a:cubicBezTo>
                          <a:cubicBezTo>
                            <a:pt x="90" y="63"/>
                            <a:pt x="88" y="63"/>
                            <a:pt x="87" y="61"/>
                          </a:cubicBezTo>
                          <a:cubicBezTo>
                            <a:pt x="87" y="58"/>
                            <a:pt x="88" y="54"/>
                            <a:pt x="88" y="50"/>
                          </a:cubicBezTo>
                          <a:cubicBezTo>
                            <a:pt x="88" y="46"/>
                            <a:pt x="88" y="41"/>
                            <a:pt x="87" y="37"/>
                          </a:cubicBezTo>
                          <a:cubicBezTo>
                            <a:pt x="86" y="35"/>
                            <a:pt x="84" y="33"/>
                            <a:pt x="82" y="31"/>
                          </a:cubicBezTo>
                          <a:cubicBezTo>
                            <a:pt x="85" y="31"/>
                            <a:pt x="87" y="31"/>
                            <a:pt x="89" y="29"/>
                          </a:cubicBezTo>
                          <a:cubicBezTo>
                            <a:pt x="91" y="28"/>
                            <a:pt x="91" y="24"/>
                            <a:pt x="93" y="23"/>
                          </a:cubicBezTo>
                          <a:cubicBezTo>
                            <a:pt x="95" y="21"/>
                            <a:pt x="97" y="20"/>
                            <a:pt x="100" y="19"/>
                          </a:cubicBezTo>
                          <a:cubicBezTo>
                            <a:pt x="102" y="19"/>
                            <a:pt x="105" y="19"/>
                            <a:pt x="107" y="18"/>
                          </a:cubicBezTo>
                          <a:cubicBezTo>
                            <a:pt x="110" y="16"/>
                            <a:pt x="111" y="13"/>
                            <a:pt x="114" y="11"/>
                          </a:cubicBezTo>
                          <a:cubicBezTo>
                            <a:pt x="118" y="9"/>
                            <a:pt x="121" y="8"/>
                            <a:pt x="125" y="7"/>
                          </a:cubicBezTo>
                          <a:cubicBezTo>
                            <a:pt x="128" y="6"/>
                            <a:pt x="132" y="6"/>
                            <a:pt x="135" y="5"/>
                          </a:cubicBezTo>
                          <a:cubicBezTo>
                            <a:pt x="140" y="5"/>
                            <a:pt x="145" y="4"/>
                            <a:pt x="151" y="3"/>
                          </a:cubicBezTo>
                          <a:cubicBezTo>
                            <a:pt x="156" y="3"/>
                            <a:pt x="161" y="2"/>
                            <a:pt x="166" y="2"/>
                          </a:cubicBezTo>
                          <a:cubicBezTo>
                            <a:pt x="168" y="2"/>
                            <a:pt x="169" y="3"/>
                            <a:pt x="171" y="4"/>
                          </a:cubicBezTo>
                          <a:cubicBezTo>
                            <a:pt x="173" y="4"/>
                            <a:pt x="174" y="6"/>
                            <a:pt x="175" y="6"/>
                          </a:cubicBezTo>
                          <a:cubicBezTo>
                            <a:pt x="177" y="6"/>
                            <a:pt x="178" y="4"/>
                            <a:pt x="180" y="3"/>
                          </a:cubicBezTo>
                          <a:cubicBezTo>
                            <a:pt x="182" y="2"/>
                            <a:pt x="185" y="2"/>
                            <a:pt x="187" y="1"/>
                          </a:cubicBezTo>
                          <a:cubicBezTo>
                            <a:pt x="189" y="1"/>
                            <a:pt x="190" y="0"/>
                            <a:pt x="192" y="0"/>
                          </a:cubicBezTo>
                          <a:cubicBezTo>
                            <a:pt x="193" y="1"/>
                            <a:pt x="194" y="2"/>
                            <a:pt x="195" y="2"/>
                          </a:cubicBezTo>
                          <a:cubicBezTo>
                            <a:pt x="197" y="2"/>
                            <a:pt x="198" y="0"/>
                            <a:pt x="200" y="0"/>
                          </a:cubicBezTo>
                          <a:cubicBezTo>
                            <a:pt x="202" y="0"/>
                            <a:pt x="205" y="3"/>
                            <a:pt x="207" y="2"/>
                          </a:cubicBezTo>
                          <a:lnTo>
                            <a:pt x="214" y="2"/>
                          </a:lnTo>
                          <a:cubicBezTo>
                            <a:pt x="214" y="2"/>
                            <a:pt x="214" y="4"/>
                            <a:pt x="214" y="5"/>
                          </a:cubicBezTo>
                          <a:cubicBezTo>
                            <a:pt x="213" y="6"/>
                            <a:pt x="212" y="7"/>
                            <a:pt x="211" y="8"/>
                          </a:cubicBezTo>
                          <a:cubicBezTo>
                            <a:pt x="211" y="9"/>
                            <a:pt x="209" y="9"/>
                            <a:pt x="209" y="10"/>
                          </a:cubicBezTo>
                          <a:cubicBezTo>
                            <a:pt x="209" y="11"/>
                            <a:pt x="211" y="12"/>
                            <a:pt x="212" y="14"/>
                          </a:cubicBezTo>
                          <a:cubicBezTo>
                            <a:pt x="212" y="16"/>
                            <a:pt x="211" y="17"/>
                            <a:pt x="211" y="18"/>
                          </a:cubicBezTo>
                          <a:cubicBezTo>
                            <a:pt x="211" y="22"/>
                            <a:pt x="212" y="25"/>
                            <a:pt x="212" y="29"/>
                          </a:cubicBezTo>
                          <a:cubicBezTo>
                            <a:pt x="212" y="32"/>
                            <a:pt x="212" y="36"/>
                            <a:pt x="210" y="38"/>
                          </a:cubicBezTo>
                          <a:cubicBezTo>
                            <a:pt x="210" y="40"/>
                            <a:pt x="207" y="41"/>
                            <a:pt x="206" y="42"/>
                          </a:cubicBezTo>
                          <a:cubicBezTo>
                            <a:pt x="204" y="44"/>
                            <a:pt x="202" y="46"/>
                            <a:pt x="201" y="48"/>
                          </a:cubicBezTo>
                          <a:cubicBezTo>
                            <a:pt x="200" y="50"/>
                            <a:pt x="200" y="52"/>
                            <a:pt x="201" y="53"/>
                          </a:cubicBezTo>
                          <a:cubicBezTo>
                            <a:pt x="201" y="56"/>
                            <a:pt x="202" y="59"/>
                            <a:pt x="204" y="61"/>
                          </a:cubicBezTo>
                          <a:cubicBezTo>
                            <a:pt x="206" y="63"/>
                            <a:pt x="209" y="64"/>
                            <a:pt x="211" y="66"/>
                          </a:cubicBezTo>
                          <a:cubicBezTo>
                            <a:pt x="212" y="68"/>
                            <a:pt x="210" y="70"/>
                            <a:pt x="211" y="72"/>
                          </a:cubicBezTo>
                          <a:cubicBezTo>
                            <a:pt x="212" y="74"/>
                            <a:pt x="214" y="75"/>
                            <a:pt x="216" y="76"/>
                          </a:cubicBezTo>
                          <a:cubicBezTo>
                            <a:pt x="217" y="77"/>
                            <a:pt x="220" y="77"/>
                            <a:pt x="221" y="78"/>
                          </a:cubicBezTo>
                          <a:lnTo>
                            <a:pt x="226" y="107"/>
                          </a:lnTo>
                          <a:cubicBezTo>
                            <a:pt x="225" y="107"/>
                            <a:pt x="223" y="107"/>
                            <a:pt x="223" y="109"/>
                          </a:cubicBezTo>
                          <a:cubicBezTo>
                            <a:pt x="225" y="116"/>
                            <a:pt x="230" y="123"/>
                            <a:pt x="231" y="130"/>
                          </a:cubicBezTo>
                          <a:cubicBezTo>
                            <a:pt x="232" y="136"/>
                            <a:pt x="229" y="143"/>
                            <a:pt x="230" y="149"/>
                          </a:cubicBezTo>
                          <a:cubicBezTo>
                            <a:pt x="230" y="154"/>
                            <a:pt x="234" y="159"/>
                            <a:pt x="233" y="164"/>
                          </a:cubicBezTo>
                          <a:cubicBezTo>
                            <a:pt x="232" y="167"/>
                            <a:pt x="225" y="166"/>
                            <a:pt x="226" y="169"/>
                          </a:cubicBezTo>
                          <a:cubicBezTo>
                            <a:pt x="226" y="176"/>
                            <a:pt x="233" y="181"/>
                            <a:pt x="235" y="187"/>
                          </a:cubicBezTo>
                          <a:cubicBezTo>
                            <a:pt x="236" y="190"/>
                            <a:pt x="234" y="195"/>
                            <a:pt x="236" y="198"/>
                          </a:cubicBezTo>
                          <a:cubicBezTo>
                            <a:pt x="238" y="200"/>
                            <a:pt x="242" y="197"/>
                            <a:pt x="244" y="197"/>
                          </a:cubicBezTo>
                          <a:cubicBezTo>
                            <a:pt x="248" y="198"/>
                            <a:pt x="252" y="199"/>
                            <a:pt x="254" y="202"/>
                          </a:cubicBezTo>
                          <a:cubicBezTo>
                            <a:pt x="255" y="203"/>
                            <a:pt x="251" y="204"/>
                            <a:pt x="251" y="205"/>
                          </a:cubicBezTo>
                          <a:cubicBezTo>
                            <a:pt x="252" y="208"/>
                            <a:pt x="256" y="209"/>
                            <a:pt x="258" y="210"/>
                          </a:cubicBezTo>
                          <a:close/>
                        </a:path>
                      </a:pathLst>
                    </a:custGeom>
                    <a:grpFill/>
                    <a:ln w="3175" cap="rnd">
                      <a:solidFill>
                        <a:schemeClr val="bg1">
                          <a:lumMod val="75000"/>
                        </a:schemeClr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it-IT">
                        <a:solidFill>
                          <a:srgbClr val="133B9C"/>
                        </a:solidFill>
                        <a:latin typeface="Arial" charset="0"/>
                        <a:cs typeface="Arial" charset="0"/>
                      </a:endParaRPr>
                    </a:p>
                  </p:txBody>
                </p:sp>
                <p:sp>
                  <p:nvSpPr>
                    <p:cNvPr id="2035" name="Freeform 2581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283083" y="2293254"/>
                      <a:ext cx="53688" cy="85559"/>
                    </a:xfrm>
                    <a:custGeom>
                      <a:avLst/>
                      <a:gdLst>
                        <a:gd name="T0" fmla="*/ 30 w 40"/>
                        <a:gd name="T1" fmla="*/ 97 h 86"/>
                        <a:gd name="T2" fmla="*/ 23 w 40"/>
                        <a:gd name="T3" fmla="*/ 102 h 86"/>
                        <a:gd name="T4" fmla="*/ 20 w 40"/>
                        <a:gd name="T5" fmla="*/ 99 h 86"/>
                        <a:gd name="T6" fmla="*/ 12 w 40"/>
                        <a:gd name="T7" fmla="*/ 99 h 86"/>
                        <a:gd name="T8" fmla="*/ 7 w 40"/>
                        <a:gd name="T9" fmla="*/ 102 h 86"/>
                        <a:gd name="T10" fmla="*/ 10 w 40"/>
                        <a:gd name="T11" fmla="*/ 93 h 86"/>
                        <a:gd name="T12" fmla="*/ 8 w 40"/>
                        <a:gd name="T13" fmla="*/ 84 h 86"/>
                        <a:gd name="T14" fmla="*/ 12 w 40"/>
                        <a:gd name="T15" fmla="*/ 72 h 86"/>
                        <a:gd name="T16" fmla="*/ 8 w 40"/>
                        <a:gd name="T17" fmla="*/ 72 h 86"/>
                        <a:gd name="T18" fmla="*/ 4 w 40"/>
                        <a:gd name="T19" fmla="*/ 73 h 86"/>
                        <a:gd name="T20" fmla="*/ 7 w 40"/>
                        <a:gd name="T21" fmla="*/ 67 h 86"/>
                        <a:gd name="T22" fmla="*/ 7 w 40"/>
                        <a:gd name="T23" fmla="*/ 63 h 86"/>
                        <a:gd name="T24" fmla="*/ 4 w 40"/>
                        <a:gd name="T25" fmla="*/ 67 h 86"/>
                        <a:gd name="T26" fmla="*/ 0 w 40"/>
                        <a:gd name="T27" fmla="*/ 66 h 86"/>
                        <a:gd name="T28" fmla="*/ 2 w 40"/>
                        <a:gd name="T29" fmla="*/ 59 h 86"/>
                        <a:gd name="T30" fmla="*/ 6 w 40"/>
                        <a:gd name="T31" fmla="*/ 50 h 86"/>
                        <a:gd name="T32" fmla="*/ 8 w 40"/>
                        <a:gd name="T33" fmla="*/ 41 h 86"/>
                        <a:gd name="T34" fmla="*/ 10 w 40"/>
                        <a:gd name="T35" fmla="*/ 35 h 86"/>
                        <a:gd name="T36" fmla="*/ 12 w 40"/>
                        <a:gd name="T37" fmla="*/ 29 h 86"/>
                        <a:gd name="T38" fmla="*/ 12 w 40"/>
                        <a:gd name="T39" fmla="*/ 19 h 86"/>
                        <a:gd name="T40" fmla="*/ 10 w 40"/>
                        <a:gd name="T41" fmla="*/ 12 h 86"/>
                        <a:gd name="T42" fmla="*/ 8 w 40"/>
                        <a:gd name="T43" fmla="*/ 5 h 86"/>
                        <a:gd name="T44" fmla="*/ 18 w 40"/>
                        <a:gd name="T45" fmla="*/ 0 h 86"/>
                        <a:gd name="T46" fmla="*/ 22 w 40"/>
                        <a:gd name="T47" fmla="*/ 2 h 86"/>
                        <a:gd name="T48" fmla="*/ 19 w 40"/>
                        <a:gd name="T49" fmla="*/ 7 h 86"/>
                        <a:gd name="T50" fmla="*/ 26 w 40"/>
                        <a:gd name="T51" fmla="*/ 6 h 86"/>
                        <a:gd name="T52" fmla="*/ 31 w 40"/>
                        <a:gd name="T53" fmla="*/ 7 h 86"/>
                        <a:gd name="T54" fmla="*/ 35 w 40"/>
                        <a:gd name="T55" fmla="*/ 4 h 86"/>
                        <a:gd name="T56" fmla="*/ 43 w 40"/>
                        <a:gd name="T57" fmla="*/ 4 h 86"/>
                        <a:gd name="T58" fmla="*/ 42 w 40"/>
                        <a:gd name="T59" fmla="*/ 10 h 86"/>
                        <a:gd name="T60" fmla="*/ 48 w 40"/>
                        <a:gd name="T61" fmla="*/ 11 h 86"/>
                        <a:gd name="T62" fmla="*/ 43 w 40"/>
                        <a:gd name="T63" fmla="*/ 18 h 86"/>
                        <a:gd name="T64" fmla="*/ 37 w 40"/>
                        <a:gd name="T65" fmla="*/ 23 h 86"/>
                        <a:gd name="T66" fmla="*/ 38 w 40"/>
                        <a:gd name="T67" fmla="*/ 36 h 86"/>
                        <a:gd name="T68" fmla="*/ 36 w 40"/>
                        <a:gd name="T69" fmla="*/ 40 h 86"/>
                        <a:gd name="T70" fmla="*/ 37 w 40"/>
                        <a:gd name="T71" fmla="*/ 43 h 86"/>
                        <a:gd name="T72" fmla="*/ 36 w 40"/>
                        <a:gd name="T73" fmla="*/ 49 h 86"/>
                        <a:gd name="T74" fmla="*/ 30 w 40"/>
                        <a:gd name="T75" fmla="*/ 52 h 86"/>
                        <a:gd name="T76" fmla="*/ 32 w 40"/>
                        <a:gd name="T77" fmla="*/ 59 h 86"/>
                        <a:gd name="T78" fmla="*/ 36 w 40"/>
                        <a:gd name="T79" fmla="*/ 61 h 86"/>
                        <a:gd name="T80" fmla="*/ 36 w 40"/>
                        <a:gd name="T81" fmla="*/ 65 h 86"/>
                        <a:gd name="T82" fmla="*/ 31 w 40"/>
                        <a:gd name="T83" fmla="*/ 69 h 86"/>
                        <a:gd name="T84" fmla="*/ 31 w 40"/>
                        <a:gd name="T85" fmla="*/ 74 h 86"/>
                        <a:gd name="T86" fmla="*/ 36 w 40"/>
                        <a:gd name="T87" fmla="*/ 80 h 86"/>
                        <a:gd name="T88" fmla="*/ 31 w 40"/>
                        <a:gd name="T89" fmla="*/ 85 h 86"/>
                        <a:gd name="T90" fmla="*/ 28 w 40"/>
                        <a:gd name="T91" fmla="*/ 90 h 86"/>
                        <a:gd name="T92" fmla="*/ 30 w 40"/>
                        <a:gd name="T93" fmla="*/ 97 h 8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w 40"/>
                        <a:gd name="T142" fmla="*/ 0 h 86"/>
                        <a:gd name="T143" fmla="*/ 40 w 40"/>
                        <a:gd name="T144" fmla="*/ 86 h 86"/>
                      </a:gdLst>
                      <a:ahLst/>
                      <a:cxnLst>
                        <a:cxn ang="T94">
                          <a:pos x="T0" y="T1"/>
                        </a:cxn>
                        <a:cxn ang="T95">
                          <a:pos x="T2" y="T3"/>
                        </a:cxn>
                        <a:cxn ang="T96">
                          <a:pos x="T4" y="T5"/>
                        </a:cxn>
                        <a:cxn ang="T97">
                          <a:pos x="T6" y="T7"/>
                        </a:cxn>
                        <a:cxn ang="T98">
                          <a:pos x="T8" y="T9"/>
                        </a:cxn>
                        <a:cxn ang="T99">
                          <a:pos x="T10" y="T11"/>
                        </a:cxn>
                        <a:cxn ang="T100">
                          <a:pos x="T12" y="T13"/>
                        </a:cxn>
                        <a:cxn ang="T101">
                          <a:pos x="T14" y="T15"/>
                        </a:cxn>
                        <a:cxn ang="T102">
                          <a:pos x="T16" y="T17"/>
                        </a:cxn>
                        <a:cxn ang="T103">
                          <a:pos x="T18" y="T19"/>
                        </a:cxn>
                        <a:cxn ang="T104">
                          <a:pos x="T20" y="T21"/>
                        </a:cxn>
                        <a:cxn ang="T105">
                          <a:pos x="T22" y="T23"/>
                        </a:cxn>
                        <a:cxn ang="T106">
                          <a:pos x="T24" y="T25"/>
                        </a:cxn>
                        <a:cxn ang="T107">
                          <a:pos x="T26" y="T27"/>
                        </a:cxn>
                        <a:cxn ang="T108">
                          <a:pos x="T28" y="T29"/>
                        </a:cxn>
                        <a:cxn ang="T109">
                          <a:pos x="T30" y="T31"/>
                        </a:cxn>
                        <a:cxn ang="T110">
                          <a:pos x="T32" y="T33"/>
                        </a:cxn>
                        <a:cxn ang="T111">
                          <a:pos x="T34" y="T35"/>
                        </a:cxn>
                        <a:cxn ang="T112">
                          <a:pos x="T36" y="T37"/>
                        </a:cxn>
                        <a:cxn ang="T113">
                          <a:pos x="T38" y="T39"/>
                        </a:cxn>
                        <a:cxn ang="T114">
                          <a:pos x="T40" y="T41"/>
                        </a:cxn>
                        <a:cxn ang="T115">
                          <a:pos x="T42" y="T43"/>
                        </a:cxn>
                        <a:cxn ang="T116">
                          <a:pos x="T44" y="T45"/>
                        </a:cxn>
                        <a:cxn ang="T117">
                          <a:pos x="T46" y="T47"/>
                        </a:cxn>
                        <a:cxn ang="T118">
                          <a:pos x="T48" y="T49"/>
                        </a:cxn>
                        <a:cxn ang="T119">
                          <a:pos x="T50" y="T51"/>
                        </a:cxn>
                        <a:cxn ang="T120">
                          <a:pos x="T52" y="T53"/>
                        </a:cxn>
                        <a:cxn ang="T121">
                          <a:pos x="T54" y="T55"/>
                        </a:cxn>
                        <a:cxn ang="T122">
                          <a:pos x="T56" y="T57"/>
                        </a:cxn>
                        <a:cxn ang="T123">
                          <a:pos x="T58" y="T59"/>
                        </a:cxn>
                        <a:cxn ang="T124">
                          <a:pos x="T60" y="T61"/>
                        </a:cxn>
                        <a:cxn ang="T125">
                          <a:pos x="T62" y="T63"/>
                        </a:cxn>
                        <a:cxn ang="T126">
                          <a:pos x="T64" y="T65"/>
                        </a:cxn>
                        <a:cxn ang="T127">
                          <a:pos x="T66" y="T67"/>
                        </a:cxn>
                        <a:cxn ang="T128">
                          <a:pos x="T68" y="T69"/>
                        </a:cxn>
                        <a:cxn ang="T129">
                          <a:pos x="T70" y="T71"/>
                        </a:cxn>
                        <a:cxn ang="T130">
                          <a:pos x="T72" y="T73"/>
                        </a:cxn>
                        <a:cxn ang="T131">
                          <a:pos x="T74" y="T75"/>
                        </a:cxn>
                        <a:cxn ang="T132">
                          <a:pos x="T76" y="T77"/>
                        </a:cxn>
                        <a:cxn ang="T133">
                          <a:pos x="T78" y="T79"/>
                        </a:cxn>
                        <a:cxn ang="T134">
                          <a:pos x="T80" y="T81"/>
                        </a:cxn>
                        <a:cxn ang="T135">
                          <a:pos x="T82" y="T83"/>
                        </a:cxn>
                        <a:cxn ang="T136">
                          <a:pos x="T84" y="T85"/>
                        </a:cxn>
                        <a:cxn ang="T137">
                          <a:pos x="T86" y="T87"/>
                        </a:cxn>
                        <a:cxn ang="T138">
                          <a:pos x="T88" y="T89"/>
                        </a:cxn>
                        <a:cxn ang="T139">
                          <a:pos x="T90" y="T91"/>
                        </a:cxn>
                        <a:cxn ang="T140">
                          <a:pos x="T92" y="T93"/>
                        </a:cxn>
                      </a:cxnLst>
                      <a:rect l="T141" t="T142" r="T143" b="T144"/>
                      <a:pathLst>
                        <a:path w="40" h="86">
                          <a:moveTo>
                            <a:pt x="25" y="81"/>
                          </a:moveTo>
                          <a:cubicBezTo>
                            <a:pt x="23" y="83"/>
                            <a:pt x="21" y="85"/>
                            <a:pt x="19" y="85"/>
                          </a:cubicBezTo>
                          <a:cubicBezTo>
                            <a:pt x="18" y="85"/>
                            <a:pt x="18" y="84"/>
                            <a:pt x="17" y="83"/>
                          </a:cubicBezTo>
                          <a:cubicBezTo>
                            <a:pt x="15" y="83"/>
                            <a:pt x="12" y="83"/>
                            <a:pt x="10" y="83"/>
                          </a:cubicBezTo>
                          <a:cubicBezTo>
                            <a:pt x="8" y="83"/>
                            <a:pt x="6" y="86"/>
                            <a:pt x="6" y="85"/>
                          </a:cubicBezTo>
                          <a:cubicBezTo>
                            <a:pt x="5" y="82"/>
                            <a:pt x="7" y="80"/>
                            <a:pt x="8" y="78"/>
                          </a:cubicBezTo>
                          <a:cubicBezTo>
                            <a:pt x="8" y="75"/>
                            <a:pt x="7" y="72"/>
                            <a:pt x="7" y="70"/>
                          </a:cubicBezTo>
                          <a:cubicBezTo>
                            <a:pt x="8" y="66"/>
                            <a:pt x="10" y="63"/>
                            <a:pt x="10" y="60"/>
                          </a:cubicBezTo>
                          <a:cubicBezTo>
                            <a:pt x="10" y="59"/>
                            <a:pt x="8" y="60"/>
                            <a:pt x="7" y="60"/>
                          </a:cubicBezTo>
                          <a:cubicBezTo>
                            <a:pt x="6" y="61"/>
                            <a:pt x="4" y="62"/>
                            <a:pt x="3" y="61"/>
                          </a:cubicBezTo>
                          <a:cubicBezTo>
                            <a:pt x="3" y="59"/>
                            <a:pt x="5" y="58"/>
                            <a:pt x="6" y="56"/>
                          </a:cubicBezTo>
                          <a:cubicBezTo>
                            <a:pt x="6" y="55"/>
                            <a:pt x="7" y="53"/>
                            <a:pt x="6" y="53"/>
                          </a:cubicBezTo>
                          <a:cubicBezTo>
                            <a:pt x="4" y="53"/>
                            <a:pt x="5" y="56"/>
                            <a:pt x="3" y="56"/>
                          </a:cubicBezTo>
                          <a:cubicBezTo>
                            <a:pt x="2" y="56"/>
                            <a:pt x="1" y="56"/>
                            <a:pt x="0" y="55"/>
                          </a:cubicBezTo>
                          <a:cubicBezTo>
                            <a:pt x="0" y="53"/>
                            <a:pt x="1" y="51"/>
                            <a:pt x="2" y="49"/>
                          </a:cubicBezTo>
                          <a:cubicBezTo>
                            <a:pt x="2" y="47"/>
                            <a:pt x="4" y="45"/>
                            <a:pt x="5" y="42"/>
                          </a:cubicBezTo>
                          <a:cubicBezTo>
                            <a:pt x="6" y="39"/>
                            <a:pt x="7" y="37"/>
                            <a:pt x="7" y="34"/>
                          </a:cubicBezTo>
                          <a:cubicBezTo>
                            <a:pt x="8" y="32"/>
                            <a:pt x="7" y="31"/>
                            <a:pt x="8" y="29"/>
                          </a:cubicBezTo>
                          <a:cubicBezTo>
                            <a:pt x="8" y="27"/>
                            <a:pt x="10" y="26"/>
                            <a:pt x="10" y="24"/>
                          </a:cubicBezTo>
                          <a:cubicBezTo>
                            <a:pt x="10" y="21"/>
                            <a:pt x="10" y="18"/>
                            <a:pt x="10" y="16"/>
                          </a:cubicBezTo>
                          <a:cubicBezTo>
                            <a:pt x="9" y="14"/>
                            <a:pt x="9" y="12"/>
                            <a:pt x="8" y="10"/>
                          </a:cubicBezTo>
                          <a:cubicBezTo>
                            <a:pt x="8" y="8"/>
                            <a:pt x="8" y="6"/>
                            <a:pt x="7" y="4"/>
                          </a:cubicBezTo>
                          <a:cubicBezTo>
                            <a:pt x="10" y="3"/>
                            <a:pt x="12" y="1"/>
                            <a:pt x="15" y="0"/>
                          </a:cubicBezTo>
                          <a:cubicBezTo>
                            <a:pt x="16" y="0"/>
                            <a:pt x="18" y="1"/>
                            <a:pt x="18" y="2"/>
                          </a:cubicBezTo>
                          <a:cubicBezTo>
                            <a:pt x="18" y="4"/>
                            <a:pt x="14" y="5"/>
                            <a:pt x="16" y="6"/>
                          </a:cubicBezTo>
                          <a:cubicBezTo>
                            <a:pt x="17" y="7"/>
                            <a:pt x="20" y="5"/>
                            <a:pt x="22" y="5"/>
                          </a:cubicBezTo>
                          <a:cubicBezTo>
                            <a:pt x="23" y="5"/>
                            <a:pt x="25" y="6"/>
                            <a:pt x="26" y="6"/>
                          </a:cubicBezTo>
                          <a:cubicBezTo>
                            <a:pt x="27" y="5"/>
                            <a:pt x="28" y="3"/>
                            <a:pt x="29" y="3"/>
                          </a:cubicBezTo>
                          <a:cubicBezTo>
                            <a:pt x="31" y="3"/>
                            <a:pt x="34" y="2"/>
                            <a:pt x="36" y="3"/>
                          </a:cubicBezTo>
                          <a:cubicBezTo>
                            <a:pt x="37" y="4"/>
                            <a:pt x="35" y="6"/>
                            <a:pt x="35" y="8"/>
                          </a:cubicBezTo>
                          <a:cubicBezTo>
                            <a:pt x="36" y="9"/>
                            <a:pt x="40" y="8"/>
                            <a:pt x="40" y="9"/>
                          </a:cubicBezTo>
                          <a:cubicBezTo>
                            <a:pt x="40" y="12"/>
                            <a:pt x="37" y="13"/>
                            <a:pt x="36" y="15"/>
                          </a:cubicBezTo>
                          <a:cubicBezTo>
                            <a:pt x="34" y="17"/>
                            <a:pt x="32" y="17"/>
                            <a:pt x="31" y="19"/>
                          </a:cubicBezTo>
                          <a:cubicBezTo>
                            <a:pt x="30" y="23"/>
                            <a:pt x="33" y="26"/>
                            <a:pt x="32" y="30"/>
                          </a:cubicBezTo>
                          <a:cubicBezTo>
                            <a:pt x="32" y="31"/>
                            <a:pt x="30" y="32"/>
                            <a:pt x="30" y="33"/>
                          </a:cubicBezTo>
                          <a:cubicBezTo>
                            <a:pt x="29" y="34"/>
                            <a:pt x="31" y="35"/>
                            <a:pt x="31" y="36"/>
                          </a:cubicBezTo>
                          <a:cubicBezTo>
                            <a:pt x="31" y="38"/>
                            <a:pt x="31" y="40"/>
                            <a:pt x="30" y="41"/>
                          </a:cubicBezTo>
                          <a:cubicBezTo>
                            <a:pt x="28" y="42"/>
                            <a:pt x="25" y="41"/>
                            <a:pt x="25" y="43"/>
                          </a:cubicBezTo>
                          <a:cubicBezTo>
                            <a:pt x="24" y="45"/>
                            <a:pt x="26" y="47"/>
                            <a:pt x="27" y="49"/>
                          </a:cubicBezTo>
                          <a:cubicBezTo>
                            <a:pt x="28" y="50"/>
                            <a:pt x="30" y="50"/>
                            <a:pt x="30" y="51"/>
                          </a:cubicBezTo>
                          <a:cubicBezTo>
                            <a:pt x="31" y="52"/>
                            <a:pt x="31" y="53"/>
                            <a:pt x="30" y="54"/>
                          </a:cubicBezTo>
                          <a:cubicBezTo>
                            <a:pt x="29" y="56"/>
                            <a:pt x="27" y="57"/>
                            <a:pt x="26" y="58"/>
                          </a:cubicBezTo>
                          <a:cubicBezTo>
                            <a:pt x="26" y="59"/>
                            <a:pt x="26" y="61"/>
                            <a:pt x="26" y="62"/>
                          </a:cubicBezTo>
                          <a:cubicBezTo>
                            <a:pt x="27" y="64"/>
                            <a:pt x="30" y="65"/>
                            <a:pt x="30" y="67"/>
                          </a:cubicBezTo>
                          <a:cubicBezTo>
                            <a:pt x="30" y="69"/>
                            <a:pt x="27" y="69"/>
                            <a:pt x="26" y="71"/>
                          </a:cubicBezTo>
                          <a:cubicBezTo>
                            <a:pt x="25" y="72"/>
                            <a:pt x="23" y="74"/>
                            <a:pt x="23" y="75"/>
                          </a:cubicBezTo>
                          <a:cubicBezTo>
                            <a:pt x="23" y="78"/>
                            <a:pt x="24" y="79"/>
                            <a:pt x="25" y="81"/>
                          </a:cubicBezTo>
                          <a:close/>
                        </a:path>
                      </a:pathLst>
                    </a:custGeom>
                    <a:grpFill/>
                    <a:ln w="3175" cap="rnd">
                      <a:solidFill>
                        <a:schemeClr val="bg1">
                          <a:lumMod val="75000"/>
                        </a:schemeClr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it-IT">
                        <a:solidFill>
                          <a:srgbClr val="133B9C"/>
                        </a:solidFill>
                        <a:latin typeface="Arial" charset="0"/>
                        <a:cs typeface="Arial" charset="0"/>
                      </a:endParaRPr>
                    </a:p>
                  </p:txBody>
                </p:sp>
                <p:sp>
                  <p:nvSpPr>
                    <p:cNvPr id="2036" name="Freeform 2584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545929" y="2209356"/>
                      <a:ext cx="194618" cy="153673"/>
                    </a:xfrm>
                    <a:custGeom>
                      <a:avLst/>
                      <a:gdLst>
                        <a:gd name="T0" fmla="*/ 94 w 145"/>
                        <a:gd name="T1" fmla="*/ 29 h 154"/>
                        <a:gd name="T2" fmla="*/ 80 w 145"/>
                        <a:gd name="T3" fmla="*/ 38 h 154"/>
                        <a:gd name="T4" fmla="*/ 82 w 145"/>
                        <a:gd name="T5" fmla="*/ 58 h 154"/>
                        <a:gd name="T6" fmla="*/ 97 w 145"/>
                        <a:gd name="T7" fmla="*/ 71 h 154"/>
                        <a:gd name="T8" fmla="*/ 119 w 145"/>
                        <a:gd name="T9" fmla="*/ 102 h 154"/>
                        <a:gd name="T10" fmla="*/ 138 w 145"/>
                        <a:gd name="T11" fmla="*/ 105 h 154"/>
                        <a:gd name="T12" fmla="*/ 140 w 145"/>
                        <a:gd name="T13" fmla="*/ 118 h 154"/>
                        <a:gd name="T14" fmla="*/ 169 w 145"/>
                        <a:gd name="T15" fmla="*/ 133 h 154"/>
                        <a:gd name="T16" fmla="*/ 167 w 145"/>
                        <a:gd name="T17" fmla="*/ 143 h 154"/>
                        <a:gd name="T18" fmla="*/ 156 w 145"/>
                        <a:gd name="T19" fmla="*/ 136 h 154"/>
                        <a:gd name="T20" fmla="*/ 145 w 145"/>
                        <a:gd name="T21" fmla="*/ 147 h 154"/>
                        <a:gd name="T22" fmla="*/ 154 w 145"/>
                        <a:gd name="T23" fmla="*/ 159 h 154"/>
                        <a:gd name="T24" fmla="*/ 145 w 145"/>
                        <a:gd name="T25" fmla="*/ 167 h 154"/>
                        <a:gd name="T26" fmla="*/ 139 w 145"/>
                        <a:gd name="T27" fmla="*/ 184 h 154"/>
                        <a:gd name="T28" fmla="*/ 136 w 145"/>
                        <a:gd name="T29" fmla="*/ 173 h 154"/>
                        <a:gd name="T30" fmla="*/ 139 w 145"/>
                        <a:gd name="T31" fmla="*/ 163 h 154"/>
                        <a:gd name="T32" fmla="*/ 132 w 145"/>
                        <a:gd name="T33" fmla="*/ 143 h 154"/>
                        <a:gd name="T34" fmla="*/ 121 w 145"/>
                        <a:gd name="T35" fmla="*/ 138 h 154"/>
                        <a:gd name="T36" fmla="*/ 115 w 145"/>
                        <a:gd name="T37" fmla="*/ 132 h 154"/>
                        <a:gd name="T38" fmla="*/ 102 w 145"/>
                        <a:gd name="T39" fmla="*/ 119 h 154"/>
                        <a:gd name="T40" fmla="*/ 84 w 145"/>
                        <a:gd name="T41" fmla="*/ 111 h 154"/>
                        <a:gd name="T42" fmla="*/ 66 w 145"/>
                        <a:gd name="T43" fmla="*/ 95 h 154"/>
                        <a:gd name="T44" fmla="*/ 56 w 145"/>
                        <a:gd name="T45" fmla="*/ 82 h 154"/>
                        <a:gd name="T46" fmla="*/ 47 w 145"/>
                        <a:gd name="T47" fmla="*/ 62 h 154"/>
                        <a:gd name="T48" fmla="*/ 29 w 145"/>
                        <a:gd name="T49" fmla="*/ 55 h 154"/>
                        <a:gd name="T50" fmla="*/ 16 w 145"/>
                        <a:gd name="T51" fmla="*/ 66 h 154"/>
                        <a:gd name="T52" fmla="*/ 8 w 145"/>
                        <a:gd name="T53" fmla="*/ 66 h 154"/>
                        <a:gd name="T54" fmla="*/ 10 w 145"/>
                        <a:gd name="T55" fmla="*/ 61 h 154"/>
                        <a:gd name="T56" fmla="*/ 4 w 145"/>
                        <a:gd name="T57" fmla="*/ 46 h 154"/>
                        <a:gd name="T58" fmla="*/ 6 w 145"/>
                        <a:gd name="T59" fmla="*/ 37 h 154"/>
                        <a:gd name="T60" fmla="*/ 1 w 145"/>
                        <a:gd name="T61" fmla="*/ 25 h 154"/>
                        <a:gd name="T62" fmla="*/ 12 w 145"/>
                        <a:gd name="T63" fmla="*/ 23 h 154"/>
                        <a:gd name="T64" fmla="*/ 20 w 145"/>
                        <a:gd name="T65" fmla="*/ 16 h 154"/>
                        <a:gd name="T66" fmla="*/ 29 w 145"/>
                        <a:gd name="T67" fmla="*/ 20 h 154"/>
                        <a:gd name="T68" fmla="*/ 36 w 145"/>
                        <a:gd name="T69" fmla="*/ 16 h 154"/>
                        <a:gd name="T70" fmla="*/ 46 w 145"/>
                        <a:gd name="T71" fmla="*/ 16 h 154"/>
                        <a:gd name="T72" fmla="*/ 49 w 145"/>
                        <a:gd name="T73" fmla="*/ 10 h 154"/>
                        <a:gd name="T74" fmla="*/ 54 w 145"/>
                        <a:gd name="T75" fmla="*/ 5 h 154"/>
                        <a:gd name="T76" fmla="*/ 62 w 145"/>
                        <a:gd name="T77" fmla="*/ 4 h 154"/>
                        <a:gd name="T78" fmla="*/ 79 w 145"/>
                        <a:gd name="T79" fmla="*/ 0 h 154"/>
                        <a:gd name="T80" fmla="*/ 90 w 145"/>
                        <a:gd name="T81" fmla="*/ 10 h 154"/>
                        <a:gd name="T82" fmla="*/ 97 w 145"/>
                        <a:gd name="T83" fmla="*/ 14 h 154"/>
                        <a:gd name="T84" fmla="*/ 101 w 145"/>
                        <a:gd name="T85" fmla="*/ 29 h 154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w 145"/>
                        <a:gd name="T130" fmla="*/ 0 h 154"/>
                        <a:gd name="T131" fmla="*/ 145 w 145"/>
                        <a:gd name="T132" fmla="*/ 154 h 154"/>
                      </a:gdLst>
                      <a:ahLst/>
                      <a:cxnLst>
                        <a:cxn ang="T86">
                          <a:pos x="T0" y="T1"/>
                        </a:cxn>
                        <a:cxn ang="T87">
                          <a:pos x="T2" y="T3"/>
                        </a:cxn>
                        <a:cxn ang="T88">
                          <a:pos x="T4" y="T5"/>
                        </a:cxn>
                        <a:cxn ang="T89">
                          <a:pos x="T6" y="T7"/>
                        </a:cxn>
                        <a:cxn ang="T90">
                          <a:pos x="T8" y="T9"/>
                        </a:cxn>
                        <a:cxn ang="T91">
                          <a:pos x="T10" y="T11"/>
                        </a:cxn>
                        <a:cxn ang="T92">
                          <a:pos x="T12" y="T13"/>
                        </a:cxn>
                        <a:cxn ang="T93">
                          <a:pos x="T14" y="T15"/>
                        </a:cxn>
                        <a:cxn ang="T94">
                          <a:pos x="T16" y="T17"/>
                        </a:cxn>
                        <a:cxn ang="T95">
                          <a:pos x="T18" y="T19"/>
                        </a:cxn>
                        <a:cxn ang="T96">
                          <a:pos x="T20" y="T21"/>
                        </a:cxn>
                        <a:cxn ang="T97">
                          <a:pos x="T22" y="T23"/>
                        </a:cxn>
                        <a:cxn ang="T98">
                          <a:pos x="T24" y="T25"/>
                        </a:cxn>
                        <a:cxn ang="T99">
                          <a:pos x="T26" y="T27"/>
                        </a:cxn>
                        <a:cxn ang="T100">
                          <a:pos x="T28" y="T29"/>
                        </a:cxn>
                        <a:cxn ang="T101">
                          <a:pos x="T30" y="T31"/>
                        </a:cxn>
                        <a:cxn ang="T102">
                          <a:pos x="T32" y="T33"/>
                        </a:cxn>
                        <a:cxn ang="T103">
                          <a:pos x="T34" y="T35"/>
                        </a:cxn>
                        <a:cxn ang="T104">
                          <a:pos x="T36" y="T37"/>
                        </a:cxn>
                        <a:cxn ang="T105">
                          <a:pos x="T38" y="T39"/>
                        </a:cxn>
                        <a:cxn ang="T106">
                          <a:pos x="T40" y="T41"/>
                        </a:cxn>
                        <a:cxn ang="T107">
                          <a:pos x="T42" y="T43"/>
                        </a:cxn>
                        <a:cxn ang="T108">
                          <a:pos x="T44" y="T45"/>
                        </a:cxn>
                        <a:cxn ang="T109">
                          <a:pos x="T46" y="T47"/>
                        </a:cxn>
                        <a:cxn ang="T110">
                          <a:pos x="T48" y="T49"/>
                        </a:cxn>
                        <a:cxn ang="T111">
                          <a:pos x="T50" y="T51"/>
                        </a:cxn>
                        <a:cxn ang="T112">
                          <a:pos x="T52" y="T53"/>
                        </a:cxn>
                        <a:cxn ang="T113">
                          <a:pos x="T54" y="T55"/>
                        </a:cxn>
                        <a:cxn ang="T114">
                          <a:pos x="T56" y="T57"/>
                        </a:cxn>
                        <a:cxn ang="T115">
                          <a:pos x="T58" y="T59"/>
                        </a:cxn>
                        <a:cxn ang="T116">
                          <a:pos x="T60" y="T61"/>
                        </a:cxn>
                        <a:cxn ang="T117">
                          <a:pos x="T62" y="T63"/>
                        </a:cxn>
                        <a:cxn ang="T118">
                          <a:pos x="T64" y="T65"/>
                        </a:cxn>
                        <a:cxn ang="T119">
                          <a:pos x="T66" y="T67"/>
                        </a:cxn>
                        <a:cxn ang="T120">
                          <a:pos x="T68" y="T69"/>
                        </a:cxn>
                        <a:cxn ang="T121">
                          <a:pos x="T70" y="T71"/>
                        </a:cxn>
                        <a:cxn ang="T122">
                          <a:pos x="T72" y="T73"/>
                        </a:cxn>
                        <a:cxn ang="T123">
                          <a:pos x="T74" y="T75"/>
                        </a:cxn>
                        <a:cxn ang="T124">
                          <a:pos x="T76" y="T77"/>
                        </a:cxn>
                        <a:cxn ang="T125">
                          <a:pos x="T78" y="T79"/>
                        </a:cxn>
                        <a:cxn ang="T126">
                          <a:pos x="T80" y="T81"/>
                        </a:cxn>
                        <a:cxn ang="T127">
                          <a:pos x="T82" y="T83"/>
                        </a:cxn>
                        <a:cxn ang="T128">
                          <a:pos x="T84" y="T85"/>
                        </a:cxn>
                      </a:cxnLst>
                      <a:rect l="T129" t="T130" r="T131" b="T132"/>
                      <a:pathLst>
                        <a:path w="145" h="154">
                          <a:moveTo>
                            <a:pt x="84" y="24"/>
                          </a:moveTo>
                          <a:cubicBezTo>
                            <a:pt x="83" y="24"/>
                            <a:pt x="82" y="24"/>
                            <a:pt x="81" y="24"/>
                          </a:cubicBezTo>
                          <a:cubicBezTo>
                            <a:pt x="80" y="24"/>
                            <a:pt x="79" y="23"/>
                            <a:pt x="78" y="24"/>
                          </a:cubicBezTo>
                          <a:cubicBezTo>
                            <a:pt x="76" y="24"/>
                            <a:pt x="75" y="26"/>
                            <a:pt x="74" y="26"/>
                          </a:cubicBezTo>
                          <a:cubicBezTo>
                            <a:pt x="72" y="27"/>
                            <a:pt x="70" y="26"/>
                            <a:pt x="69" y="27"/>
                          </a:cubicBezTo>
                          <a:cubicBezTo>
                            <a:pt x="68" y="28"/>
                            <a:pt x="67" y="30"/>
                            <a:pt x="67" y="32"/>
                          </a:cubicBezTo>
                          <a:cubicBezTo>
                            <a:pt x="67" y="34"/>
                            <a:pt x="70" y="35"/>
                            <a:pt x="70" y="37"/>
                          </a:cubicBezTo>
                          <a:cubicBezTo>
                            <a:pt x="70" y="38"/>
                            <a:pt x="67" y="39"/>
                            <a:pt x="67" y="40"/>
                          </a:cubicBezTo>
                          <a:cubicBezTo>
                            <a:pt x="67" y="43"/>
                            <a:pt x="67" y="46"/>
                            <a:pt x="68" y="48"/>
                          </a:cubicBezTo>
                          <a:cubicBezTo>
                            <a:pt x="69" y="50"/>
                            <a:pt x="70" y="52"/>
                            <a:pt x="71" y="54"/>
                          </a:cubicBezTo>
                          <a:cubicBezTo>
                            <a:pt x="72" y="55"/>
                            <a:pt x="74" y="53"/>
                            <a:pt x="75" y="54"/>
                          </a:cubicBezTo>
                          <a:cubicBezTo>
                            <a:pt x="77" y="55"/>
                            <a:pt x="79" y="58"/>
                            <a:pt x="81" y="59"/>
                          </a:cubicBezTo>
                          <a:cubicBezTo>
                            <a:pt x="82" y="60"/>
                            <a:pt x="83" y="59"/>
                            <a:pt x="84" y="60"/>
                          </a:cubicBezTo>
                          <a:cubicBezTo>
                            <a:pt x="86" y="65"/>
                            <a:pt x="87" y="72"/>
                            <a:pt x="90" y="77"/>
                          </a:cubicBezTo>
                          <a:cubicBezTo>
                            <a:pt x="92" y="81"/>
                            <a:pt x="96" y="82"/>
                            <a:pt x="99" y="85"/>
                          </a:cubicBezTo>
                          <a:cubicBezTo>
                            <a:pt x="100" y="86"/>
                            <a:pt x="101" y="87"/>
                            <a:pt x="102" y="87"/>
                          </a:cubicBezTo>
                          <a:cubicBezTo>
                            <a:pt x="105" y="88"/>
                            <a:pt x="108" y="87"/>
                            <a:pt x="112" y="87"/>
                          </a:cubicBezTo>
                          <a:cubicBezTo>
                            <a:pt x="113" y="87"/>
                            <a:pt x="114" y="87"/>
                            <a:pt x="115" y="87"/>
                          </a:cubicBezTo>
                          <a:cubicBezTo>
                            <a:pt x="116" y="88"/>
                            <a:pt x="115" y="90"/>
                            <a:pt x="114" y="91"/>
                          </a:cubicBezTo>
                          <a:cubicBezTo>
                            <a:pt x="114" y="92"/>
                            <a:pt x="112" y="93"/>
                            <a:pt x="112" y="94"/>
                          </a:cubicBezTo>
                          <a:cubicBezTo>
                            <a:pt x="113" y="96"/>
                            <a:pt x="115" y="97"/>
                            <a:pt x="117" y="98"/>
                          </a:cubicBezTo>
                          <a:cubicBezTo>
                            <a:pt x="120" y="100"/>
                            <a:pt x="124" y="100"/>
                            <a:pt x="126" y="101"/>
                          </a:cubicBezTo>
                          <a:cubicBezTo>
                            <a:pt x="130" y="103"/>
                            <a:pt x="132" y="106"/>
                            <a:pt x="135" y="108"/>
                          </a:cubicBezTo>
                          <a:cubicBezTo>
                            <a:pt x="137" y="109"/>
                            <a:pt x="139" y="109"/>
                            <a:pt x="141" y="111"/>
                          </a:cubicBezTo>
                          <a:cubicBezTo>
                            <a:pt x="142" y="112"/>
                            <a:pt x="143" y="113"/>
                            <a:pt x="143" y="115"/>
                          </a:cubicBezTo>
                          <a:cubicBezTo>
                            <a:pt x="143" y="118"/>
                            <a:pt x="145" y="121"/>
                            <a:pt x="143" y="123"/>
                          </a:cubicBezTo>
                          <a:cubicBezTo>
                            <a:pt x="142" y="124"/>
                            <a:pt x="140" y="121"/>
                            <a:pt x="139" y="119"/>
                          </a:cubicBezTo>
                          <a:cubicBezTo>
                            <a:pt x="138" y="118"/>
                            <a:pt x="139" y="116"/>
                            <a:pt x="138" y="115"/>
                          </a:cubicBezTo>
                          <a:cubicBezTo>
                            <a:pt x="138" y="114"/>
                            <a:pt x="137" y="115"/>
                            <a:pt x="136" y="115"/>
                          </a:cubicBezTo>
                          <a:cubicBezTo>
                            <a:pt x="134" y="114"/>
                            <a:pt x="132" y="114"/>
                            <a:pt x="130" y="113"/>
                          </a:cubicBezTo>
                          <a:cubicBezTo>
                            <a:pt x="129" y="113"/>
                            <a:pt x="128" y="111"/>
                            <a:pt x="127" y="111"/>
                          </a:cubicBezTo>
                          <a:cubicBezTo>
                            <a:pt x="125" y="112"/>
                            <a:pt x="123" y="114"/>
                            <a:pt x="122" y="115"/>
                          </a:cubicBezTo>
                          <a:cubicBezTo>
                            <a:pt x="121" y="117"/>
                            <a:pt x="121" y="120"/>
                            <a:pt x="121" y="122"/>
                          </a:cubicBezTo>
                          <a:cubicBezTo>
                            <a:pt x="121" y="123"/>
                            <a:pt x="121" y="124"/>
                            <a:pt x="121" y="125"/>
                          </a:cubicBezTo>
                          <a:cubicBezTo>
                            <a:pt x="123" y="127"/>
                            <a:pt x="126" y="127"/>
                            <a:pt x="128" y="129"/>
                          </a:cubicBezTo>
                          <a:cubicBezTo>
                            <a:pt x="129" y="129"/>
                            <a:pt x="128" y="131"/>
                            <a:pt x="128" y="132"/>
                          </a:cubicBezTo>
                          <a:cubicBezTo>
                            <a:pt x="128" y="133"/>
                            <a:pt x="130" y="135"/>
                            <a:pt x="129" y="137"/>
                          </a:cubicBezTo>
                          <a:cubicBezTo>
                            <a:pt x="128" y="138"/>
                            <a:pt x="127" y="136"/>
                            <a:pt x="125" y="137"/>
                          </a:cubicBezTo>
                          <a:cubicBezTo>
                            <a:pt x="124" y="137"/>
                            <a:pt x="122" y="138"/>
                            <a:pt x="121" y="139"/>
                          </a:cubicBezTo>
                          <a:cubicBezTo>
                            <a:pt x="121" y="141"/>
                            <a:pt x="122" y="144"/>
                            <a:pt x="121" y="146"/>
                          </a:cubicBezTo>
                          <a:cubicBezTo>
                            <a:pt x="121" y="147"/>
                            <a:pt x="118" y="147"/>
                            <a:pt x="118" y="148"/>
                          </a:cubicBezTo>
                          <a:cubicBezTo>
                            <a:pt x="117" y="150"/>
                            <a:pt x="118" y="152"/>
                            <a:pt x="116" y="153"/>
                          </a:cubicBezTo>
                          <a:cubicBezTo>
                            <a:pt x="115" y="154"/>
                            <a:pt x="113" y="153"/>
                            <a:pt x="112" y="152"/>
                          </a:cubicBezTo>
                          <a:cubicBezTo>
                            <a:pt x="111" y="152"/>
                            <a:pt x="111" y="151"/>
                            <a:pt x="111" y="150"/>
                          </a:cubicBezTo>
                          <a:cubicBezTo>
                            <a:pt x="112" y="148"/>
                            <a:pt x="113" y="146"/>
                            <a:pt x="113" y="144"/>
                          </a:cubicBezTo>
                          <a:cubicBezTo>
                            <a:pt x="113" y="143"/>
                            <a:pt x="112" y="142"/>
                            <a:pt x="113" y="142"/>
                          </a:cubicBezTo>
                          <a:cubicBezTo>
                            <a:pt x="114" y="140"/>
                            <a:pt x="117" y="141"/>
                            <a:pt x="118" y="140"/>
                          </a:cubicBezTo>
                          <a:cubicBezTo>
                            <a:pt x="118" y="138"/>
                            <a:pt x="116" y="137"/>
                            <a:pt x="116" y="136"/>
                          </a:cubicBezTo>
                          <a:cubicBezTo>
                            <a:pt x="115" y="135"/>
                            <a:pt x="116" y="134"/>
                            <a:pt x="115" y="133"/>
                          </a:cubicBezTo>
                          <a:cubicBezTo>
                            <a:pt x="115" y="131"/>
                            <a:pt x="114" y="129"/>
                            <a:pt x="113" y="127"/>
                          </a:cubicBezTo>
                          <a:cubicBezTo>
                            <a:pt x="112" y="125"/>
                            <a:pt x="111" y="121"/>
                            <a:pt x="110" y="119"/>
                          </a:cubicBezTo>
                          <a:cubicBezTo>
                            <a:pt x="109" y="118"/>
                            <a:pt x="108" y="119"/>
                            <a:pt x="108" y="119"/>
                          </a:cubicBezTo>
                          <a:cubicBezTo>
                            <a:pt x="107" y="119"/>
                            <a:pt x="105" y="119"/>
                            <a:pt x="105" y="118"/>
                          </a:cubicBezTo>
                          <a:cubicBezTo>
                            <a:pt x="103" y="117"/>
                            <a:pt x="102" y="116"/>
                            <a:pt x="101" y="115"/>
                          </a:cubicBezTo>
                          <a:cubicBezTo>
                            <a:pt x="101" y="114"/>
                            <a:pt x="103" y="114"/>
                            <a:pt x="102" y="114"/>
                          </a:cubicBezTo>
                          <a:cubicBezTo>
                            <a:pt x="102" y="112"/>
                            <a:pt x="101" y="111"/>
                            <a:pt x="100" y="110"/>
                          </a:cubicBezTo>
                          <a:cubicBezTo>
                            <a:pt x="99" y="109"/>
                            <a:pt x="97" y="110"/>
                            <a:pt x="96" y="110"/>
                          </a:cubicBezTo>
                          <a:cubicBezTo>
                            <a:pt x="94" y="109"/>
                            <a:pt x="93" y="109"/>
                            <a:pt x="91" y="108"/>
                          </a:cubicBezTo>
                          <a:cubicBezTo>
                            <a:pt x="90" y="107"/>
                            <a:pt x="89" y="105"/>
                            <a:pt x="88" y="103"/>
                          </a:cubicBezTo>
                          <a:cubicBezTo>
                            <a:pt x="87" y="101"/>
                            <a:pt x="87" y="100"/>
                            <a:pt x="85" y="99"/>
                          </a:cubicBezTo>
                          <a:cubicBezTo>
                            <a:pt x="84" y="98"/>
                            <a:pt x="82" y="99"/>
                            <a:pt x="80" y="99"/>
                          </a:cubicBezTo>
                          <a:cubicBezTo>
                            <a:pt x="78" y="99"/>
                            <a:pt x="76" y="98"/>
                            <a:pt x="75" y="96"/>
                          </a:cubicBezTo>
                          <a:cubicBezTo>
                            <a:pt x="73" y="95"/>
                            <a:pt x="72" y="93"/>
                            <a:pt x="70" y="92"/>
                          </a:cubicBezTo>
                          <a:cubicBezTo>
                            <a:pt x="69" y="91"/>
                            <a:pt x="67" y="90"/>
                            <a:pt x="66" y="88"/>
                          </a:cubicBezTo>
                          <a:cubicBezTo>
                            <a:pt x="65" y="87"/>
                            <a:pt x="63" y="85"/>
                            <a:pt x="61" y="83"/>
                          </a:cubicBezTo>
                          <a:cubicBezTo>
                            <a:pt x="59" y="82"/>
                            <a:pt x="57" y="81"/>
                            <a:pt x="55" y="79"/>
                          </a:cubicBezTo>
                          <a:cubicBezTo>
                            <a:pt x="53" y="78"/>
                            <a:pt x="53" y="76"/>
                            <a:pt x="52" y="74"/>
                          </a:cubicBezTo>
                          <a:cubicBezTo>
                            <a:pt x="50" y="73"/>
                            <a:pt x="48" y="72"/>
                            <a:pt x="47" y="71"/>
                          </a:cubicBezTo>
                          <a:cubicBezTo>
                            <a:pt x="46" y="70"/>
                            <a:pt x="47" y="69"/>
                            <a:pt x="47" y="68"/>
                          </a:cubicBezTo>
                          <a:cubicBezTo>
                            <a:pt x="46" y="66"/>
                            <a:pt x="45" y="64"/>
                            <a:pt x="44" y="62"/>
                          </a:cubicBezTo>
                          <a:cubicBezTo>
                            <a:pt x="43" y="59"/>
                            <a:pt x="43" y="56"/>
                            <a:pt x="42" y="54"/>
                          </a:cubicBezTo>
                          <a:cubicBezTo>
                            <a:pt x="42" y="53"/>
                            <a:pt x="40" y="52"/>
                            <a:pt x="39" y="52"/>
                          </a:cubicBezTo>
                          <a:cubicBezTo>
                            <a:pt x="37" y="51"/>
                            <a:pt x="36" y="51"/>
                            <a:pt x="34" y="50"/>
                          </a:cubicBezTo>
                          <a:cubicBezTo>
                            <a:pt x="32" y="49"/>
                            <a:pt x="31" y="47"/>
                            <a:pt x="29" y="47"/>
                          </a:cubicBezTo>
                          <a:cubicBezTo>
                            <a:pt x="27" y="46"/>
                            <a:pt x="26" y="46"/>
                            <a:pt x="24" y="46"/>
                          </a:cubicBezTo>
                          <a:cubicBezTo>
                            <a:pt x="22" y="47"/>
                            <a:pt x="21" y="48"/>
                            <a:pt x="19" y="49"/>
                          </a:cubicBezTo>
                          <a:cubicBezTo>
                            <a:pt x="18" y="50"/>
                            <a:pt x="18" y="52"/>
                            <a:pt x="17" y="53"/>
                          </a:cubicBezTo>
                          <a:cubicBezTo>
                            <a:pt x="16" y="54"/>
                            <a:pt x="15" y="55"/>
                            <a:pt x="13" y="55"/>
                          </a:cubicBezTo>
                          <a:cubicBezTo>
                            <a:pt x="12" y="56"/>
                            <a:pt x="11" y="56"/>
                            <a:pt x="9" y="56"/>
                          </a:cubicBezTo>
                          <a:cubicBezTo>
                            <a:pt x="9" y="57"/>
                            <a:pt x="8" y="58"/>
                            <a:pt x="8" y="58"/>
                          </a:cubicBezTo>
                          <a:cubicBezTo>
                            <a:pt x="8" y="57"/>
                            <a:pt x="7" y="56"/>
                            <a:pt x="7" y="55"/>
                          </a:cubicBezTo>
                          <a:cubicBezTo>
                            <a:pt x="8" y="54"/>
                            <a:pt x="10" y="55"/>
                            <a:pt x="11" y="54"/>
                          </a:cubicBezTo>
                          <a:cubicBezTo>
                            <a:pt x="12" y="53"/>
                            <a:pt x="12" y="52"/>
                            <a:pt x="12" y="51"/>
                          </a:cubicBezTo>
                          <a:cubicBezTo>
                            <a:pt x="11" y="50"/>
                            <a:pt x="9" y="51"/>
                            <a:pt x="8" y="51"/>
                          </a:cubicBezTo>
                          <a:cubicBezTo>
                            <a:pt x="6" y="50"/>
                            <a:pt x="4" y="49"/>
                            <a:pt x="3" y="47"/>
                          </a:cubicBezTo>
                          <a:cubicBezTo>
                            <a:pt x="2" y="46"/>
                            <a:pt x="3" y="44"/>
                            <a:pt x="3" y="42"/>
                          </a:cubicBezTo>
                          <a:cubicBezTo>
                            <a:pt x="3" y="41"/>
                            <a:pt x="4" y="40"/>
                            <a:pt x="3" y="38"/>
                          </a:cubicBezTo>
                          <a:cubicBezTo>
                            <a:pt x="3" y="37"/>
                            <a:pt x="0" y="37"/>
                            <a:pt x="0" y="36"/>
                          </a:cubicBezTo>
                          <a:cubicBezTo>
                            <a:pt x="0" y="35"/>
                            <a:pt x="1" y="34"/>
                            <a:pt x="1" y="33"/>
                          </a:cubicBezTo>
                          <a:cubicBezTo>
                            <a:pt x="2" y="32"/>
                            <a:pt x="4" y="32"/>
                            <a:pt x="5" y="31"/>
                          </a:cubicBezTo>
                          <a:cubicBezTo>
                            <a:pt x="5" y="30"/>
                            <a:pt x="4" y="28"/>
                            <a:pt x="4" y="27"/>
                          </a:cubicBezTo>
                          <a:cubicBezTo>
                            <a:pt x="3" y="26"/>
                            <a:pt x="1" y="25"/>
                            <a:pt x="0" y="23"/>
                          </a:cubicBezTo>
                          <a:cubicBezTo>
                            <a:pt x="0" y="23"/>
                            <a:pt x="0" y="22"/>
                            <a:pt x="1" y="21"/>
                          </a:cubicBezTo>
                          <a:cubicBezTo>
                            <a:pt x="1" y="21"/>
                            <a:pt x="3" y="21"/>
                            <a:pt x="4" y="20"/>
                          </a:cubicBezTo>
                          <a:cubicBezTo>
                            <a:pt x="5" y="20"/>
                            <a:pt x="6" y="21"/>
                            <a:pt x="7" y="20"/>
                          </a:cubicBezTo>
                          <a:cubicBezTo>
                            <a:pt x="8" y="20"/>
                            <a:pt x="9" y="19"/>
                            <a:pt x="10" y="19"/>
                          </a:cubicBezTo>
                          <a:cubicBezTo>
                            <a:pt x="11" y="19"/>
                            <a:pt x="12" y="20"/>
                            <a:pt x="13" y="20"/>
                          </a:cubicBezTo>
                          <a:cubicBezTo>
                            <a:pt x="15" y="19"/>
                            <a:pt x="16" y="18"/>
                            <a:pt x="17" y="16"/>
                          </a:cubicBezTo>
                          <a:cubicBezTo>
                            <a:pt x="17" y="15"/>
                            <a:pt x="17" y="14"/>
                            <a:pt x="17" y="13"/>
                          </a:cubicBezTo>
                          <a:cubicBezTo>
                            <a:pt x="18" y="12"/>
                            <a:pt x="19" y="10"/>
                            <a:pt x="20" y="10"/>
                          </a:cubicBezTo>
                          <a:cubicBezTo>
                            <a:pt x="22" y="11"/>
                            <a:pt x="20" y="14"/>
                            <a:pt x="21" y="15"/>
                          </a:cubicBezTo>
                          <a:cubicBezTo>
                            <a:pt x="22" y="16"/>
                            <a:pt x="23" y="16"/>
                            <a:pt x="24" y="17"/>
                          </a:cubicBezTo>
                          <a:cubicBezTo>
                            <a:pt x="25" y="17"/>
                            <a:pt x="25" y="19"/>
                            <a:pt x="26" y="19"/>
                          </a:cubicBezTo>
                          <a:cubicBezTo>
                            <a:pt x="27" y="19"/>
                            <a:pt x="28" y="19"/>
                            <a:pt x="29" y="18"/>
                          </a:cubicBezTo>
                          <a:cubicBezTo>
                            <a:pt x="30" y="17"/>
                            <a:pt x="30" y="15"/>
                            <a:pt x="30" y="13"/>
                          </a:cubicBezTo>
                          <a:cubicBezTo>
                            <a:pt x="30" y="12"/>
                            <a:pt x="30" y="11"/>
                            <a:pt x="31" y="11"/>
                          </a:cubicBezTo>
                          <a:cubicBezTo>
                            <a:pt x="33" y="11"/>
                            <a:pt x="33" y="13"/>
                            <a:pt x="34" y="13"/>
                          </a:cubicBezTo>
                          <a:cubicBezTo>
                            <a:pt x="35" y="14"/>
                            <a:pt x="37" y="13"/>
                            <a:pt x="38" y="13"/>
                          </a:cubicBezTo>
                          <a:cubicBezTo>
                            <a:pt x="39" y="13"/>
                            <a:pt x="40" y="14"/>
                            <a:pt x="40" y="14"/>
                          </a:cubicBezTo>
                          <a:cubicBezTo>
                            <a:pt x="41" y="12"/>
                            <a:pt x="40" y="11"/>
                            <a:pt x="40" y="9"/>
                          </a:cubicBezTo>
                          <a:cubicBezTo>
                            <a:pt x="40" y="9"/>
                            <a:pt x="40" y="8"/>
                            <a:pt x="41" y="8"/>
                          </a:cubicBezTo>
                          <a:cubicBezTo>
                            <a:pt x="42" y="8"/>
                            <a:pt x="43" y="10"/>
                            <a:pt x="44" y="10"/>
                          </a:cubicBezTo>
                          <a:cubicBezTo>
                            <a:pt x="45" y="9"/>
                            <a:pt x="44" y="7"/>
                            <a:pt x="44" y="6"/>
                          </a:cubicBezTo>
                          <a:cubicBezTo>
                            <a:pt x="44" y="5"/>
                            <a:pt x="44" y="4"/>
                            <a:pt x="45" y="4"/>
                          </a:cubicBezTo>
                          <a:cubicBezTo>
                            <a:pt x="46" y="4"/>
                            <a:pt x="47" y="5"/>
                            <a:pt x="48" y="5"/>
                          </a:cubicBezTo>
                          <a:cubicBezTo>
                            <a:pt x="50" y="5"/>
                            <a:pt x="51" y="6"/>
                            <a:pt x="52" y="6"/>
                          </a:cubicBezTo>
                          <a:cubicBezTo>
                            <a:pt x="53" y="5"/>
                            <a:pt x="52" y="3"/>
                            <a:pt x="52" y="3"/>
                          </a:cubicBezTo>
                          <a:cubicBezTo>
                            <a:pt x="54" y="2"/>
                            <a:pt x="55" y="2"/>
                            <a:pt x="57" y="2"/>
                          </a:cubicBezTo>
                          <a:cubicBezTo>
                            <a:pt x="59" y="1"/>
                            <a:pt x="60" y="2"/>
                            <a:pt x="62" y="1"/>
                          </a:cubicBezTo>
                          <a:cubicBezTo>
                            <a:pt x="63" y="1"/>
                            <a:pt x="64" y="0"/>
                            <a:pt x="66" y="0"/>
                          </a:cubicBezTo>
                          <a:cubicBezTo>
                            <a:pt x="66" y="1"/>
                            <a:pt x="65" y="2"/>
                            <a:pt x="66" y="3"/>
                          </a:cubicBezTo>
                          <a:cubicBezTo>
                            <a:pt x="66" y="5"/>
                            <a:pt x="67" y="6"/>
                            <a:pt x="69" y="7"/>
                          </a:cubicBezTo>
                          <a:cubicBezTo>
                            <a:pt x="70" y="7"/>
                            <a:pt x="73" y="7"/>
                            <a:pt x="75" y="8"/>
                          </a:cubicBezTo>
                          <a:cubicBezTo>
                            <a:pt x="77" y="8"/>
                            <a:pt x="80" y="9"/>
                            <a:pt x="83" y="9"/>
                          </a:cubicBezTo>
                          <a:cubicBezTo>
                            <a:pt x="83" y="9"/>
                            <a:pt x="83" y="10"/>
                            <a:pt x="84" y="10"/>
                          </a:cubicBezTo>
                          <a:cubicBezTo>
                            <a:pt x="83" y="11"/>
                            <a:pt x="81" y="11"/>
                            <a:pt x="81" y="12"/>
                          </a:cubicBezTo>
                          <a:cubicBezTo>
                            <a:pt x="80" y="13"/>
                            <a:pt x="82" y="14"/>
                            <a:pt x="82" y="16"/>
                          </a:cubicBezTo>
                          <a:cubicBezTo>
                            <a:pt x="83" y="17"/>
                            <a:pt x="81" y="18"/>
                            <a:pt x="82" y="20"/>
                          </a:cubicBezTo>
                          <a:cubicBezTo>
                            <a:pt x="82" y="21"/>
                            <a:pt x="83" y="22"/>
                            <a:pt x="84" y="24"/>
                          </a:cubicBezTo>
                          <a:close/>
                        </a:path>
                      </a:pathLst>
                    </a:custGeom>
                    <a:grpFill/>
                    <a:ln w="3175" cap="rnd">
                      <a:solidFill>
                        <a:schemeClr val="bg1">
                          <a:lumMod val="75000"/>
                        </a:schemeClr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it-IT">
                        <a:solidFill>
                          <a:srgbClr val="133B9C"/>
                        </a:solidFill>
                        <a:latin typeface="Arial" charset="0"/>
                        <a:cs typeface="Arial" charset="0"/>
                      </a:endParaRPr>
                    </a:p>
                  </p:txBody>
                </p:sp>
                <p:sp>
                  <p:nvSpPr>
                    <p:cNvPr id="2037" name="Freeform 2596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767390" y="2300729"/>
                      <a:ext cx="102901" cy="86389"/>
                    </a:xfrm>
                    <a:custGeom>
                      <a:avLst/>
                      <a:gdLst>
                        <a:gd name="T0" fmla="*/ 87 w 76"/>
                        <a:gd name="T1" fmla="*/ 15 h 86"/>
                        <a:gd name="T2" fmla="*/ 92 w 76"/>
                        <a:gd name="T3" fmla="*/ 6 h 86"/>
                        <a:gd name="T4" fmla="*/ 87 w 76"/>
                        <a:gd name="T5" fmla="*/ 0 h 86"/>
                        <a:gd name="T6" fmla="*/ 76 w 76"/>
                        <a:gd name="T7" fmla="*/ 7 h 86"/>
                        <a:gd name="T8" fmla="*/ 64 w 76"/>
                        <a:gd name="T9" fmla="*/ 5 h 86"/>
                        <a:gd name="T10" fmla="*/ 56 w 76"/>
                        <a:gd name="T11" fmla="*/ 2 h 86"/>
                        <a:gd name="T12" fmla="*/ 44 w 76"/>
                        <a:gd name="T13" fmla="*/ 5 h 86"/>
                        <a:gd name="T14" fmla="*/ 35 w 76"/>
                        <a:gd name="T15" fmla="*/ 6 h 86"/>
                        <a:gd name="T16" fmla="*/ 21 w 76"/>
                        <a:gd name="T17" fmla="*/ 16 h 86"/>
                        <a:gd name="T18" fmla="*/ 13 w 76"/>
                        <a:gd name="T19" fmla="*/ 22 h 86"/>
                        <a:gd name="T20" fmla="*/ 8 w 76"/>
                        <a:gd name="T21" fmla="*/ 31 h 86"/>
                        <a:gd name="T22" fmla="*/ 4 w 76"/>
                        <a:gd name="T23" fmla="*/ 37 h 86"/>
                        <a:gd name="T24" fmla="*/ 4 w 76"/>
                        <a:gd name="T25" fmla="*/ 47 h 86"/>
                        <a:gd name="T26" fmla="*/ 15 w 76"/>
                        <a:gd name="T27" fmla="*/ 53 h 86"/>
                        <a:gd name="T28" fmla="*/ 12 w 76"/>
                        <a:gd name="T29" fmla="*/ 59 h 86"/>
                        <a:gd name="T30" fmla="*/ 16 w 76"/>
                        <a:gd name="T31" fmla="*/ 67 h 86"/>
                        <a:gd name="T32" fmla="*/ 22 w 76"/>
                        <a:gd name="T33" fmla="*/ 67 h 86"/>
                        <a:gd name="T34" fmla="*/ 34 w 76"/>
                        <a:gd name="T35" fmla="*/ 65 h 86"/>
                        <a:gd name="T36" fmla="*/ 47 w 76"/>
                        <a:gd name="T37" fmla="*/ 70 h 86"/>
                        <a:gd name="T38" fmla="*/ 40 w 76"/>
                        <a:gd name="T39" fmla="*/ 73 h 86"/>
                        <a:gd name="T40" fmla="*/ 24 w 76"/>
                        <a:gd name="T41" fmla="*/ 70 h 86"/>
                        <a:gd name="T42" fmla="*/ 16 w 76"/>
                        <a:gd name="T43" fmla="*/ 75 h 86"/>
                        <a:gd name="T44" fmla="*/ 24 w 76"/>
                        <a:gd name="T45" fmla="*/ 87 h 86"/>
                        <a:gd name="T46" fmla="*/ 28 w 76"/>
                        <a:gd name="T47" fmla="*/ 98 h 86"/>
                        <a:gd name="T48" fmla="*/ 35 w 76"/>
                        <a:gd name="T49" fmla="*/ 98 h 86"/>
                        <a:gd name="T50" fmla="*/ 38 w 76"/>
                        <a:gd name="T51" fmla="*/ 104 h 86"/>
                        <a:gd name="T52" fmla="*/ 41 w 76"/>
                        <a:gd name="T53" fmla="*/ 97 h 86"/>
                        <a:gd name="T54" fmla="*/ 47 w 76"/>
                        <a:gd name="T55" fmla="*/ 103 h 86"/>
                        <a:gd name="T56" fmla="*/ 45 w 76"/>
                        <a:gd name="T57" fmla="*/ 94 h 86"/>
                        <a:gd name="T58" fmla="*/ 45 w 76"/>
                        <a:gd name="T59" fmla="*/ 83 h 86"/>
                        <a:gd name="T60" fmla="*/ 51 w 76"/>
                        <a:gd name="T61" fmla="*/ 83 h 86"/>
                        <a:gd name="T62" fmla="*/ 46 w 76"/>
                        <a:gd name="T63" fmla="*/ 75 h 86"/>
                        <a:gd name="T64" fmla="*/ 56 w 76"/>
                        <a:gd name="T65" fmla="*/ 75 h 86"/>
                        <a:gd name="T66" fmla="*/ 59 w 76"/>
                        <a:gd name="T67" fmla="*/ 76 h 86"/>
                        <a:gd name="T68" fmla="*/ 51 w 76"/>
                        <a:gd name="T69" fmla="*/ 65 h 86"/>
                        <a:gd name="T70" fmla="*/ 36 w 76"/>
                        <a:gd name="T71" fmla="*/ 56 h 86"/>
                        <a:gd name="T72" fmla="*/ 40 w 76"/>
                        <a:gd name="T73" fmla="*/ 47 h 86"/>
                        <a:gd name="T74" fmla="*/ 46 w 76"/>
                        <a:gd name="T75" fmla="*/ 50 h 86"/>
                        <a:gd name="T76" fmla="*/ 41 w 76"/>
                        <a:gd name="T77" fmla="*/ 40 h 86"/>
                        <a:gd name="T78" fmla="*/ 35 w 76"/>
                        <a:gd name="T79" fmla="*/ 25 h 86"/>
                        <a:gd name="T80" fmla="*/ 45 w 76"/>
                        <a:gd name="T81" fmla="*/ 28 h 86"/>
                        <a:gd name="T82" fmla="*/ 52 w 76"/>
                        <a:gd name="T83" fmla="*/ 34 h 86"/>
                        <a:gd name="T84" fmla="*/ 51 w 76"/>
                        <a:gd name="T85" fmla="*/ 29 h 86"/>
                        <a:gd name="T86" fmla="*/ 57 w 76"/>
                        <a:gd name="T87" fmla="*/ 33 h 86"/>
                        <a:gd name="T88" fmla="*/ 56 w 76"/>
                        <a:gd name="T89" fmla="*/ 27 h 86"/>
                        <a:gd name="T90" fmla="*/ 62 w 76"/>
                        <a:gd name="T91" fmla="*/ 28 h 86"/>
                        <a:gd name="T92" fmla="*/ 52 w 76"/>
                        <a:gd name="T93" fmla="*/ 18 h 86"/>
                        <a:gd name="T94" fmla="*/ 57 w 76"/>
                        <a:gd name="T95" fmla="*/ 19 h 86"/>
                        <a:gd name="T96" fmla="*/ 68 w 76"/>
                        <a:gd name="T97" fmla="*/ 17 h 86"/>
                        <a:gd name="T98" fmla="*/ 80 w 76"/>
                        <a:gd name="T99" fmla="*/ 16 h 8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w 76"/>
                        <a:gd name="T151" fmla="*/ 0 h 86"/>
                        <a:gd name="T152" fmla="*/ 76 w 76"/>
                        <a:gd name="T153" fmla="*/ 86 h 86"/>
                      </a:gdLst>
                      <a:ahLst/>
                      <a:cxnLst>
                        <a:cxn ang="T100">
                          <a:pos x="T0" y="T1"/>
                        </a:cxn>
                        <a:cxn ang="T101">
                          <a:pos x="T2" y="T3"/>
                        </a:cxn>
                        <a:cxn ang="T102">
                          <a:pos x="T4" y="T5"/>
                        </a:cxn>
                        <a:cxn ang="T103">
                          <a:pos x="T6" y="T7"/>
                        </a:cxn>
                        <a:cxn ang="T104">
                          <a:pos x="T8" y="T9"/>
                        </a:cxn>
                        <a:cxn ang="T105">
                          <a:pos x="T10" y="T11"/>
                        </a:cxn>
                        <a:cxn ang="T106">
                          <a:pos x="T12" y="T13"/>
                        </a:cxn>
                        <a:cxn ang="T107">
                          <a:pos x="T14" y="T15"/>
                        </a:cxn>
                        <a:cxn ang="T108">
                          <a:pos x="T16" y="T17"/>
                        </a:cxn>
                        <a:cxn ang="T109">
                          <a:pos x="T18" y="T19"/>
                        </a:cxn>
                        <a:cxn ang="T110">
                          <a:pos x="T20" y="T21"/>
                        </a:cxn>
                        <a:cxn ang="T111">
                          <a:pos x="T22" y="T23"/>
                        </a:cxn>
                        <a:cxn ang="T112">
                          <a:pos x="T24" y="T25"/>
                        </a:cxn>
                        <a:cxn ang="T113">
                          <a:pos x="T26" y="T27"/>
                        </a:cxn>
                        <a:cxn ang="T114">
                          <a:pos x="T28" y="T29"/>
                        </a:cxn>
                        <a:cxn ang="T115">
                          <a:pos x="T30" y="T31"/>
                        </a:cxn>
                        <a:cxn ang="T116">
                          <a:pos x="T32" y="T33"/>
                        </a:cxn>
                        <a:cxn ang="T117">
                          <a:pos x="T34" y="T35"/>
                        </a:cxn>
                        <a:cxn ang="T118">
                          <a:pos x="T36" y="T37"/>
                        </a:cxn>
                        <a:cxn ang="T119">
                          <a:pos x="T38" y="T39"/>
                        </a:cxn>
                        <a:cxn ang="T120">
                          <a:pos x="T40" y="T41"/>
                        </a:cxn>
                        <a:cxn ang="T121">
                          <a:pos x="T42" y="T43"/>
                        </a:cxn>
                        <a:cxn ang="T122">
                          <a:pos x="T44" y="T45"/>
                        </a:cxn>
                        <a:cxn ang="T123">
                          <a:pos x="T46" y="T47"/>
                        </a:cxn>
                        <a:cxn ang="T124">
                          <a:pos x="T48" y="T49"/>
                        </a:cxn>
                        <a:cxn ang="T125">
                          <a:pos x="T50" y="T51"/>
                        </a:cxn>
                        <a:cxn ang="T126">
                          <a:pos x="T52" y="T53"/>
                        </a:cxn>
                        <a:cxn ang="T127">
                          <a:pos x="T54" y="T55"/>
                        </a:cxn>
                        <a:cxn ang="T128">
                          <a:pos x="T56" y="T57"/>
                        </a:cxn>
                        <a:cxn ang="T129">
                          <a:pos x="T58" y="T59"/>
                        </a:cxn>
                        <a:cxn ang="T130">
                          <a:pos x="T60" y="T61"/>
                        </a:cxn>
                        <a:cxn ang="T131">
                          <a:pos x="T62" y="T63"/>
                        </a:cxn>
                        <a:cxn ang="T132">
                          <a:pos x="T64" y="T65"/>
                        </a:cxn>
                        <a:cxn ang="T133">
                          <a:pos x="T66" y="T67"/>
                        </a:cxn>
                        <a:cxn ang="T134">
                          <a:pos x="T68" y="T69"/>
                        </a:cxn>
                        <a:cxn ang="T135">
                          <a:pos x="T70" y="T71"/>
                        </a:cxn>
                        <a:cxn ang="T136">
                          <a:pos x="T72" y="T73"/>
                        </a:cxn>
                        <a:cxn ang="T137">
                          <a:pos x="T74" y="T75"/>
                        </a:cxn>
                        <a:cxn ang="T138">
                          <a:pos x="T76" y="T77"/>
                        </a:cxn>
                        <a:cxn ang="T139">
                          <a:pos x="T78" y="T79"/>
                        </a:cxn>
                        <a:cxn ang="T140">
                          <a:pos x="T80" y="T81"/>
                        </a:cxn>
                        <a:cxn ang="T141">
                          <a:pos x="T82" y="T83"/>
                        </a:cxn>
                        <a:cxn ang="T142">
                          <a:pos x="T84" y="T85"/>
                        </a:cxn>
                        <a:cxn ang="T143">
                          <a:pos x="T86" y="T87"/>
                        </a:cxn>
                        <a:cxn ang="T144">
                          <a:pos x="T88" y="T89"/>
                        </a:cxn>
                        <a:cxn ang="T145">
                          <a:pos x="T90" y="T91"/>
                        </a:cxn>
                        <a:cxn ang="T146">
                          <a:pos x="T92" y="T93"/>
                        </a:cxn>
                        <a:cxn ang="T147">
                          <a:pos x="T94" y="T95"/>
                        </a:cxn>
                        <a:cxn ang="T148">
                          <a:pos x="T96" y="T97"/>
                        </a:cxn>
                        <a:cxn ang="T149">
                          <a:pos x="T98" y="T99"/>
                        </a:cxn>
                      </a:cxnLst>
                      <a:rect l="T150" t="T151" r="T152" b="T153"/>
                      <a:pathLst>
                        <a:path w="76" h="86">
                          <a:moveTo>
                            <a:pt x="71" y="15"/>
                          </a:moveTo>
                          <a:cubicBezTo>
                            <a:pt x="71" y="14"/>
                            <a:pt x="72" y="13"/>
                            <a:pt x="72" y="12"/>
                          </a:cubicBezTo>
                          <a:cubicBezTo>
                            <a:pt x="72" y="10"/>
                            <a:pt x="71" y="9"/>
                            <a:pt x="72" y="7"/>
                          </a:cubicBezTo>
                          <a:cubicBezTo>
                            <a:pt x="73" y="6"/>
                            <a:pt x="75" y="7"/>
                            <a:pt x="76" y="5"/>
                          </a:cubicBezTo>
                          <a:cubicBezTo>
                            <a:pt x="76" y="4"/>
                            <a:pt x="76" y="3"/>
                            <a:pt x="76" y="2"/>
                          </a:cubicBezTo>
                          <a:cubicBezTo>
                            <a:pt x="75" y="0"/>
                            <a:pt x="73" y="0"/>
                            <a:pt x="72" y="0"/>
                          </a:cubicBezTo>
                          <a:cubicBezTo>
                            <a:pt x="72" y="1"/>
                            <a:pt x="72" y="3"/>
                            <a:pt x="71" y="3"/>
                          </a:cubicBezTo>
                          <a:cubicBezTo>
                            <a:pt x="69" y="5"/>
                            <a:pt x="66" y="6"/>
                            <a:pt x="63" y="6"/>
                          </a:cubicBezTo>
                          <a:cubicBezTo>
                            <a:pt x="62" y="7"/>
                            <a:pt x="60" y="6"/>
                            <a:pt x="58" y="5"/>
                          </a:cubicBezTo>
                          <a:cubicBezTo>
                            <a:pt x="57" y="5"/>
                            <a:pt x="55" y="5"/>
                            <a:pt x="53" y="4"/>
                          </a:cubicBezTo>
                          <a:cubicBezTo>
                            <a:pt x="52" y="4"/>
                            <a:pt x="52" y="2"/>
                            <a:pt x="51" y="2"/>
                          </a:cubicBezTo>
                          <a:cubicBezTo>
                            <a:pt x="50" y="1"/>
                            <a:pt x="48" y="1"/>
                            <a:pt x="46" y="2"/>
                          </a:cubicBezTo>
                          <a:cubicBezTo>
                            <a:pt x="44" y="2"/>
                            <a:pt x="44" y="4"/>
                            <a:pt x="43" y="4"/>
                          </a:cubicBezTo>
                          <a:cubicBezTo>
                            <a:pt x="41" y="5"/>
                            <a:pt x="39" y="4"/>
                            <a:pt x="36" y="4"/>
                          </a:cubicBezTo>
                          <a:cubicBezTo>
                            <a:pt x="35" y="4"/>
                            <a:pt x="33" y="4"/>
                            <a:pt x="32" y="4"/>
                          </a:cubicBezTo>
                          <a:cubicBezTo>
                            <a:pt x="31" y="5"/>
                            <a:pt x="30" y="5"/>
                            <a:pt x="29" y="5"/>
                          </a:cubicBezTo>
                          <a:cubicBezTo>
                            <a:pt x="26" y="6"/>
                            <a:pt x="24" y="7"/>
                            <a:pt x="21" y="8"/>
                          </a:cubicBezTo>
                          <a:cubicBezTo>
                            <a:pt x="20" y="9"/>
                            <a:pt x="19" y="12"/>
                            <a:pt x="17" y="13"/>
                          </a:cubicBezTo>
                          <a:cubicBezTo>
                            <a:pt x="15" y="14"/>
                            <a:pt x="13" y="13"/>
                            <a:pt x="10" y="14"/>
                          </a:cubicBezTo>
                          <a:cubicBezTo>
                            <a:pt x="11" y="15"/>
                            <a:pt x="11" y="16"/>
                            <a:pt x="11" y="18"/>
                          </a:cubicBezTo>
                          <a:cubicBezTo>
                            <a:pt x="10" y="19"/>
                            <a:pt x="8" y="19"/>
                            <a:pt x="8" y="20"/>
                          </a:cubicBezTo>
                          <a:cubicBezTo>
                            <a:pt x="7" y="22"/>
                            <a:pt x="8" y="24"/>
                            <a:pt x="7" y="26"/>
                          </a:cubicBezTo>
                          <a:cubicBezTo>
                            <a:pt x="6" y="27"/>
                            <a:pt x="4" y="26"/>
                            <a:pt x="3" y="27"/>
                          </a:cubicBezTo>
                          <a:cubicBezTo>
                            <a:pt x="3" y="28"/>
                            <a:pt x="4" y="30"/>
                            <a:pt x="3" y="31"/>
                          </a:cubicBezTo>
                          <a:cubicBezTo>
                            <a:pt x="2" y="32"/>
                            <a:pt x="2" y="33"/>
                            <a:pt x="0" y="34"/>
                          </a:cubicBezTo>
                          <a:cubicBezTo>
                            <a:pt x="1" y="35"/>
                            <a:pt x="2" y="37"/>
                            <a:pt x="3" y="39"/>
                          </a:cubicBezTo>
                          <a:cubicBezTo>
                            <a:pt x="4" y="40"/>
                            <a:pt x="5" y="41"/>
                            <a:pt x="7" y="42"/>
                          </a:cubicBezTo>
                          <a:cubicBezTo>
                            <a:pt x="8" y="43"/>
                            <a:pt x="11" y="42"/>
                            <a:pt x="12" y="44"/>
                          </a:cubicBezTo>
                          <a:cubicBezTo>
                            <a:pt x="13" y="45"/>
                            <a:pt x="9" y="44"/>
                            <a:pt x="9" y="45"/>
                          </a:cubicBezTo>
                          <a:cubicBezTo>
                            <a:pt x="8" y="47"/>
                            <a:pt x="9" y="48"/>
                            <a:pt x="10" y="49"/>
                          </a:cubicBezTo>
                          <a:cubicBezTo>
                            <a:pt x="10" y="50"/>
                            <a:pt x="11" y="51"/>
                            <a:pt x="12" y="52"/>
                          </a:cubicBezTo>
                          <a:cubicBezTo>
                            <a:pt x="13" y="53"/>
                            <a:pt x="12" y="55"/>
                            <a:pt x="13" y="55"/>
                          </a:cubicBezTo>
                          <a:cubicBezTo>
                            <a:pt x="14" y="55"/>
                            <a:pt x="15" y="54"/>
                            <a:pt x="16" y="54"/>
                          </a:cubicBezTo>
                          <a:cubicBezTo>
                            <a:pt x="17" y="54"/>
                            <a:pt x="17" y="55"/>
                            <a:pt x="18" y="55"/>
                          </a:cubicBezTo>
                          <a:cubicBezTo>
                            <a:pt x="20" y="55"/>
                            <a:pt x="21" y="54"/>
                            <a:pt x="23" y="54"/>
                          </a:cubicBezTo>
                          <a:cubicBezTo>
                            <a:pt x="25" y="54"/>
                            <a:pt x="26" y="54"/>
                            <a:pt x="28" y="54"/>
                          </a:cubicBezTo>
                          <a:cubicBezTo>
                            <a:pt x="29" y="54"/>
                            <a:pt x="30" y="55"/>
                            <a:pt x="32" y="55"/>
                          </a:cubicBezTo>
                          <a:cubicBezTo>
                            <a:pt x="34" y="56"/>
                            <a:pt x="37" y="56"/>
                            <a:pt x="39" y="58"/>
                          </a:cubicBezTo>
                          <a:cubicBezTo>
                            <a:pt x="40" y="60"/>
                            <a:pt x="36" y="60"/>
                            <a:pt x="35" y="60"/>
                          </a:cubicBezTo>
                          <a:cubicBezTo>
                            <a:pt x="34" y="60"/>
                            <a:pt x="33" y="60"/>
                            <a:pt x="33" y="60"/>
                          </a:cubicBezTo>
                          <a:cubicBezTo>
                            <a:pt x="29" y="59"/>
                            <a:pt x="27" y="57"/>
                            <a:pt x="23" y="56"/>
                          </a:cubicBezTo>
                          <a:cubicBezTo>
                            <a:pt x="22" y="56"/>
                            <a:pt x="21" y="58"/>
                            <a:pt x="20" y="58"/>
                          </a:cubicBezTo>
                          <a:cubicBezTo>
                            <a:pt x="19" y="58"/>
                            <a:pt x="17" y="57"/>
                            <a:pt x="16" y="58"/>
                          </a:cubicBezTo>
                          <a:cubicBezTo>
                            <a:pt x="15" y="59"/>
                            <a:pt x="13" y="60"/>
                            <a:pt x="13" y="62"/>
                          </a:cubicBezTo>
                          <a:cubicBezTo>
                            <a:pt x="13" y="64"/>
                            <a:pt x="16" y="66"/>
                            <a:pt x="18" y="68"/>
                          </a:cubicBezTo>
                          <a:cubicBezTo>
                            <a:pt x="19" y="69"/>
                            <a:pt x="20" y="71"/>
                            <a:pt x="20" y="72"/>
                          </a:cubicBezTo>
                          <a:cubicBezTo>
                            <a:pt x="20" y="74"/>
                            <a:pt x="19" y="75"/>
                            <a:pt x="19" y="77"/>
                          </a:cubicBezTo>
                          <a:cubicBezTo>
                            <a:pt x="20" y="79"/>
                            <a:pt x="21" y="82"/>
                            <a:pt x="23" y="81"/>
                          </a:cubicBezTo>
                          <a:cubicBezTo>
                            <a:pt x="25" y="81"/>
                            <a:pt x="23" y="77"/>
                            <a:pt x="25" y="76"/>
                          </a:cubicBezTo>
                          <a:cubicBezTo>
                            <a:pt x="27" y="76"/>
                            <a:pt x="28" y="79"/>
                            <a:pt x="29" y="81"/>
                          </a:cubicBezTo>
                          <a:cubicBezTo>
                            <a:pt x="29" y="81"/>
                            <a:pt x="28" y="83"/>
                            <a:pt x="29" y="84"/>
                          </a:cubicBezTo>
                          <a:cubicBezTo>
                            <a:pt x="29" y="84"/>
                            <a:pt x="30" y="86"/>
                            <a:pt x="31" y="86"/>
                          </a:cubicBezTo>
                          <a:cubicBezTo>
                            <a:pt x="32" y="84"/>
                            <a:pt x="30" y="81"/>
                            <a:pt x="31" y="80"/>
                          </a:cubicBezTo>
                          <a:cubicBezTo>
                            <a:pt x="32" y="79"/>
                            <a:pt x="33" y="80"/>
                            <a:pt x="34" y="80"/>
                          </a:cubicBezTo>
                          <a:cubicBezTo>
                            <a:pt x="35" y="82"/>
                            <a:pt x="36" y="84"/>
                            <a:pt x="37" y="86"/>
                          </a:cubicBezTo>
                          <a:cubicBezTo>
                            <a:pt x="38" y="86"/>
                            <a:pt x="39" y="86"/>
                            <a:pt x="39" y="85"/>
                          </a:cubicBezTo>
                          <a:cubicBezTo>
                            <a:pt x="39" y="84"/>
                            <a:pt x="38" y="82"/>
                            <a:pt x="37" y="81"/>
                          </a:cubicBezTo>
                          <a:cubicBezTo>
                            <a:pt x="37" y="80"/>
                            <a:pt x="38" y="79"/>
                            <a:pt x="37" y="78"/>
                          </a:cubicBezTo>
                          <a:cubicBezTo>
                            <a:pt x="36" y="75"/>
                            <a:pt x="33" y="72"/>
                            <a:pt x="33" y="69"/>
                          </a:cubicBezTo>
                          <a:cubicBezTo>
                            <a:pt x="33" y="67"/>
                            <a:pt x="36" y="68"/>
                            <a:pt x="37" y="69"/>
                          </a:cubicBezTo>
                          <a:cubicBezTo>
                            <a:pt x="38" y="69"/>
                            <a:pt x="37" y="72"/>
                            <a:pt x="38" y="72"/>
                          </a:cubicBezTo>
                          <a:cubicBezTo>
                            <a:pt x="40" y="72"/>
                            <a:pt x="42" y="71"/>
                            <a:pt x="42" y="69"/>
                          </a:cubicBezTo>
                          <a:cubicBezTo>
                            <a:pt x="42" y="67"/>
                            <a:pt x="39" y="68"/>
                            <a:pt x="38" y="66"/>
                          </a:cubicBezTo>
                          <a:cubicBezTo>
                            <a:pt x="37" y="65"/>
                            <a:pt x="38" y="63"/>
                            <a:pt x="38" y="62"/>
                          </a:cubicBezTo>
                          <a:cubicBezTo>
                            <a:pt x="38" y="61"/>
                            <a:pt x="39" y="60"/>
                            <a:pt x="41" y="60"/>
                          </a:cubicBezTo>
                          <a:cubicBezTo>
                            <a:pt x="42" y="60"/>
                            <a:pt x="44" y="61"/>
                            <a:pt x="46" y="62"/>
                          </a:cubicBezTo>
                          <a:cubicBezTo>
                            <a:pt x="47" y="63"/>
                            <a:pt x="47" y="65"/>
                            <a:pt x="48" y="65"/>
                          </a:cubicBezTo>
                          <a:cubicBezTo>
                            <a:pt x="49" y="66"/>
                            <a:pt x="49" y="64"/>
                            <a:pt x="49" y="63"/>
                          </a:cubicBezTo>
                          <a:cubicBezTo>
                            <a:pt x="49" y="62"/>
                            <a:pt x="49" y="59"/>
                            <a:pt x="48" y="58"/>
                          </a:cubicBezTo>
                          <a:cubicBezTo>
                            <a:pt x="47" y="56"/>
                            <a:pt x="44" y="55"/>
                            <a:pt x="42" y="54"/>
                          </a:cubicBezTo>
                          <a:cubicBezTo>
                            <a:pt x="40" y="52"/>
                            <a:pt x="39" y="51"/>
                            <a:pt x="37" y="50"/>
                          </a:cubicBezTo>
                          <a:cubicBezTo>
                            <a:pt x="35" y="48"/>
                            <a:pt x="31" y="49"/>
                            <a:pt x="30" y="46"/>
                          </a:cubicBezTo>
                          <a:cubicBezTo>
                            <a:pt x="29" y="45"/>
                            <a:pt x="34" y="46"/>
                            <a:pt x="35" y="44"/>
                          </a:cubicBezTo>
                          <a:cubicBezTo>
                            <a:pt x="35" y="42"/>
                            <a:pt x="33" y="41"/>
                            <a:pt x="33" y="39"/>
                          </a:cubicBezTo>
                          <a:cubicBezTo>
                            <a:pt x="33" y="38"/>
                            <a:pt x="35" y="38"/>
                            <a:pt x="36" y="38"/>
                          </a:cubicBezTo>
                          <a:cubicBezTo>
                            <a:pt x="37" y="39"/>
                            <a:pt x="37" y="40"/>
                            <a:pt x="38" y="41"/>
                          </a:cubicBezTo>
                          <a:cubicBezTo>
                            <a:pt x="38" y="41"/>
                            <a:pt x="39" y="40"/>
                            <a:pt x="39" y="40"/>
                          </a:cubicBezTo>
                          <a:cubicBezTo>
                            <a:pt x="37" y="37"/>
                            <a:pt x="35" y="35"/>
                            <a:pt x="34" y="33"/>
                          </a:cubicBezTo>
                          <a:cubicBezTo>
                            <a:pt x="33" y="31"/>
                            <a:pt x="31" y="29"/>
                            <a:pt x="30" y="27"/>
                          </a:cubicBezTo>
                          <a:cubicBezTo>
                            <a:pt x="29" y="25"/>
                            <a:pt x="29" y="23"/>
                            <a:pt x="29" y="21"/>
                          </a:cubicBezTo>
                          <a:cubicBezTo>
                            <a:pt x="29" y="21"/>
                            <a:pt x="30" y="19"/>
                            <a:pt x="31" y="19"/>
                          </a:cubicBezTo>
                          <a:cubicBezTo>
                            <a:pt x="33" y="20"/>
                            <a:pt x="35" y="22"/>
                            <a:pt x="37" y="23"/>
                          </a:cubicBezTo>
                          <a:cubicBezTo>
                            <a:pt x="39" y="25"/>
                            <a:pt x="40" y="28"/>
                            <a:pt x="42" y="29"/>
                          </a:cubicBezTo>
                          <a:cubicBezTo>
                            <a:pt x="42" y="30"/>
                            <a:pt x="43" y="29"/>
                            <a:pt x="43" y="28"/>
                          </a:cubicBezTo>
                          <a:cubicBezTo>
                            <a:pt x="43" y="26"/>
                            <a:pt x="40" y="25"/>
                            <a:pt x="40" y="23"/>
                          </a:cubicBezTo>
                          <a:cubicBezTo>
                            <a:pt x="40" y="23"/>
                            <a:pt x="42" y="23"/>
                            <a:pt x="42" y="24"/>
                          </a:cubicBezTo>
                          <a:cubicBezTo>
                            <a:pt x="44" y="25"/>
                            <a:pt x="44" y="27"/>
                            <a:pt x="46" y="28"/>
                          </a:cubicBezTo>
                          <a:cubicBezTo>
                            <a:pt x="46" y="29"/>
                            <a:pt x="47" y="27"/>
                            <a:pt x="47" y="27"/>
                          </a:cubicBezTo>
                          <a:cubicBezTo>
                            <a:pt x="46" y="25"/>
                            <a:pt x="44" y="24"/>
                            <a:pt x="43" y="22"/>
                          </a:cubicBezTo>
                          <a:cubicBezTo>
                            <a:pt x="43" y="22"/>
                            <a:pt x="45" y="22"/>
                            <a:pt x="46" y="22"/>
                          </a:cubicBezTo>
                          <a:cubicBezTo>
                            <a:pt x="48" y="23"/>
                            <a:pt x="49" y="25"/>
                            <a:pt x="51" y="25"/>
                          </a:cubicBezTo>
                          <a:cubicBezTo>
                            <a:pt x="52" y="25"/>
                            <a:pt x="51" y="24"/>
                            <a:pt x="51" y="23"/>
                          </a:cubicBezTo>
                          <a:cubicBezTo>
                            <a:pt x="49" y="22"/>
                            <a:pt x="47" y="21"/>
                            <a:pt x="45" y="20"/>
                          </a:cubicBezTo>
                          <a:cubicBezTo>
                            <a:pt x="44" y="18"/>
                            <a:pt x="43" y="17"/>
                            <a:pt x="43" y="15"/>
                          </a:cubicBezTo>
                          <a:cubicBezTo>
                            <a:pt x="43" y="14"/>
                            <a:pt x="44" y="14"/>
                            <a:pt x="45" y="14"/>
                          </a:cubicBezTo>
                          <a:cubicBezTo>
                            <a:pt x="46" y="15"/>
                            <a:pt x="47" y="16"/>
                            <a:pt x="47" y="16"/>
                          </a:cubicBezTo>
                          <a:cubicBezTo>
                            <a:pt x="49" y="15"/>
                            <a:pt x="49" y="12"/>
                            <a:pt x="51" y="12"/>
                          </a:cubicBezTo>
                          <a:cubicBezTo>
                            <a:pt x="52" y="11"/>
                            <a:pt x="54" y="14"/>
                            <a:pt x="56" y="14"/>
                          </a:cubicBezTo>
                          <a:cubicBezTo>
                            <a:pt x="57" y="14"/>
                            <a:pt x="58" y="11"/>
                            <a:pt x="59" y="11"/>
                          </a:cubicBezTo>
                          <a:cubicBezTo>
                            <a:pt x="61" y="11"/>
                            <a:pt x="64" y="12"/>
                            <a:pt x="66" y="13"/>
                          </a:cubicBezTo>
                          <a:cubicBezTo>
                            <a:pt x="67" y="14"/>
                            <a:pt x="69" y="14"/>
                            <a:pt x="71" y="15"/>
                          </a:cubicBezTo>
                          <a:close/>
                        </a:path>
                      </a:pathLst>
                    </a:custGeom>
                    <a:grpFill/>
                    <a:ln w="3175" cap="rnd">
                      <a:solidFill>
                        <a:schemeClr val="bg1">
                          <a:lumMod val="75000"/>
                        </a:schemeClr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it-IT">
                        <a:solidFill>
                          <a:srgbClr val="133B9C"/>
                        </a:solidFill>
                        <a:latin typeface="Arial" charset="0"/>
                        <a:cs typeface="Arial" charset="0"/>
                      </a:endParaRPr>
                    </a:p>
                  </p:txBody>
                </p:sp>
                <p:sp>
                  <p:nvSpPr>
                    <p:cNvPr id="2038" name="Freeform 2599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765153" y="2190251"/>
                      <a:ext cx="155470" cy="75591"/>
                    </a:xfrm>
                    <a:custGeom>
                      <a:avLst/>
                      <a:gdLst>
                        <a:gd name="T0" fmla="*/ 137 w 116"/>
                        <a:gd name="T1" fmla="*/ 63 h 76"/>
                        <a:gd name="T2" fmla="*/ 129 w 116"/>
                        <a:gd name="T3" fmla="*/ 59 h 76"/>
                        <a:gd name="T4" fmla="*/ 125 w 116"/>
                        <a:gd name="T5" fmla="*/ 62 h 76"/>
                        <a:gd name="T6" fmla="*/ 119 w 116"/>
                        <a:gd name="T7" fmla="*/ 63 h 76"/>
                        <a:gd name="T8" fmla="*/ 114 w 116"/>
                        <a:gd name="T9" fmla="*/ 61 h 76"/>
                        <a:gd name="T10" fmla="*/ 111 w 116"/>
                        <a:gd name="T11" fmla="*/ 47 h 76"/>
                        <a:gd name="T12" fmla="*/ 116 w 116"/>
                        <a:gd name="T13" fmla="*/ 36 h 76"/>
                        <a:gd name="T14" fmla="*/ 109 w 116"/>
                        <a:gd name="T15" fmla="*/ 25 h 76"/>
                        <a:gd name="T16" fmla="*/ 99 w 116"/>
                        <a:gd name="T17" fmla="*/ 14 h 76"/>
                        <a:gd name="T18" fmla="*/ 95 w 116"/>
                        <a:gd name="T19" fmla="*/ 2 h 76"/>
                        <a:gd name="T20" fmla="*/ 89 w 116"/>
                        <a:gd name="T21" fmla="*/ 0 h 76"/>
                        <a:gd name="T22" fmla="*/ 84 w 116"/>
                        <a:gd name="T23" fmla="*/ 1 h 76"/>
                        <a:gd name="T24" fmla="*/ 79 w 116"/>
                        <a:gd name="T25" fmla="*/ 2 h 76"/>
                        <a:gd name="T26" fmla="*/ 70 w 116"/>
                        <a:gd name="T27" fmla="*/ 4 h 76"/>
                        <a:gd name="T28" fmla="*/ 65 w 116"/>
                        <a:gd name="T29" fmla="*/ 10 h 76"/>
                        <a:gd name="T30" fmla="*/ 60 w 116"/>
                        <a:gd name="T31" fmla="*/ 5 h 76"/>
                        <a:gd name="T32" fmla="*/ 55 w 116"/>
                        <a:gd name="T33" fmla="*/ 5 h 76"/>
                        <a:gd name="T34" fmla="*/ 46 w 116"/>
                        <a:gd name="T35" fmla="*/ 4 h 76"/>
                        <a:gd name="T36" fmla="*/ 40 w 116"/>
                        <a:gd name="T37" fmla="*/ 0 h 76"/>
                        <a:gd name="T38" fmla="*/ 36 w 116"/>
                        <a:gd name="T39" fmla="*/ 5 h 76"/>
                        <a:gd name="T40" fmla="*/ 34 w 116"/>
                        <a:gd name="T41" fmla="*/ 7 h 76"/>
                        <a:gd name="T42" fmla="*/ 29 w 116"/>
                        <a:gd name="T43" fmla="*/ 8 h 76"/>
                        <a:gd name="T44" fmla="*/ 24 w 116"/>
                        <a:gd name="T45" fmla="*/ 14 h 76"/>
                        <a:gd name="T46" fmla="*/ 19 w 116"/>
                        <a:gd name="T47" fmla="*/ 23 h 76"/>
                        <a:gd name="T48" fmla="*/ 18 w 116"/>
                        <a:gd name="T49" fmla="*/ 31 h 76"/>
                        <a:gd name="T50" fmla="*/ 14 w 116"/>
                        <a:gd name="T51" fmla="*/ 32 h 76"/>
                        <a:gd name="T52" fmla="*/ 14 w 116"/>
                        <a:gd name="T53" fmla="*/ 37 h 76"/>
                        <a:gd name="T54" fmla="*/ 8 w 116"/>
                        <a:gd name="T55" fmla="*/ 40 h 76"/>
                        <a:gd name="T56" fmla="*/ 0 w 116"/>
                        <a:gd name="T57" fmla="*/ 42 h 76"/>
                        <a:gd name="T58" fmla="*/ 4 w 116"/>
                        <a:gd name="T59" fmla="*/ 48 h 76"/>
                        <a:gd name="T60" fmla="*/ 7 w 116"/>
                        <a:gd name="T61" fmla="*/ 53 h 76"/>
                        <a:gd name="T62" fmla="*/ 10 w 116"/>
                        <a:gd name="T63" fmla="*/ 59 h 76"/>
                        <a:gd name="T64" fmla="*/ 18 w 116"/>
                        <a:gd name="T65" fmla="*/ 63 h 76"/>
                        <a:gd name="T66" fmla="*/ 18 w 116"/>
                        <a:gd name="T67" fmla="*/ 71 h 76"/>
                        <a:gd name="T68" fmla="*/ 25 w 116"/>
                        <a:gd name="T69" fmla="*/ 74 h 76"/>
                        <a:gd name="T70" fmla="*/ 30 w 116"/>
                        <a:gd name="T71" fmla="*/ 77 h 76"/>
                        <a:gd name="T72" fmla="*/ 31 w 116"/>
                        <a:gd name="T73" fmla="*/ 73 h 76"/>
                        <a:gd name="T74" fmla="*/ 35 w 116"/>
                        <a:gd name="T75" fmla="*/ 75 h 76"/>
                        <a:gd name="T76" fmla="*/ 32 w 116"/>
                        <a:gd name="T77" fmla="*/ 78 h 76"/>
                        <a:gd name="T78" fmla="*/ 34 w 116"/>
                        <a:gd name="T79" fmla="*/ 80 h 76"/>
                        <a:gd name="T80" fmla="*/ 38 w 116"/>
                        <a:gd name="T81" fmla="*/ 85 h 76"/>
                        <a:gd name="T82" fmla="*/ 36 w 116"/>
                        <a:gd name="T83" fmla="*/ 90 h 76"/>
                        <a:gd name="T84" fmla="*/ 44 w 116"/>
                        <a:gd name="T85" fmla="*/ 89 h 76"/>
                        <a:gd name="T86" fmla="*/ 60 w 116"/>
                        <a:gd name="T87" fmla="*/ 90 h 76"/>
                        <a:gd name="T88" fmla="*/ 70 w 116"/>
                        <a:gd name="T89" fmla="*/ 91 h 76"/>
                        <a:gd name="T90" fmla="*/ 84 w 116"/>
                        <a:gd name="T91" fmla="*/ 89 h 76"/>
                        <a:gd name="T92" fmla="*/ 89 w 116"/>
                        <a:gd name="T93" fmla="*/ 85 h 76"/>
                        <a:gd name="T94" fmla="*/ 96 w 116"/>
                        <a:gd name="T95" fmla="*/ 84 h 76"/>
                        <a:gd name="T96" fmla="*/ 102 w 116"/>
                        <a:gd name="T97" fmla="*/ 84 h 76"/>
                        <a:gd name="T98" fmla="*/ 108 w 116"/>
                        <a:gd name="T99" fmla="*/ 86 h 76"/>
                        <a:gd name="T100" fmla="*/ 115 w 116"/>
                        <a:gd name="T101" fmla="*/ 87 h 76"/>
                        <a:gd name="T102" fmla="*/ 119 w 116"/>
                        <a:gd name="T103" fmla="*/ 90 h 76"/>
                        <a:gd name="T104" fmla="*/ 122 w 116"/>
                        <a:gd name="T105" fmla="*/ 90 h 76"/>
                        <a:gd name="T106" fmla="*/ 122 w 116"/>
                        <a:gd name="T107" fmla="*/ 81 h 76"/>
                        <a:gd name="T108" fmla="*/ 125 w 116"/>
                        <a:gd name="T109" fmla="*/ 77 h 76"/>
                        <a:gd name="T110" fmla="*/ 121 w 116"/>
                        <a:gd name="T111" fmla="*/ 72 h 76"/>
                        <a:gd name="T112" fmla="*/ 126 w 116"/>
                        <a:gd name="T113" fmla="*/ 66 h 76"/>
                        <a:gd name="T114" fmla="*/ 129 w 116"/>
                        <a:gd name="T115" fmla="*/ 67 h 76"/>
                        <a:gd name="T116" fmla="*/ 128 w 116"/>
                        <a:gd name="T117" fmla="*/ 74 h 76"/>
                        <a:gd name="T118" fmla="*/ 137 w 116"/>
                        <a:gd name="T119" fmla="*/ 72 h 76"/>
                        <a:gd name="T120" fmla="*/ 137 w 116"/>
                        <a:gd name="T121" fmla="*/ 63 h 7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60000 65536"/>
                        <a:gd name="T157" fmla="*/ 0 60000 65536"/>
                        <a:gd name="T158" fmla="*/ 0 60000 65536"/>
                        <a:gd name="T159" fmla="*/ 0 60000 65536"/>
                        <a:gd name="T160" fmla="*/ 0 60000 65536"/>
                        <a:gd name="T161" fmla="*/ 0 60000 65536"/>
                        <a:gd name="T162" fmla="*/ 0 60000 65536"/>
                        <a:gd name="T163" fmla="*/ 0 60000 65536"/>
                        <a:gd name="T164" fmla="*/ 0 60000 65536"/>
                        <a:gd name="T165" fmla="*/ 0 60000 65536"/>
                        <a:gd name="T166" fmla="*/ 0 60000 65536"/>
                        <a:gd name="T167" fmla="*/ 0 60000 65536"/>
                        <a:gd name="T168" fmla="*/ 0 60000 65536"/>
                        <a:gd name="T169" fmla="*/ 0 60000 65536"/>
                        <a:gd name="T170" fmla="*/ 0 60000 65536"/>
                        <a:gd name="T171" fmla="*/ 0 60000 65536"/>
                        <a:gd name="T172" fmla="*/ 0 60000 65536"/>
                        <a:gd name="T173" fmla="*/ 0 60000 65536"/>
                        <a:gd name="T174" fmla="*/ 0 60000 65536"/>
                        <a:gd name="T175" fmla="*/ 0 60000 65536"/>
                        <a:gd name="T176" fmla="*/ 0 60000 65536"/>
                        <a:gd name="T177" fmla="*/ 0 60000 65536"/>
                        <a:gd name="T178" fmla="*/ 0 60000 65536"/>
                        <a:gd name="T179" fmla="*/ 0 60000 65536"/>
                        <a:gd name="T180" fmla="*/ 0 60000 65536"/>
                        <a:gd name="T181" fmla="*/ 0 60000 65536"/>
                        <a:gd name="T182" fmla="*/ 0 60000 65536"/>
                        <a:gd name="T183" fmla="*/ 0 w 116"/>
                        <a:gd name="T184" fmla="*/ 0 h 76"/>
                        <a:gd name="T185" fmla="*/ 116 w 116"/>
                        <a:gd name="T186" fmla="*/ 76 h 76"/>
                      </a:gdLst>
                      <a:ahLst/>
                      <a:cxnLst>
                        <a:cxn ang="T122">
                          <a:pos x="T0" y="T1"/>
                        </a:cxn>
                        <a:cxn ang="T123">
                          <a:pos x="T2" y="T3"/>
                        </a:cxn>
                        <a:cxn ang="T124">
                          <a:pos x="T4" y="T5"/>
                        </a:cxn>
                        <a:cxn ang="T125">
                          <a:pos x="T6" y="T7"/>
                        </a:cxn>
                        <a:cxn ang="T126">
                          <a:pos x="T8" y="T9"/>
                        </a:cxn>
                        <a:cxn ang="T127">
                          <a:pos x="T10" y="T11"/>
                        </a:cxn>
                        <a:cxn ang="T128">
                          <a:pos x="T12" y="T13"/>
                        </a:cxn>
                        <a:cxn ang="T129">
                          <a:pos x="T14" y="T15"/>
                        </a:cxn>
                        <a:cxn ang="T130">
                          <a:pos x="T16" y="T17"/>
                        </a:cxn>
                        <a:cxn ang="T131">
                          <a:pos x="T18" y="T19"/>
                        </a:cxn>
                        <a:cxn ang="T132">
                          <a:pos x="T20" y="T21"/>
                        </a:cxn>
                        <a:cxn ang="T133">
                          <a:pos x="T22" y="T23"/>
                        </a:cxn>
                        <a:cxn ang="T134">
                          <a:pos x="T24" y="T25"/>
                        </a:cxn>
                        <a:cxn ang="T135">
                          <a:pos x="T26" y="T27"/>
                        </a:cxn>
                        <a:cxn ang="T136">
                          <a:pos x="T28" y="T29"/>
                        </a:cxn>
                        <a:cxn ang="T137">
                          <a:pos x="T30" y="T31"/>
                        </a:cxn>
                        <a:cxn ang="T138">
                          <a:pos x="T32" y="T33"/>
                        </a:cxn>
                        <a:cxn ang="T139">
                          <a:pos x="T34" y="T35"/>
                        </a:cxn>
                        <a:cxn ang="T140">
                          <a:pos x="T36" y="T37"/>
                        </a:cxn>
                        <a:cxn ang="T141">
                          <a:pos x="T38" y="T39"/>
                        </a:cxn>
                        <a:cxn ang="T142">
                          <a:pos x="T40" y="T41"/>
                        </a:cxn>
                        <a:cxn ang="T143">
                          <a:pos x="T42" y="T43"/>
                        </a:cxn>
                        <a:cxn ang="T144">
                          <a:pos x="T44" y="T45"/>
                        </a:cxn>
                        <a:cxn ang="T145">
                          <a:pos x="T46" y="T47"/>
                        </a:cxn>
                        <a:cxn ang="T146">
                          <a:pos x="T48" y="T49"/>
                        </a:cxn>
                        <a:cxn ang="T147">
                          <a:pos x="T50" y="T51"/>
                        </a:cxn>
                        <a:cxn ang="T148">
                          <a:pos x="T52" y="T53"/>
                        </a:cxn>
                        <a:cxn ang="T149">
                          <a:pos x="T54" y="T55"/>
                        </a:cxn>
                        <a:cxn ang="T150">
                          <a:pos x="T56" y="T57"/>
                        </a:cxn>
                        <a:cxn ang="T151">
                          <a:pos x="T58" y="T59"/>
                        </a:cxn>
                        <a:cxn ang="T152">
                          <a:pos x="T60" y="T61"/>
                        </a:cxn>
                        <a:cxn ang="T153">
                          <a:pos x="T62" y="T63"/>
                        </a:cxn>
                        <a:cxn ang="T154">
                          <a:pos x="T64" y="T65"/>
                        </a:cxn>
                        <a:cxn ang="T155">
                          <a:pos x="T66" y="T67"/>
                        </a:cxn>
                        <a:cxn ang="T156">
                          <a:pos x="T68" y="T69"/>
                        </a:cxn>
                        <a:cxn ang="T157">
                          <a:pos x="T70" y="T71"/>
                        </a:cxn>
                        <a:cxn ang="T158">
                          <a:pos x="T72" y="T73"/>
                        </a:cxn>
                        <a:cxn ang="T159">
                          <a:pos x="T74" y="T75"/>
                        </a:cxn>
                        <a:cxn ang="T160">
                          <a:pos x="T76" y="T77"/>
                        </a:cxn>
                        <a:cxn ang="T161">
                          <a:pos x="T78" y="T79"/>
                        </a:cxn>
                        <a:cxn ang="T162">
                          <a:pos x="T80" y="T81"/>
                        </a:cxn>
                        <a:cxn ang="T163">
                          <a:pos x="T82" y="T83"/>
                        </a:cxn>
                        <a:cxn ang="T164">
                          <a:pos x="T84" y="T85"/>
                        </a:cxn>
                        <a:cxn ang="T165">
                          <a:pos x="T86" y="T87"/>
                        </a:cxn>
                        <a:cxn ang="T166">
                          <a:pos x="T88" y="T89"/>
                        </a:cxn>
                        <a:cxn ang="T167">
                          <a:pos x="T90" y="T91"/>
                        </a:cxn>
                        <a:cxn ang="T168">
                          <a:pos x="T92" y="T93"/>
                        </a:cxn>
                        <a:cxn ang="T169">
                          <a:pos x="T94" y="T95"/>
                        </a:cxn>
                        <a:cxn ang="T170">
                          <a:pos x="T96" y="T97"/>
                        </a:cxn>
                        <a:cxn ang="T171">
                          <a:pos x="T98" y="T99"/>
                        </a:cxn>
                        <a:cxn ang="T172">
                          <a:pos x="T100" y="T101"/>
                        </a:cxn>
                        <a:cxn ang="T173">
                          <a:pos x="T102" y="T103"/>
                        </a:cxn>
                        <a:cxn ang="T174">
                          <a:pos x="T104" y="T105"/>
                        </a:cxn>
                        <a:cxn ang="T175">
                          <a:pos x="T106" y="T107"/>
                        </a:cxn>
                        <a:cxn ang="T176">
                          <a:pos x="T108" y="T109"/>
                        </a:cxn>
                        <a:cxn ang="T177">
                          <a:pos x="T110" y="T111"/>
                        </a:cxn>
                        <a:cxn ang="T178">
                          <a:pos x="T112" y="T113"/>
                        </a:cxn>
                        <a:cxn ang="T179">
                          <a:pos x="T114" y="T115"/>
                        </a:cxn>
                        <a:cxn ang="T180">
                          <a:pos x="T116" y="T117"/>
                        </a:cxn>
                        <a:cxn ang="T181">
                          <a:pos x="T118" y="T119"/>
                        </a:cxn>
                        <a:cxn ang="T182">
                          <a:pos x="T120" y="T121"/>
                        </a:cxn>
                      </a:cxnLst>
                      <a:rect l="T183" t="T184" r="T185" b="T186"/>
                      <a:pathLst>
                        <a:path w="116" h="76">
                          <a:moveTo>
                            <a:pt x="114" y="53"/>
                          </a:moveTo>
                          <a:cubicBezTo>
                            <a:pt x="112" y="52"/>
                            <a:pt x="111" y="49"/>
                            <a:pt x="108" y="49"/>
                          </a:cubicBezTo>
                          <a:cubicBezTo>
                            <a:pt x="106" y="49"/>
                            <a:pt x="106" y="52"/>
                            <a:pt x="104" y="52"/>
                          </a:cubicBezTo>
                          <a:cubicBezTo>
                            <a:pt x="102" y="53"/>
                            <a:pt x="101" y="53"/>
                            <a:pt x="99" y="53"/>
                          </a:cubicBezTo>
                          <a:cubicBezTo>
                            <a:pt x="97" y="53"/>
                            <a:pt x="96" y="51"/>
                            <a:pt x="95" y="51"/>
                          </a:cubicBezTo>
                          <a:cubicBezTo>
                            <a:pt x="94" y="46"/>
                            <a:pt x="93" y="43"/>
                            <a:pt x="93" y="39"/>
                          </a:cubicBezTo>
                          <a:cubicBezTo>
                            <a:pt x="94" y="36"/>
                            <a:pt x="97" y="33"/>
                            <a:pt x="97" y="30"/>
                          </a:cubicBezTo>
                          <a:cubicBezTo>
                            <a:pt x="96" y="27"/>
                            <a:pt x="93" y="24"/>
                            <a:pt x="91" y="21"/>
                          </a:cubicBezTo>
                          <a:cubicBezTo>
                            <a:pt x="89" y="18"/>
                            <a:pt x="85" y="15"/>
                            <a:pt x="83" y="12"/>
                          </a:cubicBezTo>
                          <a:cubicBezTo>
                            <a:pt x="81" y="9"/>
                            <a:pt x="81" y="5"/>
                            <a:pt x="79" y="2"/>
                          </a:cubicBezTo>
                          <a:cubicBezTo>
                            <a:pt x="78" y="0"/>
                            <a:pt x="76" y="0"/>
                            <a:pt x="74" y="0"/>
                          </a:cubicBezTo>
                          <a:cubicBezTo>
                            <a:pt x="73" y="0"/>
                            <a:pt x="71" y="0"/>
                            <a:pt x="70" y="1"/>
                          </a:cubicBezTo>
                          <a:cubicBezTo>
                            <a:pt x="68" y="1"/>
                            <a:pt x="67" y="2"/>
                            <a:pt x="66" y="2"/>
                          </a:cubicBezTo>
                          <a:cubicBezTo>
                            <a:pt x="63" y="3"/>
                            <a:pt x="60" y="2"/>
                            <a:pt x="58" y="3"/>
                          </a:cubicBezTo>
                          <a:cubicBezTo>
                            <a:pt x="56" y="4"/>
                            <a:pt x="56" y="7"/>
                            <a:pt x="54" y="8"/>
                          </a:cubicBezTo>
                          <a:cubicBezTo>
                            <a:pt x="53" y="8"/>
                            <a:pt x="52" y="5"/>
                            <a:pt x="50" y="4"/>
                          </a:cubicBezTo>
                          <a:cubicBezTo>
                            <a:pt x="49" y="3"/>
                            <a:pt x="47" y="4"/>
                            <a:pt x="46" y="4"/>
                          </a:cubicBezTo>
                          <a:cubicBezTo>
                            <a:pt x="43" y="4"/>
                            <a:pt x="41" y="3"/>
                            <a:pt x="38" y="3"/>
                          </a:cubicBezTo>
                          <a:cubicBezTo>
                            <a:pt x="36" y="2"/>
                            <a:pt x="35" y="0"/>
                            <a:pt x="33" y="0"/>
                          </a:cubicBezTo>
                          <a:cubicBezTo>
                            <a:pt x="31" y="0"/>
                            <a:pt x="31" y="3"/>
                            <a:pt x="30" y="4"/>
                          </a:cubicBezTo>
                          <a:cubicBezTo>
                            <a:pt x="29" y="4"/>
                            <a:pt x="29" y="5"/>
                            <a:pt x="28" y="6"/>
                          </a:cubicBezTo>
                          <a:cubicBezTo>
                            <a:pt x="27" y="7"/>
                            <a:pt x="25" y="6"/>
                            <a:pt x="24" y="7"/>
                          </a:cubicBezTo>
                          <a:cubicBezTo>
                            <a:pt x="22" y="9"/>
                            <a:pt x="21" y="11"/>
                            <a:pt x="20" y="12"/>
                          </a:cubicBezTo>
                          <a:cubicBezTo>
                            <a:pt x="18" y="14"/>
                            <a:pt x="17" y="16"/>
                            <a:pt x="16" y="19"/>
                          </a:cubicBezTo>
                          <a:cubicBezTo>
                            <a:pt x="15" y="21"/>
                            <a:pt x="16" y="24"/>
                            <a:pt x="15" y="26"/>
                          </a:cubicBezTo>
                          <a:cubicBezTo>
                            <a:pt x="14" y="27"/>
                            <a:pt x="12" y="26"/>
                            <a:pt x="12" y="27"/>
                          </a:cubicBezTo>
                          <a:cubicBezTo>
                            <a:pt x="11" y="28"/>
                            <a:pt x="13" y="30"/>
                            <a:pt x="12" y="31"/>
                          </a:cubicBezTo>
                          <a:cubicBezTo>
                            <a:pt x="11" y="33"/>
                            <a:pt x="8" y="33"/>
                            <a:pt x="7" y="33"/>
                          </a:cubicBezTo>
                          <a:cubicBezTo>
                            <a:pt x="5" y="34"/>
                            <a:pt x="2" y="34"/>
                            <a:pt x="0" y="35"/>
                          </a:cubicBezTo>
                          <a:cubicBezTo>
                            <a:pt x="1" y="37"/>
                            <a:pt x="2" y="39"/>
                            <a:pt x="3" y="40"/>
                          </a:cubicBezTo>
                          <a:cubicBezTo>
                            <a:pt x="4" y="42"/>
                            <a:pt x="5" y="42"/>
                            <a:pt x="6" y="44"/>
                          </a:cubicBezTo>
                          <a:cubicBezTo>
                            <a:pt x="7" y="45"/>
                            <a:pt x="7" y="47"/>
                            <a:pt x="8" y="49"/>
                          </a:cubicBezTo>
                          <a:cubicBezTo>
                            <a:pt x="10" y="51"/>
                            <a:pt x="13" y="51"/>
                            <a:pt x="15" y="53"/>
                          </a:cubicBezTo>
                          <a:cubicBezTo>
                            <a:pt x="16" y="54"/>
                            <a:pt x="13" y="57"/>
                            <a:pt x="15" y="59"/>
                          </a:cubicBezTo>
                          <a:cubicBezTo>
                            <a:pt x="16" y="61"/>
                            <a:pt x="19" y="61"/>
                            <a:pt x="21" y="62"/>
                          </a:cubicBezTo>
                          <a:cubicBezTo>
                            <a:pt x="22" y="62"/>
                            <a:pt x="23" y="64"/>
                            <a:pt x="25" y="64"/>
                          </a:cubicBezTo>
                          <a:cubicBezTo>
                            <a:pt x="26" y="64"/>
                            <a:pt x="25" y="61"/>
                            <a:pt x="26" y="61"/>
                          </a:cubicBezTo>
                          <a:cubicBezTo>
                            <a:pt x="28" y="61"/>
                            <a:pt x="29" y="62"/>
                            <a:pt x="29" y="63"/>
                          </a:cubicBezTo>
                          <a:cubicBezTo>
                            <a:pt x="30" y="64"/>
                            <a:pt x="28" y="64"/>
                            <a:pt x="27" y="65"/>
                          </a:cubicBezTo>
                          <a:cubicBezTo>
                            <a:pt x="27" y="66"/>
                            <a:pt x="28" y="66"/>
                            <a:pt x="28" y="67"/>
                          </a:cubicBezTo>
                          <a:cubicBezTo>
                            <a:pt x="30" y="69"/>
                            <a:pt x="31" y="69"/>
                            <a:pt x="32" y="71"/>
                          </a:cubicBezTo>
                          <a:cubicBezTo>
                            <a:pt x="32" y="72"/>
                            <a:pt x="29" y="74"/>
                            <a:pt x="30" y="75"/>
                          </a:cubicBezTo>
                          <a:cubicBezTo>
                            <a:pt x="32" y="76"/>
                            <a:pt x="35" y="74"/>
                            <a:pt x="37" y="74"/>
                          </a:cubicBezTo>
                          <a:cubicBezTo>
                            <a:pt x="42" y="74"/>
                            <a:pt x="46" y="75"/>
                            <a:pt x="50" y="75"/>
                          </a:cubicBezTo>
                          <a:cubicBezTo>
                            <a:pt x="52" y="76"/>
                            <a:pt x="55" y="76"/>
                            <a:pt x="58" y="76"/>
                          </a:cubicBezTo>
                          <a:cubicBezTo>
                            <a:pt x="62" y="76"/>
                            <a:pt x="66" y="75"/>
                            <a:pt x="70" y="74"/>
                          </a:cubicBezTo>
                          <a:cubicBezTo>
                            <a:pt x="72" y="73"/>
                            <a:pt x="72" y="71"/>
                            <a:pt x="74" y="71"/>
                          </a:cubicBezTo>
                          <a:cubicBezTo>
                            <a:pt x="76" y="70"/>
                            <a:pt x="78" y="70"/>
                            <a:pt x="80" y="70"/>
                          </a:cubicBezTo>
                          <a:cubicBezTo>
                            <a:pt x="82" y="70"/>
                            <a:pt x="84" y="70"/>
                            <a:pt x="85" y="70"/>
                          </a:cubicBezTo>
                          <a:cubicBezTo>
                            <a:pt x="87" y="70"/>
                            <a:pt x="88" y="71"/>
                            <a:pt x="90" y="72"/>
                          </a:cubicBezTo>
                          <a:cubicBezTo>
                            <a:pt x="92" y="72"/>
                            <a:pt x="94" y="72"/>
                            <a:pt x="96" y="73"/>
                          </a:cubicBezTo>
                          <a:cubicBezTo>
                            <a:pt x="97" y="73"/>
                            <a:pt x="98" y="74"/>
                            <a:pt x="99" y="75"/>
                          </a:cubicBezTo>
                          <a:cubicBezTo>
                            <a:pt x="100" y="75"/>
                            <a:pt x="101" y="75"/>
                            <a:pt x="102" y="75"/>
                          </a:cubicBezTo>
                          <a:cubicBezTo>
                            <a:pt x="102" y="72"/>
                            <a:pt x="102" y="70"/>
                            <a:pt x="102" y="68"/>
                          </a:cubicBezTo>
                          <a:cubicBezTo>
                            <a:pt x="102" y="66"/>
                            <a:pt x="105" y="65"/>
                            <a:pt x="104" y="64"/>
                          </a:cubicBezTo>
                          <a:cubicBezTo>
                            <a:pt x="104" y="62"/>
                            <a:pt x="101" y="62"/>
                            <a:pt x="101" y="60"/>
                          </a:cubicBezTo>
                          <a:cubicBezTo>
                            <a:pt x="101" y="58"/>
                            <a:pt x="103" y="56"/>
                            <a:pt x="105" y="55"/>
                          </a:cubicBezTo>
                          <a:cubicBezTo>
                            <a:pt x="106" y="55"/>
                            <a:pt x="108" y="55"/>
                            <a:pt x="108" y="56"/>
                          </a:cubicBezTo>
                          <a:cubicBezTo>
                            <a:pt x="109" y="58"/>
                            <a:pt x="105" y="61"/>
                            <a:pt x="107" y="62"/>
                          </a:cubicBezTo>
                          <a:cubicBezTo>
                            <a:pt x="109" y="63"/>
                            <a:pt x="113" y="62"/>
                            <a:pt x="114" y="60"/>
                          </a:cubicBezTo>
                          <a:cubicBezTo>
                            <a:pt x="116" y="58"/>
                            <a:pt x="114" y="55"/>
                            <a:pt x="114" y="53"/>
                          </a:cubicBezTo>
                          <a:close/>
                        </a:path>
                      </a:pathLst>
                    </a:custGeom>
                    <a:grpFill/>
                    <a:ln w="3175" cap="rnd">
                      <a:solidFill>
                        <a:schemeClr val="bg1">
                          <a:lumMod val="75000"/>
                        </a:schemeClr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it-IT">
                        <a:solidFill>
                          <a:srgbClr val="133B9C"/>
                        </a:solidFill>
                        <a:latin typeface="Arial" charset="0"/>
                        <a:cs typeface="Arial" charset="0"/>
                      </a:endParaRPr>
                    </a:p>
                  </p:txBody>
                </p:sp>
                <p:sp>
                  <p:nvSpPr>
                    <p:cNvPr id="2039" name="Freeform 2721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284202" y="2265841"/>
                      <a:ext cx="206920" cy="126262"/>
                    </a:xfrm>
                    <a:custGeom>
                      <a:avLst/>
                      <a:gdLst>
                        <a:gd name="T0" fmla="*/ 26 w 154"/>
                        <a:gd name="T1" fmla="*/ 123 h 126"/>
                        <a:gd name="T2" fmla="*/ 35 w 154"/>
                        <a:gd name="T3" fmla="*/ 113 h 126"/>
                        <a:gd name="T4" fmla="*/ 30 w 154"/>
                        <a:gd name="T5" fmla="*/ 103 h 126"/>
                        <a:gd name="T6" fmla="*/ 35 w 154"/>
                        <a:gd name="T7" fmla="*/ 94 h 126"/>
                        <a:gd name="T8" fmla="*/ 29 w 154"/>
                        <a:gd name="T9" fmla="*/ 84 h 126"/>
                        <a:gd name="T10" fmla="*/ 36 w 154"/>
                        <a:gd name="T11" fmla="*/ 76 h 126"/>
                        <a:gd name="T12" fmla="*/ 37 w 154"/>
                        <a:gd name="T13" fmla="*/ 69 h 126"/>
                        <a:gd name="T14" fmla="*/ 42 w 154"/>
                        <a:gd name="T15" fmla="*/ 51 h 126"/>
                        <a:gd name="T16" fmla="*/ 41 w 154"/>
                        <a:gd name="T17" fmla="*/ 42 h 126"/>
                        <a:gd name="T18" fmla="*/ 34 w 154"/>
                        <a:gd name="T19" fmla="*/ 36 h 126"/>
                        <a:gd name="T20" fmla="*/ 25 w 154"/>
                        <a:gd name="T21" fmla="*/ 39 h 126"/>
                        <a:gd name="T22" fmla="*/ 20 w 154"/>
                        <a:gd name="T23" fmla="*/ 35 h 126"/>
                        <a:gd name="T24" fmla="*/ 7 w 154"/>
                        <a:gd name="T25" fmla="*/ 37 h 126"/>
                        <a:gd name="T26" fmla="*/ 8 w 154"/>
                        <a:gd name="T27" fmla="*/ 28 h 126"/>
                        <a:gd name="T28" fmla="*/ 6 w 154"/>
                        <a:gd name="T29" fmla="*/ 23 h 126"/>
                        <a:gd name="T30" fmla="*/ 1 w 154"/>
                        <a:gd name="T31" fmla="*/ 14 h 126"/>
                        <a:gd name="T32" fmla="*/ 17 w 154"/>
                        <a:gd name="T33" fmla="*/ 8 h 126"/>
                        <a:gd name="T34" fmla="*/ 20 w 154"/>
                        <a:gd name="T35" fmla="*/ 1 h 126"/>
                        <a:gd name="T36" fmla="*/ 35 w 154"/>
                        <a:gd name="T37" fmla="*/ 4 h 126"/>
                        <a:gd name="T38" fmla="*/ 59 w 154"/>
                        <a:gd name="T39" fmla="*/ 2 h 126"/>
                        <a:gd name="T40" fmla="*/ 79 w 154"/>
                        <a:gd name="T41" fmla="*/ 6 h 126"/>
                        <a:gd name="T42" fmla="*/ 93 w 154"/>
                        <a:gd name="T43" fmla="*/ 8 h 126"/>
                        <a:gd name="T44" fmla="*/ 103 w 154"/>
                        <a:gd name="T45" fmla="*/ 10 h 126"/>
                        <a:gd name="T46" fmla="*/ 117 w 154"/>
                        <a:gd name="T47" fmla="*/ 10 h 126"/>
                        <a:gd name="T48" fmla="*/ 126 w 154"/>
                        <a:gd name="T49" fmla="*/ 16 h 126"/>
                        <a:gd name="T50" fmla="*/ 141 w 154"/>
                        <a:gd name="T51" fmla="*/ 21 h 126"/>
                        <a:gd name="T52" fmla="*/ 148 w 154"/>
                        <a:gd name="T53" fmla="*/ 17 h 126"/>
                        <a:gd name="T54" fmla="*/ 163 w 154"/>
                        <a:gd name="T55" fmla="*/ 25 h 126"/>
                        <a:gd name="T56" fmla="*/ 178 w 154"/>
                        <a:gd name="T57" fmla="*/ 27 h 126"/>
                        <a:gd name="T58" fmla="*/ 184 w 154"/>
                        <a:gd name="T59" fmla="*/ 31 h 126"/>
                        <a:gd name="T60" fmla="*/ 172 w 154"/>
                        <a:gd name="T61" fmla="*/ 45 h 126"/>
                        <a:gd name="T62" fmla="*/ 151 w 154"/>
                        <a:gd name="T63" fmla="*/ 53 h 126"/>
                        <a:gd name="T64" fmla="*/ 149 w 154"/>
                        <a:gd name="T65" fmla="*/ 63 h 126"/>
                        <a:gd name="T66" fmla="*/ 133 w 154"/>
                        <a:gd name="T67" fmla="*/ 83 h 126"/>
                        <a:gd name="T68" fmla="*/ 137 w 154"/>
                        <a:gd name="T69" fmla="*/ 97 h 126"/>
                        <a:gd name="T70" fmla="*/ 133 w 154"/>
                        <a:gd name="T71" fmla="*/ 105 h 126"/>
                        <a:gd name="T72" fmla="*/ 125 w 154"/>
                        <a:gd name="T73" fmla="*/ 121 h 126"/>
                        <a:gd name="T74" fmla="*/ 117 w 154"/>
                        <a:gd name="T75" fmla="*/ 124 h 126"/>
                        <a:gd name="T76" fmla="*/ 108 w 154"/>
                        <a:gd name="T77" fmla="*/ 138 h 126"/>
                        <a:gd name="T78" fmla="*/ 101 w 154"/>
                        <a:gd name="T79" fmla="*/ 138 h 126"/>
                        <a:gd name="T80" fmla="*/ 86 w 154"/>
                        <a:gd name="T81" fmla="*/ 140 h 126"/>
                        <a:gd name="T82" fmla="*/ 70 w 154"/>
                        <a:gd name="T83" fmla="*/ 142 h 126"/>
                        <a:gd name="T84" fmla="*/ 58 w 154"/>
                        <a:gd name="T85" fmla="*/ 151 h 126"/>
                        <a:gd name="T86" fmla="*/ 44 w 154"/>
                        <a:gd name="T87" fmla="*/ 142 h 126"/>
                        <a:gd name="T88" fmla="*/ 36 w 154"/>
                        <a:gd name="T89" fmla="*/ 130 h 12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w 154"/>
                        <a:gd name="T136" fmla="*/ 0 h 126"/>
                        <a:gd name="T137" fmla="*/ 154 w 154"/>
                        <a:gd name="T138" fmla="*/ 126 h 126"/>
                      </a:gdLst>
                      <a:ahLst/>
                      <a:cxnLst>
                        <a:cxn ang="T90">
                          <a:pos x="T0" y="T1"/>
                        </a:cxn>
                        <a:cxn ang="T91">
                          <a:pos x="T2" y="T3"/>
                        </a:cxn>
                        <a:cxn ang="T92">
                          <a:pos x="T4" y="T5"/>
                        </a:cxn>
                        <a:cxn ang="T93">
                          <a:pos x="T6" y="T7"/>
                        </a:cxn>
                        <a:cxn ang="T94">
                          <a:pos x="T8" y="T9"/>
                        </a:cxn>
                        <a:cxn ang="T95">
                          <a:pos x="T10" y="T11"/>
                        </a:cxn>
                        <a:cxn ang="T96">
                          <a:pos x="T12" y="T13"/>
                        </a:cxn>
                        <a:cxn ang="T97">
                          <a:pos x="T14" y="T15"/>
                        </a:cxn>
                        <a:cxn ang="T98">
                          <a:pos x="T16" y="T17"/>
                        </a:cxn>
                        <a:cxn ang="T99">
                          <a:pos x="T18" y="T19"/>
                        </a:cxn>
                        <a:cxn ang="T100">
                          <a:pos x="T20" y="T21"/>
                        </a:cxn>
                        <a:cxn ang="T101">
                          <a:pos x="T22" y="T23"/>
                        </a:cxn>
                        <a:cxn ang="T102">
                          <a:pos x="T24" y="T25"/>
                        </a:cxn>
                        <a:cxn ang="T103">
                          <a:pos x="T26" y="T27"/>
                        </a:cxn>
                        <a:cxn ang="T104">
                          <a:pos x="T28" y="T29"/>
                        </a:cxn>
                        <a:cxn ang="T105">
                          <a:pos x="T30" y="T31"/>
                        </a:cxn>
                        <a:cxn ang="T106">
                          <a:pos x="T32" y="T33"/>
                        </a:cxn>
                        <a:cxn ang="T107">
                          <a:pos x="T34" y="T35"/>
                        </a:cxn>
                        <a:cxn ang="T108">
                          <a:pos x="T36" y="T37"/>
                        </a:cxn>
                        <a:cxn ang="T109">
                          <a:pos x="T38" y="T39"/>
                        </a:cxn>
                        <a:cxn ang="T110">
                          <a:pos x="T40" y="T41"/>
                        </a:cxn>
                        <a:cxn ang="T111">
                          <a:pos x="T42" y="T43"/>
                        </a:cxn>
                        <a:cxn ang="T112">
                          <a:pos x="T44" y="T45"/>
                        </a:cxn>
                        <a:cxn ang="T113">
                          <a:pos x="T46" y="T47"/>
                        </a:cxn>
                        <a:cxn ang="T114">
                          <a:pos x="T48" y="T49"/>
                        </a:cxn>
                        <a:cxn ang="T115">
                          <a:pos x="T50" y="T51"/>
                        </a:cxn>
                        <a:cxn ang="T116">
                          <a:pos x="T52" y="T53"/>
                        </a:cxn>
                        <a:cxn ang="T117">
                          <a:pos x="T54" y="T55"/>
                        </a:cxn>
                        <a:cxn ang="T118">
                          <a:pos x="T56" y="T57"/>
                        </a:cxn>
                        <a:cxn ang="T119">
                          <a:pos x="T58" y="T59"/>
                        </a:cxn>
                        <a:cxn ang="T120">
                          <a:pos x="T60" y="T61"/>
                        </a:cxn>
                        <a:cxn ang="T121">
                          <a:pos x="T62" y="T63"/>
                        </a:cxn>
                        <a:cxn ang="T122">
                          <a:pos x="T64" y="T65"/>
                        </a:cxn>
                        <a:cxn ang="T123">
                          <a:pos x="T66" y="T67"/>
                        </a:cxn>
                        <a:cxn ang="T124">
                          <a:pos x="T68" y="T69"/>
                        </a:cxn>
                        <a:cxn ang="T125">
                          <a:pos x="T70" y="T71"/>
                        </a:cxn>
                        <a:cxn ang="T126">
                          <a:pos x="T72" y="T73"/>
                        </a:cxn>
                        <a:cxn ang="T127">
                          <a:pos x="T74" y="T75"/>
                        </a:cxn>
                        <a:cxn ang="T128">
                          <a:pos x="T76" y="T77"/>
                        </a:cxn>
                        <a:cxn ang="T129">
                          <a:pos x="T78" y="T79"/>
                        </a:cxn>
                        <a:cxn ang="T130">
                          <a:pos x="T80" y="T81"/>
                        </a:cxn>
                        <a:cxn ang="T131">
                          <a:pos x="T82" y="T83"/>
                        </a:cxn>
                        <a:cxn ang="T132">
                          <a:pos x="T84" y="T85"/>
                        </a:cxn>
                        <a:cxn ang="T133">
                          <a:pos x="T86" y="T87"/>
                        </a:cxn>
                        <a:cxn ang="T134">
                          <a:pos x="T88" y="T89"/>
                        </a:cxn>
                      </a:cxnLst>
                      <a:rect l="T135" t="T136" r="T137" b="T138"/>
                      <a:pathLst>
                        <a:path w="154" h="126">
                          <a:moveTo>
                            <a:pt x="24" y="108"/>
                          </a:moveTo>
                          <a:cubicBezTo>
                            <a:pt x="23" y="106"/>
                            <a:pt x="22" y="105"/>
                            <a:pt x="22" y="102"/>
                          </a:cubicBezTo>
                          <a:cubicBezTo>
                            <a:pt x="22" y="101"/>
                            <a:pt x="24" y="99"/>
                            <a:pt x="25" y="98"/>
                          </a:cubicBezTo>
                          <a:cubicBezTo>
                            <a:pt x="26" y="96"/>
                            <a:pt x="29" y="96"/>
                            <a:pt x="29" y="94"/>
                          </a:cubicBezTo>
                          <a:cubicBezTo>
                            <a:pt x="29" y="92"/>
                            <a:pt x="26" y="91"/>
                            <a:pt x="25" y="89"/>
                          </a:cubicBezTo>
                          <a:cubicBezTo>
                            <a:pt x="25" y="88"/>
                            <a:pt x="25" y="86"/>
                            <a:pt x="25" y="85"/>
                          </a:cubicBezTo>
                          <a:cubicBezTo>
                            <a:pt x="26" y="84"/>
                            <a:pt x="28" y="83"/>
                            <a:pt x="29" y="81"/>
                          </a:cubicBezTo>
                          <a:cubicBezTo>
                            <a:pt x="30" y="80"/>
                            <a:pt x="30" y="79"/>
                            <a:pt x="29" y="78"/>
                          </a:cubicBezTo>
                          <a:cubicBezTo>
                            <a:pt x="29" y="77"/>
                            <a:pt x="27" y="77"/>
                            <a:pt x="26" y="76"/>
                          </a:cubicBezTo>
                          <a:cubicBezTo>
                            <a:pt x="25" y="74"/>
                            <a:pt x="23" y="72"/>
                            <a:pt x="24" y="70"/>
                          </a:cubicBezTo>
                          <a:cubicBezTo>
                            <a:pt x="24" y="68"/>
                            <a:pt x="27" y="69"/>
                            <a:pt x="29" y="68"/>
                          </a:cubicBezTo>
                          <a:cubicBezTo>
                            <a:pt x="30" y="67"/>
                            <a:pt x="30" y="65"/>
                            <a:pt x="30" y="63"/>
                          </a:cubicBezTo>
                          <a:cubicBezTo>
                            <a:pt x="30" y="62"/>
                            <a:pt x="28" y="61"/>
                            <a:pt x="29" y="60"/>
                          </a:cubicBezTo>
                          <a:cubicBezTo>
                            <a:pt x="29" y="59"/>
                            <a:pt x="31" y="58"/>
                            <a:pt x="31" y="57"/>
                          </a:cubicBezTo>
                          <a:cubicBezTo>
                            <a:pt x="32" y="53"/>
                            <a:pt x="29" y="50"/>
                            <a:pt x="30" y="46"/>
                          </a:cubicBezTo>
                          <a:cubicBezTo>
                            <a:pt x="31" y="44"/>
                            <a:pt x="33" y="44"/>
                            <a:pt x="35" y="42"/>
                          </a:cubicBezTo>
                          <a:cubicBezTo>
                            <a:pt x="36" y="40"/>
                            <a:pt x="39" y="39"/>
                            <a:pt x="39" y="36"/>
                          </a:cubicBezTo>
                          <a:cubicBezTo>
                            <a:pt x="39" y="35"/>
                            <a:pt x="35" y="36"/>
                            <a:pt x="34" y="35"/>
                          </a:cubicBezTo>
                          <a:cubicBezTo>
                            <a:pt x="34" y="33"/>
                            <a:pt x="36" y="31"/>
                            <a:pt x="35" y="30"/>
                          </a:cubicBezTo>
                          <a:cubicBezTo>
                            <a:pt x="33" y="29"/>
                            <a:pt x="30" y="30"/>
                            <a:pt x="28" y="30"/>
                          </a:cubicBezTo>
                          <a:cubicBezTo>
                            <a:pt x="27" y="30"/>
                            <a:pt x="26" y="32"/>
                            <a:pt x="25" y="33"/>
                          </a:cubicBezTo>
                          <a:cubicBezTo>
                            <a:pt x="24" y="33"/>
                            <a:pt x="22" y="32"/>
                            <a:pt x="21" y="32"/>
                          </a:cubicBezTo>
                          <a:cubicBezTo>
                            <a:pt x="19" y="32"/>
                            <a:pt x="16" y="34"/>
                            <a:pt x="15" y="33"/>
                          </a:cubicBezTo>
                          <a:cubicBezTo>
                            <a:pt x="13" y="32"/>
                            <a:pt x="17" y="31"/>
                            <a:pt x="17" y="29"/>
                          </a:cubicBezTo>
                          <a:cubicBezTo>
                            <a:pt x="17" y="28"/>
                            <a:pt x="15" y="27"/>
                            <a:pt x="14" y="27"/>
                          </a:cubicBezTo>
                          <a:cubicBezTo>
                            <a:pt x="11" y="28"/>
                            <a:pt x="9" y="30"/>
                            <a:pt x="6" y="31"/>
                          </a:cubicBezTo>
                          <a:cubicBezTo>
                            <a:pt x="7" y="29"/>
                            <a:pt x="8" y="28"/>
                            <a:pt x="8" y="26"/>
                          </a:cubicBezTo>
                          <a:cubicBezTo>
                            <a:pt x="8" y="25"/>
                            <a:pt x="7" y="24"/>
                            <a:pt x="7" y="23"/>
                          </a:cubicBezTo>
                          <a:cubicBezTo>
                            <a:pt x="7" y="21"/>
                            <a:pt x="9" y="20"/>
                            <a:pt x="8" y="18"/>
                          </a:cubicBezTo>
                          <a:cubicBezTo>
                            <a:pt x="7" y="17"/>
                            <a:pt x="6" y="20"/>
                            <a:pt x="5" y="19"/>
                          </a:cubicBezTo>
                          <a:cubicBezTo>
                            <a:pt x="4" y="19"/>
                            <a:pt x="4" y="17"/>
                            <a:pt x="4" y="15"/>
                          </a:cubicBezTo>
                          <a:cubicBezTo>
                            <a:pt x="3" y="14"/>
                            <a:pt x="0" y="13"/>
                            <a:pt x="1" y="12"/>
                          </a:cubicBezTo>
                          <a:cubicBezTo>
                            <a:pt x="3" y="9"/>
                            <a:pt x="6" y="8"/>
                            <a:pt x="9" y="7"/>
                          </a:cubicBezTo>
                          <a:cubicBezTo>
                            <a:pt x="10" y="6"/>
                            <a:pt x="12" y="7"/>
                            <a:pt x="14" y="7"/>
                          </a:cubicBezTo>
                          <a:cubicBezTo>
                            <a:pt x="15" y="6"/>
                            <a:pt x="13" y="5"/>
                            <a:pt x="14" y="4"/>
                          </a:cubicBezTo>
                          <a:cubicBezTo>
                            <a:pt x="15" y="3"/>
                            <a:pt x="16" y="2"/>
                            <a:pt x="17" y="1"/>
                          </a:cubicBezTo>
                          <a:cubicBezTo>
                            <a:pt x="19" y="1"/>
                            <a:pt x="21" y="0"/>
                            <a:pt x="23" y="0"/>
                          </a:cubicBezTo>
                          <a:cubicBezTo>
                            <a:pt x="25" y="0"/>
                            <a:pt x="26" y="3"/>
                            <a:pt x="29" y="3"/>
                          </a:cubicBezTo>
                          <a:cubicBezTo>
                            <a:pt x="33" y="4"/>
                            <a:pt x="37" y="3"/>
                            <a:pt x="42" y="3"/>
                          </a:cubicBezTo>
                          <a:cubicBezTo>
                            <a:pt x="44" y="3"/>
                            <a:pt x="46" y="2"/>
                            <a:pt x="49" y="2"/>
                          </a:cubicBezTo>
                          <a:cubicBezTo>
                            <a:pt x="51" y="2"/>
                            <a:pt x="53" y="5"/>
                            <a:pt x="55" y="5"/>
                          </a:cubicBezTo>
                          <a:cubicBezTo>
                            <a:pt x="59" y="5"/>
                            <a:pt x="63" y="5"/>
                            <a:pt x="66" y="5"/>
                          </a:cubicBezTo>
                          <a:cubicBezTo>
                            <a:pt x="68" y="5"/>
                            <a:pt x="70" y="4"/>
                            <a:pt x="71" y="4"/>
                          </a:cubicBezTo>
                          <a:cubicBezTo>
                            <a:pt x="73" y="4"/>
                            <a:pt x="75" y="7"/>
                            <a:pt x="77" y="7"/>
                          </a:cubicBezTo>
                          <a:cubicBezTo>
                            <a:pt x="78" y="7"/>
                            <a:pt x="78" y="4"/>
                            <a:pt x="80" y="4"/>
                          </a:cubicBezTo>
                          <a:cubicBezTo>
                            <a:pt x="82" y="4"/>
                            <a:pt x="83" y="7"/>
                            <a:pt x="86" y="8"/>
                          </a:cubicBezTo>
                          <a:cubicBezTo>
                            <a:pt x="88" y="8"/>
                            <a:pt x="90" y="7"/>
                            <a:pt x="92" y="7"/>
                          </a:cubicBezTo>
                          <a:cubicBezTo>
                            <a:pt x="94" y="7"/>
                            <a:pt x="96" y="7"/>
                            <a:pt x="97" y="8"/>
                          </a:cubicBezTo>
                          <a:cubicBezTo>
                            <a:pt x="99" y="9"/>
                            <a:pt x="98" y="11"/>
                            <a:pt x="100" y="12"/>
                          </a:cubicBezTo>
                          <a:cubicBezTo>
                            <a:pt x="101" y="13"/>
                            <a:pt x="103" y="13"/>
                            <a:pt x="105" y="13"/>
                          </a:cubicBezTo>
                          <a:cubicBezTo>
                            <a:pt x="107" y="14"/>
                            <a:pt x="109" y="15"/>
                            <a:pt x="111" y="16"/>
                          </a:cubicBezTo>
                          <a:cubicBezTo>
                            <a:pt x="113" y="16"/>
                            <a:pt x="115" y="16"/>
                            <a:pt x="117" y="17"/>
                          </a:cubicBezTo>
                          <a:cubicBezTo>
                            <a:pt x="119" y="17"/>
                            <a:pt x="121" y="17"/>
                            <a:pt x="122" y="16"/>
                          </a:cubicBezTo>
                          <a:cubicBezTo>
                            <a:pt x="123" y="16"/>
                            <a:pt x="123" y="14"/>
                            <a:pt x="123" y="14"/>
                          </a:cubicBezTo>
                          <a:cubicBezTo>
                            <a:pt x="126" y="15"/>
                            <a:pt x="129" y="17"/>
                            <a:pt x="131" y="18"/>
                          </a:cubicBezTo>
                          <a:cubicBezTo>
                            <a:pt x="133" y="19"/>
                            <a:pt x="134" y="20"/>
                            <a:pt x="136" y="21"/>
                          </a:cubicBezTo>
                          <a:cubicBezTo>
                            <a:pt x="138" y="21"/>
                            <a:pt x="139" y="21"/>
                            <a:pt x="141" y="21"/>
                          </a:cubicBezTo>
                          <a:cubicBezTo>
                            <a:pt x="143" y="22"/>
                            <a:pt x="146" y="22"/>
                            <a:pt x="148" y="22"/>
                          </a:cubicBezTo>
                          <a:cubicBezTo>
                            <a:pt x="149" y="22"/>
                            <a:pt x="150" y="21"/>
                            <a:pt x="151" y="21"/>
                          </a:cubicBezTo>
                          <a:cubicBezTo>
                            <a:pt x="152" y="22"/>
                            <a:pt x="153" y="24"/>
                            <a:pt x="153" y="26"/>
                          </a:cubicBezTo>
                          <a:cubicBezTo>
                            <a:pt x="154" y="28"/>
                            <a:pt x="154" y="30"/>
                            <a:pt x="153" y="32"/>
                          </a:cubicBezTo>
                          <a:cubicBezTo>
                            <a:pt x="150" y="34"/>
                            <a:pt x="146" y="35"/>
                            <a:pt x="143" y="37"/>
                          </a:cubicBezTo>
                          <a:cubicBezTo>
                            <a:pt x="142" y="38"/>
                            <a:pt x="142" y="41"/>
                            <a:pt x="141" y="41"/>
                          </a:cubicBezTo>
                          <a:cubicBezTo>
                            <a:pt x="136" y="43"/>
                            <a:pt x="130" y="42"/>
                            <a:pt x="126" y="44"/>
                          </a:cubicBezTo>
                          <a:cubicBezTo>
                            <a:pt x="124" y="45"/>
                            <a:pt x="124" y="48"/>
                            <a:pt x="123" y="49"/>
                          </a:cubicBezTo>
                          <a:cubicBezTo>
                            <a:pt x="123" y="50"/>
                            <a:pt x="124" y="51"/>
                            <a:pt x="124" y="52"/>
                          </a:cubicBezTo>
                          <a:cubicBezTo>
                            <a:pt x="123" y="54"/>
                            <a:pt x="121" y="54"/>
                            <a:pt x="119" y="56"/>
                          </a:cubicBezTo>
                          <a:cubicBezTo>
                            <a:pt x="116" y="60"/>
                            <a:pt x="113" y="65"/>
                            <a:pt x="111" y="69"/>
                          </a:cubicBezTo>
                          <a:cubicBezTo>
                            <a:pt x="110" y="71"/>
                            <a:pt x="110" y="73"/>
                            <a:pt x="111" y="74"/>
                          </a:cubicBezTo>
                          <a:cubicBezTo>
                            <a:pt x="111" y="76"/>
                            <a:pt x="113" y="78"/>
                            <a:pt x="114" y="80"/>
                          </a:cubicBezTo>
                          <a:cubicBezTo>
                            <a:pt x="115" y="81"/>
                            <a:pt x="117" y="82"/>
                            <a:pt x="117" y="83"/>
                          </a:cubicBezTo>
                          <a:cubicBezTo>
                            <a:pt x="116" y="85"/>
                            <a:pt x="112" y="86"/>
                            <a:pt x="111" y="87"/>
                          </a:cubicBezTo>
                          <a:cubicBezTo>
                            <a:pt x="109" y="89"/>
                            <a:pt x="107" y="91"/>
                            <a:pt x="106" y="93"/>
                          </a:cubicBezTo>
                          <a:cubicBezTo>
                            <a:pt x="105" y="95"/>
                            <a:pt x="104" y="97"/>
                            <a:pt x="104" y="100"/>
                          </a:cubicBezTo>
                          <a:cubicBezTo>
                            <a:pt x="104" y="101"/>
                            <a:pt x="107" y="101"/>
                            <a:pt x="106" y="102"/>
                          </a:cubicBezTo>
                          <a:cubicBezTo>
                            <a:pt x="103" y="103"/>
                            <a:pt x="100" y="102"/>
                            <a:pt x="97" y="103"/>
                          </a:cubicBezTo>
                          <a:cubicBezTo>
                            <a:pt x="96" y="104"/>
                            <a:pt x="94" y="105"/>
                            <a:pt x="93" y="107"/>
                          </a:cubicBezTo>
                          <a:cubicBezTo>
                            <a:pt x="91" y="109"/>
                            <a:pt x="92" y="112"/>
                            <a:pt x="90" y="114"/>
                          </a:cubicBezTo>
                          <a:cubicBezTo>
                            <a:pt x="90" y="115"/>
                            <a:pt x="88" y="116"/>
                            <a:pt x="87" y="116"/>
                          </a:cubicBezTo>
                          <a:cubicBezTo>
                            <a:pt x="86" y="116"/>
                            <a:pt x="85" y="114"/>
                            <a:pt x="84" y="114"/>
                          </a:cubicBezTo>
                          <a:cubicBezTo>
                            <a:pt x="83" y="114"/>
                            <a:pt x="82" y="116"/>
                            <a:pt x="81" y="116"/>
                          </a:cubicBezTo>
                          <a:cubicBezTo>
                            <a:pt x="78" y="117"/>
                            <a:pt x="75" y="116"/>
                            <a:pt x="72" y="116"/>
                          </a:cubicBezTo>
                          <a:cubicBezTo>
                            <a:pt x="69" y="116"/>
                            <a:pt x="67" y="115"/>
                            <a:pt x="64" y="116"/>
                          </a:cubicBezTo>
                          <a:cubicBezTo>
                            <a:pt x="62" y="116"/>
                            <a:pt x="60" y="117"/>
                            <a:pt x="58" y="118"/>
                          </a:cubicBezTo>
                          <a:cubicBezTo>
                            <a:pt x="56" y="119"/>
                            <a:pt x="53" y="120"/>
                            <a:pt x="51" y="122"/>
                          </a:cubicBezTo>
                          <a:cubicBezTo>
                            <a:pt x="50" y="122"/>
                            <a:pt x="49" y="125"/>
                            <a:pt x="48" y="125"/>
                          </a:cubicBezTo>
                          <a:cubicBezTo>
                            <a:pt x="46" y="126"/>
                            <a:pt x="43" y="126"/>
                            <a:pt x="41" y="125"/>
                          </a:cubicBezTo>
                          <a:cubicBezTo>
                            <a:pt x="39" y="124"/>
                            <a:pt x="38" y="121"/>
                            <a:pt x="37" y="118"/>
                          </a:cubicBezTo>
                          <a:cubicBezTo>
                            <a:pt x="36" y="117"/>
                            <a:pt x="37" y="115"/>
                            <a:pt x="36" y="113"/>
                          </a:cubicBezTo>
                          <a:cubicBezTo>
                            <a:pt x="34" y="111"/>
                            <a:pt x="32" y="109"/>
                            <a:pt x="30" y="108"/>
                          </a:cubicBezTo>
                          <a:cubicBezTo>
                            <a:pt x="28" y="108"/>
                            <a:pt x="26" y="108"/>
                            <a:pt x="24" y="108"/>
                          </a:cubicBezTo>
                          <a:close/>
                        </a:path>
                      </a:pathLst>
                    </a:custGeom>
                    <a:grpFill/>
                    <a:ln w="3175" cap="rnd">
                      <a:solidFill>
                        <a:schemeClr val="bg1">
                          <a:lumMod val="75000"/>
                        </a:schemeClr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it-IT">
                        <a:solidFill>
                          <a:srgbClr val="133B9C"/>
                        </a:solidFill>
                        <a:latin typeface="Arial" charset="0"/>
                        <a:cs typeface="Arial" charset="0"/>
                      </a:endParaRPr>
                    </a:p>
                  </p:txBody>
                </p:sp>
                <p:sp>
                  <p:nvSpPr>
                    <p:cNvPr id="2040" name="Freeform 2722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347955" y="2391272"/>
                      <a:ext cx="4474" cy="2493"/>
                    </a:xfrm>
                    <a:custGeom>
                      <a:avLst/>
                      <a:gdLst>
                        <a:gd name="T0" fmla="*/ 0 w 4"/>
                        <a:gd name="T1" fmla="*/ 2 h 3"/>
                        <a:gd name="T2" fmla="*/ 2 w 4"/>
                        <a:gd name="T3" fmla="*/ 1 h 3"/>
                        <a:gd name="T4" fmla="*/ 3 w 4"/>
                        <a:gd name="T5" fmla="*/ 0 h 3"/>
                        <a:gd name="T6" fmla="*/ 4 w 4"/>
                        <a:gd name="T7" fmla="*/ 2 h 3"/>
                        <a:gd name="T8" fmla="*/ 2 w 4"/>
                        <a:gd name="T9" fmla="*/ 3 h 3"/>
                        <a:gd name="T10" fmla="*/ 0 w 4"/>
                        <a:gd name="T11" fmla="*/ 2 h 3"/>
                        <a:gd name="T12" fmla="*/ 0 60000 65536"/>
                        <a:gd name="T13" fmla="*/ 0 60000 65536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  <a:gd name="T18" fmla="*/ 0 w 4"/>
                        <a:gd name="T19" fmla="*/ 0 h 3"/>
                        <a:gd name="T20" fmla="*/ 4 w 4"/>
                        <a:gd name="T21" fmla="*/ 3 h 3"/>
                      </a:gdLst>
                      <a:ahLst/>
                      <a:cxnLst>
                        <a:cxn ang="T12">
                          <a:pos x="T0" y="T1"/>
                        </a:cxn>
                        <a:cxn ang="T13">
                          <a:pos x="T2" y="T3"/>
                        </a:cxn>
                        <a:cxn ang="T14">
                          <a:pos x="T4" y="T5"/>
                        </a:cxn>
                        <a:cxn ang="T15">
                          <a:pos x="T6" y="T7"/>
                        </a:cxn>
                        <a:cxn ang="T16">
                          <a:pos x="T8" y="T9"/>
                        </a:cxn>
                        <a:cxn ang="T17">
                          <a:pos x="T10" y="T11"/>
                        </a:cxn>
                      </a:cxnLst>
                      <a:rect l="T18" t="T19" r="T20" b="T21"/>
                      <a:pathLst>
                        <a:path w="4" h="3">
                          <a:moveTo>
                            <a:pt x="0" y="2"/>
                          </a:moveTo>
                          <a:cubicBezTo>
                            <a:pt x="0" y="1"/>
                            <a:pt x="1" y="1"/>
                            <a:pt x="2" y="1"/>
                          </a:cubicBezTo>
                          <a:cubicBezTo>
                            <a:pt x="2" y="1"/>
                            <a:pt x="2" y="0"/>
                            <a:pt x="3" y="0"/>
                          </a:cubicBezTo>
                          <a:cubicBezTo>
                            <a:pt x="4" y="1"/>
                            <a:pt x="4" y="1"/>
                            <a:pt x="4" y="2"/>
                          </a:cubicBezTo>
                          <a:cubicBezTo>
                            <a:pt x="4" y="3"/>
                            <a:pt x="2" y="3"/>
                            <a:pt x="2" y="3"/>
                          </a:cubicBezTo>
                          <a:cubicBezTo>
                            <a:pt x="1" y="3"/>
                            <a:pt x="0" y="2"/>
                            <a:pt x="0" y="2"/>
                          </a:cubicBezTo>
                          <a:close/>
                        </a:path>
                      </a:pathLst>
                    </a:custGeom>
                    <a:grpFill/>
                    <a:ln w="3175" cap="rnd">
                      <a:solidFill>
                        <a:schemeClr val="bg1">
                          <a:lumMod val="75000"/>
                        </a:schemeClr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it-IT">
                        <a:solidFill>
                          <a:srgbClr val="133B9C"/>
                        </a:solidFill>
                        <a:latin typeface="Arial" charset="0"/>
                        <a:cs typeface="Arial" charset="0"/>
                      </a:endParaRPr>
                    </a:p>
                  </p:txBody>
                </p:sp>
                <p:sp>
                  <p:nvSpPr>
                    <p:cNvPr id="2041" name="Freeform 2723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475464" y="2328973"/>
                      <a:ext cx="20133" cy="11630"/>
                    </a:xfrm>
                    <a:custGeom>
                      <a:avLst/>
                      <a:gdLst>
                        <a:gd name="T0" fmla="*/ 12 w 15"/>
                        <a:gd name="T1" fmla="*/ 0 h 12"/>
                        <a:gd name="T2" fmla="*/ 12 w 15"/>
                        <a:gd name="T3" fmla="*/ 5 h 12"/>
                        <a:gd name="T4" fmla="*/ 18 w 15"/>
                        <a:gd name="T5" fmla="*/ 5 h 12"/>
                        <a:gd name="T6" fmla="*/ 12 w 15"/>
                        <a:gd name="T7" fmla="*/ 14 h 12"/>
                        <a:gd name="T8" fmla="*/ 10 w 15"/>
                        <a:gd name="T9" fmla="*/ 13 h 12"/>
                        <a:gd name="T10" fmla="*/ 6 w 15"/>
                        <a:gd name="T11" fmla="*/ 9 h 12"/>
                        <a:gd name="T12" fmla="*/ 0 w 15"/>
                        <a:gd name="T13" fmla="*/ 7 h 12"/>
                        <a:gd name="T14" fmla="*/ 7 w 15"/>
                        <a:gd name="T15" fmla="*/ 4 h 12"/>
                        <a:gd name="T16" fmla="*/ 12 w 15"/>
                        <a:gd name="T17" fmla="*/ 0 h 12"/>
                        <a:gd name="T18" fmla="*/ 0 60000 65536"/>
                        <a:gd name="T19" fmla="*/ 0 60000 65536"/>
                        <a:gd name="T20" fmla="*/ 0 60000 65536"/>
                        <a:gd name="T21" fmla="*/ 0 60000 65536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w 15"/>
                        <a:gd name="T28" fmla="*/ 0 h 12"/>
                        <a:gd name="T29" fmla="*/ 15 w 15"/>
                        <a:gd name="T30" fmla="*/ 12 h 12"/>
                      </a:gdLst>
                      <a:ahLst/>
                      <a:cxnLst>
                        <a:cxn ang="T18">
                          <a:pos x="T0" y="T1"/>
                        </a:cxn>
                        <a:cxn ang="T19">
                          <a:pos x="T2" y="T3"/>
                        </a:cxn>
                        <a:cxn ang="T20">
                          <a:pos x="T4" y="T5"/>
                        </a:cxn>
                        <a:cxn ang="T21">
                          <a:pos x="T6" y="T7"/>
                        </a:cxn>
                        <a:cxn ang="T22">
                          <a:pos x="T8" y="T9"/>
                        </a:cxn>
                        <a:cxn ang="T23">
                          <a:pos x="T10" y="T11"/>
                        </a:cxn>
                        <a:cxn ang="T24">
                          <a:pos x="T12" y="T13"/>
                        </a:cxn>
                        <a:cxn ang="T25">
                          <a:pos x="T14" y="T15"/>
                        </a:cxn>
                        <a:cxn ang="T26">
                          <a:pos x="T16" y="T17"/>
                        </a:cxn>
                      </a:cxnLst>
                      <a:rect l="T27" t="T28" r="T29" b="T30"/>
                      <a:pathLst>
                        <a:path w="15" h="12">
                          <a:moveTo>
                            <a:pt x="10" y="0"/>
                          </a:moveTo>
                          <a:cubicBezTo>
                            <a:pt x="11" y="1"/>
                            <a:pt x="9" y="3"/>
                            <a:pt x="10" y="4"/>
                          </a:cubicBezTo>
                          <a:cubicBezTo>
                            <a:pt x="11" y="5"/>
                            <a:pt x="15" y="2"/>
                            <a:pt x="15" y="4"/>
                          </a:cubicBezTo>
                          <a:cubicBezTo>
                            <a:pt x="15" y="7"/>
                            <a:pt x="12" y="10"/>
                            <a:pt x="10" y="12"/>
                          </a:cubicBezTo>
                          <a:cubicBezTo>
                            <a:pt x="10" y="12"/>
                            <a:pt x="9" y="11"/>
                            <a:pt x="8" y="11"/>
                          </a:cubicBezTo>
                          <a:cubicBezTo>
                            <a:pt x="7" y="10"/>
                            <a:pt x="6" y="8"/>
                            <a:pt x="5" y="8"/>
                          </a:cubicBezTo>
                          <a:cubicBezTo>
                            <a:pt x="4" y="7"/>
                            <a:pt x="0" y="8"/>
                            <a:pt x="0" y="6"/>
                          </a:cubicBezTo>
                          <a:cubicBezTo>
                            <a:pt x="1" y="4"/>
                            <a:pt x="4" y="4"/>
                            <a:pt x="6" y="3"/>
                          </a:cubicBezTo>
                          <a:cubicBezTo>
                            <a:pt x="7" y="2"/>
                            <a:pt x="8" y="0"/>
                            <a:pt x="10" y="0"/>
                          </a:cubicBezTo>
                          <a:close/>
                        </a:path>
                      </a:pathLst>
                    </a:custGeom>
                    <a:grpFill/>
                    <a:ln w="3175" cap="rnd">
                      <a:solidFill>
                        <a:schemeClr val="bg1">
                          <a:lumMod val="75000"/>
                        </a:schemeClr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it-IT">
                        <a:solidFill>
                          <a:srgbClr val="133B9C"/>
                        </a:solidFill>
                        <a:latin typeface="Arial" charset="0"/>
                        <a:cs typeface="Arial" charset="0"/>
                      </a:endParaRPr>
                    </a:p>
                  </p:txBody>
                </p:sp>
                <p:sp>
                  <p:nvSpPr>
                    <p:cNvPr id="2042" name="Freeform 2724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501189" y="2327310"/>
                      <a:ext cx="10067" cy="5815"/>
                    </a:xfrm>
                    <a:custGeom>
                      <a:avLst/>
                      <a:gdLst>
                        <a:gd name="T0" fmla="*/ 3 w 8"/>
                        <a:gd name="T1" fmla="*/ 0 h 6"/>
                        <a:gd name="T2" fmla="*/ 8 w 8"/>
                        <a:gd name="T3" fmla="*/ 6 h 6"/>
                        <a:gd name="T4" fmla="*/ 0 w 8"/>
                        <a:gd name="T5" fmla="*/ 4 h 6"/>
                        <a:gd name="T6" fmla="*/ 0 w 8"/>
                        <a:gd name="T7" fmla="*/ 1 h 6"/>
                        <a:gd name="T8" fmla="*/ 3 w 8"/>
                        <a:gd name="T9" fmla="*/ 0 h 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8"/>
                        <a:gd name="T16" fmla="*/ 0 h 6"/>
                        <a:gd name="T17" fmla="*/ 8 w 8"/>
                        <a:gd name="T18" fmla="*/ 6 h 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8" h="6">
                          <a:moveTo>
                            <a:pt x="3" y="0"/>
                          </a:moveTo>
                          <a:cubicBezTo>
                            <a:pt x="5" y="1"/>
                            <a:pt x="8" y="3"/>
                            <a:pt x="7" y="5"/>
                          </a:cubicBezTo>
                          <a:cubicBezTo>
                            <a:pt x="6" y="6"/>
                            <a:pt x="2" y="4"/>
                            <a:pt x="0" y="3"/>
                          </a:cubicBezTo>
                          <a:cubicBezTo>
                            <a:pt x="0" y="3"/>
                            <a:pt x="0" y="2"/>
                            <a:pt x="0" y="1"/>
                          </a:cubicBezTo>
                          <a:cubicBezTo>
                            <a:pt x="1" y="0"/>
                            <a:pt x="2" y="0"/>
                            <a:pt x="3" y="0"/>
                          </a:cubicBezTo>
                          <a:close/>
                        </a:path>
                      </a:pathLst>
                    </a:custGeom>
                    <a:grpFill/>
                    <a:ln w="3175" cap="rnd">
                      <a:solidFill>
                        <a:schemeClr val="bg1">
                          <a:lumMod val="75000"/>
                        </a:schemeClr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it-IT">
                        <a:solidFill>
                          <a:srgbClr val="133B9C"/>
                        </a:solidFill>
                        <a:latin typeface="Arial" charset="0"/>
                        <a:cs typeface="Arial" charset="0"/>
                      </a:endParaRPr>
                    </a:p>
                  </p:txBody>
                </p:sp>
                <p:sp>
                  <p:nvSpPr>
                    <p:cNvPr id="2043" name="Freeform 2725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456449" y="2342263"/>
                      <a:ext cx="8948" cy="5815"/>
                    </a:xfrm>
                    <a:custGeom>
                      <a:avLst/>
                      <a:gdLst>
                        <a:gd name="T0" fmla="*/ 7 w 7"/>
                        <a:gd name="T1" fmla="*/ 1 h 6"/>
                        <a:gd name="T2" fmla="*/ 5 w 7"/>
                        <a:gd name="T3" fmla="*/ 5 h 6"/>
                        <a:gd name="T4" fmla="*/ 0 w 7"/>
                        <a:gd name="T5" fmla="*/ 6 h 6"/>
                        <a:gd name="T6" fmla="*/ 2 w 7"/>
                        <a:gd name="T7" fmla="*/ 2 h 6"/>
                        <a:gd name="T8" fmla="*/ 7 w 7"/>
                        <a:gd name="T9" fmla="*/ 1 h 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7"/>
                        <a:gd name="T16" fmla="*/ 0 h 6"/>
                        <a:gd name="T17" fmla="*/ 7 w 7"/>
                        <a:gd name="T18" fmla="*/ 6 h 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7" h="6">
                          <a:moveTo>
                            <a:pt x="6" y="1"/>
                          </a:moveTo>
                          <a:cubicBezTo>
                            <a:pt x="7" y="2"/>
                            <a:pt x="5" y="4"/>
                            <a:pt x="4" y="4"/>
                          </a:cubicBezTo>
                          <a:cubicBezTo>
                            <a:pt x="3" y="5"/>
                            <a:pt x="1" y="6"/>
                            <a:pt x="0" y="5"/>
                          </a:cubicBezTo>
                          <a:cubicBezTo>
                            <a:pt x="0" y="4"/>
                            <a:pt x="1" y="3"/>
                            <a:pt x="2" y="2"/>
                          </a:cubicBezTo>
                          <a:cubicBezTo>
                            <a:pt x="3" y="1"/>
                            <a:pt x="5" y="0"/>
                            <a:pt x="6" y="1"/>
                          </a:cubicBezTo>
                          <a:close/>
                        </a:path>
                      </a:pathLst>
                    </a:custGeom>
                    <a:grpFill/>
                    <a:ln w="3175" cap="rnd">
                      <a:solidFill>
                        <a:schemeClr val="bg1">
                          <a:lumMod val="75000"/>
                        </a:schemeClr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it-IT">
                        <a:solidFill>
                          <a:srgbClr val="133B9C"/>
                        </a:solidFill>
                        <a:latin typeface="Arial" charset="0"/>
                        <a:cs typeface="Arial" charset="0"/>
                      </a:endParaRPr>
                    </a:p>
                  </p:txBody>
                </p:sp>
                <p:sp>
                  <p:nvSpPr>
                    <p:cNvPr id="2044" name="Freeform 2726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459804" y="2348908"/>
                      <a:ext cx="7830" cy="3322"/>
                    </a:xfrm>
                    <a:custGeom>
                      <a:avLst/>
                      <a:gdLst>
                        <a:gd name="T0" fmla="*/ 3 w 5"/>
                        <a:gd name="T1" fmla="*/ 0 h 3"/>
                        <a:gd name="T2" fmla="*/ 6 w 5"/>
                        <a:gd name="T3" fmla="*/ 3 h 3"/>
                        <a:gd name="T4" fmla="*/ 1 w 5"/>
                        <a:gd name="T5" fmla="*/ 3 h 3"/>
                        <a:gd name="T6" fmla="*/ 3 w 5"/>
                        <a:gd name="T7" fmla="*/ 0 h 3"/>
                        <a:gd name="T8" fmla="*/ 0 60000 65536"/>
                        <a:gd name="T9" fmla="*/ 0 60000 65536"/>
                        <a:gd name="T10" fmla="*/ 0 60000 65536"/>
                        <a:gd name="T11" fmla="*/ 0 60000 65536"/>
                        <a:gd name="T12" fmla="*/ 0 w 5"/>
                        <a:gd name="T13" fmla="*/ 0 h 3"/>
                        <a:gd name="T14" fmla="*/ 5 w 5"/>
                        <a:gd name="T15" fmla="*/ 3 h 3"/>
                      </a:gdLst>
                      <a:ahLst/>
                      <a:cxnLst>
                        <a:cxn ang="T8">
                          <a:pos x="T0" y="T1"/>
                        </a:cxn>
                        <a:cxn ang="T9">
                          <a:pos x="T2" y="T3"/>
                        </a:cxn>
                        <a:cxn ang="T10">
                          <a:pos x="T4" y="T5"/>
                        </a:cxn>
                        <a:cxn ang="T11">
                          <a:pos x="T6" y="T7"/>
                        </a:cxn>
                      </a:cxnLst>
                      <a:rect l="T12" t="T13" r="T14" b="T15"/>
                      <a:pathLst>
                        <a:path w="5" h="3">
                          <a:moveTo>
                            <a:pt x="2" y="0"/>
                          </a:moveTo>
                          <a:cubicBezTo>
                            <a:pt x="3" y="0"/>
                            <a:pt x="5" y="1"/>
                            <a:pt x="4" y="2"/>
                          </a:cubicBezTo>
                          <a:cubicBezTo>
                            <a:pt x="4" y="3"/>
                            <a:pt x="1" y="3"/>
                            <a:pt x="1" y="2"/>
                          </a:cubicBezTo>
                          <a:cubicBezTo>
                            <a:pt x="0" y="2"/>
                            <a:pt x="1" y="0"/>
                            <a:pt x="2" y="0"/>
                          </a:cubicBezTo>
                          <a:close/>
                        </a:path>
                      </a:pathLst>
                    </a:custGeom>
                    <a:grpFill/>
                    <a:ln w="3175" cap="rnd">
                      <a:solidFill>
                        <a:schemeClr val="bg1">
                          <a:lumMod val="75000"/>
                        </a:schemeClr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it-IT">
                        <a:solidFill>
                          <a:srgbClr val="133B9C"/>
                        </a:solidFill>
                        <a:latin typeface="Arial" charset="0"/>
                        <a:cs typeface="Arial" charset="0"/>
                      </a:endParaRPr>
                    </a:p>
                  </p:txBody>
                </p:sp>
                <p:sp>
                  <p:nvSpPr>
                    <p:cNvPr id="2045" name="Freeform 2751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569416" y="2308206"/>
                      <a:ext cx="29081" cy="39041"/>
                    </a:xfrm>
                    <a:custGeom>
                      <a:avLst/>
                      <a:gdLst>
                        <a:gd name="T0" fmla="*/ 22 w 22"/>
                        <a:gd name="T1" fmla="*/ 4 h 39"/>
                        <a:gd name="T2" fmla="*/ 26 w 22"/>
                        <a:gd name="T3" fmla="*/ 14 h 39"/>
                        <a:gd name="T4" fmla="*/ 22 w 22"/>
                        <a:gd name="T5" fmla="*/ 20 h 39"/>
                        <a:gd name="T6" fmla="*/ 24 w 22"/>
                        <a:gd name="T7" fmla="*/ 25 h 39"/>
                        <a:gd name="T8" fmla="*/ 22 w 22"/>
                        <a:gd name="T9" fmla="*/ 42 h 39"/>
                        <a:gd name="T10" fmla="*/ 15 w 22"/>
                        <a:gd name="T11" fmla="*/ 40 h 39"/>
                        <a:gd name="T12" fmla="*/ 13 w 22"/>
                        <a:gd name="T13" fmla="*/ 46 h 39"/>
                        <a:gd name="T14" fmla="*/ 7 w 22"/>
                        <a:gd name="T15" fmla="*/ 45 h 39"/>
                        <a:gd name="T16" fmla="*/ 4 w 22"/>
                        <a:gd name="T17" fmla="*/ 41 h 39"/>
                        <a:gd name="T18" fmla="*/ 5 w 22"/>
                        <a:gd name="T19" fmla="*/ 35 h 39"/>
                        <a:gd name="T20" fmla="*/ 8 w 22"/>
                        <a:gd name="T21" fmla="*/ 28 h 39"/>
                        <a:gd name="T22" fmla="*/ 5 w 22"/>
                        <a:gd name="T23" fmla="*/ 24 h 39"/>
                        <a:gd name="T24" fmla="*/ 6 w 22"/>
                        <a:gd name="T25" fmla="*/ 20 h 39"/>
                        <a:gd name="T26" fmla="*/ 4 w 22"/>
                        <a:gd name="T27" fmla="*/ 14 h 39"/>
                        <a:gd name="T28" fmla="*/ 0 w 22"/>
                        <a:gd name="T29" fmla="*/ 11 h 39"/>
                        <a:gd name="T30" fmla="*/ 2 w 22"/>
                        <a:gd name="T31" fmla="*/ 2 h 39"/>
                        <a:gd name="T32" fmla="*/ 7 w 22"/>
                        <a:gd name="T33" fmla="*/ 8 h 39"/>
                        <a:gd name="T34" fmla="*/ 11 w 22"/>
                        <a:gd name="T35" fmla="*/ 5 h 39"/>
                        <a:gd name="T36" fmla="*/ 17 w 22"/>
                        <a:gd name="T37" fmla="*/ 1 h 39"/>
                        <a:gd name="T38" fmla="*/ 22 w 22"/>
                        <a:gd name="T39" fmla="*/ 4 h 39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w 22"/>
                        <a:gd name="T61" fmla="*/ 0 h 39"/>
                        <a:gd name="T62" fmla="*/ 22 w 22"/>
                        <a:gd name="T63" fmla="*/ 39 h 39"/>
                      </a:gdLst>
                      <a:ahLst/>
                      <a:cxnLst>
                        <a:cxn ang="T40">
                          <a:pos x="T0" y="T1"/>
                        </a:cxn>
                        <a:cxn ang="T41">
                          <a:pos x="T2" y="T3"/>
                        </a:cxn>
                        <a:cxn ang="T42">
                          <a:pos x="T4" y="T5"/>
                        </a:cxn>
                        <a:cxn ang="T43">
                          <a:pos x="T6" y="T7"/>
                        </a:cxn>
                        <a:cxn ang="T44">
                          <a:pos x="T8" y="T9"/>
                        </a:cxn>
                        <a:cxn ang="T45">
                          <a:pos x="T10" y="T11"/>
                        </a:cxn>
                        <a:cxn ang="T46">
                          <a:pos x="T12" y="T13"/>
                        </a:cxn>
                        <a:cxn ang="T47">
                          <a:pos x="T14" y="T15"/>
                        </a:cxn>
                        <a:cxn ang="T48">
                          <a:pos x="T16" y="T17"/>
                        </a:cxn>
                        <a:cxn ang="T49">
                          <a:pos x="T18" y="T19"/>
                        </a:cxn>
                        <a:cxn ang="T50">
                          <a:pos x="T20" y="T21"/>
                        </a:cxn>
                        <a:cxn ang="T51">
                          <a:pos x="T22" y="T23"/>
                        </a:cxn>
                        <a:cxn ang="T52">
                          <a:pos x="T24" y="T25"/>
                        </a:cxn>
                        <a:cxn ang="T53">
                          <a:pos x="T26" y="T27"/>
                        </a:cxn>
                        <a:cxn ang="T54">
                          <a:pos x="T28" y="T29"/>
                        </a:cxn>
                        <a:cxn ang="T55">
                          <a:pos x="T30" y="T31"/>
                        </a:cxn>
                        <a:cxn ang="T56">
                          <a:pos x="T32" y="T33"/>
                        </a:cxn>
                        <a:cxn ang="T57">
                          <a:pos x="T34" y="T35"/>
                        </a:cxn>
                        <a:cxn ang="T58">
                          <a:pos x="T36" y="T37"/>
                        </a:cxn>
                        <a:cxn ang="T59">
                          <a:pos x="T38" y="T39"/>
                        </a:cxn>
                      </a:cxnLst>
                      <a:rect l="T60" t="T61" r="T62" b="T63"/>
                      <a:pathLst>
                        <a:path w="22" h="39">
                          <a:moveTo>
                            <a:pt x="19" y="3"/>
                          </a:moveTo>
                          <a:cubicBezTo>
                            <a:pt x="21" y="5"/>
                            <a:pt x="22" y="9"/>
                            <a:pt x="22" y="12"/>
                          </a:cubicBezTo>
                          <a:cubicBezTo>
                            <a:pt x="22" y="14"/>
                            <a:pt x="19" y="15"/>
                            <a:pt x="19" y="17"/>
                          </a:cubicBezTo>
                          <a:cubicBezTo>
                            <a:pt x="19" y="18"/>
                            <a:pt x="20" y="19"/>
                            <a:pt x="20" y="21"/>
                          </a:cubicBezTo>
                          <a:cubicBezTo>
                            <a:pt x="20" y="26"/>
                            <a:pt x="21" y="31"/>
                            <a:pt x="19" y="35"/>
                          </a:cubicBezTo>
                          <a:cubicBezTo>
                            <a:pt x="18" y="37"/>
                            <a:pt x="15" y="33"/>
                            <a:pt x="13" y="33"/>
                          </a:cubicBezTo>
                          <a:cubicBezTo>
                            <a:pt x="12" y="34"/>
                            <a:pt x="12" y="37"/>
                            <a:pt x="11" y="38"/>
                          </a:cubicBezTo>
                          <a:cubicBezTo>
                            <a:pt x="9" y="39"/>
                            <a:pt x="7" y="38"/>
                            <a:pt x="6" y="37"/>
                          </a:cubicBezTo>
                          <a:cubicBezTo>
                            <a:pt x="5" y="37"/>
                            <a:pt x="4" y="35"/>
                            <a:pt x="3" y="34"/>
                          </a:cubicBezTo>
                          <a:cubicBezTo>
                            <a:pt x="3" y="33"/>
                            <a:pt x="4" y="31"/>
                            <a:pt x="4" y="29"/>
                          </a:cubicBezTo>
                          <a:cubicBezTo>
                            <a:pt x="5" y="27"/>
                            <a:pt x="7" y="25"/>
                            <a:pt x="7" y="23"/>
                          </a:cubicBezTo>
                          <a:cubicBezTo>
                            <a:pt x="7" y="21"/>
                            <a:pt x="5" y="21"/>
                            <a:pt x="4" y="20"/>
                          </a:cubicBezTo>
                          <a:cubicBezTo>
                            <a:pt x="4" y="19"/>
                            <a:pt x="5" y="18"/>
                            <a:pt x="5" y="17"/>
                          </a:cubicBezTo>
                          <a:cubicBezTo>
                            <a:pt x="5" y="15"/>
                            <a:pt x="4" y="13"/>
                            <a:pt x="3" y="12"/>
                          </a:cubicBezTo>
                          <a:cubicBezTo>
                            <a:pt x="2" y="11"/>
                            <a:pt x="1" y="10"/>
                            <a:pt x="0" y="9"/>
                          </a:cubicBezTo>
                          <a:cubicBezTo>
                            <a:pt x="0" y="7"/>
                            <a:pt x="0" y="3"/>
                            <a:pt x="2" y="2"/>
                          </a:cubicBezTo>
                          <a:cubicBezTo>
                            <a:pt x="4" y="2"/>
                            <a:pt x="4" y="6"/>
                            <a:pt x="6" y="7"/>
                          </a:cubicBezTo>
                          <a:cubicBezTo>
                            <a:pt x="7" y="7"/>
                            <a:pt x="8" y="5"/>
                            <a:pt x="9" y="4"/>
                          </a:cubicBezTo>
                          <a:cubicBezTo>
                            <a:pt x="11" y="3"/>
                            <a:pt x="12" y="1"/>
                            <a:pt x="14" y="1"/>
                          </a:cubicBezTo>
                          <a:cubicBezTo>
                            <a:pt x="16" y="0"/>
                            <a:pt x="18" y="1"/>
                            <a:pt x="19" y="3"/>
                          </a:cubicBezTo>
                          <a:close/>
                        </a:path>
                      </a:pathLst>
                    </a:custGeom>
                    <a:grpFill/>
                    <a:ln w="3175" cap="rnd">
                      <a:solidFill>
                        <a:schemeClr val="bg1">
                          <a:lumMod val="75000"/>
                        </a:schemeClr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it-IT">
                        <a:solidFill>
                          <a:srgbClr val="133B9C"/>
                        </a:solidFill>
                        <a:latin typeface="Arial" charset="0"/>
                        <a:cs typeface="Arial" charset="0"/>
                      </a:endParaRPr>
                    </a:p>
                  </p:txBody>
                </p:sp>
                <p:sp>
                  <p:nvSpPr>
                    <p:cNvPr id="2046" name="Freeform 2752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642120" y="2356385"/>
                      <a:ext cx="51450" cy="27413"/>
                    </a:xfrm>
                    <a:custGeom>
                      <a:avLst/>
                      <a:gdLst>
                        <a:gd name="T0" fmla="*/ 46 w 39"/>
                        <a:gd name="T1" fmla="*/ 0 h 28"/>
                        <a:gd name="T2" fmla="*/ 40 w 39"/>
                        <a:gd name="T3" fmla="*/ 13 h 28"/>
                        <a:gd name="T4" fmla="*/ 40 w 39"/>
                        <a:gd name="T5" fmla="*/ 20 h 28"/>
                        <a:gd name="T6" fmla="*/ 42 w 39"/>
                        <a:gd name="T7" fmla="*/ 25 h 28"/>
                        <a:gd name="T8" fmla="*/ 40 w 39"/>
                        <a:gd name="T9" fmla="*/ 28 h 28"/>
                        <a:gd name="T10" fmla="*/ 40 w 39"/>
                        <a:gd name="T11" fmla="*/ 33 h 28"/>
                        <a:gd name="T12" fmla="*/ 31 w 39"/>
                        <a:gd name="T13" fmla="*/ 28 h 28"/>
                        <a:gd name="T14" fmla="*/ 25 w 39"/>
                        <a:gd name="T15" fmla="*/ 24 h 28"/>
                        <a:gd name="T16" fmla="*/ 14 w 39"/>
                        <a:gd name="T17" fmla="*/ 19 h 28"/>
                        <a:gd name="T18" fmla="*/ 9 w 39"/>
                        <a:gd name="T19" fmla="*/ 14 h 28"/>
                        <a:gd name="T20" fmla="*/ 1 w 39"/>
                        <a:gd name="T21" fmla="*/ 12 h 28"/>
                        <a:gd name="T22" fmla="*/ 2 w 39"/>
                        <a:gd name="T23" fmla="*/ 5 h 28"/>
                        <a:gd name="T24" fmla="*/ 9 w 39"/>
                        <a:gd name="T25" fmla="*/ 5 h 28"/>
                        <a:gd name="T26" fmla="*/ 15 w 39"/>
                        <a:gd name="T27" fmla="*/ 6 h 28"/>
                        <a:gd name="T28" fmla="*/ 25 w 39"/>
                        <a:gd name="T29" fmla="*/ 6 h 28"/>
                        <a:gd name="T30" fmla="*/ 38 w 39"/>
                        <a:gd name="T31" fmla="*/ 2 h 28"/>
                        <a:gd name="T32" fmla="*/ 46 w 39"/>
                        <a:gd name="T33" fmla="*/ 0 h 28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39"/>
                        <a:gd name="T52" fmla="*/ 0 h 28"/>
                        <a:gd name="T53" fmla="*/ 39 w 39"/>
                        <a:gd name="T54" fmla="*/ 28 h 28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39" h="28">
                          <a:moveTo>
                            <a:pt x="39" y="0"/>
                          </a:moveTo>
                          <a:cubicBezTo>
                            <a:pt x="38" y="3"/>
                            <a:pt x="35" y="7"/>
                            <a:pt x="34" y="11"/>
                          </a:cubicBezTo>
                          <a:cubicBezTo>
                            <a:pt x="33" y="13"/>
                            <a:pt x="34" y="15"/>
                            <a:pt x="34" y="17"/>
                          </a:cubicBezTo>
                          <a:cubicBezTo>
                            <a:pt x="35" y="19"/>
                            <a:pt x="37" y="20"/>
                            <a:pt x="36" y="21"/>
                          </a:cubicBezTo>
                          <a:cubicBezTo>
                            <a:pt x="36" y="23"/>
                            <a:pt x="34" y="23"/>
                            <a:pt x="34" y="24"/>
                          </a:cubicBezTo>
                          <a:cubicBezTo>
                            <a:pt x="33" y="25"/>
                            <a:pt x="35" y="28"/>
                            <a:pt x="34" y="28"/>
                          </a:cubicBezTo>
                          <a:cubicBezTo>
                            <a:pt x="31" y="28"/>
                            <a:pt x="28" y="26"/>
                            <a:pt x="26" y="24"/>
                          </a:cubicBezTo>
                          <a:cubicBezTo>
                            <a:pt x="24" y="23"/>
                            <a:pt x="23" y="21"/>
                            <a:pt x="21" y="20"/>
                          </a:cubicBezTo>
                          <a:cubicBezTo>
                            <a:pt x="18" y="19"/>
                            <a:pt x="15" y="18"/>
                            <a:pt x="12" y="16"/>
                          </a:cubicBezTo>
                          <a:cubicBezTo>
                            <a:pt x="11" y="15"/>
                            <a:pt x="10" y="13"/>
                            <a:pt x="8" y="12"/>
                          </a:cubicBezTo>
                          <a:cubicBezTo>
                            <a:pt x="6" y="11"/>
                            <a:pt x="3" y="12"/>
                            <a:pt x="1" y="10"/>
                          </a:cubicBezTo>
                          <a:cubicBezTo>
                            <a:pt x="0" y="8"/>
                            <a:pt x="1" y="5"/>
                            <a:pt x="2" y="4"/>
                          </a:cubicBezTo>
                          <a:cubicBezTo>
                            <a:pt x="4" y="3"/>
                            <a:pt x="6" y="4"/>
                            <a:pt x="8" y="4"/>
                          </a:cubicBezTo>
                          <a:cubicBezTo>
                            <a:pt x="10" y="3"/>
                            <a:pt x="12" y="5"/>
                            <a:pt x="13" y="5"/>
                          </a:cubicBezTo>
                          <a:cubicBezTo>
                            <a:pt x="16" y="5"/>
                            <a:pt x="19" y="5"/>
                            <a:pt x="21" y="5"/>
                          </a:cubicBezTo>
                          <a:cubicBezTo>
                            <a:pt x="25" y="5"/>
                            <a:pt x="29" y="3"/>
                            <a:pt x="32" y="2"/>
                          </a:cubicBezTo>
                          <a:cubicBezTo>
                            <a:pt x="35" y="2"/>
                            <a:pt x="37" y="0"/>
                            <a:pt x="39" y="0"/>
                          </a:cubicBezTo>
                          <a:close/>
                        </a:path>
                      </a:pathLst>
                    </a:custGeom>
                    <a:grpFill/>
                    <a:ln w="3175" cap="rnd">
                      <a:solidFill>
                        <a:schemeClr val="bg1">
                          <a:lumMod val="75000"/>
                        </a:schemeClr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it-IT">
                        <a:solidFill>
                          <a:srgbClr val="133B9C"/>
                        </a:solidFill>
                        <a:latin typeface="Arial" charset="0"/>
                        <a:cs typeface="Arial" charset="0"/>
                      </a:endParaRPr>
                    </a:p>
                  </p:txBody>
                </p:sp>
                <p:sp>
                  <p:nvSpPr>
                    <p:cNvPr id="2047" name="Freeform 2862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825553" y="2398748"/>
                      <a:ext cx="48095" cy="13290"/>
                    </a:xfrm>
                    <a:custGeom>
                      <a:avLst/>
                      <a:gdLst>
                        <a:gd name="T0" fmla="*/ 4 w 36"/>
                        <a:gd name="T1" fmla="*/ 0 h 13"/>
                        <a:gd name="T2" fmla="*/ 1 w 36"/>
                        <a:gd name="T3" fmla="*/ 5 h 13"/>
                        <a:gd name="T4" fmla="*/ 1 w 36"/>
                        <a:gd name="T5" fmla="*/ 9 h 13"/>
                        <a:gd name="T6" fmla="*/ 14 w 36"/>
                        <a:gd name="T7" fmla="*/ 10 h 13"/>
                        <a:gd name="T8" fmla="*/ 19 w 36"/>
                        <a:gd name="T9" fmla="*/ 12 h 13"/>
                        <a:gd name="T10" fmla="*/ 20 w 36"/>
                        <a:gd name="T11" fmla="*/ 16 h 13"/>
                        <a:gd name="T12" fmla="*/ 41 w 36"/>
                        <a:gd name="T13" fmla="*/ 14 h 13"/>
                        <a:gd name="T14" fmla="*/ 42 w 36"/>
                        <a:gd name="T15" fmla="*/ 10 h 13"/>
                        <a:gd name="T16" fmla="*/ 35 w 36"/>
                        <a:gd name="T17" fmla="*/ 11 h 13"/>
                        <a:gd name="T18" fmla="*/ 35 w 36"/>
                        <a:gd name="T19" fmla="*/ 7 h 13"/>
                        <a:gd name="T20" fmla="*/ 26 w 36"/>
                        <a:gd name="T21" fmla="*/ 7 h 13"/>
                        <a:gd name="T22" fmla="*/ 20 w 36"/>
                        <a:gd name="T23" fmla="*/ 5 h 13"/>
                        <a:gd name="T24" fmla="*/ 13 w 36"/>
                        <a:gd name="T25" fmla="*/ 6 h 13"/>
                        <a:gd name="T26" fmla="*/ 8 w 36"/>
                        <a:gd name="T27" fmla="*/ 2 h 13"/>
                        <a:gd name="T28" fmla="*/ 4 w 36"/>
                        <a:gd name="T29" fmla="*/ 0 h 13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w 36"/>
                        <a:gd name="T46" fmla="*/ 0 h 13"/>
                        <a:gd name="T47" fmla="*/ 36 w 36"/>
                        <a:gd name="T48" fmla="*/ 13 h 13"/>
                      </a:gdLst>
                      <a:ahLst/>
                      <a:cxnLst>
                        <a:cxn ang="T30">
                          <a:pos x="T0" y="T1"/>
                        </a:cxn>
                        <a:cxn ang="T31">
                          <a:pos x="T2" y="T3"/>
                        </a:cxn>
                        <a:cxn ang="T32">
                          <a:pos x="T4" y="T5"/>
                        </a:cxn>
                        <a:cxn ang="T33">
                          <a:pos x="T6" y="T7"/>
                        </a:cxn>
                        <a:cxn ang="T34">
                          <a:pos x="T8" y="T9"/>
                        </a:cxn>
                        <a:cxn ang="T35">
                          <a:pos x="T10" y="T11"/>
                        </a:cxn>
                        <a:cxn ang="T36">
                          <a:pos x="T12" y="T13"/>
                        </a:cxn>
                        <a:cxn ang="T37">
                          <a:pos x="T14" y="T15"/>
                        </a:cxn>
                        <a:cxn ang="T38">
                          <a:pos x="T16" y="T17"/>
                        </a:cxn>
                        <a:cxn ang="T39">
                          <a:pos x="T18" y="T19"/>
                        </a:cxn>
                        <a:cxn ang="T40">
                          <a:pos x="T20" y="T21"/>
                        </a:cxn>
                        <a:cxn ang="T41">
                          <a:pos x="T22" y="T23"/>
                        </a:cxn>
                        <a:cxn ang="T42">
                          <a:pos x="T24" y="T25"/>
                        </a:cxn>
                        <a:cxn ang="T43">
                          <a:pos x="T26" y="T27"/>
                        </a:cxn>
                        <a:cxn ang="T44">
                          <a:pos x="T28" y="T29"/>
                        </a:cxn>
                      </a:cxnLst>
                      <a:rect l="T45" t="T46" r="T47" b="T48"/>
                      <a:pathLst>
                        <a:path w="36" h="13">
                          <a:moveTo>
                            <a:pt x="3" y="0"/>
                          </a:moveTo>
                          <a:cubicBezTo>
                            <a:pt x="2" y="1"/>
                            <a:pt x="2" y="3"/>
                            <a:pt x="1" y="4"/>
                          </a:cubicBezTo>
                          <a:cubicBezTo>
                            <a:pt x="1" y="5"/>
                            <a:pt x="0" y="7"/>
                            <a:pt x="1" y="7"/>
                          </a:cubicBezTo>
                          <a:cubicBezTo>
                            <a:pt x="5" y="8"/>
                            <a:pt x="9" y="8"/>
                            <a:pt x="12" y="8"/>
                          </a:cubicBezTo>
                          <a:cubicBezTo>
                            <a:pt x="14" y="8"/>
                            <a:pt x="15" y="9"/>
                            <a:pt x="16" y="10"/>
                          </a:cubicBezTo>
                          <a:cubicBezTo>
                            <a:pt x="16" y="11"/>
                            <a:pt x="16" y="13"/>
                            <a:pt x="17" y="13"/>
                          </a:cubicBezTo>
                          <a:cubicBezTo>
                            <a:pt x="22" y="12"/>
                            <a:pt x="28" y="10"/>
                            <a:pt x="34" y="11"/>
                          </a:cubicBezTo>
                          <a:cubicBezTo>
                            <a:pt x="35" y="11"/>
                            <a:pt x="36" y="8"/>
                            <a:pt x="35" y="8"/>
                          </a:cubicBezTo>
                          <a:cubicBezTo>
                            <a:pt x="33" y="7"/>
                            <a:pt x="31" y="9"/>
                            <a:pt x="29" y="9"/>
                          </a:cubicBezTo>
                          <a:cubicBezTo>
                            <a:pt x="28" y="9"/>
                            <a:pt x="29" y="7"/>
                            <a:pt x="29" y="6"/>
                          </a:cubicBezTo>
                          <a:cubicBezTo>
                            <a:pt x="26" y="6"/>
                            <a:pt x="24" y="7"/>
                            <a:pt x="22" y="6"/>
                          </a:cubicBezTo>
                          <a:cubicBezTo>
                            <a:pt x="20" y="6"/>
                            <a:pt x="19" y="4"/>
                            <a:pt x="17" y="4"/>
                          </a:cubicBezTo>
                          <a:cubicBezTo>
                            <a:pt x="15" y="3"/>
                            <a:pt x="13" y="5"/>
                            <a:pt x="11" y="5"/>
                          </a:cubicBezTo>
                          <a:cubicBezTo>
                            <a:pt x="9" y="5"/>
                            <a:pt x="8" y="3"/>
                            <a:pt x="7" y="2"/>
                          </a:cubicBezTo>
                          <a:cubicBezTo>
                            <a:pt x="6" y="1"/>
                            <a:pt x="4" y="0"/>
                            <a:pt x="3" y="0"/>
                          </a:cubicBezTo>
                          <a:close/>
                        </a:path>
                      </a:pathLst>
                    </a:custGeom>
                    <a:grpFill/>
                    <a:ln w="3175" cap="rnd">
                      <a:solidFill>
                        <a:schemeClr val="bg1">
                          <a:lumMod val="75000"/>
                        </a:schemeClr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it-IT">
                        <a:solidFill>
                          <a:srgbClr val="133B9C"/>
                        </a:solidFill>
                        <a:latin typeface="Arial" charset="0"/>
                        <a:cs typeface="Arial" charset="0"/>
                      </a:endParaRPr>
                    </a:p>
                  </p:txBody>
                </p:sp>
              </p:grpSp>
              <p:grpSp>
                <p:nvGrpSpPr>
                  <p:cNvPr id="1976" name="Gruppo 1125"/>
                  <p:cNvGrpSpPr/>
                  <p:nvPr/>
                </p:nvGrpSpPr>
                <p:grpSpPr>
                  <a:xfrm>
                    <a:off x="5012157" y="1734989"/>
                    <a:ext cx="2445021" cy="1302484"/>
                    <a:chOff x="4861343" y="1510766"/>
                    <a:chExt cx="2445021" cy="1302484"/>
                  </a:xfrm>
                  <a:grpFill/>
                </p:grpSpPr>
                <p:sp>
                  <p:nvSpPr>
                    <p:cNvPr id="1977" name="Freeform 2629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5581651" y="2402901"/>
                      <a:ext cx="484307" cy="410349"/>
                    </a:xfrm>
                    <a:custGeom>
                      <a:avLst/>
                      <a:gdLst>
                        <a:gd name="T0" fmla="*/ 302 w 361"/>
                        <a:gd name="T1" fmla="*/ 247 h 412"/>
                        <a:gd name="T2" fmla="*/ 278 w 361"/>
                        <a:gd name="T3" fmla="*/ 290 h 412"/>
                        <a:gd name="T4" fmla="*/ 234 w 361"/>
                        <a:gd name="T5" fmla="*/ 327 h 412"/>
                        <a:gd name="T6" fmla="*/ 191 w 361"/>
                        <a:gd name="T7" fmla="*/ 360 h 412"/>
                        <a:gd name="T8" fmla="*/ 187 w 361"/>
                        <a:gd name="T9" fmla="*/ 453 h 412"/>
                        <a:gd name="T10" fmla="*/ 158 w 361"/>
                        <a:gd name="T11" fmla="*/ 490 h 412"/>
                        <a:gd name="T12" fmla="*/ 137 w 361"/>
                        <a:gd name="T13" fmla="*/ 463 h 412"/>
                        <a:gd name="T14" fmla="*/ 106 w 361"/>
                        <a:gd name="T15" fmla="*/ 384 h 412"/>
                        <a:gd name="T16" fmla="*/ 85 w 361"/>
                        <a:gd name="T17" fmla="*/ 332 h 412"/>
                        <a:gd name="T18" fmla="*/ 77 w 361"/>
                        <a:gd name="T19" fmla="*/ 297 h 412"/>
                        <a:gd name="T20" fmla="*/ 74 w 361"/>
                        <a:gd name="T21" fmla="*/ 257 h 412"/>
                        <a:gd name="T22" fmla="*/ 64 w 361"/>
                        <a:gd name="T23" fmla="*/ 249 h 412"/>
                        <a:gd name="T24" fmla="*/ 14 w 361"/>
                        <a:gd name="T25" fmla="*/ 249 h 412"/>
                        <a:gd name="T26" fmla="*/ 36 w 361"/>
                        <a:gd name="T27" fmla="*/ 228 h 412"/>
                        <a:gd name="T28" fmla="*/ 6 w 361"/>
                        <a:gd name="T29" fmla="*/ 219 h 412"/>
                        <a:gd name="T30" fmla="*/ 23 w 361"/>
                        <a:gd name="T31" fmla="*/ 210 h 412"/>
                        <a:gd name="T32" fmla="*/ 42 w 361"/>
                        <a:gd name="T33" fmla="*/ 204 h 412"/>
                        <a:gd name="T34" fmla="*/ 28 w 361"/>
                        <a:gd name="T35" fmla="*/ 176 h 412"/>
                        <a:gd name="T36" fmla="*/ 29 w 361"/>
                        <a:gd name="T37" fmla="*/ 141 h 412"/>
                        <a:gd name="T38" fmla="*/ 52 w 361"/>
                        <a:gd name="T39" fmla="*/ 133 h 412"/>
                        <a:gd name="T40" fmla="*/ 80 w 361"/>
                        <a:gd name="T41" fmla="*/ 100 h 412"/>
                        <a:gd name="T42" fmla="*/ 89 w 361"/>
                        <a:gd name="T43" fmla="*/ 76 h 412"/>
                        <a:gd name="T44" fmla="*/ 85 w 361"/>
                        <a:gd name="T45" fmla="*/ 54 h 412"/>
                        <a:gd name="T46" fmla="*/ 83 w 361"/>
                        <a:gd name="T47" fmla="*/ 16 h 412"/>
                        <a:gd name="T48" fmla="*/ 125 w 361"/>
                        <a:gd name="T49" fmla="*/ 2 h 412"/>
                        <a:gd name="T50" fmla="*/ 142 w 361"/>
                        <a:gd name="T51" fmla="*/ 26 h 412"/>
                        <a:gd name="T52" fmla="*/ 148 w 361"/>
                        <a:gd name="T53" fmla="*/ 59 h 412"/>
                        <a:gd name="T54" fmla="*/ 151 w 361"/>
                        <a:gd name="T55" fmla="*/ 80 h 412"/>
                        <a:gd name="T56" fmla="*/ 186 w 361"/>
                        <a:gd name="T57" fmla="*/ 101 h 412"/>
                        <a:gd name="T58" fmla="*/ 178 w 361"/>
                        <a:gd name="T59" fmla="*/ 128 h 412"/>
                        <a:gd name="T60" fmla="*/ 234 w 361"/>
                        <a:gd name="T61" fmla="*/ 151 h 412"/>
                        <a:gd name="T62" fmla="*/ 260 w 361"/>
                        <a:gd name="T63" fmla="*/ 168 h 412"/>
                        <a:gd name="T64" fmla="*/ 293 w 361"/>
                        <a:gd name="T65" fmla="*/ 158 h 412"/>
                        <a:gd name="T66" fmla="*/ 305 w 361"/>
                        <a:gd name="T67" fmla="*/ 147 h 412"/>
                        <a:gd name="T68" fmla="*/ 332 w 361"/>
                        <a:gd name="T69" fmla="*/ 164 h 412"/>
                        <a:gd name="T70" fmla="*/ 345 w 361"/>
                        <a:gd name="T71" fmla="*/ 145 h 412"/>
                        <a:gd name="T72" fmla="*/ 369 w 361"/>
                        <a:gd name="T73" fmla="*/ 127 h 412"/>
                        <a:gd name="T74" fmla="*/ 401 w 361"/>
                        <a:gd name="T75" fmla="*/ 120 h 412"/>
                        <a:gd name="T76" fmla="*/ 419 w 361"/>
                        <a:gd name="T77" fmla="*/ 133 h 412"/>
                        <a:gd name="T78" fmla="*/ 426 w 361"/>
                        <a:gd name="T79" fmla="*/ 146 h 412"/>
                        <a:gd name="T80" fmla="*/ 414 w 361"/>
                        <a:gd name="T81" fmla="*/ 157 h 412"/>
                        <a:gd name="T82" fmla="*/ 404 w 361"/>
                        <a:gd name="T83" fmla="*/ 179 h 412"/>
                        <a:gd name="T84" fmla="*/ 391 w 361"/>
                        <a:gd name="T85" fmla="*/ 216 h 412"/>
                        <a:gd name="T86" fmla="*/ 381 w 361"/>
                        <a:gd name="T87" fmla="*/ 233 h 412"/>
                        <a:gd name="T88" fmla="*/ 369 w 361"/>
                        <a:gd name="T89" fmla="*/ 252 h 412"/>
                        <a:gd name="T90" fmla="*/ 356 w 361"/>
                        <a:gd name="T91" fmla="*/ 230 h 412"/>
                        <a:gd name="T92" fmla="*/ 347 w 361"/>
                        <a:gd name="T93" fmla="*/ 212 h 412"/>
                        <a:gd name="T94" fmla="*/ 354 w 361"/>
                        <a:gd name="T95" fmla="*/ 192 h 412"/>
                        <a:gd name="T96" fmla="*/ 317 w 361"/>
                        <a:gd name="T97" fmla="*/ 179 h 412"/>
                        <a:gd name="T98" fmla="*/ 302 w 361"/>
                        <a:gd name="T99" fmla="*/ 171 h 412"/>
                        <a:gd name="T100" fmla="*/ 305 w 361"/>
                        <a:gd name="T101" fmla="*/ 198 h 412"/>
                        <a:gd name="T102" fmla="*/ 307 w 361"/>
                        <a:gd name="T103" fmla="*/ 217 h 412"/>
                        <a:gd name="T104" fmla="*/ 314 w 361"/>
                        <a:gd name="T105" fmla="*/ 236 h 412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60000 65536"/>
                        <a:gd name="T157" fmla="*/ 0 60000 65536"/>
                        <a:gd name="T158" fmla="*/ 0 60000 65536"/>
                        <a:gd name="T159" fmla="*/ 0 w 361"/>
                        <a:gd name="T160" fmla="*/ 0 h 412"/>
                        <a:gd name="T161" fmla="*/ 361 w 361"/>
                        <a:gd name="T162" fmla="*/ 412 h 412"/>
                      </a:gdLst>
                      <a:ahLst/>
                      <a:cxnLst>
                        <a:cxn ang="T106">
                          <a:pos x="T0" y="T1"/>
                        </a:cxn>
                        <a:cxn ang="T107">
                          <a:pos x="T2" y="T3"/>
                        </a:cxn>
                        <a:cxn ang="T108">
                          <a:pos x="T4" y="T5"/>
                        </a:cxn>
                        <a:cxn ang="T109">
                          <a:pos x="T6" y="T7"/>
                        </a:cxn>
                        <a:cxn ang="T110">
                          <a:pos x="T8" y="T9"/>
                        </a:cxn>
                        <a:cxn ang="T111">
                          <a:pos x="T10" y="T11"/>
                        </a:cxn>
                        <a:cxn ang="T112">
                          <a:pos x="T12" y="T13"/>
                        </a:cxn>
                        <a:cxn ang="T113">
                          <a:pos x="T14" y="T15"/>
                        </a:cxn>
                        <a:cxn ang="T114">
                          <a:pos x="T16" y="T17"/>
                        </a:cxn>
                        <a:cxn ang="T115">
                          <a:pos x="T18" y="T19"/>
                        </a:cxn>
                        <a:cxn ang="T116">
                          <a:pos x="T20" y="T21"/>
                        </a:cxn>
                        <a:cxn ang="T117">
                          <a:pos x="T22" y="T23"/>
                        </a:cxn>
                        <a:cxn ang="T118">
                          <a:pos x="T24" y="T25"/>
                        </a:cxn>
                        <a:cxn ang="T119">
                          <a:pos x="T26" y="T27"/>
                        </a:cxn>
                        <a:cxn ang="T120">
                          <a:pos x="T28" y="T29"/>
                        </a:cxn>
                        <a:cxn ang="T121">
                          <a:pos x="T30" y="T31"/>
                        </a:cxn>
                        <a:cxn ang="T122">
                          <a:pos x="T32" y="T33"/>
                        </a:cxn>
                        <a:cxn ang="T123">
                          <a:pos x="T34" y="T35"/>
                        </a:cxn>
                        <a:cxn ang="T124">
                          <a:pos x="T36" y="T37"/>
                        </a:cxn>
                        <a:cxn ang="T125">
                          <a:pos x="T38" y="T39"/>
                        </a:cxn>
                        <a:cxn ang="T126">
                          <a:pos x="T40" y="T41"/>
                        </a:cxn>
                        <a:cxn ang="T127">
                          <a:pos x="T42" y="T43"/>
                        </a:cxn>
                        <a:cxn ang="T128">
                          <a:pos x="T44" y="T45"/>
                        </a:cxn>
                        <a:cxn ang="T129">
                          <a:pos x="T46" y="T47"/>
                        </a:cxn>
                        <a:cxn ang="T130">
                          <a:pos x="T48" y="T49"/>
                        </a:cxn>
                        <a:cxn ang="T131">
                          <a:pos x="T50" y="T51"/>
                        </a:cxn>
                        <a:cxn ang="T132">
                          <a:pos x="T52" y="T53"/>
                        </a:cxn>
                        <a:cxn ang="T133">
                          <a:pos x="T54" y="T55"/>
                        </a:cxn>
                        <a:cxn ang="T134">
                          <a:pos x="T56" y="T57"/>
                        </a:cxn>
                        <a:cxn ang="T135">
                          <a:pos x="T58" y="T59"/>
                        </a:cxn>
                        <a:cxn ang="T136">
                          <a:pos x="T60" y="T61"/>
                        </a:cxn>
                        <a:cxn ang="T137">
                          <a:pos x="T62" y="T63"/>
                        </a:cxn>
                        <a:cxn ang="T138">
                          <a:pos x="T64" y="T65"/>
                        </a:cxn>
                        <a:cxn ang="T139">
                          <a:pos x="T66" y="T67"/>
                        </a:cxn>
                        <a:cxn ang="T140">
                          <a:pos x="T68" y="T69"/>
                        </a:cxn>
                        <a:cxn ang="T141">
                          <a:pos x="T70" y="T71"/>
                        </a:cxn>
                        <a:cxn ang="T142">
                          <a:pos x="T72" y="T73"/>
                        </a:cxn>
                        <a:cxn ang="T143">
                          <a:pos x="T74" y="T75"/>
                        </a:cxn>
                        <a:cxn ang="T144">
                          <a:pos x="T76" y="T77"/>
                        </a:cxn>
                        <a:cxn ang="T145">
                          <a:pos x="T78" y="T79"/>
                        </a:cxn>
                        <a:cxn ang="T146">
                          <a:pos x="T80" y="T81"/>
                        </a:cxn>
                        <a:cxn ang="T147">
                          <a:pos x="T82" y="T83"/>
                        </a:cxn>
                        <a:cxn ang="T148">
                          <a:pos x="T84" y="T85"/>
                        </a:cxn>
                        <a:cxn ang="T149">
                          <a:pos x="T86" y="T87"/>
                        </a:cxn>
                        <a:cxn ang="T150">
                          <a:pos x="T88" y="T89"/>
                        </a:cxn>
                        <a:cxn ang="T151">
                          <a:pos x="T90" y="T91"/>
                        </a:cxn>
                        <a:cxn ang="T152">
                          <a:pos x="T92" y="T93"/>
                        </a:cxn>
                        <a:cxn ang="T153">
                          <a:pos x="T94" y="T95"/>
                        </a:cxn>
                        <a:cxn ang="T154">
                          <a:pos x="T96" y="T97"/>
                        </a:cxn>
                        <a:cxn ang="T155">
                          <a:pos x="T98" y="T99"/>
                        </a:cxn>
                        <a:cxn ang="T156">
                          <a:pos x="T100" y="T101"/>
                        </a:cxn>
                        <a:cxn ang="T157">
                          <a:pos x="T102" y="T103"/>
                        </a:cxn>
                        <a:cxn ang="T158">
                          <a:pos x="T104" y="T105"/>
                        </a:cxn>
                      </a:cxnLst>
                      <a:rect l="T159" t="T160" r="T161" b="T162"/>
                      <a:pathLst>
                        <a:path w="361" h="412">
                          <a:moveTo>
                            <a:pt x="266" y="211"/>
                          </a:moveTo>
                          <a:cubicBezTo>
                            <a:pt x="265" y="212"/>
                            <a:pt x="264" y="215"/>
                            <a:pt x="263" y="214"/>
                          </a:cubicBezTo>
                          <a:cubicBezTo>
                            <a:pt x="260" y="213"/>
                            <a:pt x="261" y="208"/>
                            <a:pt x="258" y="208"/>
                          </a:cubicBezTo>
                          <a:cubicBezTo>
                            <a:pt x="256" y="207"/>
                            <a:pt x="258" y="213"/>
                            <a:pt x="256" y="212"/>
                          </a:cubicBezTo>
                          <a:cubicBezTo>
                            <a:pt x="254" y="212"/>
                            <a:pt x="254" y="206"/>
                            <a:pt x="252" y="206"/>
                          </a:cubicBezTo>
                          <a:cubicBezTo>
                            <a:pt x="249" y="207"/>
                            <a:pt x="249" y="211"/>
                            <a:pt x="247" y="213"/>
                          </a:cubicBezTo>
                          <a:cubicBezTo>
                            <a:pt x="245" y="216"/>
                            <a:pt x="239" y="215"/>
                            <a:pt x="238" y="219"/>
                          </a:cubicBezTo>
                          <a:cubicBezTo>
                            <a:pt x="236" y="221"/>
                            <a:pt x="239" y="225"/>
                            <a:pt x="239" y="228"/>
                          </a:cubicBezTo>
                          <a:cubicBezTo>
                            <a:pt x="239" y="230"/>
                            <a:pt x="238" y="231"/>
                            <a:pt x="238" y="233"/>
                          </a:cubicBezTo>
                          <a:cubicBezTo>
                            <a:pt x="236" y="236"/>
                            <a:pt x="234" y="240"/>
                            <a:pt x="232" y="242"/>
                          </a:cubicBezTo>
                          <a:cubicBezTo>
                            <a:pt x="230" y="244"/>
                            <a:pt x="227" y="245"/>
                            <a:pt x="224" y="245"/>
                          </a:cubicBezTo>
                          <a:cubicBezTo>
                            <a:pt x="223" y="245"/>
                            <a:pt x="221" y="242"/>
                            <a:pt x="220" y="243"/>
                          </a:cubicBezTo>
                          <a:cubicBezTo>
                            <a:pt x="217" y="245"/>
                            <a:pt x="217" y="249"/>
                            <a:pt x="215" y="251"/>
                          </a:cubicBezTo>
                          <a:cubicBezTo>
                            <a:pt x="212" y="255"/>
                            <a:pt x="209" y="260"/>
                            <a:pt x="206" y="264"/>
                          </a:cubicBezTo>
                          <a:cubicBezTo>
                            <a:pt x="203" y="267"/>
                            <a:pt x="199" y="270"/>
                            <a:pt x="195" y="273"/>
                          </a:cubicBezTo>
                          <a:cubicBezTo>
                            <a:pt x="191" y="276"/>
                            <a:pt x="185" y="276"/>
                            <a:pt x="182" y="280"/>
                          </a:cubicBezTo>
                          <a:cubicBezTo>
                            <a:pt x="181" y="283"/>
                            <a:pt x="187" y="286"/>
                            <a:pt x="185" y="288"/>
                          </a:cubicBezTo>
                          <a:cubicBezTo>
                            <a:pt x="183" y="292"/>
                            <a:pt x="177" y="290"/>
                            <a:pt x="174" y="292"/>
                          </a:cubicBezTo>
                          <a:cubicBezTo>
                            <a:pt x="171" y="294"/>
                            <a:pt x="170" y="298"/>
                            <a:pt x="167" y="300"/>
                          </a:cubicBezTo>
                          <a:cubicBezTo>
                            <a:pt x="164" y="301"/>
                            <a:pt x="161" y="298"/>
                            <a:pt x="159" y="300"/>
                          </a:cubicBezTo>
                          <a:cubicBezTo>
                            <a:pt x="157" y="301"/>
                            <a:pt x="157" y="305"/>
                            <a:pt x="157" y="308"/>
                          </a:cubicBezTo>
                          <a:cubicBezTo>
                            <a:pt x="158" y="314"/>
                            <a:pt x="160" y="321"/>
                            <a:pt x="160" y="328"/>
                          </a:cubicBezTo>
                          <a:cubicBezTo>
                            <a:pt x="161" y="333"/>
                            <a:pt x="161" y="338"/>
                            <a:pt x="160" y="342"/>
                          </a:cubicBezTo>
                          <a:cubicBezTo>
                            <a:pt x="159" y="347"/>
                            <a:pt x="156" y="352"/>
                            <a:pt x="155" y="356"/>
                          </a:cubicBezTo>
                          <a:cubicBezTo>
                            <a:pt x="154" y="364"/>
                            <a:pt x="158" y="371"/>
                            <a:pt x="156" y="378"/>
                          </a:cubicBezTo>
                          <a:cubicBezTo>
                            <a:pt x="156" y="380"/>
                            <a:pt x="152" y="377"/>
                            <a:pt x="150" y="378"/>
                          </a:cubicBezTo>
                          <a:cubicBezTo>
                            <a:pt x="147" y="381"/>
                            <a:pt x="145" y="384"/>
                            <a:pt x="144" y="388"/>
                          </a:cubicBezTo>
                          <a:cubicBezTo>
                            <a:pt x="144" y="391"/>
                            <a:pt x="148" y="393"/>
                            <a:pt x="147" y="395"/>
                          </a:cubicBezTo>
                          <a:cubicBezTo>
                            <a:pt x="146" y="397"/>
                            <a:pt x="141" y="396"/>
                            <a:pt x="139" y="398"/>
                          </a:cubicBezTo>
                          <a:cubicBezTo>
                            <a:pt x="136" y="401"/>
                            <a:pt x="135" y="406"/>
                            <a:pt x="132" y="409"/>
                          </a:cubicBezTo>
                          <a:cubicBezTo>
                            <a:pt x="131" y="411"/>
                            <a:pt x="128" y="412"/>
                            <a:pt x="126" y="411"/>
                          </a:cubicBezTo>
                          <a:cubicBezTo>
                            <a:pt x="123" y="409"/>
                            <a:pt x="120" y="405"/>
                            <a:pt x="118" y="402"/>
                          </a:cubicBezTo>
                          <a:cubicBezTo>
                            <a:pt x="118" y="401"/>
                            <a:pt x="119" y="400"/>
                            <a:pt x="119" y="399"/>
                          </a:cubicBezTo>
                          <a:cubicBezTo>
                            <a:pt x="119" y="398"/>
                            <a:pt x="117" y="397"/>
                            <a:pt x="116" y="395"/>
                          </a:cubicBezTo>
                          <a:cubicBezTo>
                            <a:pt x="115" y="392"/>
                            <a:pt x="116" y="389"/>
                            <a:pt x="114" y="386"/>
                          </a:cubicBezTo>
                          <a:cubicBezTo>
                            <a:pt x="113" y="383"/>
                            <a:pt x="110" y="380"/>
                            <a:pt x="109" y="376"/>
                          </a:cubicBezTo>
                          <a:cubicBezTo>
                            <a:pt x="108" y="372"/>
                            <a:pt x="109" y="368"/>
                            <a:pt x="107" y="364"/>
                          </a:cubicBezTo>
                          <a:cubicBezTo>
                            <a:pt x="105" y="359"/>
                            <a:pt x="100" y="354"/>
                            <a:pt x="96" y="348"/>
                          </a:cubicBezTo>
                          <a:cubicBezTo>
                            <a:pt x="94" y="345"/>
                            <a:pt x="92" y="341"/>
                            <a:pt x="91" y="337"/>
                          </a:cubicBezTo>
                          <a:cubicBezTo>
                            <a:pt x="89" y="331"/>
                            <a:pt x="90" y="326"/>
                            <a:pt x="88" y="320"/>
                          </a:cubicBezTo>
                          <a:cubicBezTo>
                            <a:pt x="87" y="318"/>
                            <a:pt x="85" y="316"/>
                            <a:pt x="83" y="313"/>
                          </a:cubicBezTo>
                          <a:cubicBezTo>
                            <a:pt x="81" y="311"/>
                            <a:pt x="79" y="308"/>
                            <a:pt x="77" y="306"/>
                          </a:cubicBezTo>
                          <a:cubicBezTo>
                            <a:pt x="77" y="305"/>
                            <a:pt x="77" y="304"/>
                            <a:pt x="77" y="303"/>
                          </a:cubicBezTo>
                          <a:cubicBezTo>
                            <a:pt x="76" y="300"/>
                            <a:pt x="73" y="298"/>
                            <a:pt x="72" y="295"/>
                          </a:cubicBezTo>
                          <a:cubicBezTo>
                            <a:pt x="71" y="289"/>
                            <a:pt x="72" y="283"/>
                            <a:pt x="71" y="277"/>
                          </a:cubicBezTo>
                          <a:cubicBezTo>
                            <a:pt x="70" y="272"/>
                            <a:pt x="67" y="269"/>
                            <a:pt x="66" y="264"/>
                          </a:cubicBezTo>
                          <a:cubicBezTo>
                            <a:pt x="66" y="263"/>
                            <a:pt x="68" y="262"/>
                            <a:pt x="68" y="261"/>
                          </a:cubicBezTo>
                          <a:cubicBezTo>
                            <a:pt x="68" y="260"/>
                            <a:pt x="65" y="261"/>
                            <a:pt x="65" y="259"/>
                          </a:cubicBezTo>
                          <a:cubicBezTo>
                            <a:pt x="64" y="258"/>
                            <a:pt x="65" y="255"/>
                            <a:pt x="65" y="253"/>
                          </a:cubicBezTo>
                          <a:cubicBezTo>
                            <a:pt x="65" y="252"/>
                            <a:pt x="65" y="250"/>
                            <a:pt x="64" y="248"/>
                          </a:cubicBezTo>
                          <a:cubicBezTo>
                            <a:pt x="63" y="243"/>
                            <a:pt x="60" y="239"/>
                            <a:pt x="60" y="234"/>
                          </a:cubicBezTo>
                          <a:cubicBezTo>
                            <a:pt x="60" y="231"/>
                            <a:pt x="63" y="230"/>
                            <a:pt x="63" y="227"/>
                          </a:cubicBezTo>
                          <a:cubicBezTo>
                            <a:pt x="64" y="224"/>
                            <a:pt x="62" y="221"/>
                            <a:pt x="61" y="219"/>
                          </a:cubicBezTo>
                          <a:cubicBezTo>
                            <a:pt x="60" y="218"/>
                            <a:pt x="58" y="217"/>
                            <a:pt x="59" y="215"/>
                          </a:cubicBezTo>
                          <a:cubicBezTo>
                            <a:pt x="59" y="214"/>
                            <a:pt x="62" y="215"/>
                            <a:pt x="62" y="214"/>
                          </a:cubicBezTo>
                          <a:cubicBezTo>
                            <a:pt x="61" y="212"/>
                            <a:pt x="58" y="214"/>
                            <a:pt x="57" y="213"/>
                          </a:cubicBezTo>
                          <a:cubicBezTo>
                            <a:pt x="56" y="211"/>
                            <a:pt x="57" y="208"/>
                            <a:pt x="57" y="206"/>
                          </a:cubicBezTo>
                          <a:cubicBezTo>
                            <a:pt x="58" y="204"/>
                            <a:pt x="60" y="203"/>
                            <a:pt x="59" y="203"/>
                          </a:cubicBezTo>
                          <a:cubicBezTo>
                            <a:pt x="58" y="201"/>
                            <a:pt x="55" y="201"/>
                            <a:pt x="54" y="203"/>
                          </a:cubicBezTo>
                          <a:cubicBezTo>
                            <a:pt x="53" y="204"/>
                            <a:pt x="53" y="206"/>
                            <a:pt x="53" y="208"/>
                          </a:cubicBezTo>
                          <a:cubicBezTo>
                            <a:pt x="53" y="211"/>
                            <a:pt x="53" y="213"/>
                            <a:pt x="53" y="215"/>
                          </a:cubicBezTo>
                          <a:cubicBezTo>
                            <a:pt x="53" y="217"/>
                            <a:pt x="53" y="219"/>
                            <a:pt x="51" y="220"/>
                          </a:cubicBezTo>
                          <a:cubicBezTo>
                            <a:pt x="49" y="223"/>
                            <a:pt x="46" y="225"/>
                            <a:pt x="42" y="226"/>
                          </a:cubicBezTo>
                          <a:cubicBezTo>
                            <a:pt x="38" y="226"/>
                            <a:pt x="34" y="225"/>
                            <a:pt x="31" y="223"/>
                          </a:cubicBezTo>
                          <a:cubicBezTo>
                            <a:pt x="24" y="219"/>
                            <a:pt x="17" y="214"/>
                            <a:pt x="12" y="208"/>
                          </a:cubicBezTo>
                          <a:cubicBezTo>
                            <a:pt x="11" y="207"/>
                            <a:pt x="11" y="204"/>
                            <a:pt x="12" y="203"/>
                          </a:cubicBezTo>
                          <a:cubicBezTo>
                            <a:pt x="14" y="201"/>
                            <a:pt x="16" y="204"/>
                            <a:pt x="18" y="204"/>
                          </a:cubicBezTo>
                          <a:cubicBezTo>
                            <a:pt x="22" y="202"/>
                            <a:pt x="25" y="199"/>
                            <a:pt x="28" y="197"/>
                          </a:cubicBezTo>
                          <a:cubicBezTo>
                            <a:pt x="29" y="196"/>
                            <a:pt x="32" y="194"/>
                            <a:pt x="33" y="192"/>
                          </a:cubicBezTo>
                          <a:cubicBezTo>
                            <a:pt x="33" y="191"/>
                            <a:pt x="31" y="190"/>
                            <a:pt x="30" y="190"/>
                          </a:cubicBezTo>
                          <a:cubicBezTo>
                            <a:pt x="27" y="191"/>
                            <a:pt x="26" y="194"/>
                            <a:pt x="23" y="194"/>
                          </a:cubicBezTo>
                          <a:cubicBezTo>
                            <a:pt x="20" y="195"/>
                            <a:pt x="15" y="195"/>
                            <a:pt x="12" y="194"/>
                          </a:cubicBezTo>
                          <a:cubicBezTo>
                            <a:pt x="10" y="194"/>
                            <a:pt x="8" y="191"/>
                            <a:pt x="7" y="189"/>
                          </a:cubicBezTo>
                          <a:cubicBezTo>
                            <a:pt x="6" y="188"/>
                            <a:pt x="6" y="187"/>
                            <a:pt x="5" y="186"/>
                          </a:cubicBezTo>
                          <a:cubicBezTo>
                            <a:pt x="5" y="185"/>
                            <a:pt x="6" y="183"/>
                            <a:pt x="5" y="183"/>
                          </a:cubicBezTo>
                          <a:cubicBezTo>
                            <a:pt x="4" y="182"/>
                            <a:pt x="2" y="182"/>
                            <a:pt x="0" y="182"/>
                          </a:cubicBezTo>
                          <a:cubicBezTo>
                            <a:pt x="1" y="181"/>
                            <a:pt x="3" y="180"/>
                            <a:pt x="4" y="179"/>
                          </a:cubicBezTo>
                          <a:cubicBezTo>
                            <a:pt x="5" y="178"/>
                            <a:pt x="7" y="178"/>
                            <a:pt x="8" y="177"/>
                          </a:cubicBezTo>
                          <a:cubicBezTo>
                            <a:pt x="9" y="176"/>
                            <a:pt x="7" y="174"/>
                            <a:pt x="8" y="174"/>
                          </a:cubicBezTo>
                          <a:cubicBezTo>
                            <a:pt x="12" y="173"/>
                            <a:pt x="15" y="174"/>
                            <a:pt x="19" y="175"/>
                          </a:cubicBezTo>
                          <a:cubicBezTo>
                            <a:pt x="21" y="175"/>
                            <a:pt x="23" y="176"/>
                            <a:pt x="25" y="176"/>
                          </a:cubicBezTo>
                          <a:cubicBezTo>
                            <a:pt x="28" y="176"/>
                            <a:pt x="30" y="172"/>
                            <a:pt x="33" y="172"/>
                          </a:cubicBezTo>
                          <a:cubicBezTo>
                            <a:pt x="34" y="172"/>
                            <a:pt x="31" y="175"/>
                            <a:pt x="33" y="175"/>
                          </a:cubicBezTo>
                          <a:cubicBezTo>
                            <a:pt x="34" y="176"/>
                            <a:pt x="37" y="175"/>
                            <a:pt x="37" y="174"/>
                          </a:cubicBezTo>
                          <a:cubicBezTo>
                            <a:pt x="38" y="173"/>
                            <a:pt x="35" y="171"/>
                            <a:pt x="35" y="170"/>
                          </a:cubicBezTo>
                          <a:cubicBezTo>
                            <a:pt x="35" y="169"/>
                            <a:pt x="38" y="169"/>
                            <a:pt x="38" y="169"/>
                          </a:cubicBezTo>
                          <a:cubicBezTo>
                            <a:pt x="37" y="165"/>
                            <a:pt x="33" y="162"/>
                            <a:pt x="32" y="158"/>
                          </a:cubicBezTo>
                          <a:cubicBezTo>
                            <a:pt x="31" y="157"/>
                            <a:pt x="33" y="155"/>
                            <a:pt x="32" y="154"/>
                          </a:cubicBezTo>
                          <a:cubicBezTo>
                            <a:pt x="31" y="154"/>
                            <a:pt x="29" y="155"/>
                            <a:pt x="28" y="154"/>
                          </a:cubicBezTo>
                          <a:cubicBezTo>
                            <a:pt x="25" y="153"/>
                            <a:pt x="24" y="150"/>
                            <a:pt x="23" y="147"/>
                          </a:cubicBezTo>
                          <a:cubicBezTo>
                            <a:pt x="22" y="145"/>
                            <a:pt x="24" y="143"/>
                            <a:pt x="23" y="140"/>
                          </a:cubicBezTo>
                          <a:cubicBezTo>
                            <a:pt x="23" y="139"/>
                            <a:pt x="21" y="139"/>
                            <a:pt x="20" y="138"/>
                          </a:cubicBezTo>
                          <a:cubicBezTo>
                            <a:pt x="18" y="138"/>
                            <a:pt x="16" y="139"/>
                            <a:pt x="15" y="138"/>
                          </a:cubicBezTo>
                          <a:cubicBezTo>
                            <a:pt x="13" y="137"/>
                            <a:pt x="12" y="135"/>
                            <a:pt x="13" y="133"/>
                          </a:cubicBezTo>
                          <a:cubicBezTo>
                            <a:pt x="15" y="127"/>
                            <a:pt x="20" y="123"/>
                            <a:pt x="24" y="118"/>
                          </a:cubicBezTo>
                          <a:cubicBezTo>
                            <a:pt x="25" y="118"/>
                            <a:pt x="26" y="117"/>
                            <a:pt x="27" y="118"/>
                          </a:cubicBezTo>
                          <a:cubicBezTo>
                            <a:pt x="29" y="118"/>
                            <a:pt x="30" y="121"/>
                            <a:pt x="32" y="122"/>
                          </a:cubicBezTo>
                          <a:cubicBezTo>
                            <a:pt x="34" y="122"/>
                            <a:pt x="35" y="119"/>
                            <a:pt x="37" y="118"/>
                          </a:cubicBezTo>
                          <a:cubicBezTo>
                            <a:pt x="39" y="118"/>
                            <a:pt x="42" y="121"/>
                            <a:pt x="43" y="119"/>
                          </a:cubicBezTo>
                          <a:cubicBezTo>
                            <a:pt x="45" y="117"/>
                            <a:pt x="43" y="114"/>
                            <a:pt x="43" y="111"/>
                          </a:cubicBezTo>
                          <a:cubicBezTo>
                            <a:pt x="44" y="110"/>
                            <a:pt x="46" y="111"/>
                            <a:pt x="47" y="110"/>
                          </a:cubicBezTo>
                          <a:cubicBezTo>
                            <a:pt x="49" y="108"/>
                            <a:pt x="49" y="105"/>
                            <a:pt x="51" y="104"/>
                          </a:cubicBezTo>
                          <a:cubicBezTo>
                            <a:pt x="53" y="101"/>
                            <a:pt x="58" y="101"/>
                            <a:pt x="59" y="98"/>
                          </a:cubicBezTo>
                          <a:cubicBezTo>
                            <a:pt x="61" y="95"/>
                            <a:pt x="58" y="90"/>
                            <a:pt x="59" y="87"/>
                          </a:cubicBezTo>
                          <a:cubicBezTo>
                            <a:pt x="60" y="84"/>
                            <a:pt x="65" y="84"/>
                            <a:pt x="67" y="83"/>
                          </a:cubicBezTo>
                          <a:cubicBezTo>
                            <a:pt x="67" y="82"/>
                            <a:pt x="66" y="80"/>
                            <a:pt x="67" y="79"/>
                          </a:cubicBezTo>
                          <a:cubicBezTo>
                            <a:pt x="68" y="77"/>
                            <a:pt x="69" y="74"/>
                            <a:pt x="71" y="72"/>
                          </a:cubicBezTo>
                          <a:cubicBezTo>
                            <a:pt x="72" y="71"/>
                            <a:pt x="74" y="72"/>
                            <a:pt x="74" y="70"/>
                          </a:cubicBezTo>
                          <a:cubicBezTo>
                            <a:pt x="75" y="69"/>
                            <a:pt x="72" y="69"/>
                            <a:pt x="72" y="67"/>
                          </a:cubicBezTo>
                          <a:cubicBezTo>
                            <a:pt x="72" y="66"/>
                            <a:pt x="74" y="65"/>
                            <a:pt x="74" y="63"/>
                          </a:cubicBezTo>
                          <a:cubicBezTo>
                            <a:pt x="74" y="62"/>
                            <a:pt x="72" y="60"/>
                            <a:pt x="73" y="59"/>
                          </a:cubicBezTo>
                          <a:cubicBezTo>
                            <a:pt x="73" y="57"/>
                            <a:pt x="75" y="55"/>
                            <a:pt x="76" y="54"/>
                          </a:cubicBezTo>
                          <a:cubicBezTo>
                            <a:pt x="79" y="52"/>
                            <a:pt x="83" y="52"/>
                            <a:pt x="84" y="50"/>
                          </a:cubicBezTo>
                          <a:cubicBezTo>
                            <a:pt x="85" y="47"/>
                            <a:pt x="81" y="45"/>
                            <a:pt x="79" y="44"/>
                          </a:cubicBezTo>
                          <a:cubicBezTo>
                            <a:pt x="76" y="43"/>
                            <a:pt x="73" y="45"/>
                            <a:pt x="71" y="45"/>
                          </a:cubicBezTo>
                          <a:cubicBezTo>
                            <a:pt x="70" y="44"/>
                            <a:pt x="71" y="43"/>
                            <a:pt x="71" y="42"/>
                          </a:cubicBezTo>
                          <a:cubicBezTo>
                            <a:pt x="69" y="40"/>
                            <a:pt x="66" y="39"/>
                            <a:pt x="65" y="37"/>
                          </a:cubicBezTo>
                          <a:cubicBezTo>
                            <a:pt x="64" y="33"/>
                            <a:pt x="65" y="28"/>
                            <a:pt x="65" y="24"/>
                          </a:cubicBezTo>
                          <a:cubicBezTo>
                            <a:pt x="65" y="21"/>
                            <a:pt x="64" y="18"/>
                            <a:pt x="65" y="15"/>
                          </a:cubicBezTo>
                          <a:cubicBezTo>
                            <a:pt x="65" y="14"/>
                            <a:pt x="67" y="13"/>
                            <a:pt x="69" y="13"/>
                          </a:cubicBezTo>
                          <a:cubicBezTo>
                            <a:pt x="72" y="13"/>
                            <a:pt x="74" y="16"/>
                            <a:pt x="77" y="17"/>
                          </a:cubicBezTo>
                          <a:cubicBezTo>
                            <a:pt x="81" y="18"/>
                            <a:pt x="85" y="17"/>
                            <a:pt x="89" y="17"/>
                          </a:cubicBezTo>
                          <a:cubicBezTo>
                            <a:pt x="92" y="16"/>
                            <a:pt x="95" y="15"/>
                            <a:pt x="97" y="13"/>
                          </a:cubicBezTo>
                          <a:cubicBezTo>
                            <a:pt x="98" y="12"/>
                            <a:pt x="99" y="10"/>
                            <a:pt x="100" y="8"/>
                          </a:cubicBezTo>
                          <a:cubicBezTo>
                            <a:pt x="102" y="6"/>
                            <a:pt x="103" y="4"/>
                            <a:pt x="104" y="2"/>
                          </a:cubicBezTo>
                          <a:cubicBezTo>
                            <a:pt x="106" y="2"/>
                            <a:pt x="108" y="0"/>
                            <a:pt x="110" y="1"/>
                          </a:cubicBezTo>
                          <a:cubicBezTo>
                            <a:pt x="112" y="3"/>
                            <a:pt x="111" y="7"/>
                            <a:pt x="113" y="9"/>
                          </a:cubicBezTo>
                          <a:cubicBezTo>
                            <a:pt x="115" y="12"/>
                            <a:pt x="118" y="13"/>
                            <a:pt x="120" y="16"/>
                          </a:cubicBezTo>
                          <a:cubicBezTo>
                            <a:pt x="121" y="18"/>
                            <a:pt x="123" y="19"/>
                            <a:pt x="123" y="22"/>
                          </a:cubicBezTo>
                          <a:cubicBezTo>
                            <a:pt x="122" y="23"/>
                            <a:pt x="118" y="20"/>
                            <a:pt x="118" y="22"/>
                          </a:cubicBezTo>
                          <a:cubicBezTo>
                            <a:pt x="118" y="25"/>
                            <a:pt x="120" y="28"/>
                            <a:pt x="122" y="31"/>
                          </a:cubicBezTo>
                          <a:cubicBezTo>
                            <a:pt x="123" y="33"/>
                            <a:pt x="126" y="34"/>
                            <a:pt x="128" y="36"/>
                          </a:cubicBezTo>
                          <a:cubicBezTo>
                            <a:pt x="131" y="39"/>
                            <a:pt x="135" y="42"/>
                            <a:pt x="135" y="45"/>
                          </a:cubicBezTo>
                          <a:cubicBezTo>
                            <a:pt x="135" y="49"/>
                            <a:pt x="130" y="51"/>
                            <a:pt x="127" y="52"/>
                          </a:cubicBezTo>
                          <a:cubicBezTo>
                            <a:pt x="125" y="52"/>
                            <a:pt x="124" y="50"/>
                            <a:pt x="123" y="49"/>
                          </a:cubicBezTo>
                          <a:cubicBezTo>
                            <a:pt x="123" y="48"/>
                            <a:pt x="124" y="46"/>
                            <a:pt x="123" y="46"/>
                          </a:cubicBezTo>
                          <a:cubicBezTo>
                            <a:pt x="122" y="46"/>
                            <a:pt x="121" y="48"/>
                            <a:pt x="120" y="49"/>
                          </a:cubicBezTo>
                          <a:cubicBezTo>
                            <a:pt x="119" y="50"/>
                            <a:pt x="119" y="51"/>
                            <a:pt x="119" y="52"/>
                          </a:cubicBezTo>
                          <a:cubicBezTo>
                            <a:pt x="120" y="55"/>
                            <a:pt x="122" y="58"/>
                            <a:pt x="123" y="61"/>
                          </a:cubicBezTo>
                          <a:cubicBezTo>
                            <a:pt x="124" y="63"/>
                            <a:pt x="124" y="66"/>
                            <a:pt x="126" y="67"/>
                          </a:cubicBezTo>
                          <a:cubicBezTo>
                            <a:pt x="127" y="68"/>
                            <a:pt x="129" y="66"/>
                            <a:pt x="130" y="67"/>
                          </a:cubicBezTo>
                          <a:cubicBezTo>
                            <a:pt x="133" y="69"/>
                            <a:pt x="133" y="72"/>
                            <a:pt x="136" y="74"/>
                          </a:cubicBezTo>
                          <a:cubicBezTo>
                            <a:pt x="137" y="75"/>
                            <a:pt x="139" y="74"/>
                            <a:pt x="141" y="74"/>
                          </a:cubicBezTo>
                          <a:cubicBezTo>
                            <a:pt x="144" y="76"/>
                            <a:pt x="147" y="79"/>
                            <a:pt x="150" y="81"/>
                          </a:cubicBezTo>
                          <a:cubicBezTo>
                            <a:pt x="152" y="82"/>
                            <a:pt x="153" y="83"/>
                            <a:pt x="155" y="84"/>
                          </a:cubicBezTo>
                          <a:cubicBezTo>
                            <a:pt x="153" y="86"/>
                            <a:pt x="151" y="88"/>
                            <a:pt x="149" y="90"/>
                          </a:cubicBezTo>
                          <a:cubicBezTo>
                            <a:pt x="147" y="91"/>
                            <a:pt x="146" y="92"/>
                            <a:pt x="145" y="93"/>
                          </a:cubicBezTo>
                          <a:cubicBezTo>
                            <a:pt x="144" y="95"/>
                            <a:pt x="146" y="95"/>
                            <a:pt x="145" y="97"/>
                          </a:cubicBezTo>
                          <a:cubicBezTo>
                            <a:pt x="145" y="99"/>
                            <a:pt x="144" y="101"/>
                            <a:pt x="144" y="104"/>
                          </a:cubicBezTo>
                          <a:cubicBezTo>
                            <a:pt x="145" y="105"/>
                            <a:pt x="147" y="106"/>
                            <a:pt x="148" y="107"/>
                          </a:cubicBezTo>
                          <a:cubicBezTo>
                            <a:pt x="150" y="108"/>
                            <a:pt x="152" y="106"/>
                            <a:pt x="153" y="107"/>
                          </a:cubicBezTo>
                          <a:cubicBezTo>
                            <a:pt x="156" y="110"/>
                            <a:pt x="158" y="114"/>
                            <a:pt x="162" y="117"/>
                          </a:cubicBezTo>
                          <a:cubicBezTo>
                            <a:pt x="166" y="120"/>
                            <a:pt x="171" y="120"/>
                            <a:pt x="175" y="123"/>
                          </a:cubicBezTo>
                          <a:cubicBezTo>
                            <a:pt x="176" y="123"/>
                            <a:pt x="177" y="125"/>
                            <a:pt x="178" y="125"/>
                          </a:cubicBezTo>
                          <a:cubicBezTo>
                            <a:pt x="184" y="126"/>
                            <a:pt x="189" y="125"/>
                            <a:pt x="195" y="126"/>
                          </a:cubicBezTo>
                          <a:cubicBezTo>
                            <a:pt x="198" y="126"/>
                            <a:pt x="202" y="127"/>
                            <a:pt x="204" y="129"/>
                          </a:cubicBezTo>
                          <a:cubicBezTo>
                            <a:pt x="205" y="130"/>
                            <a:pt x="203" y="132"/>
                            <a:pt x="204" y="133"/>
                          </a:cubicBezTo>
                          <a:cubicBezTo>
                            <a:pt x="206" y="135"/>
                            <a:pt x="208" y="137"/>
                            <a:pt x="211" y="138"/>
                          </a:cubicBezTo>
                          <a:cubicBezTo>
                            <a:pt x="212" y="138"/>
                            <a:pt x="213" y="136"/>
                            <a:pt x="214" y="137"/>
                          </a:cubicBezTo>
                          <a:cubicBezTo>
                            <a:pt x="215" y="137"/>
                            <a:pt x="215" y="140"/>
                            <a:pt x="217" y="140"/>
                          </a:cubicBezTo>
                          <a:cubicBezTo>
                            <a:pt x="219" y="141"/>
                            <a:pt x="221" y="140"/>
                            <a:pt x="223" y="140"/>
                          </a:cubicBezTo>
                          <a:cubicBezTo>
                            <a:pt x="226" y="141"/>
                            <a:pt x="228" y="142"/>
                            <a:pt x="231" y="143"/>
                          </a:cubicBezTo>
                          <a:cubicBezTo>
                            <a:pt x="235" y="143"/>
                            <a:pt x="239" y="145"/>
                            <a:pt x="243" y="144"/>
                          </a:cubicBezTo>
                          <a:cubicBezTo>
                            <a:pt x="245" y="144"/>
                            <a:pt x="247" y="142"/>
                            <a:pt x="247" y="141"/>
                          </a:cubicBezTo>
                          <a:cubicBezTo>
                            <a:pt x="247" y="138"/>
                            <a:pt x="245" y="135"/>
                            <a:pt x="244" y="132"/>
                          </a:cubicBezTo>
                          <a:cubicBezTo>
                            <a:pt x="244" y="130"/>
                            <a:pt x="245" y="128"/>
                            <a:pt x="245" y="126"/>
                          </a:cubicBezTo>
                          <a:cubicBezTo>
                            <a:pt x="245" y="124"/>
                            <a:pt x="245" y="122"/>
                            <a:pt x="245" y="121"/>
                          </a:cubicBezTo>
                          <a:cubicBezTo>
                            <a:pt x="247" y="119"/>
                            <a:pt x="248" y="117"/>
                            <a:pt x="250" y="116"/>
                          </a:cubicBezTo>
                          <a:cubicBezTo>
                            <a:pt x="251" y="116"/>
                            <a:pt x="253" y="115"/>
                            <a:pt x="254" y="116"/>
                          </a:cubicBezTo>
                          <a:cubicBezTo>
                            <a:pt x="255" y="118"/>
                            <a:pt x="254" y="121"/>
                            <a:pt x="254" y="123"/>
                          </a:cubicBezTo>
                          <a:cubicBezTo>
                            <a:pt x="254" y="126"/>
                            <a:pt x="255" y="128"/>
                            <a:pt x="255" y="130"/>
                          </a:cubicBezTo>
                          <a:cubicBezTo>
                            <a:pt x="256" y="132"/>
                            <a:pt x="256" y="134"/>
                            <a:pt x="258" y="135"/>
                          </a:cubicBezTo>
                          <a:cubicBezTo>
                            <a:pt x="261" y="137"/>
                            <a:pt x="265" y="138"/>
                            <a:pt x="269" y="138"/>
                          </a:cubicBezTo>
                          <a:cubicBezTo>
                            <a:pt x="271" y="138"/>
                            <a:pt x="271" y="135"/>
                            <a:pt x="273" y="135"/>
                          </a:cubicBezTo>
                          <a:cubicBezTo>
                            <a:pt x="274" y="135"/>
                            <a:pt x="275" y="137"/>
                            <a:pt x="277" y="137"/>
                          </a:cubicBezTo>
                          <a:cubicBezTo>
                            <a:pt x="281" y="137"/>
                            <a:pt x="285" y="136"/>
                            <a:pt x="288" y="135"/>
                          </a:cubicBezTo>
                          <a:cubicBezTo>
                            <a:pt x="291" y="135"/>
                            <a:pt x="295" y="136"/>
                            <a:pt x="296" y="134"/>
                          </a:cubicBezTo>
                          <a:cubicBezTo>
                            <a:pt x="298" y="132"/>
                            <a:pt x="296" y="128"/>
                            <a:pt x="294" y="126"/>
                          </a:cubicBezTo>
                          <a:cubicBezTo>
                            <a:pt x="293" y="125"/>
                            <a:pt x="289" y="126"/>
                            <a:pt x="287" y="125"/>
                          </a:cubicBezTo>
                          <a:cubicBezTo>
                            <a:pt x="286" y="124"/>
                            <a:pt x="288" y="122"/>
                            <a:pt x="288" y="121"/>
                          </a:cubicBezTo>
                          <a:cubicBezTo>
                            <a:pt x="291" y="121"/>
                            <a:pt x="293" y="120"/>
                            <a:pt x="296" y="120"/>
                          </a:cubicBezTo>
                          <a:cubicBezTo>
                            <a:pt x="298" y="119"/>
                            <a:pt x="301" y="121"/>
                            <a:pt x="302" y="120"/>
                          </a:cubicBezTo>
                          <a:cubicBezTo>
                            <a:pt x="303" y="119"/>
                            <a:pt x="300" y="116"/>
                            <a:pt x="301" y="115"/>
                          </a:cubicBezTo>
                          <a:cubicBezTo>
                            <a:pt x="302" y="113"/>
                            <a:pt x="305" y="113"/>
                            <a:pt x="307" y="111"/>
                          </a:cubicBezTo>
                          <a:cubicBezTo>
                            <a:pt x="308" y="110"/>
                            <a:pt x="307" y="107"/>
                            <a:pt x="308" y="106"/>
                          </a:cubicBezTo>
                          <a:cubicBezTo>
                            <a:pt x="311" y="104"/>
                            <a:pt x="315" y="106"/>
                            <a:pt x="318" y="105"/>
                          </a:cubicBezTo>
                          <a:cubicBezTo>
                            <a:pt x="319" y="104"/>
                            <a:pt x="317" y="102"/>
                            <a:pt x="317" y="101"/>
                          </a:cubicBezTo>
                          <a:cubicBezTo>
                            <a:pt x="319" y="99"/>
                            <a:pt x="322" y="98"/>
                            <a:pt x="324" y="98"/>
                          </a:cubicBezTo>
                          <a:cubicBezTo>
                            <a:pt x="327" y="98"/>
                            <a:pt x="329" y="101"/>
                            <a:pt x="332" y="101"/>
                          </a:cubicBezTo>
                          <a:cubicBezTo>
                            <a:pt x="333" y="102"/>
                            <a:pt x="333" y="100"/>
                            <a:pt x="334" y="100"/>
                          </a:cubicBezTo>
                          <a:cubicBezTo>
                            <a:pt x="336" y="98"/>
                            <a:pt x="338" y="96"/>
                            <a:pt x="341" y="95"/>
                          </a:cubicBezTo>
                          <a:cubicBezTo>
                            <a:pt x="343" y="95"/>
                            <a:pt x="345" y="97"/>
                            <a:pt x="346" y="98"/>
                          </a:cubicBezTo>
                          <a:cubicBezTo>
                            <a:pt x="347" y="100"/>
                            <a:pt x="349" y="102"/>
                            <a:pt x="349" y="105"/>
                          </a:cubicBezTo>
                          <a:cubicBezTo>
                            <a:pt x="348" y="107"/>
                            <a:pt x="344" y="108"/>
                            <a:pt x="344" y="111"/>
                          </a:cubicBezTo>
                          <a:cubicBezTo>
                            <a:pt x="344" y="112"/>
                            <a:pt x="347" y="110"/>
                            <a:pt x="349" y="111"/>
                          </a:cubicBezTo>
                          <a:cubicBezTo>
                            <a:pt x="350" y="111"/>
                            <a:pt x="351" y="113"/>
                            <a:pt x="352" y="113"/>
                          </a:cubicBezTo>
                          <a:cubicBezTo>
                            <a:pt x="354" y="114"/>
                            <a:pt x="357" y="112"/>
                            <a:pt x="359" y="113"/>
                          </a:cubicBezTo>
                          <a:cubicBezTo>
                            <a:pt x="360" y="113"/>
                            <a:pt x="360" y="115"/>
                            <a:pt x="361" y="116"/>
                          </a:cubicBezTo>
                          <a:cubicBezTo>
                            <a:pt x="360" y="118"/>
                            <a:pt x="360" y="119"/>
                            <a:pt x="359" y="120"/>
                          </a:cubicBezTo>
                          <a:cubicBezTo>
                            <a:pt x="358" y="122"/>
                            <a:pt x="356" y="121"/>
                            <a:pt x="355" y="122"/>
                          </a:cubicBezTo>
                          <a:cubicBezTo>
                            <a:pt x="354" y="123"/>
                            <a:pt x="354" y="125"/>
                            <a:pt x="355" y="126"/>
                          </a:cubicBezTo>
                          <a:cubicBezTo>
                            <a:pt x="355" y="128"/>
                            <a:pt x="358" y="129"/>
                            <a:pt x="358" y="131"/>
                          </a:cubicBezTo>
                          <a:cubicBezTo>
                            <a:pt x="358" y="132"/>
                            <a:pt x="356" y="131"/>
                            <a:pt x="355" y="131"/>
                          </a:cubicBezTo>
                          <a:cubicBezTo>
                            <a:pt x="353" y="131"/>
                            <a:pt x="352" y="129"/>
                            <a:pt x="351" y="129"/>
                          </a:cubicBezTo>
                          <a:cubicBezTo>
                            <a:pt x="349" y="129"/>
                            <a:pt x="347" y="130"/>
                            <a:pt x="345" y="131"/>
                          </a:cubicBezTo>
                          <a:cubicBezTo>
                            <a:pt x="343" y="133"/>
                            <a:pt x="342" y="135"/>
                            <a:pt x="340" y="137"/>
                          </a:cubicBezTo>
                          <a:cubicBezTo>
                            <a:pt x="338" y="138"/>
                            <a:pt x="336" y="138"/>
                            <a:pt x="335" y="139"/>
                          </a:cubicBezTo>
                          <a:cubicBezTo>
                            <a:pt x="334" y="140"/>
                            <a:pt x="335" y="141"/>
                            <a:pt x="335" y="143"/>
                          </a:cubicBezTo>
                          <a:cubicBezTo>
                            <a:pt x="335" y="144"/>
                            <a:pt x="334" y="145"/>
                            <a:pt x="335" y="147"/>
                          </a:cubicBezTo>
                          <a:cubicBezTo>
                            <a:pt x="335" y="147"/>
                            <a:pt x="337" y="148"/>
                            <a:pt x="337" y="149"/>
                          </a:cubicBezTo>
                          <a:cubicBezTo>
                            <a:pt x="336" y="150"/>
                            <a:pt x="334" y="150"/>
                            <a:pt x="333" y="151"/>
                          </a:cubicBezTo>
                          <a:cubicBezTo>
                            <a:pt x="333" y="153"/>
                            <a:pt x="334" y="154"/>
                            <a:pt x="333" y="155"/>
                          </a:cubicBezTo>
                          <a:cubicBezTo>
                            <a:pt x="332" y="157"/>
                            <a:pt x="329" y="156"/>
                            <a:pt x="329" y="158"/>
                          </a:cubicBezTo>
                          <a:cubicBezTo>
                            <a:pt x="329" y="160"/>
                            <a:pt x="333" y="161"/>
                            <a:pt x="332" y="162"/>
                          </a:cubicBezTo>
                          <a:cubicBezTo>
                            <a:pt x="330" y="168"/>
                            <a:pt x="328" y="174"/>
                            <a:pt x="326" y="180"/>
                          </a:cubicBezTo>
                          <a:cubicBezTo>
                            <a:pt x="326" y="181"/>
                            <a:pt x="324" y="181"/>
                            <a:pt x="323" y="181"/>
                          </a:cubicBezTo>
                          <a:cubicBezTo>
                            <a:pt x="321" y="180"/>
                            <a:pt x="319" y="178"/>
                            <a:pt x="317" y="178"/>
                          </a:cubicBezTo>
                          <a:cubicBezTo>
                            <a:pt x="316" y="177"/>
                            <a:pt x="315" y="178"/>
                            <a:pt x="315" y="179"/>
                          </a:cubicBezTo>
                          <a:cubicBezTo>
                            <a:pt x="316" y="181"/>
                            <a:pt x="317" y="183"/>
                            <a:pt x="318" y="185"/>
                          </a:cubicBezTo>
                          <a:cubicBezTo>
                            <a:pt x="318" y="188"/>
                            <a:pt x="319" y="191"/>
                            <a:pt x="318" y="194"/>
                          </a:cubicBezTo>
                          <a:cubicBezTo>
                            <a:pt x="318" y="194"/>
                            <a:pt x="315" y="193"/>
                            <a:pt x="315" y="194"/>
                          </a:cubicBezTo>
                          <a:cubicBezTo>
                            <a:pt x="314" y="197"/>
                            <a:pt x="315" y="201"/>
                            <a:pt x="315" y="204"/>
                          </a:cubicBezTo>
                          <a:cubicBezTo>
                            <a:pt x="315" y="206"/>
                            <a:pt x="314" y="208"/>
                            <a:pt x="313" y="210"/>
                          </a:cubicBezTo>
                          <a:cubicBezTo>
                            <a:pt x="313" y="211"/>
                            <a:pt x="312" y="210"/>
                            <a:pt x="311" y="210"/>
                          </a:cubicBezTo>
                          <a:cubicBezTo>
                            <a:pt x="310" y="210"/>
                            <a:pt x="309" y="210"/>
                            <a:pt x="308" y="210"/>
                          </a:cubicBezTo>
                          <a:cubicBezTo>
                            <a:pt x="308" y="206"/>
                            <a:pt x="309" y="202"/>
                            <a:pt x="308" y="198"/>
                          </a:cubicBezTo>
                          <a:cubicBezTo>
                            <a:pt x="307" y="195"/>
                            <a:pt x="304" y="193"/>
                            <a:pt x="303" y="190"/>
                          </a:cubicBezTo>
                          <a:cubicBezTo>
                            <a:pt x="302" y="187"/>
                            <a:pt x="304" y="185"/>
                            <a:pt x="303" y="183"/>
                          </a:cubicBezTo>
                          <a:cubicBezTo>
                            <a:pt x="302" y="182"/>
                            <a:pt x="299" y="181"/>
                            <a:pt x="298" y="182"/>
                          </a:cubicBezTo>
                          <a:cubicBezTo>
                            <a:pt x="296" y="185"/>
                            <a:pt x="298" y="189"/>
                            <a:pt x="297" y="192"/>
                          </a:cubicBezTo>
                          <a:cubicBezTo>
                            <a:pt x="296" y="194"/>
                            <a:pt x="294" y="195"/>
                            <a:pt x="293" y="194"/>
                          </a:cubicBezTo>
                          <a:cubicBezTo>
                            <a:pt x="291" y="193"/>
                            <a:pt x="293" y="190"/>
                            <a:pt x="291" y="189"/>
                          </a:cubicBezTo>
                          <a:cubicBezTo>
                            <a:pt x="290" y="189"/>
                            <a:pt x="289" y="192"/>
                            <a:pt x="287" y="192"/>
                          </a:cubicBezTo>
                          <a:cubicBezTo>
                            <a:pt x="286" y="192"/>
                            <a:pt x="286" y="190"/>
                            <a:pt x="286" y="188"/>
                          </a:cubicBezTo>
                          <a:cubicBezTo>
                            <a:pt x="286" y="184"/>
                            <a:pt x="287" y="180"/>
                            <a:pt x="289" y="177"/>
                          </a:cubicBezTo>
                          <a:cubicBezTo>
                            <a:pt x="290" y="175"/>
                            <a:pt x="294" y="175"/>
                            <a:pt x="296" y="173"/>
                          </a:cubicBezTo>
                          <a:cubicBezTo>
                            <a:pt x="297" y="171"/>
                            <a:pt x="298" y="169"/>
                            <a:pt x="300" y="167"/>
                          </a:cubicBezTo>
                          <a:cubicBezTo>
                            <a:pt x="301" y="166"/>
                            <a:pt x="303" y="168"/>
                            <a:pt x="303" y="167"/>
                          </a:cubicBezTo>
                          <a:cubicBezTo>
                            <a:pt x="303" y="165"/>
                            <a:pt x="302" y="164"/>
                            <a:pt x="301" y="163"/>
                          </a:cubicBezTo>
                          <a:cubicBezTo>
                            <a:pt x="299" y="162"/>
                            <a:pt x="297" y="160"/>
                            <a:pt x="295" y="160"/>
                          </a:cubicBezTo>
                          <a:cubicBezTo>
                            <a:pt x="289" y="159"/>
                            <a:pt x="282" y="160"/>
                            <a:pt x="276" y="160"/>
                          </a:cubicBezTo>
                          <a:cubicBezTo>
                            <a:pt x="274" y="160"/>
                            <a:pt x="272" y="159"/>
                            <a:pt x="271" y="158"/>
                          </a:cubicBezTo>
                          <a:cubicBezTo>
                            <a:pt x="270" y="156"/>
                            <a:pt x="272" y="154"/>
                            <a:pt x="272" y="151"/>
                          </a:cubicBezTo>
                          <a:cubicBezTo>
                            <a:pt x="272" y="149"/>
                            <a:pt x="271" y="146"/>
                            <a:pt x="269" y="146"/>
                          </a:cubicBezTo>
                          <a:cubicBezTo>
                            <a:pt x="267" y="145"/>
                            <a:pt x="266" y="150"/>
                            <a:pt x="264" y="149"/>
                          </a:cubicBezTo>
                          <a:cubicBezTo>
                            <a:pt x="262" y="148"/>
                            <a:pt x="262" y="144"/>
                            <a:pt x="259" y="143"/>
                          </a:cubicBezTo>
                          <a:cubicBezTo>
                            <a:pt x="258" y="142"/>
                            <a:pt x="257" y="145"/>
                            <a:pt x="256" y="144"/>
                          </a:cubicBezTo>
                          <a:cubicBezTo>
                            <a:pt x="254" y="143"/>
                            <a:pt x="253" y="139"/>
                            <a:pt x="250" y="138"/>
                          </a:cubicBezTo>
                          <a:cubicBezTo>
                            <a:pt x="249" y="138"/>
                            <a:pt x="249" y="140"/>
                            <a:pt x="250" y="141"/>
                          </a:cubicBezTo>
                          <a:cubicBezTo>
                            <a:pt x="250" y="142"/>
                            <a:pt x="252" y="142"/>
                            <a:pt x="252" y="143"/>
                          </a:cubicBezTo>
                          <a:cubicBezTo>
                            <a:pt x="252" y="145"/>
                            <a:pt x="249" y="147"/>
                            <a:pt x="249" y="150"/>
                          </a:cubicBezTo>
                          <a:cubicBezTo>
                            <a:pt x="249" y="152"/>
                            <a:pt x="251" y="153"/>
                            <a:pt x="252" y="154"/>
                          </a:cubicBezTo>
                          <a:cubicBezTo>
                            <a:pt x="254" y="157"/>
                            <a:pt x="259" y="158"/>
                            <a:pt x="259" y="161"/>
                          </a:cubicBezTo>
                          <a:cubicBezTo>
                            <a:pt x="259" y="163"/>
                            <a:pt x="255" y="161"/>
                            <a:pt x="254" y="162"/>
                          </a:cubicBezTo>
                          <a:cubicBezTo>
                            <a:pt x="253" y="162"/>
                            <a:pt x="255" y="164"/>
                            <a:pt x="254" y="165"/>
                          </a:cubicBezTo>
                          <a:cubicBezTo>
                            <a:pt x="254" y="166"/>
                            <a:pt x="253" y="165"/>
                            <a:pt x="252" y="166"/>
                          </a:cubicBezTo>
                          <a:cubicBezTo>
                            <a:pt x="252" y="167"/>
                            <a:pt x="251" y="168"/>
                            <a:pt x="251" y="169"/>
                          </a:cubicBezTo>
                          <a:cubicBezTo>
                            <a:pt x="252" y="171"/>
                            <a:pt x="255" y="171"/>
                            <a:pt x="256" y="172"/>
                          </a:cubicBezTo>
                          <a:cubicBezTo>
                            <a:pt x="258" y="173"/>
                            <a:pt x="259" y="174"/>
                            <a:pt x="259" y="176"/>
                          </a:cubicBezTo>
                          <a:cubicBezTo>
                            <a:pt x="259" y="178"/>
                            <a:pt x="256" y="179"/>
                            <a:pt x="256" y="181"/>
                          </a:cubicBezTo>
                          <a:cubicBezTo>
                            <a:pt x="255" y="182"/>
                            <a:pt x="257" y="183"/>
                            <a:pt x="258" y="184"/>
                          </a:cubicBezTo>
                          <a:cubicBezTo>
                            <a:pt x="259" y="186"/>
                            <a:pt x="258" y="188"/>
                            <a:pt x="259" y="190"/>
                          </a:cubicBezTo>
                          <a:cubicBezTo>
                            <a:pt x="260" y="191"/>
                            <a:pt x="262" y="189"/>
                            <a:pt x="263" y="190"/>
                          </a:cubicBezTo>
                          <a:cubicBezTo>
                            <a:pt x="263" y="191"/>
                            <a:pt x="262" y="192"/>
                            <a:pt x="262" y="193"/>
                          </a:cubicBezTo>
                          <a:cubicBezTo>
                            <a:pt x="262" y="194"/>
                            <a:pt x="262" y="195"/>
                            <a:pt x="262" y="197"/>
                          </a:cubicBezTo>
                          <a:cubicBezTo>
                            <a:pt x="262" y="198"/>
                            <a:pt x="263" y="199"/>
                            <a:pt x="263" y="201"/>
                          </a:cubicBezTo>
                          <a:cubicBezTo>
                            <a:pt x="263" y="202"/>
                            <a:pt x="263" y="203"/>
                            <a:pt x="263" y="205"/>
                          </a:cubicBezTo>
                          <a:cubicBezTo>
                            <a:pt x="263" y="207"/>
                            <a:pt x="265" y="209"/>
                            <a:pt x="266" y="211"/>
                          </a:cubicBezTo>
                          <a:close/>
                        </a:path>
                      </a:pathLst>
                    </a:custGeom>
                    <a:grpFill/>
                    <a:ln w="3175" cap="rnd">
                      <a:solidFill>
                        <a:schemeClr val="bg1">
                          <a:lumMod val="75000"/>
                        </a:schemeClr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68580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it-IT" dirty="0">
                        <a:solidFill>
                          <a:srgbClr val="DC4405"/>
                        </a:solidFill>
                        <a:latin typeface="Arial" charset="0"/>
                        <a:cs typeface="Arial" charset="0"/>
                      </a:endParaRPr>
                    </a:p>
                  </p:txBody>
                </p:sp>
                <p:grpSp>
                  <p:nvGrpSpPr>
                    <p:cNvPr id="1978" name="Gruppo 1124"/>
                    <p:cNvGrpSpPr/>
                    <p:nvPr/>
                  </p:nvGrpSpPr>
                  <p:grpSpPr>
                    <a:xfrm>
                      <a:off x="4861343" y="1510766"/>
                      <a:ext cx="2445021" cy="799102"/>
                      <a:chOff x="4861343" y="1510766"/>
                      <a:chExt cx="2445021" cy="799102"/>
                    </a:xfrm>
                    <a:grpFill/>
                  </p:grpSpPr>
                  <p:sp>
                    <p:nvSpPr>
                      <p:cNvPr id="1979" name="Freeform 2886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4861343" y="1597156"/>
                        <a:ext cx="2445021" cy="712712"/>
                      </a:xfrm>
                      <a:custGeom>
                        <a:avLst/>
                        <a:gdLst>
                          <a:gd name="T0" fmla="*/ 1579 w 1821"/>
                          <a:gd name="T1" fmla="*/ 599 h 715"/>
                          <a:gd name="T2" fmla="*/ 1708 w 1821"/>
                          <a:gd name="T3" fmla="*/ 472 h 715"/>
                          <a:gd name="T4" fmla="*/ 1833 w 1821"/>
                          <a:gd name="T5" fmla="*/ 446 h 715"/>
                          <a:gd name="T6" fmla="*/ 1813 w 1821"/>
                          <a:gd name="T7" fmla="*/ 523 h 715"/>
                          <a:gd name="T8" fmla="*/ 1905 w 1821"/>
                          <a:gd name="T9" fmla="*/ 547 h 715"/>
                          <a:gd name="T10" fmla="*/ 1944 w 1821"/>
                          <a:gd name="T11" fmla="*/ 445 h 715"/>
                          <a:gd name="T12" fmla="*/ 2058 w 1821"/>
                          <a:gd name="T13" fmla="*/ 341 h 715"/>
                          <a:gd name="T14" fmla="*/ 2164 w 1821"/>
                          <a:gd name="T15" fmla="*/ 305 h 715"/>
                          <a:gd name="T16" fmla="*/ 1874 w 1821"/>
                          <a:gd name="T17" fmla="*/ 240 h 715"/>
                          <a:gd name="T18" fmla="*/ 1631 w 1821"/>
                          <a:gd name="T19" fmla="*/ 186 h 715"/>
                          <a:gd name="T20" fmla="*/ 1520 w 1821"/>
                          <a:gd name="T21" fmla="*/ 151 h 715"/>
                          <a:gd name="T22" fmla="*/ 1405 w 1821"/>
                          <a:gd name="T23" fmla="*/ 170 h 715"/>
                          <a:gd name="T24" fmla="*/ 1229 w 1821"/>
                          <a:gd name="T25" fmla="*/ 120 h 715"/>
                          <a:gd name="T26" fmla="*/ 1061 w 1821"/>
                          <a:gd name="T27" fmla="*/ 118 h 715"/>
                          <a:gd name="T28" fmla="*/ 1074 w 1821"/>
                          <a:gd name="T29" fmla="*/ 46 h 715"/>
                          <a:gd name="T30" fmla="*/ 917 w 1821"/>
                          <a:gd name="T31" fmla="*/ 23 h 715"/>
                          <a:gd name="T32" fmla="*/ 813 w 1821"/>
                          <a:gd name="T33" fmla="*/ 61 h 715"/>
                          <a:gd name="T34" fmla="*/ 731 w 1821"/>
                          <a:gd name="T35" fmla="*/ 116 h 715"/>
                          <a:gd name="T36" fmla="*/ 714 w 1821"/>
                          <a:gd name="T37" fmla="*/ 208 h 715"/>
                          <a:gd name="T38" fmla="*/ 629 w 1821"/>
                          <a:gd name="T39" fmla="*/ 157 h 715"/>
                          <a:gd name="T40" fmla="*/ 598 w 1821"/>
                          <a:gd name="T41" fmla="*/ 163 h 715"/>
                          <a:gd name="T42" fmla="*/ 681 w 1821"/>
                          <a:gd name="T43" fmla="*/ 275 h 715"/>
                          <a:gd name="T44" fmla="*/ 598 w 1821"/>
                          <a:gd name="T45" fmla="*/ 308 h 715"/>
                          <a:gd name="T46" fmla="*/ 528 w 1821"/>
                          <a:gd name="T47" fmla="*/ 136 h 715"/>
                          <a:gd name="T48" fmla="*/ 433 w 1821"/>
                          <a:gd name="T49" fmla="*/ 245 h 715"/>
                          <a:gd name="T50" fmla="*/ 291 w 1821"/>
                          <a:gd name="T51" fmla="*/ 262 h 715"/>
                          <a:gd name="T52" fmla="*/ 211 w 1821"/>
                          <a:gd name="T53" fmla="*/ 264 h 715"/>
                          <a:gd name="T54" fmla="*/ 132 w 1821"/>
                          <a:gd name="T55" fmla="*/ 342 h 715"/>
                          <a:gd name="T56" fmla="*/ 56 w 1821"/>
                          <a:gd name="T57" fmla="*/ 292 h 715"/>
                          <a:gd name="T58" fmla="*/ 48 w 1821"/>
                          <a:gd name="T59" fmla="*/ 222 h 715"/>
                          <a:gd name="T60" fmla="*/ 1 w 1821"/>
                          <a:gd name="T61" fmla="*/ 252 h 715"/>
                          <a:gd name="T62" fmla="*/ 29 w 1821"/>
                          <a:gd name="T63" fmla="*/ 352 h 715"/>
                          <a:gd name="T64" fmla="*/ 18 w 1821"/>
                          <a:gd name="T65" fmla="*/ 450 h 715"/>
                          <a:gd name="T66" fmla="*/ 8 w 1821"/>
                          <a:gd name="T67" fmla="*/ 478 h 715"/>
                          <a:gd name="T68" fmla="*/ 17 w 1821"/>
                          <a:gd name="T69" fmla="*/ 540 h 715"/>
                          <a:gd name="T70" fmla="*/ 71 w 1821"/>
                          <a:gd name="T71" fmla="*/ 596 h 715"/>
                          <a:gd name="T72" fmla="*/ 104 w 1821"/>
                          <a:gd name="T73" fmla="*/ 626 h 715"/>
                          <a:gd name="T74" fmla="*/ 170 w 1821"/>
                          <a:gd name="T75" fmla="*/ 674 h 715"/>
                          <a:gd name="T76" fmla="*/ 176 w 1821"/>
                          <a:gd name="T77" fmla="*/ 721 h 715"/>
                          <a:gd name="T78" fmla="*/ 163 w 1821"/>
                          <a:gd name="T79" fmla="*/ 768 h 715"/>
                          <a:gd name="T80" fmla="*/ 238 w 1821"/>
                          <a:gd name="T81" fmla="*/ 815 h 715"/>
                          <a:gd name="T82" fmla="*/ 319 w 1821"/>
                          <a:gd name="T83" fmla="*/ 857 h 715"/>
                          <a:gd name="T84" fmla="*/ 313 w 1821"/>
                          <a:gd name="T85" fmla="*/ 766 h 715"/>
                          <a:gd name="T86" fmla="*/ 295 w 1821"/>
                          <a:gd name="T87" fmla="*/ 722 h 715"/>
                          <a:gd name="T88" fmla="*/ 316 w 1821"/>
                          <a:gd name="T89" fmla="*/ 673 h 715"/>
                          <a:gd name="T90" fmla="*/ 377 w 1821"/>
                          <a:gd name="T91" fmla="*/ 643 h 715"/>
                          <a:gd name="T92" fmla="*/ 454 w 1821"/>
                          <a:gd name="T93" fmla="*/ 660 h 715"/>
                          <a:gd name="T94" fmla="*/ 492 w 1821"/>
                          <a:gd name="T95" fmla="*/ 610 h 715"/>
                          <a:gd name="T96" fmla="*/ 582 w 1821"/>
                          <a:gd name="T97" fmla="*/ 563 h 715"/>
                          <a:gd name="T98" fmla="*/ 648 w 1821"/>
                          <a:gd name="T99" fmla="*/ 593 h 715"/>
                          <a:gd name="T100" fmla="*/ 762 w 1821"/>
                          <a:gd name="T101" fmla="*/ 660 h 715"/>
                          <a:gd name="T102" fmla="*/ 836 w 1821"/>
                          <a:gd name="T103" fmla="*/ 674 h 715"/>
                          <a:gd name="T104" fmla="*/ 926 w 1821"/>
                          <a:gd name="T105" fmla="*/ 668 h 715"/>
                          <a:gd name="T106" fmla="*/ 1007 w 1821"/>
                          <a:gd name="T107" fmla="*/ 679 h 715"/>
                          <a:gd name="T108" fmla="*/ 1071 w 1821"/>
                          <a:gd name="T109" fmla="*/ 644 h 715"/>
                          <a:gd name="T110" fmla="*/ 1167 w 1821"/>
                          <a:gd name="T111" fmla="*/ 685 h 715"/>
                          <a:gd name="T112" fmla="*/ 1286 w 1821"/>
                          <a:gd name="T113" fmla="*/ 679 h 715"/>
                          <a:gd name="T114" fmla="*/ 1341 w 1821"/>
                          <a:gd name="T115" fmla="*/ 613 h 715"/>
                          <a:gd name="T116" fmla="*/ 1431 w 1821"/>
                          <a:gd name="T117" fmla="*/ 658 h 715"/>
                          <a:gd name="T118" fmla="*/ 1502 w 1821"/>
                          <a:gd name="T119" fmla="*/ 726 h 715"/>
                          <a:gd name="T120" fmla="*/ 1541 w 1821"/>
                          <a:gd name="T121" fmla="*/ 780 h 715"/>
                          <a:gd name="T122" fmla="*/ 0 60000 65536"/>
                          <a:gd name="T123" fmla="*/ 0 60000 65536"/>
                          <a:gd name="T124" fmla="*/ 0 60000 65536"/>
                          <a:gd name="T125" fmla="*/ 0 60000 65536"/>
                          <a:gd name="T126" fmla="*/ 0 60000 65536"/>
                          <a:gd name="T127" fmla="*/ 0 60000 65536"/>
                          <a:gd name="T128" fmla="*/ 0 60000 65536"/>
                          <a:gd name="T129" fmla="*/ 0 60000 65536"/>
                          <a:gd name="T130" fmla="*/ 0 60000 65536"/>
                          <a:gd name="T131" fmla="*/ 0 60000 65536"/>
                          <a:gd name="T132" fmla="*/ 0 60000 65536"/>
                          <a:gd name="T133" fmla="*/ 0 60000 65536"/>
                          <a:gd name="T134" fmla="*/ 0 60000 65536"/>
                          <a:gd name="T135" fmla="*/ 0 60000 65536"/>
                          <a:gd name="T136" fmla="*/ 0 60000 65536"/>
                          <a:gd name="T137" fmla="*/ 0 60000 65536"/>
                          <a:gd name="T138" fmla="*/ 0 60000 65536"/>
                          <a:gd name="T139" fmla="*/ 0 60000 65536"/>
                          <a:gd name="T140" fmla="*/ 0 60000 65536"/>
                          <a:gd name="T141" fmla="*/ 0 60000 65536"/>
                          <a:gd name="T142" fmla="*/ 0 60000 65536"/>
                          <a:gd name="T143" fmla="*/ 0 60000 65536"/>
                          <a:gd name="T144" fmla="*/ 0 60000 65536"/>
                          <a:gd name="T145" fmla="*/ 0 60000 65536"/>
                          <a:gd name="T146" fmla="*/ 0 60000 65536"/>
                          <a:gd name="T147" fmla="*/ 0 60000 65536"/>
                          <a:gd name="T148" fmla="*/ 0 60000 65536"/>
                          <a:gd name="T149" fmla="*/ 0 60000 65536"/>
                          <a:gd name="T150" fmla="*/ 0 60000 65536"/>
                          <a:gd name="T151" fmla="*/ 0 60000 65536"/>
                          <a:gd name="T152" fmla="*/ 0 60000 65536"/>
                          <a:gd name="T153" fmla="*/ 0 60000 65536"/>
                          <a:gd name="T154" fmla="*/ 0 60000 65536"/>
                          <a:gd name="T155" fmla="*/ 0 60000 65536"/>
                          <a:gd name="T156" fmla="*/ 0 60000 65536"/>
                          <a:gd name="T157" fmla="*/ 0 60000 65536"/>
                          <a:gd name="T158" fmla="*/ 0 60000 65536"/>
                          <a:gd name="T159" fmla="*/ 0 60000 65536"/>
                          <a:gd name="T160" fmla="*/ 0 60000 65536"/>
                          <a:gd name="T161" fmla="*/ 0 60000 65536"/>
                          <a:gd name="T162" fmla="*/ 0 60000 65536"/>
                          <a:gd name="T163" fmla="*/ 0 60000 65536"/>
                          <a:gd name="T164" fmla="*/ 0 60000 65536"/>
                          <a:gd name="T165" fmla="*/ 0 60000 65536"/>
                          <a:gd name="T166" fmla="*/ 0 60000 65536"/>
                          <a:gd name="T167" fmla="*/ 0 60000 65536"/>
                          <a:gd name="T168" fmla="*/ 0 60000 65536"/>
                          <a:gd name="T169" fmla="*/ 0 60000 65536"/>
                          <a:gd name="T170" fmla="*/ 0 60000 65536"/>
                          <a:gd name="T171" fmla="*/ 0 60000 65536"/>
                          <a:gd name="T172" fmla="*/ 0 60000 65536"/>
                          <a:gd name="T173" fmla="*/ 0 60000 65536"/>
                          <a:gd name="T174" fmla="*/ 0 60000 65536"/>
                          <a:gd name="T175" fmla="*/ 0 60000 65536"/>
                          <a:gd name="T176" fmla="*/ 0 60000 65536"/>
                          <a:gd name="T177" fmla="*/ 0 60000 65536"/>
                          <a:gd name="T178" fmla="*/ 0 60000 65536"/>
                          <a:gd name="T179" fmla="*/ 0 60000 65536"/>
                          <a:gd name="T180" fmla="*/ 0 60000 65536"/>
                          <a:gd name="T181" fmla="*/ 0 60000 65536"/>
                          <a:gd name="T182" fmla="*/ 0 60000 65536"/>
                          <a:gd name="T183" fmla="*/ 0 w 1821"/>
                          <a:gd name="T184" fmla="*/ 0 h 715"/>
                          <a:gd name="T185" fmla="*/ 1821 w 1821"/>
                          <a:gd name="T186" fmla="*/ 715 h 715"/>
                        </a:gdLst>
                        <a:ahLst/>
                        <a:cxnLst>
                          <a:cxn ang="T122">
                            <a:pos x="T0" y="T1"/>
                          </a:cxn>
                          <a:cxn ang="T123">
                            <a:pos x="T2" y="T3"/>
                          </a:cxn>
                          <a:cxn ang="T124">
                            <a:pos x="T4" y="T5"/>
                          </a:cxn>
                          <a:cxn ang="T125">
                            <a:pos x="T6" y="T7"/>
                          </a:cxn>
                          <a:cxn ang="T126">
                            <a:pos x="T8" y="T9"/>
                          </a:cxn>
                          <a:cxn ang="T127">
                            <a:pos x="T10" y="T11"/>
                          </a:cxn>
                          <a:cxn ang="T128">
                            <a:pos x="T12" y="T13"/>
                          </a:cxn>
                          <a:cxn ang="T129">
                            <a:pos x="T14" y="T15"/>
                          </a:cxn>
                          <a:cxn ang="T130">
                            <a:pos x="T16" y="T17"/>
                          </a:cxn>
                          <a:cxn ang="T131">
                            <a:pos x="T18" y="T19"/>
                          </a:cxn>
                          <a:cxn ang="T132">
                            <a:pos x="T20" y="T21"/>
                          </a:cxn>
                          <a:cxn ang="T133">
                            <a:pos x="T22" y="T23"/>
                          </a:cxn>
                          <a:cxn ang="T134">
                            <a:pos x="T24" y="T25"/>
                          </a:cxn>
                          <a:cxn ang="T135">
                            <a:pos x="T26" y="T27"/>
                          </a:cxn>
                          <a:cxn ang="T136">
                            <a:pos x="T28" y="T29"/>
                          </a:cxn>
                          <a:cxn ang="T137">
                            <a:pos x="T30" y="T31"/>
                          </a:cxn>
                          <a:cxn ang="T138">
                            <a:pos x="T32" y="T33"/>
                          </a:cxn>
                          <a:cxn ang="T139">
                            <a:pos x="T34" y="T35"/>
                          </a:cxn>
                          <a:cxn ang="T140">
                            <a:pos x="T36" y="T37"/>
                          </a:cxn>
                          <a:cxn ang="T141">
                            <a:pos x="T38" y="T39"/>
                          </a:cxn>
                          <a:cxn ang="T142">
                            <a:pos x="T40" y="T41"/>
                          </a:cxn>
                          <a:cxn ang="T143">
                            <a:pos x="T42" y="T43"/>
                          </a:cxn>
                          <a:cxn ang="T144">
                            <a:pos x="T44" y="T45"/>
                          </a:cxn>
                          <a:cxn ang="T145">
                            <a:pos x="T46" y="T47"/>
                          </a:cxn>
                          <a:cxn ang="T146">
                            <a:pos x="T48" y="T49"/>
                          </a:cxn>
                          <a:cxn ang="T147">
                            <a:pos x="T50" y="T51"/>
                          </a:cxn>
                          <a:cxn ang="T148">
                            <a:pos x="T52" y="T53"/>
                          </a:cxn>
                          <a:cxn ang="T149">
                            <a:pos x="T54" y="T55"/>
                          </a:cxn>
                          <a:cxn ang="T150">
                            <a:pos x="T56" y="T57"/>
                          </a:cxn>
                          <a:cxn ang="T151">
                            <a:pos x="T58" y="T59"/>
                          </a:cxn>
                          <a:cxn ang="T152">
                            <a:pos x="T60" y="T61"/>
                          </a:cxn>
                          <a:cxn ang="T153">
                            <a:pos x="T62" y="T63"/>
                          </a:cxn>
                          <a:cxn ang="T154">
                            <a:pos x="T64" y="T65"/>
                          </a:cxn>
                          <a:cxn ang="T155">
                            <a:pos x="T66" y="T67"/>
                          </a:cxn>
                          <a:cxn ang="T156">
                            <a:pos x="T68" y="T69"/>
                          </a:cxn>
                          <a:cxn ang="T157">
                            <a:pos x="T70" y="T71"/>
                          </a:cxn>
                          <a:cxn ang="T158">
                            <a:pos x="T72" y="T73"/>
                          </a:cxn>
                          <a:cxn ang="T159">
                            <a:pos x="T74" y="T75"/>
                          </a:cxn>
                          <a:cxn ang="T160">
                            <a:pos x="T76" y="T77"/>
                          </a:cxn>
                          <a:cxn ang="T161">
                            <a:pos x="T78" y="T79"/>
                          </a:cxn>
                          <a:cxn ang="T162">
                            <a:pos x="T80" y="T81"/>
                          </a:cxn>
                          <a:cxn ang="T163">
                            <a:pos x="T82" y="T83"/>
                          </a:cxn>
                          <a:cxn ang="T164">
                            <a:pos x="T84" y="T85"/>
                          </a:cxn>
                          <a:cxn ang="T165">
                            <a:pos x="T86" y="T87"/>
                          </a:cxn>
                          <a:cxn ang="T166">
                            <a:pos x="T88" y="T89"/>
                          </a:cxn>
                          <a:cxn ang="T167">
                            <a:pos x="T90" y="T91"/>
                          </a:cxn>
                          <a:cxn ang="T168">
                            <a:pos x="T92" y="T93"/>
                          </a:cxn>
                          <a:cxn ang="T169">
                            <a:pos x="T94" y="T95"/>
                          </a:cxn>
                          <a:cxn ang="T170">
                            <a:pos x="T96" y="T97"/>
                          </a:cxn>
                          <a:cxn ang="T171">
                            <a:pos x="T98" y="T99"/>
                          </a:cxn>
                          <a:cxn ang="T172">
                            <a:pos x="T100" y="T101"/>
                          </a:cxn>
                          <a:cxn ang="T173">
                            <a:pos x="T102" y="T103"/>
                          </a:cxn>
                          <a:cxn ang="T174">
                            <a:pos x="T104" y="T105"/>
                          </a:cxn>
                          <a:cxn ang="T175">
                            <a:pos x="T106" y="T107"/>
                          </a:cxn>
                          <a:cxn ang="T176">
                            <a:pos x="T108" y="T109"/>
                          </a:cxn>
                          <a:cxn ang="T177">
                            <a:pos x="T110" y="T111"/>
                          </a:cxn>
                          <a:cxn ang="T178">
                            <a:pos x="T112" y="T113"/>
                          </a:cxn>
                          <a:cxn ang="T179">
                            <a:pos x="T114" y="T115"/>
                          </a:cxn>
                          <a:cxn ang="T180">
                            <a:pos x="T116" y="T117"/>
                          </a:cxn>
                          <a:cxn ang="T181">
                            <a:pos x="T118" y="T119"/>
                          </a:cxn>
                          <a:cxn ang="T182">
                            <a:pos x="T120" y="T121"/>
                          </a:cxn>
                        </a:cxnLst>
                        <a:rect l="T183" t="T184" r="T185" b="T186"/>
                        <a:pathLst>
                          <a:path w="1821" h="715">
                            <a:moveTo>
                              <a:pt x="1266" y="694"/>
                            </a:moveTo>
                            <a:cubicBezTo>
                              <a:pt x="1272" y="691"/>
                              <a:pt x="1278" y="683"/>
                              <a:pt x="1283" y="682"/>
                            </a:cubicBezTo>
                            <a:cubicBezTo>
                              <a:pt x="1285" y="681"/>
                              <a:pt x="1286" y="685"/>
                              <a:pt x="1288" y="686"/>
                            </a:cubicBezTo>
                            <a:cubicBezTo>
                              <a:pt x="1292" y="687"/>
                              <a:pt x="1297" y="688"/>
                              <a:pt x="1301" y="686"/>
                            </a:cubicBezTo>
                            <a:cubicBezTo>
                              <a:pt x="1307" y="684"/>
                              <a:pt x="1314" y="682"/>
                              <a:pt x="1318" y="676"/>
                            </a:cubicBezTo>
                            <a:cubicBezTo>
                              <a:pt x="1328" y="663"/>
                              <a:pt x="1334" y="646"/>
                              <a:pt x="1342" y="631"/>
                            </a:cubicBezTo>
                            <a:cubicBezTo>
                              <a:pt x="1348" y="618"/>
                              <a:pt x="1354" y="606"/>
                              <a:pt x="1361" y="593"/>
                            </a:cubicBezTo>
                            <a:cubicBezTo>
                              <a:pt x="1358" y="580"/>
                              <a:pt x="1359" y="566"/>
                              <a:pt x="1354" y="553"/>
                            </a:cubicBezTo>
                            <a:cubicBezTo>
                              <a:pt x="1350" y="544"/>
                              <a:pt x="1355" y="536"/>
                              <a:pt x="1356" y="529"/>
                            </a:cubicBezTo>
                            <a:cubicBezTo>
                              <a:pt x="1355" y="523"/>
                              <a:pt x="1353" y="516"/>
                              <a:pt x="1352" y="510"/>
                            </a:cubicBezTo>
                            <a:cubicBezTo>
                              <a:pt x="1342" y="504"/>
                              <a:pt x="1334" y="494"/>
                              <a:pt x="1323" y="490"/>
                            </a:cubicBezTo>
                            <a:cubicBezTo>
                              <a:pt x="1314" y="487"/>
                              <a:pt x="1319" y="498"/>
                              <a:pt x="1315" y="499"/>
                            </a:cubicBezTo>
                            <a:cubicBezTo>
                              <a:pt x="1312" y="500"/>
                              <a:pt x="1308" y="501"/>
                              <a:pt x="1304" y="500"/>
                            </a:cubicBezTo>
                            <a:cubicBezTo>
                              <a:pt x="1302" y="500"/>
                              <a:pt x="1301" y="487"/>
                              <a:pt x="1300" y="486"/>
                            </a:cubicBezTo>
                            <a:cubicBezTo>
                              <a:pt x="1299" y="486"/>
                              <a:pt x="1297" y="499"/>
                              <a:pt x="1296" y="498"/>
                            </a:cubicBezTo>
                            <a:cubicBezTo>
                              <a:pt x="1291" y="494"/>
                              <a:pt x="1296" y="481"/>
                              <a:pt x="1290" y="481"/>
                            </a:cubicBezTo>
                            <a:cubicBezTo>
                              <a:pt x="1286" y="481"/>
                              <a:pt x="1273" y="486"/>
                              <a:pt x="1271" y="478"/>
                            </a:cubicBezTo>
                            <a:cubicBezTo>
                              <a:pt x="1269" y="470"/>
                              <a:pt x="1281" y="467"/>
                              <a:pt x="1286" y="461"/>
                            </a:cubicBezTo>
                            <a:cubicBezTo>
                              <a:pt x="1294" y="451"/>
                              <a:pt x="1302" y="441"/>
                              <a:pt x="1309" y="431"/>
                            </a:cubicBezTo>
                            <a:cubicBezTo>
                              <a:pt x="1314" y="423"/>
                              <a:pt x="1317" y="412"/>
                              <a:pt x="1325" y="405"/>
                            </a:cubicBezTo>
                            <a:cubicBezTo>
                              <a:pt x="1333" y="399"/>
                              <a:pt x="1344" y="398"/>
                              <a:pt x="1354" y="396"/>
                            </a:cubicBezTo>
                            <a:cubicBezTo>
                              <a:pt x="1364" y="395"/>
                              <a:pt x="1375" y="399"/>
                              <a:pt x="1385" y="398"/>
                            </a:cubicBezTo>
                            <a:cubicBezTo>
                              <a:pt x="1392" y="398"/>
                              <a:pt x="1399" y="394"/>
                              <a:pt x="1406" y="393"/>
                            </a:cubicBezTo>
                            <a:cubicBezTo>
                              <a:pt x="1405" y="387"/>
                              <a:pt x="1417" y="393"/>
                              <a:pt x="1423" y="393"/>
                            </a:cubicBezTo>
                            <a:cubicBezTo>
                              <a:pt x="1430" y="394"/>
                              <a:pt x="1438" y="394"/>
                              <a:pt x="1445" y="397"/>
                            </a:cubicBezTo>
                            <a:cubicBezTo>
                              <a:pt x="1447" y="398"/>
                              <a:pt x="1436" y="400"/>
                              <a:pt x="1434" y="402"/>
                            </a:cubicBezTo>
                            <a:cubicBezTo>
                              <a:pt x="1433" y="403"/>
                              <a:pt x="1434" y="406"/>
                              <a:pt x="1435" y="407"/>
                            </a:cubicBezTo>
                            <a:cubicBezTo>
                              <a:pt x="1440" y="407"/>
                              <a:pt x="1449" y="404"/>
                              <a:pt x="1454" y="403"/>
                            </a:cubicBezTo>
                            <a:cubicBezTo>
                              <a:pt x="1460" y="399"/>
                              <a:pt x="1469" y="402"/>
                              <a:pt x="1477" y="401"/>
                            </a:cubicBezTo>
                            <a:cubicBezTo>
                              <a:pt x="1480" y="397"/>
                              <a:pt x="1472" y="394"/>
                              <a:pt x="1470" y="395"/>
                            </a:cubicBezTo>
                            <a:cubicBezTo>
                              <a:pt x="1467" y="393"/>
                              <a:pt x="1463" y="391"/>
                              <a:pt x="1464" y="387"/>
                            </a:cubicBezTo>
                            <a:cubicBezTo>
                              <a:pt x="1468" y="376"/>
                              <a:pt x="1475" y="365"/>
                              <a:pt x="1483" y="357"/>
                            </a:cubicBezTo>
                            <a:cubicBezTo>
                              <a:pt x="1489" y="352"/>
                              <a:pt x="1498" y="351"/>
                              <a:pt x="1505" y="349"/>
                            </a:cubicBezTo>
                            <a:cubicBezTo>
                              <a:pt x="1509" y="348"/>
                              <a:pt x="1515" y="344"/>
                              <a:pt x="1519" y="347"/>
                            </a:cubicBezTo>
                            <a:cubicBezTo>
                              <a:pt x="1523" y="351"/>
                              <a:pt x="1517" y="361"/>
                              <a:pt x="1520" y="366"/>
                            </a:cubicBezTo>
                            <a:cubicBezTo>
                              <a:pt x="1524" y="365"/>
                              <a:pt x="1524" y="373"/>
                              <a:pt x="1527" y="372"/>
                            </a:cubicBezTo>
                            <a:cubicBezTo>
                              <a:pt x="1534" y="365"/>
                              <a:pt x="1543" y="355"/>
                              <a:pt x="1555" y="353"/>
                            </a:cubicBezTo>
                            <a:cubicBezTo>
                              <a:pt x="1551" y="349"/>
                              <a:pt x="1545" y="339"/>
                              <a:pt x="1549" y="334"/>
                            </a:cubicBezTo>
                            <a:cubicBezTo>
                              <a:pt x="1553" y="329"/>
                              <a:pt x="1562" y="332"/>
                              <a:pt x="1568" y="335"/>
                            </a:cubicBezTo>
                            <a:cubicBezTo>
                              <a:pt x="1570" y="337"/>
                              <a:pt x="1562" y="338"/>
                              <a:pt x="1561" y="341"/>
                            </a:cubicBezTo>
                            <a:cubicBezTo>
                              <a:pt x="1559" y="346"/>
                              <a:pt x="1561" y="351"/>
                              <a:pt x="1561" y="356"/>
                            </a:cubicBezTo>
                            <a:cubicBezTo>
                              <a:pt x="1561" y="360"/>
                              <a:pt x="1563" y="364"/>
                              <a:pt x="1561" y="367"/>
                            </a:cubicBezTo>
                            <a:cubicBezTo>
                              <a:pt x="1558" y="371"/>
                              <a:pt x="1551" y="369"/>
                              <a:pt x="1547" y="373"/>
                            </a:cubicBezTo>
                            <a:cubicBezTo>
                              <a:pt x="1545" y="375"/>
                              <a:pt x="1549" y="379"/>
                              <a:pt x="1547" y="381"/>
                            </a:cubicBezTo>
                            <a:cubicBezTo>
                              <a:pt x="1544" y="387"/>
                              <a:pt x="1539" y="392"/>
                              <a:pt x="1535" y="398"/>
                            </a:cubicBezTo>
                            <a:cubicBezTo>
                              <a:pt x="1531" y="405"/>
                              <a:pt x="1530" y="415"/>
                              <a:pt x="1524" y="421"/>
                            </a:cubicBezTo>
                            <a:cubicBezTo>
                              <a:pt x="1519" y="425"/>
                              <a:pt x="1510" y="420"/>
                              <a:pt x="1506" y="425"/>
                            </a:cubicBezTo>
                            <a:cubicBezTo>
                              <a:pt x="1503" y="428"/>
                              <a:pt x="1510" y="432"/>
                              <a:pt x="1510" y="436"/>
                            </a:cubicBezTo>
                            <a:cubicBezTo>
                              <a:pt x="1509" y="441"/>
                              <a:pt x="1504" y="445"/>
                              <a:pt x="1504" y="449"/>
                            </a:cubicBezTo>
                            <a:cubicBezTo>
                              <a:pt x="1504" y="459"/>
                              <a:pt x="1505" y="469"/>
                              <a:pt x="1509" y="478"/>
                            </a:cubicBezTo>
                            <a:cubicBezTo>
                              <a:pt x="1515" y="493"/>
                              <a:pt x="1526" y="506"/>
                              <a:pt x="1533" y="521"/>
                            </a:cubicBezTo>
                            <a:cubicBezTo>
                              <a:pt x="1536" y="527"/>
                              <a:pt x="1537" y="534"/>
                              <a:pt x="1540" y="541"/>
                            </a:cubicBezTo>
                            <a:cubicBezTo>
                              <a:pt x="1541" y="543"/>
                              <a:pt x="1543" y="549"/>
                              <a:pt x="1545" y="547"/>
                            </a:cubicBezTo>
                            <a:cubicBezTo>
                              <a:pt x="1550" y="541"/>
                              <a:pt x="1557" y="534"/>
                              <a:pt x="1559" y="527"/>
                            </a:cubicBezTo>
                            <a:cubicBezTo>
                              <a:pt x="1561" y="522"/>
                              <a:pt x="1554" y="518"/>
                              <a:pt x="1556" y="513"/>
                            </a:cubicBezTo>
                            <a:cubicBezTo>
                              <a:pt x="1559" y="510"/>
                              <a:pt x="1568" y="516"/>
                              <a:pt x="1570" y="512"/>
                            </a:cubicBezTo>
                            <a:cubicBezTo>
                              <a:pt x="1573" y="505"/>
                              <a:pt x="1562" y="496"/>
                              <a:pt x="1566" y="490"/>
                            </a:cubicBezTo>
                            <a:cubicBezTo>
                              <a:pt x="1570" y="484"/>
                              <a:pt x="1583" y="491"/>
                              <a:pt x="1586" y="485"/>
                            </a:cubicBezTo>
                            <a:cubicBezTo>
                              <a:pt x="1589" y="480"/>
                              <a:pt x="1577" y="476"/>
                              <a:pt x="1578" y="470"/>
                            </a:cubicBezTo>
                            <a:cubicBezTo>
                              <a:pt x="1578" y="466"/>
                              <a:pt x="1580" y="448"/>
                              <a:pt x="1587" y="456"/>
                            </a:cubicBezTo>
                            <a:cubicBezTo>
                              <a:pt x="1589" y="454"/>
                              <a:pt x="1587" y="450"/>
                              <a:pt x="1587" y="448"/>
                            </a:cubicBezTo>
                            <a:cubicBezTo>
                              <a:pt x="1588" y="443"/>
                              <a:pt x="1580" y="447"/>
                              <a:pt x="1579" y="442"/>
                            </a:cubicBezTo>
                            <a:cubicBezTo>
                              <a:pt x="1577" y="437"/>
                              <a:pt x="1577" y="430"/>
                              <a:pt x="1580" y="424"/>
                            </a:cubicBezTo>
                            <a:cubicBezTo>
                              <a:pt x="1577" y="420"/>
                              <a:pt x="1569" y="428"/>
                              <a:pt x="1565" y="424"/>
                            </a:cubicBezTo>
                            <a:cubicBezTo>
                              <a:pt x="1562" y="421"/>
                              <a:pt x="1564" y="415"/>
                              <a:pt x="1565" y="410"/>
                            </a:cubicBezTo>
                            <a:cubicBezTo>
                              <a:pt x="1570" y="403"/>
                              <a:pt x="1565" y="393"/>
                              <a:pt x="1571" y="387"/>
                            </a:cubicBezTo>
                            <a:cubicBezTo>
                              <a:pt x="1574" y="384"/>
                              <a:pt x="1580" y="392"/>
                              <a:pt x="1585" y="391"/>
                            </a:cubicBezTo>
                            <a:cubicBezTo>
                              <a:pt x="1587" y="391"/>
                              <a:pt x="1583" y="386"/>
                              <a:pt x="1584" y="384"/>
                            </a:cubicBezTo>
                            <a:cubicBezTo>
                              <a:pt x="1587" y="380"/>
                              <a:pt x="1592" y="374"/>
                              <a:pt x="1597" y="375"/>
                            </a:cubicBezTo>
                            <a:cubicBezTo>
                              <a:pt x="1601" y="376"/>
                              <a:pt x="1596" y="384"/>
                              <a:pt x="1598" y="387"/>
                            </a:cubicBezTo>
                            <a:cubicBezTo>
                              <a:pt x="1599" y="389"/>
                              <a:pt x="1601" y="385"/>
                              <a:pt x="1603" y="384"/>
                            </a:cubicBezTo>
                            <a:cubicBezTo>
                              <a:pt x="1609" y="380"/>
                              <a:pt x="1612" y="372"/>
                              <a:pt x="1619" y="371"/>
                            </a:cubicBezTo>
                            <a:cubicBezTo>
                              <a:pt x="1626" y="371"/>
                              <a:pt x="1633" y="377"/>
                              <a:pt x="1640" y="379"/>
                            </a:cubicBezTo>
                            <a:cubicBezTo>
                              <a:pt x="1642" y="380"/>
                              <a:pt x="1645" y="383"/>
                              <a:pt x="1646" y="381"/>
                            </a:cubicBezTo>
                            <a:cubicBezTo>
                              <a:pt x="1648" y="380"/>
                              <a:pt x="1646" y="375"/>
                              <a:pt x="1648" y="373"/>
                            </a:cubicBezTo>
                            <a:cubicBezTo>
                              <a:pt x="1654" y="365"/>
                              <a:pt x="1662" y="359"/>
                              <a:pt x="1670" y="353"/>
                            </a:cubicBezTo>
                            <a:cubicBezTo>
                              <a:pt x="1678" y="348"/>
                              <a:pt x="1686" y="342"/>
                              <a:pt x="1695" y="339"/>
                            </a:cubicBezTo>
                            <a:cubicBezTo>
                              <a:pt x="1705" y="333"/>
                              <a:pt x="1717" y="338"/>
                              <a:pt x="1727" y="337"/>
                            </a:cubicBezTo>
                            <a:cubicBezTo>
                              <a:pt x="1731" y="335"/>
                              <a:pt x="1729" y="328"/>
                              <a:pt x="1727" y="325"/>
                            </a:cubicBezTo>
                            <a:cubicBezTo>
                              <a:pt x="1721" y="315"/>
                              <a:pt x="1713" y="308"/>
                              <a:pt x="1704" y="301"/>
                            </a:cubicBezTo>
                            <a:cubicBezTo>
                              <a:pt x="1698" y="297"/>
                              <a:pt x="1690" y="298"/>
                              <a:pt x="1685" y="294"/>
                            </a:cubicBezTo>
                            <a:cubicBezTo>
                              <a:pt x="1682" y="293"/>
                              <a:pt x="1679" y="288"/>
                              <a:pt x="1682" y="286"/>
                            </a:cubicBezTo>
                            <a:cubicBezTo>
                              <a:pt x="1686" y="284"/>
                              <a:pt x="1690" y="290"/>
                              <a:pt x="1695" y="289"/>
                            </a:cubicBezTo>
                            <a:cubicBezTo>
                              <a:pt x="1701" y="289"/>
                              <a:pt x="1710" y="289"/>
                              <a:pt x="1714" y="284"/>
                            </a:cubicBezTo>
                            <a:cubicBezTo>
                              <a:pt x="1717" y="280"/>
                              <a:pt x="1712" y="274"/>
                              <a:pt x="1712" y="270"/>
                            </a:cubicBezTo>
                            <a:cubicBezTo>
                              <a:pt x="1712" y="266"/>
                              <a:pt x="1711" y="259"/>
                              <a:pt x="1714" y="258"/>
                            </a:cubicBezTo>
                            <a:cubicBezTo>
                              <a:pt x="1718" y="257"/>
                              <a:pt x="1722" y="263"/>
                              <a:pt x="1724" y="266"/>
                            </a:cubicBezTo>
                            <a:cubicBezTo>
                              <a:pt x="1727" y="270"/>
                              <a:pt x="1726" y="279"/>
                              <a:pt x="1731" y="280"/>
                            </a:cubicBezTo>
                            <a:cubicBezTo>
                              <a:pt x="1737" y="282"/>
                              <a:pt x="1744" y="272"/>
                              <a:pt x="1750" y="274"/>
                            </a:cubicBezTo>
                            <a:cubicBezTo>
                              <a:pt x="1759" y="276"/>
                              <a:pt x="1765" y="288"/>
                              <a:pt x="1772" y="293"/>
                            </a:cubicBezTo>
                            <a:cubicBezTo>
                              <a:pt x="1779" y="293"/>
                              <a:pt x="1785" y="300"/>
                              <a:pt x="1793" y="302"/>
                            </a:cubicBezTo>
                            <a:cubicBezTo>
                              <a:pt x="1796" y="302"/>
                              <a:pt x="1811" y="299"/>
                              <a:pt x="1801" y="295"/>
                            </a:cubicBezTo>
                            <a:cubicBezTo>
                              <a:pt x="1802" y="289"/>
                              <a:pt x="1797" y="281"/>
                              <a:pt x="1800" y="276"/>
                            </a:cubicBezTo>
                            <a:cubicBezTo>
                              <a:pt x="1804" y="278"/>
                              <a:pt x="1811" y="279"/>
                              <a:pt x="1816" y="276"/>
                            </a:cubicBezTo>
                            <a:cubicBezTo>
                              <a:pt x="1819" y="275"/>
                              <a:pt x="1819" y="267"/>
                              <a:pt x="1821" y="264"/>
                            </a:cubicBezTo>
                            <a:cubicBezTo>
                              <a:pt x="1813" y="260"/>
                              <a:pt x="1809" y="257"/>
                              <a:pt x="1803" y="254"/>
                            </a:cubicBezTo>
                            <a:cubicBezTo>
                              <a:pt x="1792" y="251"/>
                              <a:pt x="1781" y="245"/>
                              <a:pt x="1769" y="245"/>
                            </a:cubicBezTo>
                            <a:cubicBezTo>
                              <a:pt x="1766" y="246"/>
                              <a:pt x="1773" y="253"/>
                              <a:pt x="1771" y="255"/>
                            </a:cubicBezTo>
                            <a:cubicBezTo>
                              <a:pt x="1768" y="258"/>
                              <a:pt x="1763" y="257"/>
                              <a:pt x="1760" y="254"/>
                            </a:cubicBezTo>
                            <a:cubicBezTo>
                              <a:pt x="1754" y="248"/>
                              <a:pt x="1754" y="235"/>
                              <a:pt x="1746" y="230"/>
                            </a:cubicBezTo>
                            <a:cubicBezTo>
                              <a:pt x="1725" y="221"/>
                              <a:pt x="1710" y="214"/>
                              <a:pt x="1692" y="207"/>
                            </a:cubicBezTo>
                            <a:cubicBezTo>
                              <a:pt x="1670" y="199"/>
                              <a:pt x="1649" y="187"/>
                              <a:pt x="1626" y="182"/>
                            </a:cubicBezTo>
                            <a:cubicBezTo>
                              <a:pt x="1617" y="180"/>
                              <a:pt x="1607" y="186"/>
                              <a:pt x="1598" y="185"/>
                            </a:cubicBezTo>
                            <a:cubicBezTo>
                              <a:pt x="1589" y="184"/>
                              <a:pt x="1580" y="179"/>
                              <a:pt x="1571" y="177"/>
                            </a:cubicBezTo>
                            <a:cubicBezTo>
                              <a:pt x="1569" y="177"/>
                              <a:pt x="1564" y="177"/>
                              <a:pt x="1568" y="183"/>
                            </a:cubicBezTo>
                            <a:cubicBezTo>
                              <a:pt x="1570" y="189"/>
                              <a:pt x="1578" y="192"/>
                              <a:pt x="1579" y="199"/>
                            </a:cubicBezTo>
                            <a:cubicBezTo>
                              <a:pt x="1580" y="202"/>
                              <a:pt x="1577" y="206"/>
                              <a:pt x="1574" y="207"/>
                            </a:cubicBezTo>
                            <a:cubicBezTo>
                              <a:pt x="1569" y="209"/>
                              <a:pt x="1564" y="206"/>
                              <a:pt x="1561" y="200"/>
                            </a:cubicBezTo>
                            <a:cubicBezTo>
                              <a:pt x="1557" y="199"/>
                              <a:pt x="1552" y="200"/>
                              <a:pt x="1548" y="197"/>
                            </a:cubicBezTo>
                            <a:cubicBezTo>
                              <a:pt x="1544" y="195"/>
                              <a:pt x="1544" y="187"/>
                              <a:pt x="1540" y="185"/>
                            </a:cubicBezTo>
                            <a:cubicBezTo>
                              <a:pt x="1537" y="184"/>
                              <a:pt x="1533" y="191"/>
                              <a:pt x="1530" y="192"/>
                            </a:cubicBezTo>
                            <a:cubicBezTo>
                              <a:pt x="1517" y="192"/>
                              <a:pt x="1503" y="185"/>
                              <a:pt x="1490" y="187"/>
                            </a:cubicBezTo>
                            <a:cubicBezTo>
                              <a:pt x="1484" y="188"/>
                              <a:pt x="1475" y="191"/>
                              <a:pt x="1474" y="199"/>
                            </a:cubicBezTo>
                            <a:cubicBezTo>
                              <a:pt x="1470" y="199"/>
                              <a:pt x="1470" y="191"/>
                              <a:pt x="1467" y="190"/>
                            </a:cubicBezTo>
                            <a:cubicBezTo>
                              <a:pt x="1462" y="187"/>
                              <a:pt x="1456" y="189"/>
                              <a:pt x="1451" y="187"/>
                            </a:cubicBezTo>
                            <a:cubicBezTo>
                              <a:pt x="1450" y="187"/>
                              <a:pt x="1451" y="184"/>
                              <a:pt x="1451" y="183"/>
                            </a:cubicBezTo>
                            <a:cubicBezTo>
                              <a:pt x="1451" y="176"/>
                              <a:pt x="1448" y="168"/>
                              <a:pt x="1438" y="163"/>
                            </a:cubicBezTo>
                            <a:cubicBezTo>
                              <a:pt x="1428" y="159"/>
                              <a:pt x="1415" y="159"/>
                              <a:pt x="1404" y="159"/>
                            </a:cubicBezTo>
                            <a:cubicBezTo>
                              <a:pt x="1389" y="160"/>
                              <a:pt x="1374" y="163"/>
                              <a:pt x="1359" y="162"/>
                            </a:cubicBezTo>
                            <a:cubicBezTo>
                              <a:pt x="1357" y="161"/>
                              <a:pt x="1361" y="156"/>
                              <a:pt x="1359" y="155"/>
                            </a:cubicBezTo>
                            <a:cubicBezTo>
                              <a:pt x="1354" y="150"/>
                              <a:pt x="1351" y="148"/>
                              <a:pt x="1344" y="147"/>
                            </a:cubicBezTo>
                            <a:cubicBezTo>
                              <a:pt x="1337" y="150"/>
                              <a:pt x="1323" y="147"/>
                              <a:pt x="1316" y="145"/>
                            </a:cubicBezTo>
                            <a:cubicBezTo>
                              <a:pt x="1312" y="143"/>
                              <a:pt x="1325" y="143"/>
                              <a:pt x="1327" y="139"/>
                            </a:cubicBezTo>
                            <a:cubicBezTo>
                              <a:pt x="1319" y="132"/>
                              <a:pt x="1304" y="129"/>
                              <a:pt x="1293" y="130"/>
                            </a:cubicBezTo>
                            <a:cubicBezTo>
                              <a:pt x="1287" y="130"/>
                              <a:pt x="1289" y="135"/>
                              <a:pt x="1285" y="138"/>
                            </a:cubicBezTo>
                            <a:cubicBezTo>
                              <a:pt x="1282" y="141"/>
                              <a:pt x="1280" y="148"/>
                              <a:pt x="1276" y="147"/>
                            </a:cubicBezTo>
                            <a:cubicBezTo>
                              <a:pt x="1275" y="146"/>
                              <a:pt x="1272" y="143"/>
                              <a:pt x="1273" y="141"/>
                            </a:cubicBezTo>
                            <a:cubicBezTo>
                              <a:pt x="1277" y="140"/>
                              <a:pt x="1276" y="134"/>
                              <a:pt x="1280" y="134"/>
                            </a:cubicBezTo>
                            <a:cubicBezTo>
                              <a:pt x="1280" y="133"/>
                              <a:pt x="1281" y="140"/>
                              <a:pt x="1282" y="139"/>
                            </a:cubicBezTo>
                            <a:cubicBezTo>
                              <a:pt x="1284" y="138"/>
                              <a:pt x="1287" y="131"/>
                              <a:pt x="1286" y="131"/>
                            </a:cubicBezTo>
                            <a:cubicBezTo>
                              <a:pt x="1282" y="127"/>
                              <a:pt x="1257" y="136"/>
                              <a:pt x="1258" y="131"/>
                            </a:cubicBezTo>
                            <a:cubicBezTo>
                              <a:pt x="1259" y="129"/>
                              <a:pt x="1262" y="126"/>
                              <a:pt x="1266" y="126"/>
                            </a:cubicBezTo>
                            <a:cubicBezTo>
                              <a:pt x="1272" y="126"/>
                              <a:pt x="1280" y="129"/>
                              <a:pt x="1283" y="127"/>
                            </a:cubicBezTo>
                            <a:cubicBezTo>
                              <a:pt x="1276" y="122"/>
                              <a:pt x="1267" y="125"/>
                              <a:pt x="1262" y="124"/>
                            </a:cubicBezTo>
                            <a:cubicBezTo>
                              <a:pt x="1248" y="121"/>
                              <a:pt x="1230" y="118"/>
                              <a:pt x="1218" y="114"/>
                            </a:cubicBezTo>
                            <a:cubicBezTo>
                              <a:pt x="1216" y="116"/>
                              <a:pt x="1222" y="120"/>
                              <a:pt x="1221" y="121"/>
                            </a:cubicBezTo>
                            <a:cubicBezTo>
                              <a:pt x="1219" y="125"/>
                              <a:pt x="1211" y="122"/>
                              <a:pt x="1207" y="124"/>
                            </a:cubicBezTo>
                            <a:cubicBezTo>
                              <a:pt x="1207" y="125"/>
                              <a:pt x="1205" y="130"/>
                              <a:pt x="1206" y="132"/>
                            </a:cubicBezTo>
                            <a:cubicBezTo>
                              <a:pt x="1208" y="134"/>
                              <a:pt x="1215" y="128"/>
                              <a:pt x="1215" y="130"/>
                            </a:cubicBezTo>
                            <a:cubicBezTo>
                              <a:pt x="1210" y="135"/>
                              <a:pt x="1214" y="140"/>
                              <a:pt x="1219" y="149"/>
                            </a:cubicBezTo>
                            <a:cubicBezTo>
                              <a:pt x="1215" y="149"/>
                              <a:pt x="1208" y="144"/>
                              <a:pt x="1203" y="144"/>
                            </a:cubicBezTo>
                            <a:cubicBezTo>
                              <a:pt x="1201" y="144"/>
                              <a:pt x="1191" y="146"/>
                              <a:pt x="1203" y="151"/>
                            </a:cubicBezTo>
                            <a:cubicBezTo>
                              <a:pt x="1202" y="153"/>
                              <a:pt x="1201" y="155"/>
                              <a:pt x="1199" y="155"/>
                            </a:cubicBezTo>
                            <a:cubicBezTo>
                              <a:pt x="1189" y="152"/>
                              <a:pt x="1180" y="144"/>
                              <a:pt x="1170" y="142"/>
                            </a:cubicBezTo>
                            <a:cubicBezTo>
                              <a:pt x="1166" y="141"/>
                              <a:pt x="1165" y="148"/>
                              <a:pt x="1162" y="149"/>
                            </a:cubicBezTo>
                            <a:cubicBezTo>
                              <a:pt x="1158" y="150"/>
                              <a:pt x="1152" y="151"/>
                              <a:pt x="1148" y="149"/>
                            </a:cubicBezTo>
                            <a:cubicBezTo>
                              <a:pt x="1143" y="143"/>
                              <a:pt x="1136" y="144"/>
                              <a:pt x="1134" y="137"/>
                            </a:cubicBezTo>
                            <a:cubicBezTo>
                              <a:pt x="1130" y="138"/>
                              <a:pt x="1133" y="147"/>
                              <a:pt x="1133" y="152"/>
                            </a:cubicBezTo>
                            <a:cubicBezTo>
                              <a:pt x="1133" y="157"/>
                              <a:pt x="1131" y="164"/>
                              <a:pt x="1127" y="164"/>
                            </a:cubicBezTo>
                            <a:cubicBezTo>
                              <a:pt x="1118" y="164"/>
                              <a:pt x="1114" y="156"/>
                              <a:pt x="1106" y="151"/>
                            </a:cubicBezTo>
                            <a:cubicBezTo>
                              <a:pt x="1101" y="147"/>
                              <a:pt x="1092" y="142"/>
                              <a:pt x="1089" y="136"/>
                            </a:cubicBezTo>
                            <a:cubicBezTo>
                              <a:pt x="1091" y="134"/>
                              <a:pt x="1096" y="135"/>
                              <a:pt x="1096" y="133"/>
                            </a:cubicBezTo>
                            <a:cubicBezTo>
                              <a:pt x="1096" y="129"/>
                              <a:pt x="1095" y="126"/>
                              <a:pt x="1093" y="122"/>
                            </a:cubicBezTo>
                            <a:cubicBezTo>
                              <a:pt x="1092" y="108"/>
                              <a:pt x="1082" y="104"/>
                              <a:pt x="1073" y="100"/>
                            </a:cubicBezTo>
                            <a:cubicBezTo>
                              <a:pt x="1065" y="96"/>
                              <a:pt x="1056" y="97"/>
                              <a:pt x="1047" y="97"/>
                            </a:cubicBezTo>
                            <a:cubicBezTo>
                              <a:pt x="1034" y="97"/>
                              <a:pt x="1032" y="89"/>
                              <a:pt x="1024" y="100"/>
                            </a:cubicBezTo>
                            <a:cubicBezTo>
                              <a:pt x="1020" y="103"/>
                              <a:pt x="1030" y="112"/>
                              <a:pt x="1026" y="112"/>
                            </a:cubicBezTo>
                            <a:cubicBezTo>
                              <a:pt x="1009" y="114"/>
                              <a:pt x="985" y="110"/>
                              <a:pt x="969" y="106"/>
                            </a:cubicBezTo>
                            <a:cubicBezTo>
                              <a:pt x="973" y="103"/>
                              <a:pt x="976" y="99"/>
                              <a:pt x="973" y="99"/>
                            </a:cubicBezTo>
                            <a:cubicBezTo>
                              <a:pt x="956" y="97"/>
                              <a:pt x="938" y="96"/>
                              <a:pt x="921" y="100"/>
                            </a:cubicBezTo>
                            <a:cubicBezTo>
                              <a:pt x="917" y="101"/>
                              <a:pt x="924" y="113"/>
                              <a:pt x="921" y="113"/>
                            </a:cubicBezTo>
                            <a:cubicBezTo>
                              <a:pt x="915" y="108"/>
                              <a:pt x="916" y="96"/>
                              <a:pt x="909" y="93"/>
                            </a:cubicBezTo>
                            <a:cubicBezTo>
                              <a:pt x="907" y="92"/>
                              <a:pt x="910" y="99"/>
                              <a:pt x="908" y="100"/>
                            </a:cubicBezTo>
                            <a:cubicBezTo>
                              <a:pt x="904" y="101"/>
                              <a:pt x="899" y="101"/>
                              <a:pt x="895" y="100"/>
                            </a:cubicBezTo>
                            <a:cubicBezTo>
                              <a:pt x="891" y="98"/>
                              <a:pt x="892" y="92"/>
                              <a:pt x="888" y="91"/>
                            </a:cubicBezTo>
                            <a:cubicBezTo>
                              <a:pt x="885" y="95"/>
                              <a:pt x="876" y="87"/>
                              <a:pt x="874" y="90"/>
                            </a:cubicBezTo>
                            <a:cubicBezTo>
                              <a:pt x="873" y="92"/>
                              <a:pt x="871" y="96"/>
                              <a:pt x="873" y="97"/>
                            </a:cubicBezTo>
                            <a:cubicBezTo>
                              <a:pt x="878" y="97"/>
                              <a:pt x="883" y="95"/>
                              <a:pt x="884" y="98"/>
                            </a:cubicBezTo>
                            <a:cubicBezTo>
                              <a:pt x="880" y="101"/>
                              <a:pt x="875" y="101"/>
                              <a:pt x="870" y="103"/>
                            </a:cubicBezTo>
                            <a:cubicBezTo>
                              <a:pt x="865" y="108"/>
                              <a:pt x="857" y="108"/>
                              <a:pt x="851" y="110"/>
                            </a:cubicBezTo>
                            <a:cubicBezTo>
                              <a:pt x="848" y="112"/>
                              <a:pt x="845" y="107"/>
                              <a:pt x="841" y="109"/>
                            </a:cubicBezTo>
                            <a:cubicBezTo>
                              <a:pt x="841" y="114"/>
                              <a:pt x="833" y="119"/>
                              <a:pt x="828" y="121"/>
                            </a:cubicBezTo>
                            <a:cubicBezTo>
                              <a:pt x="828" y="121"/>
                              <a:pt x="827" y="119"/>
                              <a:pt x="828" y="119"/>
                            </a:cubicBezTo>
                            <a:cubicBezTo>
                              <a:pt x="836" y="112"/>
                              <a:pt x="845" y="95"/>
                              <a:pt x="848" y="99"/>
                            </a:cubicBezTo>
                            <a:cubicBezTo>
                              <a:pt x="859" y="91"/>
                              <a:pt x="873" y="86"/>
                              <a:pt x="884" y="78"/>
                            </a:cubicBezTo>
                            <a:cubicBezTo>
                              <a:pt x="892" y="73"/>
                              <a:pt x="901" y="68"/>
                              <a:pt x="905" y="60"/>
                            </a:cubicBezTo>
                            <a:cubicBezTo>
                              <a:pt x="907" y="57"/>
                              <a:pt x="899" y="59"/>
                              <a:pt x="897" y="57"/>
                            </a:cubicBezTo>
                            <a:cubicBezTo>
                              <a:pt x="895" y="55"/>
                              <a:pt x="889" y="50"/>
                              <a:pt x="892" y="48"/>
                            </a:cubicBezTo>
                            <a:cubicBezTo>
                              <a:pt x="896" y="46"/>
                              <a:pt x="904" y="57"/>
                              <a:pt x="905" y="52"/>
                            </a:cubicBezTo>
                            <a:cubicBezTo>
                              <a:pt x="903" y="47"/>
                              <a:pt x="900" y="42"/>
                              <a:pt x="895" y="38"/>
                            </a:cubicBezTo>
                            <a:cubicBezTo>
                              <a:pt x="893" y="37"/>
                              <a:pt x="893" y="44"/>
                              <a:pt x="891" y="43"/>
                            </a:cubicBezTo>
                            <a:cubicBezTo>
                              <a:pt x="888" y="40"/>
                              <a:pt x="885" y="34"/>
                              <a:pt x="881" y="33"/>
                            </a:cubicBezTo>
                            <a:cubicBezTo>
                              <a:pt x="870" y="29"/>
                              <a:pt x="859" y="27"/>
                              <a:pt x="847" y="26"/>
                            </a:cubicBezTo>
                            <a:cubicBezTo>
                              <a:pt x="839" y="26"/>
                              <a:pt x="828" y="34"/>
                              <a:pt x="820" y="32"/>
                            </a:cubicBezTo>
                            <a:cubicBezTo>
                              <a:pt x="821" y="27"/>
                              <a:pt x="831" y="23"/>
                              <a:pt x="828" y="21"/>
                            </a:cubicBezTo>
                            <a:cubicBezTo>
                              <a:pt x="821" y="18"/>
                              <a:pt x="816" y="20"/>
                              <a:pt x="808" y="21"/>
                            </a:cubicBezTo>
                            <a:cubicBezTo>
                              <a:pt x="813" y="15"/>
                              <a:pt x="807" y="17"/>
                              <a:pt x="802" y="19"/>
                            </a:cubicBezTo>
                            <a:cubicBezTo>
                              <a:pt x="798" y="19"/>
                              <a:pt x="794" y="20"/>
                              <a:pt x="793" y="19"/>
                            </a:cubicBezTo>
                            <a:cubicBezTo>
                              <a:pt x="795" y="16"/>
                              <a:pt x="807" y="13"/>
                              <a:pt x="810" y="9"/>
                            </a:cubicBezTo>
                            <a:cubicBezTo>
                              <a:pt x="809" y="6"/>
                              <a:pt x="807" y="4"/>
                              <a:pt x="805" y="3"/>
                            </a:cubicBezTo>
                            <a:cubicBezTo>
                              <a:pt x="807" y="13"/>
                              <a:pt x="793" y="0"/>
                              <a:pt x="788" y="1"/>
                            </a:cubicBezTo>
                            <a:cubicBezTo>
                              <a:pt x="781" y="5"/>
                              <a:pt x="770" y="11"/>
                              <a:pt x="764" y="19"/>
                            </a:cubicBezTo>
                            <a:cubicBezTo>
                              <a:pt x="762" y="22"/>
                              <a:pt x="763" y="27"/>
                              <a:pt x="764" y="31"/>
                            </a:cubicBezTo>
                            <a:cubicBezTo>
                              <a:pt x="766" y="35"/>
                              <a:pt x="780" y="37"/>
                              <a:pt x="776" y="40"/>
                            </a:cubicBezTo>
                            <a:cubicBezTo>
                              <a:pt x="772" y="43"/>
                              <a:pt x="764" y="36"/>
                              <a:pt x="758" y="35"/>
                            </a:cubicBezTo>
                            <a:cubicBezTo>
                              <a:pt x="752" y="34"/>
                              <a:pt x="746" y="35"/>
                              <a:pt x="739" y="34"/>
                            </a:cubicBezTo>
                            <a:cubicBezTo>
                              <a:pt x="736" y="38"/>
                              <a:pt x="751" y="39"/>
                              <a:pt x="754" y="44"/>
                            </a:cubicBezTo>
                            <a:cubicBezTo>
                              <a:pt x="755" y="46"/>
                              <a:pt x="753" y="51"/>
                              <a:pt x="751" y="51"/>
                            </a:cubicBezTo>
                            <a:cubicBezTo>
                              <a:pt x="753" y="43"/>
                              <a:pt x="744" y="42"/>
                              <a:pt x="740" y="42"/>
                            </a:cubicBezTo>
                            <a:cubicBezTo>
                              <a:pt x="730" y="41"/>
                              <a:pt x="720" y="47"/>
                              <a:pt x="710" y="47"/>
                            </a:cubicBezTo>
                            <a:cubicBezTo>
                              <a:pt x="709" y="47"/>
                              <a:pt x="712" y="40"/>
                              <a:pt x="710" y="40"/>
                            </a:cubicBezTo>
                            <a:cubicBezTo>
                              <a:pt x="700" y="40"/>
                              <a:pt x="691" y="41"/>
                              <a:pt x="682" y="45"/>
                            </a:cubicBezTo>
                            <a:cubicBezTo>
                              <a:pt x="679" y="46"/>
                              <a:pt x="693" y="45"/>
                              <a:pt x="691" y="48"/>
                            </a:cubicBezTo>
                            <a:cubicBezTo>
                              <a:pt x="688" y="51"/>
                              <a:pt x="682" y="50"/>
                              <a:pt x="677" y="51"/>
                            </a:cubicBezTo>
                            <a:cubicBezTo>
                              <a:pt x="664" y="53"/>
                              <a:pt x="650" y="53"/>
                              <a:pt x="637" y="57"/>
                            </a:cubicBezTo>
                            <a:cubicBezTo>
                              <a:pt x="634" y="58"/>
                              <a:pt x="632" y="61"/>
                              <a:pt x="629" y="63"/>
                            </a:cubicBezTo>
                            <a:cubicBezTo>
                              <a:pt x="618" y="62"/>
                              <a:pt x="618" y="63"/>
                              <a:pt x="626" y="68"/>
                            </a:cubicBezTo>
                            <a:cubicBezTo>
                              <a:pt x="625" y="70"/>
                              <a:pt x="621" y="74"/>
                              <a:pt x="620" y="77"/>
                            </a:cubicBezTo>
                            <a:cubicBezTo>
                              <a:pt x="620" y="77"/>
                              <a:pt x="617" y="72"/>
                              <a:pt x="615" y="71"/>
                            </a:cubicBezTo>
                            <a:cubicBezTo>
                              <a:pt x="611" y="71"/>
                              <a:pt x="609" y="74"/>
                              <a:pt x="612" y="76"/>
                            </a:cubicBezTo>
                            <a:cubicBezTo>
                              <a:pt x="613" y="76"/>
                              <a:pt x="625" y="81"/>
                              <a:pt x="623" y="82"/>
                            </a:cubicBezTo>
                            <a:cubicBezTo>
                              <a:pt x="614" y="79"/>
                              <a:pt x="612" y="81"/>
                              <a:pt x="612" y="83"/>
                            </a:cubicBezTo>
                            <a:cubicBezTo>
                              <a:pt x="612" y="84"/>
                              <a:pt x="620" y="86"/>
                              <a:pt x="621" y="87"/>
                            </a:cubicBezTo>
                            <a:cubicBezTo>
                              <a:pt x="623" y="90"/>
                              <a:pt x="631" y="94"/>
                              <a:pt x="628" y="97"/>
                            </a:cubicBezTo>
                            <a:cubicBezTo>
                              <a:pt x="627" y="98"/>
                              <a:pt x="625" y="99"/>
                              <a:pt x="624" y="99"/>
                            </a:cubicBezTo>
                            <a:cubicBezTo>
                              <a:pt x="631" y="87"/>
                              <a:pt x="613" y="97"/>
                              <a:pt x="609" y="97"/>
                            </a:cubicBezTo>
                            <a:cubicBezTo>
                              <a:pt x="607" y="96"/>
                              <a:pt x="604" y="94"/>
                              <a:pt x="602" y="94"/>
                            </a:cubicBezTo>
                            <a:cubicBezTo>
                              <a:pt x="597" y="94"/>
                              <a:pt x="593" y="97"/>
                              <a:pt x="589" y="97"/>
                            </a:cubicBezTo>
                            <a:cubicBezTo>
                              <a:pt x="579" y="99"/>
                              <a:pt x="567" y="99"/>
                              <a:pt x="558" y="100"/>
                            </a:cubicBezTo>
                            <a:cubicBezTo>
                              <a:pt x="559" y="103"/>
                              <a:pt x="562" y="108"/>
                              <a:pt x="563" y="113"/>
                            </a:cubicBezTo>
                            <a:cubicBezTo>
                              <a:pt x="565" y="116"/>
                              <a:pt x="563" y="124"/>
                              <a:pt x="566" y="127"/>
                            </a:cubicBezTo>
                            <a:cubicBezTo>
                              <a:pt x="569" y="131"/>
                              <a:pt x="575" y="128"/>
                              <a:pt x="579" y="130"/>
                            </a:cubicBezTo>
                            <a:cubicBezTo>
                              <a:pt x="582" y="132"/>
                              <a:pt x="583" y="136"/>
                              <a:pt x="586" y="138"/>
                            </a:cubicBezTo>
                            <a:cubicBezTo>
                              <a:pt x="590" y="140"/>
                              <a:pt x="594" y="138"/>
                              <a:pt x="597" y="142"/>
                            </a:cubicBezTo>
                            <a:cubicBezTo>
                              <a:pt x="599" y="145"/>
                              <a:pt x="597" y="150"/>
                              <a:pt x="599" y="153"/>
                            </a:cubicBezTo>
                            <a:cubicBezTo>
                              <a:pt x="601" y="159"/>
                              <a:pt x="608" y="162"/>
                              <a:pt x="609" y="168"/>
                            </a:cubicBezTo>
                            <a:cubicBezTo>
                              <a:pt x="609" y="172"/>
                              <a:pt x="605" y="174"/>
                              <a:pt x="602" y="175"/>
                            </a:cubicBezTo>
                            <a:cubicBezTo>
                              <a:pt x="600" y="176"/>
                              <a:pt x="597" y="174"/>
                              <a:pt x="595" y="173"/>
                            </a:cubicBezTo>
                            <a:cubicBezTo>
                              <a:pt x="594" y="172"/>
                              <a:pt x="600" y="163"/>
                              <a:pt x="598" y="160"/>
                            </a:cubicBezTo>
                            <a:cubicBezTo>
                              <a:pt x="596" y="158"/>
                              <a:pt x="592" y="168"/>
                              <a:pt x="589" y="169"/>
                            </a:cubicBezTo>
                            <a:cubicBezTo>
                              <a:pt x="590" y="161"/>
                              <a:pt x="586" y="156"/>
                              <a:pt x="587" y="151"/>
                            </a:cubicBezTo>
                            <a:cubicBezTo>
                              <a:pt x="588" y="148"/>
                              <a:pt x="593" y="149"/>
                              <a:pt x="593" y="147"/>
                            </a:cubicBezTo>
                            <a:cubicBezTo>
                              <a:pt x="593" y="146"/>
                              <a:pt x="594" y="142"/>
                              <a:pt x="590" y="142"/>
                            </a:cubicBezTo>
                            <a:cubicBezTo>
                              <a:pt x="586" y="143"/>
                              <a:pt x="581" y="144"/>
                              <a:pt x="577" y="142"/>
                            </a:cubicBezTo>
                            <a:cubicBezTo>
                              <a:pt x="572" y="140"/>
                              <a:pt x="567" y="136"/>
                              <a:pt x="565" y="131"/>
                            </a:cubicBezTo>
                            <a:cubicBezTo>
                              <a:pt x="559" y="131"/>
                              <a:pt x="550" y="126"/>
                              <a:pt x="542" y="125"/>
                            </a:cubicBezTo>
                            <a:cubicBezTo>
                              <a:pt x="538" y="125"/>
                              <a:pt x="532" y="128"/>
                              <a:pt x="532" y="132"/>
                            </a:cubicBezTo>
                            <a:cubicBezTo>
                              <a:pt x="537" y="132"/>
                              <a:pt x="540" y="133"/>
                              <a:pt x="541" y="137"/>
                            </a:cubicBezTo>
                            <a:cubicBezTo>
                              <a:pt x="542" y="139"/>
                              <a:pt x="538" y="143"/>
                              <a:pt x="535" y="142"/>
                            </a:cubicBezTo>
                            <a:cubicBezTo>
                              <a:pt x="531" y="140"/>
                              <a:pt x="529" y="133"/>
                              <a:pt x="524" y="131"/>
                            </a:cubicBezTo>
                            <a:cubicBezTo>
                              <a:pt x="523" y="132"/>
                              <a:pt x="518" y="136"/>
                              <a:pt x="516" y="137"/>
                            </a:cubicBezTo>
                            <a:cubicBezTo>
                              <a:pt x="515" y="141"/>
                              <a:pt x="519" y="143"/>
                              <a:pt x="522" y="145"/>
                            </a:cubicBezTo>
                            <a:cubicBezTo>
                              <a:pt x="527" y="148"/>
                              <a:pt x="533" y="151"/>
                              <a:pt x="539" y="150"/>
                            </a:cubicBezTo>
                            <a:cubicBezTo>
                              <a:pt x="543" y="152"/>
                              <a:pt x="546" y="156"/>
                              <a:pt x="549" y="158"/>
                            </a:cubicBezTo>
                            <a:cubicBezTo>
                              <a:pt x="550" y="159"/>
                              <a:pt x="547" y="159"/>
                              <a:pt x="546" y="159"/>
                            </a:cubicBezTo>
                            <a:cubicBezTo>
                              <a:pt x="541" y="158"/>
                              <a:pt x="538" y="153"/>
                              <a:pt x="531" y="154"/>
                            </a:cubicBezTo>
                            <a:cubicBezTo>
                              <a:pt x="524" y="152"/>
                              <a:pt x="515" y="154"/>
                              <a:pt x="511" y="148"/>
                            </a:cubicBezTo>
                            <a:cubicBezTo>
                              <a:pt x="509" y="146"/>
                              <a:pt x="511" y="141"/>
                              <a:pt x="508" y="140"/>
                            </a:cubicBezTo>
                            <a:cubicBezTo>
                              <a:pt x="507" y="134"/>
                              <a:pt x="508" y="129"/>
                              <a:pt x="507" y="124"/>
                            </a:cubicBezTo>
                            <a:cubicBezTo>
                              <a:pt x="506" y="120"/>
                              <a:pt x="503" y="116"/>
                              <a:pt x="500" y="114"/>
                            </a:cubicBezTo>
                            <a:cubicBezTo>
                              <a:pt x="499" y="113"/>
                              <a:pt x="500" y="117"/>
                              <a:pt x="501" y="119"/>
                            </a:cubicBezTo>
                            <a:cubicBezTo>
                              <a:pt x="502" y="125"/>
                              <a:pt x="503" y="131"/>
                              <a:pt x="498" y="136"/>
                            </a:cubicBezTo>
                            <a:cubicBezTo>
                              <a:pt x="497" y="138"/>
                              <a:pt x="494" y="139"/>
                              <a:pt x="491" y="140"/>
                            </a:cubicBezTo>
                            <a:cubicBezTo>
                              <a:pt x="491" y="142"/>
                              <a:pt x="488" y="146"/>
                              <a:pt x="484" y="149"/>
                            </a:cubicBezTo>
                            <a:cubicBezTo>
                              <a:pt x="490" y="154"/>
                              <a:pt x="498" y="157"/>
                              <a:pt x="501" y="164"/>
                            </a:cubicBezTo>
                            <a:cubicBezTo>
                              <a:pt x="503" y="167"/>
                              <a:pt x="499" y="173"/>
                              <a:pt x="499" y="177"/>
                            </a:cubicBezTo>
                            <a:cubicBezTo>
                              <a:pt x="500" y="184"/>
                              <a:pt x="499" y="191"/>
                              <a:pt x="503" y="196"/>
                            </a:cubicBezTo>
                            <a:cubicBezTo>
                              <a:pt x="505" y="198"/>
                              <a:pt x="510" y="197"/>
                              <a:pt x="514" y="198"/>
                            </a:cubicBezTo>
                            <a:cubicBezTo>
                              <a:pt x="519" y="195"/>
                              <a:pt x="522" y="191"/>
                              <a:pt x="526" y="192"/>
                            </a:cubicBezTo>
                            <a:cubicBezTo>
                              <a:pt x="534" y="194"/>
                              <a:pt x="538" y="199"/>
                              <a:pt x="546" y="203"/>
                            </a:cubicBezTo>
                            <a:cubicBezTo>
                              <a:pt x="550" y="207"/>
                              <a:pt x="554" y="211"/>
                              <a:pt x="555" y="216"/>
                            </a:cubicBezTo>
                            <a:cubicBezTo>
                              <a:pt x="556" y="218"/>
                              <a:pt x="549" y="217"/>
                              <a:pt x="549" y="219"/>
                            </a:cubicBezTo>
                            <a:cubicBezTo>
                              <a:pt x="549" y="222"/>
                              <a:pt x="551" y="226"/>
                              <a:pt x="553" y="227"/>
                            </a:cubicBezTo>
                            <a:cubicBezTo>
                              <a:pt x="558" y="228"/>
                              <a:pt x="563" y="226"/>
                              <a:pt x="567" y="229"/>
                            </a:cubicBezTo>
                            <a:cubicBezTo>
                              <a:pt x="570" y="230"/>
                              <a:pt x="573" y="233"/>
                              <a:pt x="572" y="236"/>
                            </a:cubicBezTo>
                            <a:cubicBezTo>
                              <a:pt x="571" y="238"/>
                              <a:pt x="569" y="232"/>
                              <a:pt x="567" y="231"/>
                            </a:cubicBezTo>
                            <a:cubicBezTo>
                              <a:pt x="562" y="230"/>
                              <a:pt x="555" y="234"/>
                              <a:pt x="550" y="231"/>
                            </a:cubicBezTo>
                            <a:cubicBezTo>
                              <a:pt x="545" y="228"/>
                              <a:pt x="546" y="220"/>
                              <a:pt x="543" y="214"/>
                            </a:cubicBezTo>
                            <a:cubicBezTo>
                              <a:pt x="541" y="210"/>
                              <a:pt x="539" y="205"/>
                              <a:pt x="535" y="203"/>
                            </a:cubicBezTo>
                            <a:cubicBezTo>
                              <a:pt x="530" y="201"/>
                              <a:pt x="525" y="202"/>
                              <a:pt x="520" y="203"/>
                            </a:cubicBezTo>
                            <a:cubicBezTo>
                              <a:pt x="517" y="204"/>
                              <a:pt x="513" y="206"/>
                              <a:pt x="513" y="209"/>
                            </a:cubicBezTo>
                            <a:cubicBezTo>
                              <a:pt x="513" y="217"/>
                              <a:pt x="520" y="217"/>
                              <a:pt x="520" y="222"/>
                            </a:cubicBezTo>
                            <a:cubicBezTo>
                              <a:pt x="521" y="226"/>
                              <a:pt x="516" y="229"/>
                              <a:pt x="514" y="232"/>
                            </a:cubicBezTo>
                            <a:cubicBezTo>
                              <a:pt x="513" y="235"/>
                              <a:pt x="513" y="240"/>
                              <a:pt x="511" y="242"/>
                            </a:cubicBezTo>
                            <a:cubicBezTo>
                              <a:pt x="508" y="246"/>
                              <a:pt x="502" y="247"/>
                              <a:pt x="499" y="251"/>
                            </a:cubicBezTo>
                            <a:cubicBezTo>
                              <a:pt x="497" y="253"/>
                              <a:pt x="501" y="255"/>
                              <a:pt x="498" y="257"/>
                            </a:cubicBezTo>
                            <a:cubicBezTo>
                              <a:pt x="493" y="259"/>
                              <a:pt x="487" y="258"/>
                              <a:pt x="482" y="258"/>
                            </a:cubicBezTo>
                            <a:cubicBezTo>
                              <a:pt x="477" y="257"/>
                              <a:pt x="468" y="257"/>
                              <a:pt x="468" y="251"/>
                            </a:cubicBezTo>
                            <a:cubicBezTo>
                              <a:pt x="472" y="250"/>
                              <a:pt x="476" y="254"/>
                              <a:pt x="481" y="252"/>
                            </a:cubicBezTo>
                            <a:cubicBezTo>
                              <a:pt x="484" y="251"/>
                              <a:pt x="487" y="247"/>
                              <a:pt x="489" y="245"/>
                            </a:cubicBezTo>
                            <a:cubicBezTo>
                              <a:pt x="493" y="239"/>
                              <a:pt x="495" y="232"/>
                              <a:pt x="499" y="227"/>
                            </a:cubicBezTo>
                            <a:cubicBezTo>
                              <a:pt x="501" y="222"/>
                              <a:pt x="498" y="214"/>
                              <a:pt x="501" y="211"/>
                            </a:cubicBezTo>
                            <a:cubicBezTo>
                              <a:pt x="500" y="206"/>
                              <a:pt x="492" y="206"/>
                              <a:pt x="491" y="201"/>
                            </a:cubicBezTo>
                            <a:cubicBezTo>
                              <a:pt x="489" y="187"/>
                              <a:pt x="487" y="171"/>
                              <a:pt x="483" y="157"/>
                            </a:cubicBezTo>
                            <a:cubicBezTo>
                              <a:pt x="481" y="154"/>
                              <a:pt x="472" y="150"/>
                              <a:pt x="471" y="144"/>
                            </a:cubicBezTo>
                            <a:cubicBezTo>
                              <a:pt x="473" y="139"/>
                              <a:pt x="476" y="134"/>
                              <a:pt x="476" y="128"/>
                            </a:cubicBezTo>
                            <a:cubicBezTo>
                              <a:pt x="476" y="123"/>
                              <a:pt x="477" y="116"/>
                              <a:pt x="472" y="114"/>
                            </a:cubicBezTo>
                            <a:cubicBezTo>
                              <a:pt x="463" y="115"/>
                              <a:pt x="447" y="115"/>
                              <a:pt x="440" y="113"/>
                            </a:cubicBezTo>
                            <a:cubicBezTo>
                              <a:pt x="433" y="118"/>
                              <a:pt x="437" y="131"/>
                              <a:pt x="433" y="139"/>
                            </a:cubicBezTo>
                            <a:cubicBezTo>
                              <a:pt x="432" y="149"/>
                              <a:pt x="417" y="147"/>
                              <a:pt x="416" y="155"/>
                            </a:cubicBezTo>
                            <a:cubicBezTo>
                              <a:pt x="416" y="157"/>
                              <a:pt x="416" y="160"/>
                              <a:pt x="416" y="162"/>
                            </a:cubicBezTo>
                            <a:cubicBezTo>
                              <a:pt x="421" y="159"/>
                              <a:pt x="423" y="168"/>
                              <a:pt x="424" y="176"/>
                            </a:cubicBezTo>
                            <a:cubicBezTo>
                              <a:pt x="424" y="181"/>
                              <a:pt x="420" y="184"/>
                              <a:pt x="424" y="187"/>
                            </a:cubicBezTo>
                            <a:cubicBezTo>
                              <a:pt x="428" y="188"/>
                              <a:pt x="434" y="190"/>
                              <a:pt x="439" y="191"/>
                            </a:cubicBezTo>
                            <a:cubicBezTo>
                              <a:pt x="438" y="198"/>
                              <a:pt x="445" y="205"/>
                              <a:pt x="450" y="205"/>
                            </a:cubicBezTo>
                            <a:cubicBezTo>
                              <a:pt x="451" y="209"/>
                              <a:pt x="446" y="214"/>
                              <a:pt x="444" y="218"/>
                            </a:cubicBezTo>
                            <a:cubicBezTo>
                              <a:pt x="427" y="205"/>
                              <a:pt x="413" y="191"/>
                              <a:pt x="393" y="186"/>
                            </a:cubicBezTo>
                            <a:cubicBezTo>
                              <a:pt x="382" y="183"/>
                              <a:pt x="371" y="181"/>
                              <a:pt x="360" y="181"/>
                            </a:cubicBezTo>
                            <a:cubicBezTo>
                              <a:pt x="356" y="181"/>
                              <a:pt x="349" y="183"/>
                              <a:pt x="350" y="187"/>
                            </a:cubicBezTo>
                            <a:cubicBezTo>
                              <a:pt x="350" y="194"/>
                              <a:pt x="363" y="196"/>
                              <a:pt x="361" y="204"/>
                            </a:cubicBezTo>
                            <a:cubicBezTo>
                              <a:pt x="357" y="209"/>
                              <a:pt x="349" y="215"/>
                              <a:pt x="341" y="213"/>
                            </a:cubicBezTo>
                            <a:cubicBezTo>
                              <a:pt x="337" y="211"/>
                              <a:pt x="343" y="201"/>
                              <a:pt x="339" y="200"/>
                            </a:cubicBezTo>
                            <a:cubicBezTo>
                              <a:pt x="327" y="199"/>
                              <a:pt x="319" y="214"/>
                              <a:pt x="315" y="207"/>
                            </a:cubicBezTo>
                            <a:cubicBezTo>
                              <a:pt x="307" y="204"/>
                              <a:pt x="300" y="206"/>
                              <a:pt x="295" y="209"/>
                            </a:cubicBezTo>
                            <a:cubicBezTo>
                              <a:pt x="296" y="216"/>
                              <a:pt x="295" y="217"/>
                              <a:pt x="291" y="214"/>
                            </a:cubicBezTo>
                            <a:cubicBezTo>
                              <a:pt x="287" y="216"/>
                              <a:pt x="277" y="217"/>
                              <a:pt x="275" y="214"/>
                            </a:cubicBezTo>
                            <a:cubicBezTo>
                              <a:pt x="281" y="212"/>
                              <a:pt x="282" y="207"/>
                              <a:pt x="281" y="203"/>
                            </a:cubicBezTo>
                            <a:cubicBezTo>
                              <a:pt x="280" y="200"/>
                              <a:pt x="276" y="201"/>
                              <a:pt x="273" y="203"/>
                            </a:cubicBezTo>
                            <a:cubicBezTo>
                              <a:pt x="271" y="205"/>
                              <a:pt x="264" y="206"/>
                              <a:pt x="271" y="211"/>
                            </a:cubicBezTo>
                            <a:cubicBezTo>
                              <a:pt x="270" y="212"/>
                              <a:pt x="268" y="216"/>
                              <a:pt x="267" y="216"/>
                            </a:cubicBezTo>
                            <a:cubicBezTo>
                              <a:pt x="265" y="215"/>
                              <a:pt x="267" y="210"/>
                              <a:pt x="264" y="210"/>
                            </a:cubicBezTo>
                            <a:cubicBezTo>
                              <a:pt x="256" y="212"/>
                              <a:pt x="250" y="216"/>
                              <a:pt x="242" y="218"/>
                            </a:cubicBezTo>
                            <a:cubicBezTo>
                              <a:pt x="240" y="219"/>
                              <a:pt x="237" y="223"/>
                              <a:pt x="234" y="225"/>
                            </a:cubicBezTo>
                            <a:cubicBezTo>
                              <a:pt x="227" y="224"/>
                              <a:pt x="227" y="228"/>
                              <a:pt x="228" y="231"/>
                            </a:cubicBezTo>
                            <a:cubicBezTo>
                              <a:pt x="225" y="233"/>
                              <a:pt x="220" y="232"/>
                              <a:pt x="219" y="234"/>
                            </a:cubicBezTo>
                            <a:cubicBezTo>
                              <a:pt x="217" y="236"/>
                              <a:pt x="220" y="242"/>
                              <a:pt x="218" y="243"/>
                            </a:cubicBezTo>
                            <a:cubicBezTo>
                              <a:pt x="212" y="246"/>
                              <a:pt x="205" y="249"/>
                              <a:pt x="198" y="246"/>
                            </a:cubicBezTo>
                            <a:cubicBezTo>
                              <a:pt x="192" y="244"/>
                              <a:pt x="187" y="236"/>
                              <a:pt x="187" y="230"/>
                            </a:cubicBezTo>
                            <a:cubicBezTo>
                              <a:pt x="188" y="225"/>
                              <a:pt x="196" y="224"/>
                              <a:pt x="201" y="224"/>
                            </a:cubicBezTo>
                            <a:cubicBezTo>
                              <a:pt x="202" y="223"/>
                              <a:pt x="201" y="220"/>
                              <a:pt x="199" y="218"/>
                            </a:cubicBezTo>
                            <a:cubicBezTo>
                              <a:pt x="197" y="214"/>
                              <a:pt x="194" y="208"/>
                              <a:pt x="189" y="208"/>
                            </a:cubicBezTo>
                            <a:cubicBezTo>
                              <a:pt x="181" y="205"/>
                              <a:pt x="172" y="205"/>
                              <a:pt x="164" y="203"/>
                            </a:cubicBezTo>
                            <a:cubicBezTo>
                              <a:pt x="163" y="203"/>
                              <a:pt x="164" y="207"/>
                              <a:pt x="165" y="208"/>
                            </a:cubicBezTo>
                            <a:cubicBezTo>
                              <a:pt x="168" y="212"/>
                              <a:pt x="175" y="214"/>
                              <a:pt x="176" y="220"/>
                            </a:cubicBezTo>
                            <a:cubicBezTo>
                              <a:pt x="177" y="225"/>
                              <a:pt x="172" y="235"/>
                              <a:pt x="173" y="241"/>
                            </a:cubicBezTo>
                            <a:cubicBezTo>
                              <a:pt x="178" y="240"/>
                              <a:pt x="178" y="243"/>
                              <a:pt x="180" y="248"/>
                            </a:cubicBezTo>
                            <a:cubicBezTo>
                              <a:pt x="181" y="252"/>
                              <a:pt x="178" y="257"/>
                              <a:pt x="180" y="262"/>
                            </a:cubicBezTo>
                            <a:cubicBezTo>
                              <a:pt x="175" y="259"/>
                              <a:pt x="170" y="256"/>
                              <a:pt x="164" y="254"/>
                            </a:cubicBezTo>
                            <a:cubicBezTo>
                              <a:pt x="162" y="253"/>
                              <a:pt x="158" y="252"/>
                              <a:pt x="156" y="253"/>
                            </a:cubicBezTo>
                            <a:cubicBezTo>
                              <a:pt x="150" y="259"/>
                              <a:pt x="142" y="264"/>
                              <a:pt x="135" y="270"/>
                            </a:cubicBezTo>
                            <a:cubicBezTo>
                              <a:pt x="133" y="271"/>
                              <a:pt x="133" y="275"/>
                              <a:pt x="134" y="277"/>
                            </a:cubicBezTo>
                            <a:cubicBezTo>
                              <a:pt x="139" y="281"/>
                              <a:pt x="143" y="288"/>
                              <a:pt x="146" y="294"/>
                            </a:cubicBezTo>
                            <a:cubicBezTo>
                              <a:pt x="144" y="295"/>
                              <a:pt x="141" y="293"/>
                              <a:pt x="139" y="293"/>
                            </a:cubicBezTo>
                            <a:cubicBezTo>
                              <a:pt x="134" y="291"/>
                              <a:pt x="131" y="289"/>
                              <a:pt x="125" y="288"/>
                            </a:cubicBezTo>
                            <a:cubicBezTo>
                              <a:pt x="121" y="287"/>
                              <a:pt x="117" y="291"/>
                              <a:pt x="113" y="289"/>
                            </a:cubicBezTo>
                            <a:cubicBezTo>
                              <a:pt x="112" y="289"/>
                              <a:pt x="120" y="286"/>
                              <a:pt x="110" y="285"/>
                            </a:cubicBezTo>
                            <a:cubicBezTo>
                              <a:pt x="110" y="283"/>
                              <a:pt x="109" y="281"/>
                              <a:pt x="107" y="280"/>
                            </a:cubicBezTo>
                            <a:cubicBezTo>
                              <a:pt x="105" y="279"/>
                              <a:pt x="101" y="279"/>
                              <a:pt x="100" y="281"/>
                            </a:cubicBezTo>
                            <a:cubicBezTo>
                              <a:pt x="96" y="286"/>
                              <a:pt x="99" y="292"/>
                              <a:pt x="104" y="294"/>
                            </a:cubicBezTo>
                            <a:cubicBezTo>
                              <a:pt x="106" y="296"/>
                              <a:pt x="110" y="293"/>
                              <a:pt x="113" y="295"/>
                            </a:cubicBezTo>
                            <a:cubicBezTo>
                              <a:pt x="115" y="297"/>
                              <a:pt x="116" y="302"/>
                              <a:pt x="113" y="304"/>
                            </a:cubicBezTo>
                            <a:cubicBezTo>
                              <a:pt x="110" y="306"/>
                              <a:pt x="105" y="306"/>
                              <a:pt x="101" y="304"/>
                            </a:cubicBezTo>
                            <a:cubicBezTo>
                              <a:pt x="97" y="303"/>
                              <a:pt x="93" y="300"/>
                              <a:pt x="89" y="298"/>
                            </a:cubicBezTo>
                            <a:cubicBezTo>
                              <a:pt x="85" y="295"/>
                              <a:pt x="82" y="293"/>
                              <a:pt x="79" y="290"/>
                            </a:cubicBezTo>
                            <a:cubicBezTo>
                              <a:pt x="77" y="286"/>
                              <a:pt x="76" y="281"/>
                              <a:pt x="75" y="276"/>
                            </a:cubicBezTo>
                            <a:cubicBezTo>
                              <a:pt x="75" y="273"/>
                              <a:pt x="78" y="269"/>
                              <a:pt x="76" y="266"/>
                            </a:cubicBezTo>
                            <a:cubicBezTo>
                              <a:pt x="73" y="261"/>
                              <a:pt x="67" y="256"/>
                              <a:pt x="61" y="256"/>
                            </a:cubicBezTo>
                            <a:cubicBezTo>
                              <a:pt x="62" y="249"/>
                              <a:pt x="51" y="248"/>
                              <a:pt x="47" y="243"/>
                            </a:cubicBezTo>
                            <a:cubicBezTo>
                              <a:pt x="46" y="242"/>
                              <a:pt x="50" y="240"/>
                              <a:pt x="51" y="241"/>
                            </a:cubicBezTo>
                            <a:cubicBezTo>
                              <a:pt x="61" y="244"/>
                              <a:pt x="69" y="250"/>
                              <a:pt x="79" y="253"/>
                            </a:cubicBezTo>
                            <a:cubicBezTo>
                              <a:pt x="84" y="255"/>
                              <a:pt x="92" y="255"/>
                              <a:pt x="98" y="257"/>
                            </a:cubicBezTo>
                            <a:cubicBezTo>
                              <a:pt x="104" y="258"/>
                              <a:pt x="107" y="260"/>
                              <a:pt x="113" y="261"/>
                            </a:cubicBezTo>
                            <a:cubicBezTo>
                              <a:pt x="123" y="261"/>
                              <a:pt x="134" y="256"/>
                              <a:pt x="142" y="250"/>
                            </a:cubicBezTo>
                            <a:cubicBezTo>
                              <a:pt x="146" y="247"/>
                              <a:pt x="148" y="240"/>
                              <a:pt x="146" y="235"/>
                            </a:cubicBezTo>
                            <a:cubicBezTo>
                              <a:pt x="143" y="228"/>
                              <a:pt x="135" y="225"/>
                              <a:pt x="129" y="221"/>
                            </a:cubicBezTo>
                            <a:cubicBezTo>
                              <a:pt x="119" y="218"/>
                              <a:pt x="112" y="211"/>
                              <a:pt x="104" y="207"/>
                            </a:cubicBezTo>
                            <a:cubicBezTo>
                              <a:pt x="94" y="202"/>
                              <a:pt x="85" y="198"/>
                              <a:pt x="74" y="196"/>
                            </a:cubicBezTo>
                            <a:cubicBezTo>
                              <a:pt x="69" y="194"/>
                              <a:pt x="58" y="190"/>
                              <a:pt x="56" y="194"/>
                            </a:cubicBezTo>
                            <a:cubicBezTo>
                              <a:pt x="50" y="193"/>
                              <a:pt x="45" y="191"/>
                              <a:pt x="40" y="188"/>
                            </a:cubicBezTo>
                            <a:cubicBezTo>
                              <a:pt x="39" y="188"/>
                              <a:pt x="39" y="185"/>
                              <a:pt x="40" y="185"/>
                            </a:cubicBezTo>
                            <a:cubicBezTo>
                              <a:pt x="43" y="184"/>
                              <a:pt x="48" y="188"/>
                              <a:pt x="50" y="185"/>
                            </a:cubicBezTo>
                            <a:cubicBezTo>
                              <a:pt x="48" y="182"/>
                              <a:pt x="45" y="181"/>
                              <a:pt x="42" y="181"/>
                            </a:cubicBezTo>
                            <a:cubicBezTo>
                              <a:pt x="37" y="181"/>
                              <a:pt x="32" y="183"/>
                              <a:pt x="27" y="185"/>
                            </a:cubicBezTo>
                            <a:cubicBezTo>
                              <a:pt x="26" y="186"/>
                              <a:pt x="26" y="188"/>
                              <a:pt x="24" y="188"/>
                            </a:cubicBezTo>
                            <a:cubicBezTo>
                              <a:pt x="22" y="188"/>
                              <a:pt x="20" y="185"/>
                              <a:pt x="18" y="185"/>
                            </a:cubicBezTo>
                            <a:cubicBezTo>
                              <a:pt x="16" y="185"/>
                              <a:pt x="17" y="190"/>
                              <a:pt x="16" y="190"/>
                            </a:cubicBezTo>
                            <a:cubicBezTo>
                              <a:pt x="13" y="191"/>
                              <a:pt x="11" y="192"/>
                              <a:pt x="9" y="193"/>
                            </a:cubicBezTo>
                            <a:cubicBezTo>
                              <a:pt x="8" y="195"/>
                              <a:pt x="9" y="198"/>
                              <a:pt x="8" y="199"/>
                            </a:cubicBezTo>
                            <a:cubicBezTo>
                              <a:pt x="7" y="200"/>
                              <a:pt x="5" y="198"/>
                              <a:pt x="4" y="198"/>
                            </a:cubicBezTo>
                            <a:cubicBezTo>
                              <a:pt x="3" y="199"/>
                              <a:pt x="0" y="200"/>
                              <a:pt x="0" y="202"/>
                            </a:cubicBezTo>
                            <a:cubicBezTo>
                              <a:pt x="0" y="203"/>
                              <a:pt x="3" y="202"/>
                              <a:pt x="3" y="203"/>
                            </a:cubicBezTo>
                            <a:cubicBezTo>
                              <a:pt x="3" y="206"/>
                              <a:pt x="1" y="207"/>
                              <a:pt x="1" y="210"/>
                            </a:cubicBezTo>
                            <a:cubicBezTo>
                              <a:pt x="1" y="212"/>
                              <a:pt x="1" y="215"/>
                              <a:pt x="3" y="217"/>
                            </a:cubicBezTo>
                            <a:cubicBezTo>
                              <a:pt x="5" y="219"/>
                              <a:pt x="10" y="217"/>
                              <a:pt x="11" y="219"/>
                            </a:cubicBezTo>
                            <a:cubicBezTo>
                              <a:pt x="12" y="221"/>
                              <a:pt x="15" y="224"/>
                              <a:pt x="19" y="228"/>
                            </a:cubicBezTo>
                            <a:lnTo>
                              <a:pt x="9" y="240"/>
                            </a:lnTo>
                            <a:lnTo>
                              <a:pt x="24" y="263"/>
                            </a:lnTo>
                            <a:lnTo>
                              <a:pt x="21" y="267"/>
                            </a:lnTo>
                            <a:cubicBezTo>
                              <a:pt x="20" y="269"/>
                              <a:pt x="18" y="271"/>
                              <a:pt x="18" y="274"/>
                            </a:cubicBezTo>
                            <a:cubicBezTo>
                              <a:pt x="18" y="276"/>
                              <a:pt x="22" y="274"/>
                              <a:pt x="22" y="276"/>
                            </a:cubicBezTo>
                            <a:cubicBezTo>
                              <a:pt x="23" y="277"/>
                              <a:pt x="20" y="278"/>
                              <a:pt x="20" y="280"/>
                            </a:cubicBezTo>
                            <a:cubicBezTo>
                              <a:pt x="19" y="282"/>
                              <a:pt x="19" y="285"/>
                              <a:pt x="20" y="287"/>
                            </a:cubicBezTo>
                            <a:cubicBezTo>
                              <a:pt x="21" y="288"/>
                              <a:pt x="23" y="286"/>
                              <a:pt x="24" y="287"/>
                            </a:cubicBezTo>
                            <a:cubicBezTo>
                              <a:pt x="25" y="289"/>
                              <a:pt x="23" y="291"/>
                              <a:pt x="24" y="293"/>
                            </a:cubicBezTo>
                            <a:cubicBezTo>
                              <a:pt x="25" y="295"/>
                              <a:pt x="27" y="295"/>
                              <a:pt x="28" y="296"/>
                            </a:cubicBezTo>
                            <a:cubicBezTo>
                              <a:pt x="29" y="297"/>
                              <a:pt x="30" y="299"/>
                              <a:pt x="30" y="301"/>
                            </a:cubicBezTo>
                            <a:cubicBezTo>
                              <a:pt x="29" y="303"/>
                              <a:pt x="25" y="305"/>
                              <a:pt x="26" y="307"/>
                            </a:cubicBezTo>
                            <a:cubicBezTo>
                              <a:pt x="28" y="310"/>
                              <a:pt x="32" y="312"/>
                              <a:pt x="35" y="315"/>
                            </a:cubicBezTo>
                            <a:cubicBezTo>
                              <a:pt x="37" y="318"/>
                              <a:pt x="42" y="320"/>
                              <a:pt x="42" y="324"/>
                            </a:cubicBezTo>
                            <a:cubicBezTo>
                              <a:pt x="42" y="328"/>
                              <a:pt x="37" y="330"/>
                              <a:pt x="35" y="333"/>
                            </a:cubicBezTo>
                            <a:cubicBezTo>
                              <a:pt x="32" y="337"/>
                              <a:pt x="30" y="342"/>
                              <a:pt x="27" y="347"/>
                            </a:cubicBezTo>
                            <a:cubicBezTo>
                              <a:pt x="25" y="351"/>
                              <a:pt x="23" y="355"/>
                              <a:pt x="20" y="358"/>
                            </a:cubicBezTo>
                            <a:cubicBezTo>
                              <a:pt x="17" y="361"/>
                              <a:pt x="12" y="362"/>
                              <a:pt x="9" y="365"/>
                            </a:cubicBezTo>
                            <a:cubicBezTo>
                              <a:pt x="7" y="367"/>
                              <a:pt x="7" y="370"/>
                              <a:pt x="5" y="373"/>
                            </a:cubicBezTo>
                            <a:cubicBezTo>
                              <a:pt x="8" y="372"/>
                              <a:pt x="11" y="368"/>
                              <a:pt x="13" y="369"/>
                            </a:cubicBezTo>
                            <a:cubicBezTo>
                              <a:pt x="15" y="370"/>
                              <a:pt x="14" y="374"/>
                              <a:pt x="15" y="375"/>
                            </a:cubicBezTo>
                            <a:cubicBezTo>
                              <a:pt x="16" y="377"/>
                              <a:pt x="18" y="379"/>
                              <a:pt x="20" y="379"/>
                            </a:cubicBezTo>
                            <a:cubicBezTo>
                              <a:pt x="22" y="380"/>
                              <a:pt x="25" y="378"/>
                              <a:pt x="27" y="378"/>
                            </a:cubicBezTo>
                            <a:cubicBezTo>
                              <a:pt x="29" y="379"/>
                              <a:pt x="30" y="381"/>
                              <a:pt x="31" y="382"/>
                            </a:cubicBezTo>
                            <a:cubicBezTo>
                              <a:pt x="32" y="384"/>
                              <a:pt x="37" y="384"/>
                              <a:pt x="35" y="385"/>
                            </a:cubicBezTo>
                            <a:cubicBezTo>
                              <a:pt x="33" y="387"/>
                              <a:pt x="30" y="386"/>
                              <a:pt x="27" y="386"/>
                            </a:cubicBezTo>
                            <a:cubicBezTo>
                              <a:pt x="25" y="386"/>
                              <a:pt x="23" y="385"/>
                              <a:pt x="21" y="386"/>
                            </a:cubicBezTo>
                            <a:cubicBezTo>
                              <a:pt x="20" y="386"/>
                              <a:pt x="20" y="388"/>
                              <a:pt x="18" y="388"/>
                            </a:cubicBezTo>
                            <a:cubicBezTo>
                              <a:pt x="17" y="388"/>
                              <a:pt x="16" y="386"/>
                              <a:pt x="14" y="386"/>
                            </a:cubicBezTo>
                            <a:cubicBezTo>
                              <a:pt x="13" y="386"/>
                              <a:pt x="11" y="387"/>
                              <a:pt x="10" y="387"/>
                            </a:cubicBezTo>
                            <a:cubicBezTo>
                              <a:pt x="9" y="387"/>
                              <a:pt x="7" y="387"/>
                              <a:pt x="7" y="388"/>
                            </a:cubicBezTo>
                            <a:cubicBezTo>
                              <a:pt x="7" y="390"/>
                              <a:pt x="8" y="391"/>
                              <a:pt x="8" y="393"/>
                            </a:cubicBezTo>
                            <a:cubicBezTo>
                              <a:pt x="8" y="394"/>
                              <a:pt x="7" y="396"/>
                              <a:pt x="7" y="398"/>
                            </a:cubicBezTo>
                            <a:cubicBezTo>
                              <a:pt x="6" y="399"/>
                              <a:pt x="6" y="400"/>
                              <a:pt x="6" y="401"/>
                            </a:cubicBezTo>
                            <a:cubicBezTo>
                              <a:pt x="6" y="404"/>
                              <a:pt x="7" y="408"/>
                              <a:pt x="7" y="410"/>
                            </a:cubicBezTo>
                            <a:cubicBezTo>
                              <a:pt x="7" y="413"/>
                              <a:pt x="4" y="415"/>
                              <a:pt x="5" y="417"/>
                            </a:cubicBezTo>
                            <a:cubicBezTo>
                              <a:pt x="6" y="419"/>
                              <a:pt x="11" y="419"/>
                              <a:pt x="13" y="421"/>
                            </a:cubicBezTo>
                            <a:cubicBezTo>
                              <a:pt x="13" y="423"/>
                              <a:pt x="12" y="425"/>
                              <a:pt x="10" y="425"/>
                            </a:cubicBezTo>
                            <a:cubicBezTo>
                              <a:pt x="8" y="425"/>
                              <a:pt x="6" y="422"/>
                              <a:pt x="3" y="421"/>
                            </a:cubicBezTo>
                            <a:cubicBezTo>
                              <a:pt x="3" y="421"/>
                              <a:pt x="3" y="422"/>
                              <a:pt x="2" y="423"/>
                            </a:cubicBezTo>
                            <a:cubicBezTo>
                              <a:pt x="2" y="424"/>
                              <a:pt x="1" y="424"/>
                              <a:pt x="1" y="425"/>
                            </a:cubicBezTo>
                            <a:cubicBezTo>
                              <a:pt x="2" y="426"/>
                              <a:pt x="3" y="428"/>
                              <a:pt x="5" y="429"/>
                            </a:cubicBezTo>
                            <a:cubicBezTo>
                              <a:pt x="6" y="431"/>
                              <a:pt x="8" y="431"/>
                              <a:pt x="8" y="433"/>
                            </a:cubicBezTo>
                            <a:cubicBezTo>
                              <a:pt x="9" y="435"/>
                              <a:pt x="8" y="438"/>
                              <a:pt x="8" y="440"/>
                            </a:cubicBezTo>
                            <a:cubicBezTo>
                              <a:pt x="10" y="444"/>
                              <a:pt x="13" y="446"/>
                              <a:pt x="14" y="450"/>
                            </a:cubicBezTo>
                            <a:cubicBezTo>
                              <a:pt x="14" y="451"/>
                              <a:pt x="13" y="453"/>
                              <a:pt x="13" y="454"/>
                            </a:cubicBezTo>
                            <a:cubicBezTo>
                              <a:pt x="15" y="454"/>
                              <a:pt x="17" y="453"/>
                              <a:pt x="19" y="454"/>
                            </a:cubicBezTo>
                            <a:cubicBezTo>
                              <a:pt x="20" y="454"/>
                              <a:pt x="20" y="457"/>
                              <a:pt x="21" y="457"/>
                            </a:cubicBezTo>
                            <a:cubicBezTo>
                              <a:pt x="23" y="458"/>
                              <a:pt x="25" y="456"/>
                              <a:pt x="27" y="457"/>
                            </a:cubicBezTo>
                            <a:cubicBezTo>
                              <a:pt x="28" y="458"/>
                              <a:pt x="26" y="461"/>
                              <a:pt x="28" y="462"/>
                            </a:cubicBezTo>
                            <a:cubicBezTo>
                              <a:pt x="30" y="463"/>
                              <a:pt x="33" y="460"/>
                              <a:pt x="36" y="460"/>
                            </a:cubicBezTo>
                            <a:cubicBezTo>
                              <a:pt x="40" y="461"/>
                              <a:pt x="46" y="461"/>
                              <a:pt x="48" y="464"/>
                            </a:cubicBezTo>
                            <a:cubicBezTo>
                              <a:pt x="50" y="468"/>
                              <a:pt x="46" y="473"/>
                              <a:pt x="47" y="478"/>
                            </a:cubicBezTo>
                            <a:cubicBezTo>
                              <a:pt x="47" y="480"/>
                              <a:pt x="49" y="480"/>
                              <a:pt x="50" y="482"/>
                            </a:cubicBezTo>
                            <a:cubicBezTo>
                              <a:pt x="51" y="483"/>
                              <a:pt x="50" y="485"/>
                              <a:pt x="51" y="486"/>
                            </a:cubicBezTo>
                            <a:cubicBezTo>
                              <a:pt x="53" y="488"/>
                              <a:pt x="57" y="488"/>
                              <a:pt x="59" y="491"/>
                            </a:cubicBezTo>
                            <a:cubicBezTo>
                              <a:pt x="60" y="493"/>
                              <a:pt x="57" y="496"/>
                              <a:pt x="59" y="497"/>
                            </a:cubicBezTo>
                            <a:cubicBezTo>
                              <a:pt x="60" y="499"/>
                              <a:pt x="63" y="497"/>
                              <a:pt x="65" y="499"/>
                            </a:cubicBezTo>
                            <a:cubicBezTo>
                              <a:pt x="67" y="500"/>
                              <a:pt x="70" y="502"/>
                              <a:pt x="70" y="505"/>
                            </a:cubicBezTo>
                            <a:cubicBezTo>
                              <a:pt x="70" y="508"/>
                              <a:pt x="67" y="508"/>
                              <a:pt x="64" y="509"/>
                            </a:cubicBezTo>
                            <a:cubicBezTo>
                              <a:pt x="63" y="510"/>
                              <a:pt x="61" y="510"/>
                              <a:pt x="60" y="509"/>
                            </a:cubicBezTo>
                            <a:cubicBezTo>
                              <a:pt x="58" y="509"/>
                              <a:pt x="58" y="506"/>
                              <a:pt x="56" y="506"/>
                            </a:cubicBezTo>
                            <a:cubicBezTo>
                              <a:pt x="55" y="506"/>
                              <a:pt x="52" y="508"/>
                              <a:pt x="52" y="510"/>
                            </a:cubicBezTo>
                            <a:cubicBezTo>
                              <a:pt x="52" y="512"/>
                              <a:pt x="56" y="514"/>
                              <a:pt x="56" y="516"/>
                            </a:cubicBezTo>
                            <a:cubicBezTo>
                              <a:pt x="58" y="519"/>
                              <a:pt x="58" y="522"/>
                              <a:pt x="58" y="525"/>
                            </a:cubicBezTo>
                            <a:cubicBezTo>
                              <a:pt x="61" y="526"/>
                              <a:pt x="62" y="528"/>
                              <a:pt x="65" y="527"/>
                            </a:cubicBezTo>
                            <a:cubicBezTo>
                              <a:pt x="66" y="527"/>
                              <a:pt x="66" y="524"/>
                              <a:pt x="67" y="523"/>
                            </a:cubicBezTo>
                            <a:cubicBezTo>
                              <a:pt x="71" y="522"/>
                              <a:pt x="74" y="522"/>
                              <a:pt x="78" y="522"/>
                            </a:cubicBezTo>
                            <a:cubicBezTo>
                              <a:pt x="81" y="522"/>
                              <a:pt x="85" y="520"/>
                              <a:pt x="87" y="522"/>
                            </a:cubicBezTo>
                            <a:cubicBezTo>
                              <a:pt x="89" y="523"/>
                              <a:pt x="87" y="526"/>
                              <a:pt x="88" y="528"/>
                            </a:cubicBezTo>
                            <a:cubicBezTo>
                              <a:pt x="89" y="530"/>
                              <a:pt x="93" y="532"/>
                              <a:pt x="93" y="534"/>
                            </a:cubicBezTo>
                            <a:cubicBezTo>
                              <a:pt x="93" y="536"/>
                              <a:pt x="90" y="536"/>
                              <a:pt x="89" y="537"/>
                            </a:cubicBezTo>
                            <a:cubicBezTo>
                              <a:pt x="89" y="538"/>
                              <a:pt x="88" y="541"/>
                              <a:pt x="89" y="541"/>
                            </a:cubicBezTo>
                            <a:cubicBezTo>
                              <a:pt x="93" y="543"/>
                              <a:pt x="99" y="540"/>
                              <a:pt x="103" y="543"/>
                            </a:cubicBezTo>
                            <a:cubicBezTo>
                              <a:pt x="106" y="546"/>
                              <a:pt x="104" y="553"/>
                              <a:pt x="107" y="557"/>
                            </a:cubicBezTo>
                            <a:cubicBezTo>
                              <a:pt x="109" y="559"/>
                              <a:pt x="113" y="557"/>
                              <a:pt x="116" y="557"/>
                            </a:cubicBezTo>
                            <a:cubicBezTo>
                              <a:pt x="119" y="557"/>
                              <a:pt x="123" y="557"/>
                              <a:pt x="126" y="556"/>
                            </a:cubicBezTo>
                            <a:cubicBezTo>
                              <a:pt x="127" y="555"/>
                              <a:pt x="127" y="551"/>
                              <a:pt x="128" y="552"/>
                            </a:cubicBezTo>
                            <a:cubicBezTo>
                              <a:pt x="131" y="554"/>
                              <a:pt x="131" y="558"/>
                              <a:pt x="133" y="560"/>
                            </a:cubicBezTo>
                            <a:cubicBezTo>
                              <a:pt x="135" y="562"/>
                              <a:pt x="137" y="564"/>
                              <a:pt x="140" y="564"/>
                            </a:cubicBezTo>
                            <a:cubicBezTo>
                              <a:pt x="141" y="564"/>
                              <a:pt x="141" y="561"/>
                              <a:pt x="142" y="562"/>
                            </a:cubicBezTo>
                            <a:cubicBezTo>
                              <a:pt x="146" y="563"/>
                              <a:pt x="148" y="565"/>
                              <a:pt x="152" y="567"/>
                            </a:cubicBezTo>
                            <a:cubicBezTo>
                              <a:pt x="154" y="568"/>
                              <a:pt x="156" y="571"/>
                              <a:pt x="159" y="571"/>
                            </a:cubicBezTo>
                            <a:cubicBezTo>
                              <a:pt x="160" y="572"/>
                              <a:pt x="162" y="569"/>
                              <a:pt x="162" y="570"/>
                            </a:cubicBezTo>
                            <a:cubicBezTo>
                              <a:pt x="163" y="573"/>
                              <a:pt x="163" y="576"/>
                              <a:pt x="162" y="578"/>
                            </a:cubicBezTo>
                            <a:cubicBezTo>
                              <a:pt x="161" y="580"/>
                              <a:pt x="158" y="579"/>
                              <a:pt x="157" y="581"/>
                            </a:cubicBezTo>
                            <a:cubicBezTo>
                              <a:pt x="157" y="583"/>
                              <a:pt x="161" y="583"/>
                              <a:pt x="161" y="584"/>
                            </a:cubicBezTo>
                            <a:cubicBezTo>
                              <a:pt x="161" y="586"/>
                              <a:pt x="158" y="584"/>
                              <a:pt x="157" y="585"/>
                            </a:cubicBezTo>
                            <a:cubicBezTo>
                              <a:pt x="156" y="586"/>
                              <a:pt x="156" y="589"/>
                              <a:pt x="157" y="590"/>
                            </a:cubicBezTo>
                            <a:cubicBezTo>
                              <a:pt x="158" y="591"/>
                              <a:pt x="160" y="589"/>
                              <a:pt x="160" y="590"/>
                            </a:cubicBezTo>
                            <a:cubicBezTo>
                              <a:pt x="162" y="592"/>
                              <a:pt x="162" y="595"/>
                              <a:pt x="161" y="597"/>
                            </a:cubicBezTo>
                            <a:cubicBezTo>
                              <a:pt x="161" y="599"/>
                              <a:pt x="160" y="601"/>
                              <a:pt x="158" y="601"/>
                            </a:cubicBezTo>
                            <a:cubicBezTo>
                              <a:pt x="154" y="602"/>
                              <a:pt x="150" y="600"/>
                              <a:pt x="147" y="601"/>
                            </a:cubicBezTo>
                            <a:cubicBezTo>
                              <a:pt x="144" y="602"/>
                              <a:pt x="142" y="605"/>
                              <a:pt x="142" y="608"/>
                            </a:cubicBezTo>
                            <a:cubicBezTo>
                              <a:pt x="141" y="610"/>
                              <a:pt x="143" y="611"/>
                              <a:pt x="144" y="613"/>
                            </a:cubicBezTo>
                            <a:cubicBezTo>
                              <a:pt x="144" y="614"/>
                              <a:pt x="144" y="615"/>
                              <a:pt x="144" y="615"/>
                            </a:cubicBezTo>
                            <a:cubicBezTo>
                              <a:pt x="145" y="613"/>
                              <a:pt x="147" y="611"/>
                              <a:pt x="150" y="610"/>
                            </a:cubicBezTo>
                            <a:cubicBezTo>
                              <a:pt x="151" y="609"/>
                              <a:pt x="152" y="611"/>
                              <a:pt x="153" y="612"/>
                            </a:cubicBezTo>
                            <a:cubicBezTo>
                              <a:pt x="154" y="613"/>
                              <a:pt x="154" y="615"/>
                              <a:pt x="153" y="615"/>
                            </a:cubicBezTo>
                            <a:cubicBezTo>
                              <a:pt x="151" y="617"/>
                              <a:pt x="148" y="617"/>
                              <a:pt x="147" y="619"/>
                            </a:cubicBezTo>
                            <a:cubicBezTo>
                              <a:pt x="146" y="620"/>
                              <a:pt x="148" y="622"/>
                              <a:pt x="147" y="623"/>
                            </a:cubicBezTo>
                            <a:cubicBezTo>
                              <a:pt x="144" y="625"/>
                              <a:pt x="137" y="622"/>
                              <a:pt x="137" y="625"/>
                            </a:cubicBezTo>
                            <a:cubicBezTo>
                              <a:pt x="138" y="629"/>
                              <a:pt x="146" y="627"/>
                              <a:pt x="147" y="630"/>
                            </a:cubicBezTo>
                            <a:cubicBezTo>
                              <a:pt x="148" y="633"/>
                              <a:pt x="142" y="630"/>
                              <a:pt x="140" y="632"/>
                            </a:cubicBezTo>
                            <a:cubicBezTo>
                              <a:pt x="138" y="634"/>
                              <a:pt x="136" y="637"/>
                              <a:pt x="136" y="640"/>
                            </a:cubicBezTo>
                            <a:cubicBezTo>
                              <a:pt x="135" y="641"/>
                              <a:pt x="138" y="643"/>
                              <a:pt x="137" y="644"/>
                            </a:cubicBezTo>
                            <a:cubicBezTo>
                              <a:pt x="136" y="645"/>
                              <a:pt x="133" y="644"/>
                              <a:pt x="131" y="644"/>
                            </a:cubicBezTo>
                            <a:cubicBezTo>
                              <a:pt x="130" y="644"/>
                              <a:pt x="128" y="643"/>
                              <a:pt x="127" y="644"/>
                            </a:cubicBezTo>
                            <a:cubicBezTo>
                              <a:pt x="126" y="645"/>
                              <a:pt x="126" y="647"/>
                              <a:pt x="126" y="648"/>
                            </a:cubicBezTo>
                            <a:cubicBezTo>
                              <a:pt x="127" y="650"/>
                              <a:pt x="130" y="650"/>
                              <a:pt x="132" y="652"/>
                            </a:cubicBezTo>
                            <a:cubicBezTo>
                              <a:pt x="133" y="653"/>
                              <a:pt x="135" y="655"/>
                              <a:pt x="137" y="656"/>
                            </a:cubicBezTo>
                            <a:cubicBezTo>
                              <a:pt x="138" y="656"/>
                              <a:pt x="139" y="655"/>
                              <a:pt x="140" y="656"/>
                            </a:cubicBezTo>
                            <a:cubicBezTo>
                              <a:pt x="146" y="658"/>
                              <a:pt x="152" y="661"/>
                              <a:pt x="157" y="665"/>
                            </a:cubicBezTo>
                            <a:cubicBezTo>
                              <a:pt x="162" y="668"/>
                              <a:pt x="165" y="672"/>
                              <a:pt x="169" y="676"/>
                            </a:cubicBezTo>
                            <a:cubicBezTo>
                              <a:pt x="172" y="675"/>
                              <a:pt x="176" y="675"/>
                              <a:pt x="180" y="676"/>
                            </a:cubicBezTo>
                            <a:cubicBezTo>
                              <a:pt x="183" y="677"/>
                              <a:pt x="185" y="680"/>
                              <a:pt x="188" y="680"/>
                            </a:cubicBezTo>
                            <a:cubicBezTo>
                              <a:pt x="191" y="681"/>
                              <a:pt x="195" y="678"/>
                              <a:pt x="198" y="679"/>
                            </a:cubicBezTo>
                            <a:cubicBezTo>
                              <a:pt x="201" y="680"/>
                              <a:pt x="203" y="683"/>
                              <a:pt x="206" y="684"/>
                            </a:cubicBezTo>
                            <a:cubicBezTo>
                              <a:pt x="209" y="686"/>
                              <a:pt x="211" y="686"/>
                              <a:pt x="214" y="688"/>
                            </a:cubicBezTo>
                            <a:cubicBezTo>
                              <a:pt x="215" y="689"/>
                              <a:pt x="215" y="691"/>
                              <a:pt x="217" y="691"/>
                            </a:cubicBezTo>
                            <a:cubicBezTo>
                              <a:pt x="219" y="691"/>
                              <a:pt x="221" y="689"/>
                              <a:pt x="223" y="689"/>
                            </a:cubicBezTo>
                            <a:cubicBezTo>
                              <a:pt x="224" y="688"/>
                              <a:pt x="226" y="688"/>
                              <a:pt x="227" y="688"/>
                            </a:cubicBezTo>
                            <a:cubicBezTo>
                              <a:pt x="228" y="688"/>
                              <a:pt x="229" y="688"/>
                              <a:pt x="230" y="688"/>
                            </a:cubicBezTo>
                            <a:cubicBezTo>
                              <a:pt x="233" y="689"/>
                              <a:pt x="236" y="690"/>
                              <a:pt x="237" y="692"/>
                            </a:cubicBezTo>
                            <a:cubicBezTo>
                              <a:pt x="238" y="693"/>
                              <a:pt x="236" y="695"/>
                              <a:pt x="237" y="696"/>
                            </a:cubicBezTo>
                            <a:cubicBezTo>
                              <a:pt x="240" y="699"/>
                              <a:pt x="244" y="700"/>
                              <a:pt x="248" y="702"/>
                            </a:cubicBezTo>
                            <a:cubicBezTo>
                              <a:pt x="250" y="703"/>
                              <a:pt x="253" y="704"/>
                              <a:pt x="255" y="706"/>
                            </a:cubicBezTo>
                            <a:cubicBezTo>
                              <a:pt x="256" y="707"/>
                              <a:pt x="257" y="711"/>
                              <a:pt x="258" y="712"/>
                            </a:cubicBezTo>
                            <a:cubicBezTo>
                              <a:pt x="260" y="714"/>
                              <a:pt x="263" y="715"/>
                              <a:pt x="266" y="714"/>
                            </a:cubicBezTo>
                            <a:cubicBezTo>
                              <a:pt x="267" y="713"/>
                              <a:pt x="266" y="710"/>
                              <a:pt x="267" y="709"/>
                            </a:cubicBezTo>
                            <a:cubicBezTo>
                              <a:pt x="268" y="708"/>
                              <a:pt x="270" y="709"/>
                              <a:pt x="271" y="708"/>
                            </a:cubicBezTo>
                            <a:cubicBezTo>
                              <a:pt x="272" y="707"/>
                              <a:pt x="272" y="706"/>
                              <a:pt x="273" y="704"/>
                            </a:cubicBezTo>
                            <a:cubicBezTo>
                              <a:pt x="271" y="702"/>
                              <a:pt x="270" y="699"/>
                              <a:pt x="268" y="696"/>
                            </a:cubicBezTo>
                            <a:cubicBezTo>
                              <a:pt x="266" y="692"/>
                              <a:pt x="263" y="689"/>
                              <a:pt x="261" y="685"/>
                            </a:cubicBezTo>
                            <a:cubicBezTo>
                              <a:pt x="259" y="683"/>
                              <a:pt x="257" y="682"/>
                              <a:pt x="257" y="679"/>
                            </a:cubicBezTo>
                            <a:cubicBezTo>
                              <a:pt x="256" y="677"/>
                              <a:pt x="259" y="674"/>
                              <a:pt x="258" y="672"/>
                            </a:cubicBezTo>
                            <a:cubicBezTo>
                              <a:pt x="257" y="668"/>
                              <a:pt x="256" y="665"/>
                              <a:pt x="254" y="662"/>
                            </a:cubicBezTo>
                            <a:cubicBezTo>
                              <a:pt x="252" y="660"/>
                              <a:pt x="247" y="660"/>
                              <a:pt x="247" y="657"/>
                            </a:cubicBezTo>
                            <a:cubicBezTo>
                              <a:pt x="246" y="653"/>
                              <a:pt x="250" y="650"/>
                              <a:pt x="252" y="647"/>
                            </a:cubicBezTo>
                            <a:cubicBezTo>
                              <a:pt x="253" y="645"/>
                              <a:pt x="253" y="641"/>
                              <a:pt x="255" y="640"/>
                            </a:cubicBezTo>
                            <a:cubicBezTo>
                              <a:pt x="256" y="638"/>
                              <a:pt x="259" y="638"/>
                              <a:pt x="261" y="638"/>
                            </a:cubicBezTo>
                            <a:cubicBezTo>
                              <a:pt x="262" y="638"/>
                              <a:pt x="263" y="640"/>
                              <a:pt x="264" y="639"/>
                            </a:cubicBezTo>
                            <a:cubicBezTo>
                              <a:pt x="265" y="637"/>
                              <a:pt x="264" y="634"/>
                              <a:pt x="266" y="633"/>
                            </a:cubicBezTo>
                            <a:cubicBezTo>
                              <a:pt x="267" y="633"/>
                              <a:pt x="269" y="637"/>
                              <a:pt x="270" y="636"/>
                            </a:cubicBezTo>
                            <a:cubicBezTo>
                              <a:pt x="272" y="634"/>
                              <a:pt x="271" y="630"/>
                              <a:pt x="272" y="628"/>
                            </a:cubicBezTo>
                            <a:cubicBezTo>
                              <a:pt x="271" y="627"/>
                              <a:pt x="270" y="626"/>
                              <a:pt x="269" y="626"/>
                            </a:cubicBezTo>
                            <a:cubicBezTo>
                              <a:pt x="267" y="626"/>
                              <a:pt x="264" y="626"/>
                              <a:pt x="263" y="624"/>
                            </a:cubicBezTo>
                            <a:cubicBezTo>
                              <a:pt x="264" y="623"/>
                              <a:pt x="263" y="621"/>
                              <a:pt x="264" y="621"/>
                            </a:cubicBezTo>
                            <a:cubicBezTo>
                              <a:pt x="265" y="619"/>
                              <a:pt x="270" y="621"/>
                              <a:pt x="269" y="619"/>
                            </a:cubicBezTo>
                            <a:cubicBezTo>
                              <a:pt x="268" y="613"/>
                              <a:pt x="263" y="608"/>
                              <a:pt x="258" y="604"/>
                            </a:cubicBezTo>
                            <a:cubicBezTo>
                              <a:pt x="257" y="603"/>
                              <a:pt x="254" y="603"/>
                              <a:pt x="252" y="603"/>
                            </a:cubicBezTo>
                            <a:cubicBezTo>
                              <a:pt x="251" y="603"/>
                              <a:pt x="252" y="605"/>
                              <a:pt x="252" y="605"/>
                            </a:cubicBezTo>
                            <a:cubicBezTo>
                              <a:pt x="250" y="604"/>
                              <a:pt x="247" y="603"/>
                              <a:pt x="246" y="602"/>
                            </a:cubicBezTo>
                            <a:cubicBezTo>
                              <a:pt x="245" y="600"/>
                              <a:pt x="247" y="596"/>
                              <a:pt x="246" y="595"/>
                            </a:cubicBezTo>
                            <a:cubicBezTo>
                              <a:pt x="244" y="593"/>
                              <a:pt x="239" y="595"/>
                              <a:pt x="238" y="593"/>
                            </a:cubicBezTo>
                            <a:cubicBezTo>
                              <a:pt x="237" y="589"/>
                              <a:pt x="240" y="585"/>
                              <a:pt x="241" y="581"/>
                            </a:cubicBezTo>
                            <a:cubicBezTo>
                              <a:pt x="242" y="580"/>
                              <a:pt x="244" y="580"/>
                              <a:pt x="244" y="579"/>
                            </a:cubicBezTo>
                            <a:cubicBezTo>
                              <a:pt x="244" y="577"/>
                              <a:pt x="241" y="576"/>
                              <a:pt x="240" y="573"/>
                            </a:cubicBezTo>
                            <a:cubicBezTo>
                              <a:pt x="239" y="571"/>
                              <a:pt x="240" y="568"/>
                              <a:pt x="241" y="565"/>
                            </a:cubicBezTo>
                            <a:cubicBezTo>
                              <a:pt x="242" y="563"/>
                              <a:pt x="245" y="562"/>
                              <a:pt x="246" y="560"/>
                            </a:cubicBezTo>
                            <a:cubicBezTo>
                              <a:pt x="247" y="558"/>
                              <a:pt x="245" y="556"/>
                              <a:pt x="246" y="554"/>
                            </a:cubicBezTo>
                            <a:cubicBezTo>
                              <a:pt x="247" y="553"/>
                              <a:pt x="250" y="553"/>
                              <a:pt x="251" y="554"/>
                            </a:cubicBezTo>
                            <a:cubicBezTo>
                              <a:pt x="255" y="557"/>
                              <a:pt x="255" y="562"/>
                              <a:pt x="259" y="565"/>
                            </a:cubicBezTo>
                            <a:cubicBezTo>
                              <a:pt x="260" y="567"/>
                              <a:pt x="262" y="567"/>
                              <a:pt x="263" y="565"/>
                            </a:cubicBezTo>
                            <a:cubicBezTo>
                              <a:pt x="264" y="564"/>
                              <a:pt x="264" y="562"/>
                              <a:pt x="263" y="561"/>
                            </a:cubicBezTo>
                            <a:cubicBezTo>
                              <a:pt x="262" y="557"/>
                              <a:pt x="258" y="555"/>
                              <a:pt x="259" y="551"/>
                            </a:cubicBezTo>
                            <a:cubicBezTo>
                              <a:pt x="259" y="549"/>
                              <a:pt x="262" y="552"/>
                              <a:pt x="264" y="551"/>
                            </a:cubicBezTo>
                            <a:cubicBezTo>
                              <a:pt x="266" y="551"/>
                              <a:pt x="268" y="550"/>
                              <a:pt x="269" y="548"/>
                            </a:cubicBezTo>
                            <a:cubicBezTo>
                              <a:pt x="270" y="547"/>
                              <a:pt x="267" y="544"/>
                              <a:pt x="269" y="543"/>
                            </a:cubicBezTo>
                            <a:cubicBezTo>
                              <a:pt x="272" y="541"/>
                              <a:pt x="276" y="542"/>
                              <a:pt x="280" y="539"/>
                            </a:cubicBezTo>
                            <a:cubicBezTo>
                              <a:pt x="282" y="538"/>
                              <a:pt x="282" y="534"/>
                              <a:pt x="284" y="533"/>
                            </a:cubicBezTo>
                            <a:cubicBezTo>
                              <a:pt x="286" y="532"/>
                              <a:pt x="289" y="533"/>
                              <a:pt x="291" y="534"/>
                            </a:cubicBezTo>
                            <a:cubicBezTo>
                              <a:pt x="292" y="535"/>
                              <a:pt x="290" y="536"/>
                              <a:pt x="290" y="537"/>
                            </a:cubicBezTo>
                            <a:cubicBezTo>
                              <a:pt x="292" y="538"/>
                              <a:pt x="294" y="538"/>
                              <a:pt x="295" y="537"/>
                            </a:cubicBezTo>
                            <a:cubicBezTo>
                              <a:pt x="297" y="536"/>
                              <a:pt x="298" y="534"/>
                              <a:pt x="301" y="533"/>
                            </a:cubicBezTo>
                            <a:cubicBezTo>
                              <a:pt x="302" y="533"/>
                              <a:pt x="303" y="535"/>
                              <a:pt x="304" y="536"/>
                            </a:cubicBezTo>
                            <a:cubicBezTo>
                              <a:pt x="307" y="536"/>
                              <a:pt x="311" y="535"/>
                              <a:pt x="314" y="536"/>
                            </a:cubicBezTo>
                            <a:cubicBezTo>
                              <a:pt x="316" y="536"/>
                              <a:pt x="317" y="539"/>
                              <a:pt x="319" y="541"/>
                            </a:cubicBezTo>
                            <a:cubicBezTo>
                              <a:pt x="322" y="543"/>
                              <a:pt x="326" y="543"/>
                              <a:pt x="328" y="546"/>
                            </a:cubicBezTo>
                            <a:cubicBezTo>
                              <a:pt x="330" y="548"/>
                              <a:pt x="328" y="551"/>
                              <a:pt x="330" y="553"/>
                            </a:cubicBezTo>
                            <a:cubicBezTo>
                              <a:pt x="330" y="554"/>
                              <a:pt x="333" y="554"/>
                              <a:pt x="333" y="553"/>
                            </a:cubicBezTo>
                            <a:cubicBezTo>
                              <a:pt x="334" y="551"/>
                              <a:pt x="331" y="546"/>
                              <a:pt x="333" y="546"/>
                            </a:cubicBezTo>
                            <a:cubicBezTo>
                              <a:pt x="338" y="546"/>
                              <a:pt x="340" y="553"/>
                              <a:pt x="345" y="553"/>
                            </a:cubicBezTo>
                            <a:cubicBezTo>
                              <a:pt x="348" y="553"/>
                              <a:pt x="349" y="547"/>
                              <a:pt x="352" y="546"/>
                            </a:cubicBezTo>
                            <a:cubicBezTo>
                              <a:pt x="354" y="544"/>
                              <a:pt x="357" y="544"/>
                              <a:pt x="360" y="544"/>
                            </a:cubicBezTo>
                            <a:cubicBezTo>
                              <a:pt x="362" y="544"/>
                              <a:pt x="364" y="547"/>
                              <a:pt x="366" y="546"/>
                            </a:cubicBezTo>
                            <a:cubicBezTo>
                              <a:pt x="367" y="546"/>
                              <a:pt x="366" y="543"/>
                              <a:pt x="368" y="542"/>
                            </a:cubicBezTo>
                            <a:cubicBezTo>
                              <a:pt x="370" y="541"/>
                              <a:pt x="373" y="542"/>
                              <a:pt x="375" y="543"/>
                            </a:cubicBezTo>
                            <a:cubicBezTo>
                              <a:pt x="377" y="544"/>
                              <a:pt x="376" y="548"/>
                              <a:pt x="378" y="550"/>
                            </a:cubicBezTo>
                            <a:cubicBezTo>
                              <a:pt x="382" y="552"/>
                              <a:pt x="387" y="553"/>
                              <a:pt x="392" y="553"/>
                            </a:cubicBezTo>
                            <a:cubicBezTo>
                              <a:pt x="394" y="552"/>
                              <a:pt x="393" y="547"/>
                              <a:pt x="395" y="547"/>
                            </a:cubicBezTo>
                            <a:cubicBezTo>
                              <a:pt x="399" y="547"/>
                              <a:pt x="402" y="552"/>
                              <a:pt x="406" y="551"/>
                            </a:cubicBezTo>
                            <a:cubicBezTo>
                              <a:pt x="409" y="551"/>
                              <a:pt x="410" y="547"/>
                              <a:pt x="411" y="545"/>
                            </a:cubicBezTo>
                            <a:cubicBezTo>
                              <a:pt x="412" y="542"/>
                              <a:pt x="413" y="539"/>
                              <a:pt x="411" y="537"/>
                            </a:cubicBezTo>
                            <a:cubicBezTo>
                              <a:pt x="410" y="535"/>
                              <a:pt x="406" y="537"/>
                              <a:pt x="404" y="536"/>
                            </a:cubicBezTo>
                            <a:cubicBezTo>
                              <a:pt x="400" y="534"/>
                              <a:pt x="396" y="530"/>
                              <a:pt x="394" y="527"/>
                            </a:cubicBezTo>
                            <a:cubicBezTo>
                              <a:pt x="397" y="525"/>
                              <a:pt x="401" y="526"/>
                              <a:pt x="403" y="523"/>
                            </a:cubicBezTo>
                            <a:cubicBezTo>
                              <a:pt x="404" y="521"/>
                              <a:pt x="400" y="520"/>
                              <a:pt x="400" y="517"/>
                            </a:cubicBezTo>
                            <a:cubicBezTo>
                              <a:pt x="400" y="514"/>
                              <a:pt x="402" y="511"/>
                              <a:pt x="405" y="510"/>
                            </a:cubicBezTo>
                            <a:cubicBezTo>
                              <a:pt x="408" y="509"/>
                              <a:pt x="411" y="513"/>
                              <a:pt x="414" y="512"/>
                            </a:cubicBezTo>
                            <a:cubicBezTo>
                              <a:pt x="416" y="511"/>
                              <a:pt x="412" y="509"/>
                              <a:pt x="410" y="508"/>
                            </a:cubicBezTo>
                            <a:cubicBezTo>
                              <a:pt x="409" y="507"/>
                              <a:pt x="406" y="508"/>
                              <a:pt x="405" y="506"/>
                            </a:cubicBezTo>
                            <a:cubicBezTo>
                              <a:pt x="404" y="505"/>
                              <a:pt x="407" y="504"/>
                              <a:pt x="406" y="503"/>
                            </a:cubicBezTo>
                            <a:cubicBezTo>
                              <a:pt x="405" y="502"/>
                              <a:pt x="402" y="504"/>
                              <a:pt x="401" y="503"/>
                            </a:cubicBezTo>
                            <a:cubicBezTo>
                              <a:pt x="399" y="501"/>
                              <a:pt x="399" y="497"/>
                              <a:pt x="401" y="495"/>
                            </a:cubicBezTo>
                            <a:cubicBezTo>
                              <a:pt x="403" y="493"/>
                              <a:pt x="408" y="496"/>
                              <a:pt x="412" y="494"/>
                            </a:cubicBezTo>
                            <a:cubicBezTo>
                              <a:pt x="414" y="494"/>
                              <a:pt x="416" y="492"/>
                              <a:pt x="419" y="494"/>
                            </a:cubicBezTo>
                            <a:cubicBezTo>
                              <a:pt x="425" y="494"/>
                              <a:pt x="430" y="492"/>
                              <a:pt x="435" y="491"/>
                            </a:cubicBezTo>
                            <a:cubicBezTo>
                              <a:pt x="439" y="487"/>
                              <a:pt x="445" y="487"/>
                              <a:pt x="451" y="488"/>
                            </a:cubicBezTo>
                            <a:cubicBezTo>
                              <a:pt x="451" y="485"/>
                              <a:pt x="453" y="482"/>
                              <a:pt x="455" y="480"/>
                            </a:cubicBezTo>
                            <a:cubicBezTo>
                              <a:pt x="456" y="479"/>
                              <a:pt x="458" y="481"/>
                              <a:pt x="459" y="481"/>
                            </a:cubicBezTo>
                            <a:cubicBezTo>
                              <a:pt x="468" y="479"/>
                              <a:pt x="476" y="478"/>
                              <a:pt x="484" y="475"/>
                            </a:cubicBezTo>
                            <a:cubicBezTo>
                              <a:pt x="486" y="474"/>
                              <a:pt x="483" y="470"/>
                              <a:pt x="485" y="469"/>
                            </a:cubicBezTo>
                            <a:cubicBezTo>
                              <a:pt x="486" y="467"/>
                              <a:pt x="489" y="466"/>
                              <a:pt x="492" y="466"/>
                            </a:cubicBezTo>
                            <a:cubicBezTo>
                              <a:pt x="498" y="467"/>
                              <a:pt x="503" y="470"/>
                              <a:pt x="509" y="471"/>
                            </a:cubicBezTo>
                            <a:cubicBezTo>
                              <a:pt x="511" y="472"/>
                              <a:pt x="513" y="469"/>
                              <a:pt x="515" y="470"/>
                            </a:cubicBezTo>
                            <a:cubicBezTo>
                              <a:pt x="517" y="473"/>
                              <a:pt x="517" y="477"/>
                              <a:pt x="518" y="480"/>
                            </a:cubicBezTo>
                            <a:cubicBezTo>
                              <a:pt x="519" y="481"/>
                              <a:pt x="521" y="482"/>
                              <a:pt x="521" y="483"/>
                            </a:cubicBezTo>
                            <a:cubicBezTo>
                              <a:pt x="522" y="485"/>
                              <a:pt x="519" y="488"/>
                              <a:pt x="520" y="490"/>
                            </a:cubicBezTo>
                            <a:cubicBezTo>
                              <a:pt x="522" y="489"/>
                              <a:pt x="524" y="490"/>
                              <a:pt x="526" y="490"/>
                            </a:cubicBezTo>
                            <a:cubicBezTo>
                              <a:pt x="527" y="490"/>
                              <a:pt x="528" y="488"/>
                              <a:pt x="529" y="488"/>
                            </a:cubicBezTo>
                            <a:cubicBezTo>
                              <a:pt x="530" y="488"/>
                              <a:pt x="531" y="489"/>
                              <a:pt x="532" y="489"/>
                            </a:cubicBezTo>
                            <a:cubicBezTo>
                              <a:pt x="533" y="488"/>
                              <a:pt x="533" y="484"/>
                              <a:pt x="534" y="485"/>
                            </a:cubicBezTo>
                            <a:cubicBezTo>
                              <a:pt x="536" y="488"/>
                              <a:pt x="535" y="492"/>
                              <a:pt x="537" y="495"/>
                            </a:cubicBezTo>
                            <a:cubicBezTo>
                              <a:pt x="538" y="496"/>
                              <a:pt x="540" y="495"/>
                              <a:pt x="540" y="494"/>
                            </a:cubicBezTo>
                            <a:cubicBezTo>
                              <a:pt x="541" y="493"/>
                              <a:pt x="539" y="491"/>
                              <a:pt x="540" y="491"/>
                            </a:cubicBezTo>
                            <a:cubicBezTo>
                              <a:pt x="543" y="490"/>
                              <a:pt x="547" y="493"/>
                              <a:pt x="550" y="493"/>
                            </a:cubicBezTo>
                            <a:cubicBezTo>
                              <a:pt x="552" y="494"/>
                              <a:pt x="548" y="497"/>
                              <a:pt x="549" y="499"/>
                            </a:cubicBezTo>
                            <a:cubicBezTo>
                              <a:pt x="549" y="500"/>
                              <a:pt x="550" y="501"/>
                              <a:pt x="551" y="501"/>
                            </a:cubicBezTo>
                            <a:cubicBezTo>
                              <a:pt x="553" y="500"/>
                              <a:pt x="555" y="497"/>
                              <a:pt x="557" y="497"/>
                            </a:cubicBezTo>
                            <a:cubicBezTo>
                              <a:pt x="559" y="497"/>
                              <a:pt x="560" y="500"/>
                              <a:pt x="561" y="500"/>
                            </a:cubicBezTo>
                            <a:cubicBezTo>
                              <a:pt x="561" y="495"/>
                              <a:pt x="570" y="495"/>
                              <a:pt x="572" y="492"/>
                            </a:cubicBezTo>
                            <a:cubicBezTo>
                              <a:pt x="579" y="491"/>
                              <a:pt x="581" y="486"/>
                              <a:pt x="587" y="487"/>
                            </a:cubicBezTo>
                            <a:cubicBezTo>
                              <a:pt x="589" y="487"/>
                              <a:pt x="584" y="491"/>
                              <a:pt x="585" y="493"/>
                            </a:cubicBezTo>
                            <a:cubicBezTo>
                              <a:pt x="586" y="495"/>
                              <a:pt x="588" y="497"/>
                              <a:pt x="591" y="499"/>
                            </a:cubicBezTo>
                            <a:cubicBezTo>
                              <a:pt x="594" y="501"/>
                              <a:pt x="598" y="501"/>
                              <a:pt x="600" y="504"/>
                            </a:cubicBezTo>
                            <a:cubicBezTo>
                              <a:pt x="613" y="519"/>
                              <a:pt x="622" y="536"/>
                              <a:pt x="635" y="550"/>
                            </a:cubicBezTo>
                            <a:cubicBezTo>
                              <a:pt x="636" y="552"/>
                              <a:pt x="638" y="548"/>
                              <a:pt x="639" y="546"/>
                            </a:cubicBezTo>
                            <a:cubicBezTo>
                              <a:pt x="639" y="545"/>
                              <a:pt x="637" y="544"/>
                              <a:pt x="638" y="543"/>
                            </a:cubicBezTo>
                            <a:cubicBezTo>
                              <a:pt x="640" y="542"/>
                              <a:pt x="642" y="542"/>
                              <a:pt x="643" y="543"/>
                            </a:cubicBezTo>
                            <a:cubicBezTo>
                              <a:pt x="645" y="543"/>
                              <a:pt x="647" y="545"/>
                              <a:pt x="648" y="547"/>
                            </a:cubicBezTo>
                            <a:cubicBezTo>
                              <a:pt x="649" y="548"/>
                              <a:pt x="646" y="549"/>
                              <a:pt x="647" y="550"/>
                            </a:cubicBezTo>
                            <a:cubicBezTo>
                              <a:pt x="648" y="550"/>
                              <a:pt x="650" y="549"/>
                              <a:pt x="651" y="550"/>
                            </a:cubicBezTo>
                            <a:cubicBezTo>
                              <a:pt x="652" y="550"/>
                              <a:pt x="651" y="552"/>
                              <a:pt x="651" y="552"/>
                            </a:cubicBezTo>
                            <a:cubicBezTo>
                              <a:pt x="656" y="553"/>
                              <a:pt x="661" y="552"/>
                              <a:pt x="666" y="552"/>
                            </a:cubicBezTo>
                            <a:cubicBezTo>
                              <a:pt x="669" y="551"/>
                              <a:pt x="669" y="546"/>
                              <a:pt x="672" y="546"/>
                            </a:cubicBezTo>
                            <a:cubicBezTo>
                              <a:pt x="677" y="547"/>
                              <a:pt x="681" y="551"/>
                              <a:pt x="684" y="555"/>
                            </a:cubicBezTo>
                            <a:cubicBezTo>
                              <a:pt x="686" y="557"/>
                              <a:pt x="685" y="561"/>
                              <a:pt x="687" y="562"/>
                            </a:cubicBezTo>
                            <a:cubicBezTo>
                              <a:pt x="689" y="564"/>
                              <a:pt x="693" y="561"/>
                              <a:pt x="696" y="562"/>
                            </a:cubicBezTo>
                            <a:cubicBezTo>
                              <a:pt x="697" y="562"/>
                              <a:pt x="697" y="565"/>
                              <a:pt x="698" y="566"/>
                            </a:cubicBezTo>
                            <a:cubicBezTo>
                              <a:pt x="699" y="568"/>
                              <a:pt x="701" y="570"/>
                              <a:pt x="704" y="571"/>
                            </a:cubicBezTo>
                            <a:cubicBezTo>
                              <a:pt x="707" y="570"/>
                              <a:pt x="709" y="573"/>
                              <a:pt x="712" y="572"/>
                            </a:cubicBezTo>
                            <a:cubicBezTo>
                              <a:pt x="714" y="571"/>
                              <a:pt x="714" y="567"/>
                              <a:pt x="716" y="567"/>
                            </a:cubicBezTo>
                            <a:cubicBezTo>
                              <a:pt x="718" y="567"/>
                              <a:pt x="715" y="570"/>
                              <a:pt x="715" y="572"/>
                            </a:cubicBezTo>
                            <a:cubicBezTo>
                              <a:pt x="718" y="575"/>
                              <a:pt x="722" y="577"/>
                              <a:pt x="725" y="580"/>
                            </a:cubicBezTo>
                            <a:cubicBezTo>
                              <a:pt x="727" y="580"/>
                              <a:pt x="730" y="580"/>
                              <a:pt x="733" y="580"/>
                            </a:cubicBezTo>
                            <a:cubicBezTo>
                              <a:pt x="735" y="578"/>
                              <a:pt x="738" y="575"/>
                              <a:pt x="740" y="574"/>
                            </a:cubicBezTo>
                            <a:cubicBezTo>
                              <a:pt x="743" y="572"/>
                              <a:pt x="747" y="573"/>
                              <a:pt x="750" y="571"/>
                            </a:cubicBezTo>
                            <a:cubicBezTo>
                              <a:pt x="752" y="570"/>
                              <a:pt x="754" y="567"/>
                              <a:pt x="756" y="565"/>
                            </a:cubicBezTo>
                            <a:cubicBezTo>
                              <a:pt x="759" y="562"/>
                              <a:pt x="762" y="559"/>
                              <a:pt x="765" y="557"/>
                            </a:cubicBezTo>
                            <a:cubicBezTo>
                              <a:pt x="767" y="556"/>
                              <a:pt x="769" y="558"/>
                              <a:pt x="771" y="557"/>
                            </a:cubicBezTo>
                            <a:cubicBezTo>
                              <a:pt x="772" y="556"/>
                              <a:pt x="772" y="554"/>
                              <a:pt x="774" y="553"/>
                            </a:cubicBezTo>
                            <a:cubicBezTo>
                              <a:pt x="775" y="552"/>
                              <a:pt x="777" y="554"/>
                              <a:pt x="779" y="553"/>
                            </a:cubicBezTo>
                            <a:cubicBezTo>
                              <a:pt x="780" y="553"/>
                              <a:pt x="781" y="551"/>
                              <a:pt x="782" y="551"/>
                            </a:cubicBezTo>
                            <a:cubicBezTo>
                              <a:pt x="783" y="551"/>
                              <a:pt x="784" y="552"/>
                              <a:pt x="785" y="552"/>
                            </a:cubicBezTo>
                            <a:cubicBezTo>
                              <a:pt x="786" y="552"/>
                              <a:pt x="787" y="550"/>
                              <a:pt x="788" y="550"/>
                            </a:cubicBezTo>
                            <a:cubicBezTo>
                              <a:pt x="790" y="551"/>
                              <a:pt x="790" y="553"/>
                              <a:pt x="792" y="553"/>
                            </a:cubicBezTo>
                            <a:cubicBezTo>
                              <a:pt x="796" y="554"/>
                              <a:pt x="801" y="553"/>
                              <a:pt x="806" y="555"/>
                            </a:cubicBezTo>
                            <a:cubicBezTo>
                              <a:pt x="807" y="555"/>
                              <a:pt x="806" y="557"/>
                              <a:pt x="806" y="558"/>
                            </a:cubicBezTo>
                            <a:cubicBezTo>
                              <a:pt x="807" y="560"/>
                              <a:pt x="808" y="562"/>
                              <a:pt x="810" y="563"/>
                            </a:cubicBezTo>
                            <a:cubicBezTo>
                              <a:pt x="813" y="565"/>
                              <a:pt x="817" y="566"/>
                              <a:pt x="820" y="567"/>
                            </a:cubicBezTo>
                            <a:cubicBezTo>
                              <a:pt x="823" y="567"/>
                              <a:pt x="826" y="566"/>
                              <a:pt x="828" y="566"/>
                            </a:cubicBezTo>
                            <a:cubicBezTo>
                              <a:pt x="832" y="566"/>
                              <a:pt x="835" y="566"/>
                              <a:pt x="839" y="566"/>
                            </a:cubicBezTo>
                            <a:cubicBezTo>
                              <a:pt x="841" y="567"/>
                              <a:pt x="843" y="568"/>
                              <a:pt x="845" y="568"/>
                            </a:cubicBezTo>
                            <a:cubicBezTo>
                              <a:pt x="847" y="568"/>
                              <a:pt x="849" y="567"/>
                              <a:pt x="850" y="565"/>
                            </a:cubicBezTo>
                            <a:cubicBezTo>
                              <a:pt x="852" y="564"/>
                              <a:pt x="854" y="561"/>
                              <a:pt x="853" y="559"/>
                            </a:cubicBezTo>
                            <a:cubicBezTo>
                              <a:pt x="853" y="556"/>
                              <a:pt x="850" y="555"/>
                              <a:pt x="849" y="553"/>
                            </a:cubicBezTo>
                            <a:cubicBezTo>
                              <a:pt x="848" y="550"/>
                              <a:pt x="847" y="547"/>
                              <a:pt x="846" y="545"/>
                            </a:cubicBezTo>
                            <a:cubicBezTo>
                              <a:pt x="846" y="542"/>
                              <a:pt x="847" y="539"/>
                              <a:pt x="848" y="537"/>
                            </a:cubicBezTo>
                            <a:cubicBezTo>
                              <a:pt x="848" y="536"/>
                              <a:pt x="850" y="537"/>
                              <a:pt x="851" y="536"/>
                            </a:cubicBezTo>
                            <a:cubicBezTo>
                              <a:pt x="852" y="533"/>
                              <a:pt x="850" y="527"/>
                              <a:pt x="853" y="526"/>
                            </a:cubicBezTo>
                            <a:cubicBezTo>
                              <a:pt x="857" y="525"/>
                              <a:pt x="860" y="532"/>
                              <a:pt x="864" y="533"/>
                            </a:cubicBezTo>
                            <a:cubicBezTo>
                              <a:pt x="868" y="534"/>
                              <a:pt x="872" y="530"/>
                              <a:pt x="876" y="531"/>
                            </a:cubicBezTo>
                            <a:cubicBezTo>
                              <a:pt x="879" y="531"/>
                              <a:pt x="881" y="535"/>
                              <a:pt x="883" y="536"/>
                            </a:cubicBezTo>
                            <a:cubicBezTo>
                              <a:pt x="886" y="537"/>
                              <a:pt x="890" y="535"/>
                              <a:pt x="892" y="537"/>
                            </a:cubicBezTo>
                            <a:cubicBezTo>
                              <a:pt x="895" y="538"/>
                              <a:pt x="898" y="540"/>
                              <a:pt x="899" y="543"/>
                            </a:cubicBezTo>
                            <a:cubicBezTo>
                              <a:pt x="900" y="546"/>
                              <a:pt x="898" y="551"/>
                              <a:pt x="900" y="554"/>
                            </a:cubicBezTo>
                            <a:cubicBezTo>
                              <a:pt x="902" y="557"/>
                              <a:pt x="905" y="560"/>
                              <a:pt x="908" y="561"/>
                            </a:cubicBezTo>
                            <a:cubicBezTo>
                              <a:pt x="910" y="562"/>
                              <a:pt x="912" y="559"/>
                              <a:pt x="914" y="559"/>
                            </a:cubicBezTo>
                            <a:cubicBezTo>
                              <a:pt x="914" y="559"/>
                              <a:pt x="913" y="561"/>
                              <a:pt x="914" y="561"/>
                            </a:cubicBezTo>
                            <a:cubicBezTo>
                              <a:pt x="916" y="562"/>
                              <a:pt x="918" y="562"/>
                              <a:pt x="920" y="562"/>
                            </a:cubicBezTo>
                            <a:cubicBezTo>
                              <a:pt x="925" y="562"/>
                              <a:pt x="929" y="562"/>
                              <a:pt x="934" y="561"/>
                            </a:cubicBezTo>
                            <a:cubicBezTo>
                              <a:pt x="935" y="561"/>
                              <a:pt x="935" y="560"/>
                              <a:pt x="936" y="560"/>
                            </a:cubicBezTo>
                            <a:cubicBezTo>
                              <a:pt x="942" y="560"/>
                              <a:pt x="948" y="559"/>
                              <a:pt x="953" y="560"/>
                            </a:cubicBezTo>
                            <a:cubicBezTo>
                              <a:pt x="956" y="560"/>
                              <a:pt x="959" y="562"/>
                              <a:pt x="962" y="563"/>
                            </a:cubicBezTo>
                            <a:cubicBezTo>
                              <a:pt x="965" y="564"/>
                              <a:pt x="969" y="563"/>
                              <a:pt x="972" y="565"/>
                            </a:cubicBezTo>
                            <a:cubicBezTo>
                              <a:pt x="973" y="567"/>
                              <a:pt x="971" y="570"/>
                              <a:pt x="972" y="571"/>
                            </a:cubicBezTo>
                            <a:cubicBezTo>
                              <a:pt x="973" y="574"/>
                              <a:pt x="975" y="576"/>
                              <a:pt x="978" y="577"/>
                            </a:cubicBezTo>
                            <a:cubicBezTo>
                              <a:pt x="985" y="579"/>
                              <a:pt x="992" y="577"/>
                              <a:pt x="1000" y="578"/>
                            </a:cubicBezTo>
                            <a:cubicBezTo>
                              <a:pt x="1001" y="578"/>
                              <a:pt x="1003" y="580"/>
                              <a:pt x="1005" y="579"/>
                            </a:cubicBezTo>
                            <a:cubicBezTo>
                              <a:pt x="1008" y="578"/>
                              <a:pt x="1009" y="575"/>
                              <a:pt x="1011" y="575"/>
                            </a:cubicBezTo>
                            <a:cubicBezTo>
                              <a:pt x="1015" y="574"/>
                              <a:pt x="1019" y="575"/>
                              <a:pt x="1023" y="574"/>
                            </a:cubicBezTo>
                            <a:cubicBezTo>
                              <a:pt x="1025" y="574"/>
                              <a:pt x="1027" y="572"/>
                              <a:pt x="1029" y="571"/>
                            </a:cubicBezTo>
                            <a:cubicBezTo>
                              <a:pt x="1031" y="569"/>
                              <a:pt x="1032" y="568"/>
                              <a:pt x="1033" y="567"/>
                            </a:cubicBezTo>
                            <a:cubicBezTo>
                              <a:pt x="1036" y="565"/>
                              <a:pt x="1039" y="564"/>
                              <a:pt x="1042" y="563"/>
                            </a:cubicBezTo>
                            <a:cubicBezTo>
                              <a:pt x="1044" y="562"/>
                              <a:pt x="1047" y="560"/>
                              <a:pt x="1049" y="561"/>
                            </a:cubicBezTo>
                            <a:cubicBezTo>
                              <a:pt x="1052" y="561"/>
                              <a:pt x="1054" y="564"/>
                              <a:pt x="1057" y="565"/>
                            </a:cubicBezTo>
                            <a:cubicBezTo>
                              <a:pt x="1059" y="566"/>
                              <a:pt x="1061" y="567"/>
                              <a:pt x="1064" y="567"/>
                            </a:cubicBezTo>
                            <a:cubicBezTo>
                              <a:pt x="1066" y="567"/>
                              <a:pt x="1069" y="566"/>
                              <a:pt x="1071" y="566"/>
                            </a:cubicBezTo>
                            <a:cubicBezTo>
                              <a:pt x="1073" y="566"/>
                              <a:pt x="1074" y="568"/>
                              <a:pt x="1075" y="568"/>
                            </a:cubicBezTo>
                            <a:cubicBezTo>
                              <a:pt x="1080" y="570"/>
                              <a:pt x="1086" y="571"/>
                              <a:pt x="1091" y="572"/>
                            </a:cubicBezTo>
                            <a:cubicBezTo>
                              <a:pt x="1095" y="569"/>
                              <a:pt x="1101" y="567"/>
                              <a:pt x="1104" y="564"/>
                            </a:cubicBezTo>
                            <a:cubicBezTo>
                              <a:pt x="1105" y="563"/>
                              <a:pt x="1103" y="561"/>
                              <a:pt x="1103" y="560"/>
                            </a:cubicBezTo>
                            <a:cubicBezTo>
                              <a:pt x="1104" y="558"/>
                              <a:pt x="1106" y="556"/>
                              <a:pt x="1107" y="553"/>
                            </a:cubicBezTo>
                            <a:cubicBezTo>
                              <a:pt x="1107" y="549"/>
                              <a:pt x="1105" y="545"/>
                              <a:pt x="1107" y="540"/>
                            </a:cubicBezTo>
                            <a:cubicBezTo>
                              <a:pt x="1108" y="537"/>
                              <a:pt x="1112" y="536"/>
                              <a:pt x="1113" y="532"/>
                            </a:cubicBezTo>
                            <a:cubicBezTo>
                              <a:pt x="1114" y="528"/>
                              <a:pt x="1114" y="523"/>
                              <a:pt x="1112" y="520"/>
                            </a:cubicBezTo>
                            <a:cubicBezTo>
                              <a:pt x="1110" y="518"/>
                              <a:pt x="1108" y="523"/>
                              <a:pt x="1106" y="523"/>
                            </a:cubicBezTo>
                            <a:cubicBezTo>
                              <a:pt x="1104" y="522"/>
                              <a:pt x="1102" y="520"/>
                              <a:pt x="1103" y="519"/>
                            </a:cubicBezTo>
                            <a:cubicBezTo>
                              <a:pt x="1104" y="515"/>
                              <a:pt x="1107" y="512"/>
                              <a:pt x="1110" y="511"/>
                            </a:cubicBezTo>
                            <a:cubicBezTo>
                              <a:pt x="1112" y="509"/>
                              <a:pt x="1115" y="511"/>
                              <a:pt x="1117" y="511"/>
                            </a:cubicBezTo>
                            <a:cubicBezTo>
                              <a:pt x="1119" y="510"/>
                              <a:pt x="1121" y="508"/>
                              <a:pt x="1124" y="507"/>
                            </a:cubicBezTo>
                            <a:cubicBezTo>
                              <a:pt x="1129" y="506"/>
                              <a:pt x="1135" y="505"/>
                              <a:pt x="1141" y="505"/>
                            </a:cubicBezTo>
                            <a:cubicBezTo>
                              <a:pt x="1145" y="505"/>
                              <a:pt x="1148" y="507"/>
                              <a:pt x="1152" y="508"/>
                            </a:cubicBezTo>
                            <a:cubicBezTo>
                              <a:pt x="1153" y="509"/>
                              <a:pt x="1155" y="509"/>
                              <a:pt x="1156" y="509"/>
                            </a:cubicBezTo>
                            <a:cubicBezTo>
                              <a:pt x="1158" y="509"/>
                              <a:pt x="1159" y="508"/>
                              <a:pt x="1160" y="508"/>
                            </a:cubicBezTo>
                            <a:cubicBezTo>
                              <a:pt x="1164" y="510"/>
                              <a:pt x="1169" y="513"/>
                              <a:pt x="1173" y="516"/>
                            </a:cubicBezTo>
                            <a:cubicBezTo>
                              <a:pt x="1175" y="518"/>
                              <a:pt x="1175" y="522"/>
                              <a:pt x="1177" y="524"/>
                            </a:cubicBezTo>
                            <a:cubicBezTo>
                              <a:pt x="1177" y="525"/>
                              <a:pt x="1179" y="525"/>
                              <a:pt x="1179" y="526"/>
                            </a:cubicBezTo>
                            <a:cubicBezTo>
                              <a:pt x="1179" y="527"/>
                              <a:pt x="1177" y="528"/>
                              <a:pt x="1178" y="529"/>
                            </a:cubicBezTo>
                            <a:cubicBezTo>
                              <a:pt x="1180" y="533"/>
                              <a:pt x="1184" y="536"/>
                              <a:pt x="1187" y="540"/>
                            </a:cubicBezTo>
                            <a:cubicBezTo>
                              <a:pt x="1188" y="541"/>
                              <a:pt x="1187" y="543"/>
                              <a:pt x="1188" y="544"/>
                            </a:cubicBezTo>
                            <a:cubicBezTo>
                              <a:pt x="1189" y="546"/>
                              <a:pt x="1191" y="547"/>
                              <a:pt x="1192" y="548"/>
                            </a:cubicBezTo>
                            <a:cubicBezTo>
                              <a:pt x="1194" y="552"/>
                              <a:pt x="1196" y="555"/>
                              <a:pt x="1197" y="559"/>
                            </a:cubicBezTo>
                            <a:cubicBezTo>
                              <a:pt x="1198" y="561"/>
                              <a:pt x="1201" y="560"/>
                              <a:pt x="1202" y="561"/>
                            </a:cubicBezTo>
                            <a:cubicBezTo>
                              <a:pt x="1202" y="562"/>
                              <a:pt x="1200" y="563"/>
                              <a:pt x="1201" y="564"/>
                            </a:cubicBezTo>
                            <a:cubicBezTo>
                              <a:pt x="1201" y="566"/>
                              <a:pt x="1202" y="569"/>
                              <a:pt x="1204" y="570"/>
                            </a:cubicBezTo>
                            <a:cubicBezTo>
                              <a:pt x="1207" y="571"/>
                              <a:pt x="1211" y="570"/>
                              <a:pt x="1214" y="572"/>
                            </a:cubicBezTo>
                            <a:cubicBezTo>
                              <a:pt x="1217" y="572"/>
                              <a:pt x="1219" y="575"/>
                              <a:pt x="1222" y="575"/>
                            </a:cubicBezTo>
                            <a:cubicBezTo>
                              <a:pt x="1224" y="575"/>
                              <a:pt x="1225" y="572"/>
                              <a:pt x="1227" y="573"/>
                            </a:cubicBezTo>
                            <a:cubicBezTo>
                              <a:pt x="1231" y="575"/>
                              <a:pt x="1233" y="580"/>
                              <a:pt x="1237" y="583"/>
                            </a:cubicBezTo>
                            <a:cubicBezTo>
                              <a:pt x="1238" y="584"/>
                              <a:pt x="1241" y="583"/>
                              <a:pt x="1243" y="584"/>
                            </a:cubicBezTo>
                            <a:cubicBezTo>
                              <a:pt x="1244" y="586"/>
                              <a:pt x="1244" y="589"/>
                              <a:pt x="1245" y="592"/>
                            </a:cubicBezTo>
                            <a:cubicBezTo>
                              <a:pt x="1245" y="593"/>
                              <a:pt x="1244" y="595"/>
                              <a:pt x="1245" y="597"/>
                            </a:cubicBezTo>
                            <a:cubicBezTo>
                              <a:pt x="1246" y="600"/>
                              <a:pt x="1248" y="605"/>
                              <a:pt x="1251" y="605"/>
                            </a:cubicBezTo>
                            <a:cubicBezTo>
                              <a:pt x="1257" y="606"/>
                              <a:pt x="1264" y="605"/>
                              <a:pt x="1270" y="605"/>
                            </a:cubicBezTo>
                            <a:cubicBezTo>
                              <a:pt x="1272" y="605"/>
                              <a:pt x="1272" y="600"/>
                              <a:pt x="1274" y="599"/>
                            </a:cubicBezTo>
                            <a:cubicBezTo>
                              <a:pt x="1281" y="597"/>
                              <a:pt x="1287" y="594"/>
                              <a:pt x="1294" y="593"/>
                            </a:cubicBezTo>
                            <a:cubicBezTo>
                              <a:pt x="1296" y="593"/>
                              <a:pt x="1294" y="597"/>
                              <a:pt x="1295" y="598"/>
                            </a:cubicBezTo>
                            <a:cubicBezTo>
                              <a:pt x="1296" y="601"/>
                              <a:pt x="1298" y="604"/>
                              <a:pt x="1298" y="607"/>
                            </a:cubicBezTo>
                            <a:cubicBezTo>
                              <a:pt x="1298" y="610"/>
                              <a:pt x="1294" y="612"/>
                              <a:pt x="1294" y="614"/>
                            </a:cubicBezTo>
                            <a:cubicBezTo>
                              <a:pt x="1293" y="618"/>
                              <a:pt x="1294" y="622"/>
                              <a:pt x="1294" y="626"/>
                            </a:cubicBezTo>
                            <a:cubicBezTo>
                              <a:pt x="1294" y="629"/>
                              <a:pt x="1294" y="631"/>
                              <a:pt x="1293" y="634"/>
                            </a:cubicBezTo>
                            <a:cubicBezTo>
                              <a:pt x="1293" y="636"/>
                              <a:pt x="1293" y="639"/>
                              <a:pt x="1292" y="641"/>
                            </a:cubicBezTo>
                            <a:cubicBezTo>
                              <a:pt x="1292" y="642"/>
                              <a:pt x="1290" y="642"/>
                              <a:pt x="1289" y="644"/>
                            </a:cubicBezTo>
                            <a:cubicBezTo>
                              <a:pt x="1289" y="645"/>
                              <a:pt x="1290" y="648"/>
                              <a:pt x="1288" y="649"/>
                            </a:cubicBezTo>
                            <a:cubicBezTo>
                              <a:pt x="1287" y="650"/>
                              <a:pt x="1285" y="650"/>
                              <a:pt x="1284" y="650"/>
                            </a:cubicBezTo>
                            <a:cubicBezTo>
                              <a:pt x="1280" y="649"/>
                              <a:pt x="1277" y="646"/>
                              <a:pt x="1274" y="646"/>
                            </a:cubicBezTo>
                            <a:cubicBezTo>
                              <a:pt x="1272" y="647"/>
                              <a:pt x="1272" y="650"/>
                              <a:pt x="1271" y="652"/>
                            </a:cubicBezTo>
                            <a:cubicBezTo>
                              <a:pt x="1269" y="653"/>
                              <a:pt x="1266" y="653"/>
                              <a:pt x="1265" y="655"/>
                            </a:cubicBezTo>
                            <a:cubicBezTo>
                              <a:pt x="1264" y="655"/>
                              <a:pt x="1265" y="657"/>
                              <a:pt x="1266" y="657"/>
                            </a:cubicBezTo>
                            <a:cubicBezTo>
                              <a:pt x="1267" y="661"/>
                              <a:pt x="1271" y="665"/>
                              <a:pt x="1271" y="669"/>
                            </a:cubicBezTo>
                            <a:cubicBezTo>
                              <a:pt x="1273" y="674"/>
                              <a:pt x="1272" y="680"/>
                              <a:pt x="1271" y="686"/>
                            </a:cubicBezTo>
                            <a:cubicBezTo>
                              <a:pt x="1271" y="688"/>
                              <a:pt x="1268" y="687"/>
                              <a:pt x="1267" y="689"/>
                            </a:cubicBezTo>
                            <a:cubicBezTo>
                              <a:pt x="1266" y="690"/>
                              <a:pt x="1266" y="692"/>
                              <a:pt x="1266" y="694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1980" name="Freeform 3106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239393" y="1796515"/>
                        <a:ext cx="10067" cy="831"/>
                      </a:xfrm>
                      <a:custGeom>
                        <a:avLst/>
                        <a:gdLst>
                          <a:gd name="T0" fmla="*/ 3 w 8"/>
                          <a:gd name="T1" fmla="*/ 1 h 1"/>
                          <a:gd name="T2" fmla="*/ 0 w 8"/>
                          <a:gd name="T3" fmla="*/ 0 h 1"/>
                          <a:gd name="T4" fmla="*/ 5 w 8"/>
                          <a:gd name="T5" fmla="*/ 0 h 1"/>
                          <a:gd name="T6" fmla="*/ 8 w 8"/>
                          <a:gd name="T7" fmla="*/ 1 h 1"/>
                          <a:gd name="T8" fmla="*/ 3 w 8"/>
                          <a:gd name="T9" fmla="*/ 1 h 1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8"/>
                          <a:gd name="T16" fmla="*/ 0 h 1"/>
                          <a:gd name="T17" fmla="*/ 8 w 8"/>
                          <a:gd name="T18" fmla="*/ 1 h 1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8" h="1">
                            <a:moveTo>
                              <a:pt x="3" y="1"/>
                            </a:moveTo>
                            <a:cubicBezTo>
                              <a:pt x="2" y="1"/>
                              <a:pt x="0" y="1"/>
                              <a:pt x="0" y="0"/>
                            </a:cubicBezTo>
                            <a:cubicBezTo>
                              <a:pt x="1" y="0"/>
                              <a:pt x="2" y="0"/>
                              <a:pt x="4" y="0"/>
                            </a:cubicBezTo>
                            <a:cubicBezTo>
                              <a:pt x="5" y="0"/>
                              <a:pt x="8" y="0"/>
                              <a:pt x="7" y="1"/>
                            </a:cubicBezTo>
                            <a:cubicBezTo>
                              <a:pt x="7" y="1"/>
                              <a:pt x="4" y="1"/>
                              <a:pt x="3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1981" name="Freeform 3107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287488" y="1799838"/>
                        <a:ext cx="8948" cy="2493"/>
                      </a:xfrm>
                      <a:custGeom>
                        <a:avLst/>
                        <a:gdLst>
                          <a:gd name="T0" fmla="*/ 2 w 7"/>
                          <a:gd name="T1" fmla="*/ 2 h 3"/>
                          <a:gd name="T2" fmla="*/ 0 w 7"/>
                          <a:gd name="T3" fmla="*/ 2 h 3"/>
                          <a:gd name="T4" fmla="*/ 3 w 7"/>
                          <a:gd name="T5" fmla="*/ 1 h 3"/>
                          <a:gd name="T6" fmla="*/ 7 w 7"/>
                          <a:gd name="T7" fmla="*/ 1 h 3"/>
                          <a:gd name="T8" fmla="*/ 2 w 7"/>
                          <a:gd name="T9" fmla="*/ 2 h 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7"/>
                          <a:gd name="T16" fmla="*/ 0 h 3"/>
                          <a:gd name="T17" fmla="*/ 7 w 7"/>
                          <a:gd name="T18" fmla="*/ 3 h 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7" h="3">
                            <a:moveTo>
                              <a:pt x="2" y="2"/>
                            </a:moveTo>
                            <a:cubicBezTo>
                              <a:pt x="2" y="3"/>
                              <a:pt x="0" y="3"/>
                              <a:pt x="0" y="2"/>
                            </a:cubicBezTo>
                            <a:cubicBezTo>
                              <a:pt x="0" y="2"/>
                              <a:pt x="2" y="1"/>
                              <a:pt x="3" y="1"/>
                            </a:cubicBezTo>
                            <a:cubicBezTo>
                              <a:pt x="4" y="0"/>
                              <a:pt x="7" y="0"/>
                              <a:pt x="6" y="1"/>
                            </a:cubicBezTo>
                            <a:cubicBezTo>
                              <a:pt x="6" y="1"/>
                              <a:pt x="4" y="2"/>
                              <a:pt x="2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1982" name="Freeform 3108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309857" y="1785717"/>
                        <a:ext cx="10067" cy="6645"/>
                      </a:xfrm>
                      <a:custGeom>
                        <a:avLst/>
                        <a:gdLst>
                          <a:gd name="T0" fmla="*/ 3 w 7"/>
                          <a:gd name="T1" fmla="*/ 3 h 7"/>
                          <a:gd name="T2" fmla="*/ 0 w 7"/>
                          <a:gd name="T3" fmla="*/ 0 h 7"/>
                          <a:gd name="T4" fmla="*/ 5 w 7"/>
                          <a:gd name="T5" fmla="*/ 3 h 7"/>
                          <a:gd name="T6" fmla="*/ 8 w 7"/>
                          <a:gd name="T7" fmla="*/ 8 h 7"/>
                          <a:gd name="T8" fmla="*/ 3 w 7"/>
                          <a:gd name="T9" fmla="*/ 3 h 7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7"/>
                          <a:gd name="T16" fmla="*/ 0 h 7"/>
                          <a:gd name="T17" fmla="*/ 7 w 7"/>
                          <a:gd name="T18" fmla="*/ 7 h 7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7" h="7">
                            <a:moveTo>
                              <a:pt x="2" y="3"/>
                            </a:moveTo>
                            <a:cubicBezTo>
                              <a:pt x="1" y="2"/>
                              <a:pt x="0" y="0"/>
                              <a:pt x="0" y="0"/>
                            </a:cubicBezTo>
                            <a:cubicBezTo>
                              <a:pt x="1" y="0"/>
                              <a:pt x="3" y="2"/>
                              <a:pt x="4" y="3"/>
                            </a:cubicBezTo>
                            <a:cubicBezTo>
                              <a:pt x="5" y="4"/>
                              <a:pt x="7" y="7"/>
                              <a:pt x="6" y="7"/>
                            </a:cubicBezTo>
                            <a:cubicBezTo>
                              <a:pt x="5" y="7"/>
                              <a:pt x="3" y="5"/>
                              <a:pt x="2" y="3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1983" name="Freeform 3112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073857" y="1840540"/>
                        <a:ext cx="5593" cy="3322"/>
                      </a:xfrm>
                      <a:custGeom>
                        <a:avLst/>
                        <a:gdLst>
                          <a:gd name="T0" fmla="*/ 4 w 4"/>
                          <a:gd name="T1" fmla="*/ 1 h 3"/>
                          <a:gd name="T2" fmla="*/ 4 w 4"/>
                          <a:gd name="T3" fmla="*/ 3 h 3"/>
                          <a:gd name="T4" fmla="*/ 3 w 4"/>
                          <a:gd name="T5" fmla="*/ 3 h 3"/>
                          <a:gd name="T6" fmla="*/ 1 w 4"/>
                          <a:gd name="T7" fmla="*/ 0 h 3"/>
                          <a:gd name="T8" fmla="*/ 4 w 4"/>
                          <a:gd name="T9" fmla="*/ 1 h 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4"/>
                          <a:gd name="T16" fmla="*/ 0 h 3"/>
                          <a:gd name="T17" fmla="*/ 4 w 4"/>
                          <a:gd name="T18" fmla="*/ 3 h 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4" h="3">
                            <a:moveTo>
                              <a:pt x="3" y="1"/>
                            </a:moveTo>
                            <a:cubicBezTo>
                              <a:pt x="4" y="1"/>
                              <a:pt x="4" y="2"/>
                              <a:pt x="3" y="2"/>
                            </a:cubicBezTo>
                            <a:cubicBezTo>
                              <a:pt x="3" y="3"/>
                              <a:pt x="2" y="3"/>
                              <a:pt x="2" y="2"/>
                            </a:cubicBezTo>
                            <a:cubicBezTo>
                              <a:pt x="1" y="2"/>
                              <a:pt x="0" y="1"/>
                              <a:pt x="1" y="0"/>
                            </a:cubicBezTo>
                            <a:cubicBezTo>
                              <a:pt x="2" y="0"/>
                              <a:pt x="3" y="0"/>
                              <a:pt x="3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1984" name="Freeform 3113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4977666" y="1873767"/>
                        <a:ext cx="2237" cy="2493"/>
                      </a:xfrm>
                      <a:custGeom>
                        <a:avLst/>
                        <a:gdLst>
                          <a:gd name="T0" fmla="*/ 2 w 2"/>
                          <a:gd name="T1" fmla="*/ 2 h 3"/>
                          <a:gd name="T2" fmla="*/ 1 w 2"/>
                          <a:gd name="T3" fmla="*/ 3 h 3"/>
                          <a:gd name="T4" fmla="*/ 0 w 2"/>
                          <a:gd name="T5" fmla="*/ 2 h 3"/>
                          <a:gd name="T6" fmla="*/ 1 w 2"/>
                          <a:gd name="T7" fmla="*/ 0 h 3"/>
                          <a:gd name="T8" fmla="*/ 2 w 2"/>
                          <a:gd name="T9" fmla="*/ 2 h 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"/>
                          <a:gd name="T16" fmla="*/ 0 h 3"/>
                          <a:gd name="T17" fmla="*/ 2 w 2"/>
                          <a:gd name="T18" fmla="*/ 3 h 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" h="3">
                            <a:moveTo>
                              <a:pt x="2" y="2"/>
                            </a:moveTo>
                            <a:cubicBezTo>
                              <a:pt x="2" y="3"/>
                              <a:pt x="1" y="3"/>
                              <a:pt x="1" y="3"/>
                            </a:cubicBezTo>
                            <a:cubicBezTo>
                              <a:pt x="0" y="3"/>
                              <a:pt x="0" y="2"/>
                              <a:pt x="0" y="2"/>
                            </a:cubicBezTo>
                            <a:cubicBezTo>
                              <a:pt x="0" y="1"/>
                              <a:pt x="0" y="0"/>
                              <a:pt x="1" y="0"/>
                            </a:cubicBezTo>
                            <a:cubicBezTo>
                              <a:pt x="2" y="0"/>
                              <a:pt x="2" y="1"/>
                              <a:pt x="2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1985" name="Freeform 3149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155505" y="1786547"/>
                        <a:ext cx="26844" cy="17444"/>
                      </a:xfrm>
                      <a:custGeom>
                        <a:avLst/>
                        <a:gdLst>
                          <a:gd name="T0" fmla="*/ 22 w 20"/>
                          <a:gd name="T1" fmla="*/ 6 h 17"/>
                          <a:gd name="T2" fmla="*/ 24 w 20"/>
                          <a:gd name="T3" fmla="*/ 9 h 17"/>
                          <a:gd name="T4" fmla="*/ 19 w 20"/>
                          <a:gd name="T5" fmla="*/ 15 h 17"/>
                          <a:gd name="T6" fmla="*/ 7 w 20"/>
                          <a:gd name="T7" fmla="*/ 21 h 17"/>
                          <a:gd name="T8" fmla="*/ 2 w 20"/>
                          <a:gd name="T9" fmla="*/ 20 h 17"/>
                          <a:gd name="T10" fmla="*/ 0 w 20"/>
                          <a:gd name="T11" fmla="*/ 11 h 17"/>
                          <a:gd name="T12" fmla="*/ 2 w 20"/>
                          <a:gd name="T13" fmla="*/ 1 h 17"/>
                          <a:gd name="T14" fmla="*/ 10 w 20"/>
                          <a:gd name="T15" fmla="*/ 1 h 17"/>
                          <a:gd name="T16" fmla="*/ 17 w 20"/>
                          <a:gd name="T17" fmla="*/ 5 h 17"/>
                          <a:gd name="T18" fmla="*/ 22 w 20"/>
                          <a:gd name="T19" fmla="*/ 6 h 17"/>
                          <a:gd name="T20" fmla="*/ 0 60000 65536"/>
                          <a:gd name="T21" fmla="*/ 0 60000 65536"/>
                          <a:gd name="T22" fmla="*/ 0 60000 65536"/>
                          <a:gd name="T23" fmla="*/ 0 60000 65536"/>
                          <a:gd name="T24" fmla="*/ 0 60000 65536"/>
                          <a:gd name="T25" fmla="*/ 0 60000 65536"/>
                          <a:gd name="T26" fmla="*/ 0 60000 65536"/>
                          <a:gd name="T27" fmla="*/ 0 60000 65536"/>
                          <a:gd name="T28" fmla="*/ 0 60000 65536"/>
                          <a:gd name="T29" fmla="*/ 0 60000 65536"/>
                          <a:gd name="T30" fmla="*/ 0 w 20"/>
                          <a:gd name="T31" fmla="*/ 0 h 17"/>
                          <a:gd name="T32" fmla="*/ 20 w 20"/>
                          <a:gd name="T33" fmla="*/ 17 h 17"/>
                        </a:gdLst>
                        <a:ahLst/>
                        <a:cxnLst>
                          <a:cxn ang="T20">
                            <a:pos x="T0" y="T1"/>
                          </a:cxn>
                          <a:cxn ang="T21">
                            <a:pos x="T2" y="T3"/>
                          </a:cxn>
                          <a:cxn ang="T22">
                            <a:pos x="T4" y="T5"/>
                          </a:cxn>
                          <a:cxn ang="T23">
                            <a:pos x="T6" y="T7"/>
                          </a:cxn>
                          <a:cxn ang="T24">
                            <a:pos x="T8" y="T9"/>
                          </a:cxn>
                          <a:cxn ang="T25">
                            <a:pos x="T10" y="T11"/>
                          </a:cxn>
                          <a:cxn ang="T26">
                            <a:pos x="T12" y="T13"/>
                          </a:cxn>
                          <a:cxn ang="T27">
                            <a:pos x="T14" y="T15"/>
                          </a:cxn>
                          <a:cxn ang="T28">
                            <a:pos x="T16" y="T17"/>
                          </a:cxn>
                          <a:cxn ang="T29">
                            <a:pos x="T18" y="T19"/>
                          </a:cxn>
                        </a:cxnLst>
                        <a:rect l="T30" t="T31" r="T32" b="T33"/>
                        <a:pathLst>
                          <a:path w="20" h="17">
                            <a:moveTo>
                              <a:pt x="18" y="5"/>
                            </a:moveTo>
                            <a:cubicBezTo>
                              <a:pt x="19" y="6"/>
                              <a:pt x="20" y="6"/>
                              <a:pt x="20" y="7"/>
                            </a:cubicBezTo>
                            <a:cubicBezTo>
                              <a:pt x="19" y="9"/>
                              <a:pt x="17" y="11"/>
                              <a:pt x="16" y="12"/>
                            </a:cubicBezTo>
                            <a:cubicBezTo>
                              <a:pt x="13" y="14"/>
                              <a:pt x="10" y="16"/>
                              <a:pt x="6" y="17"/>
                            </a:cubicBezTo>
                            <a:cubicBezTo>
                              <a:pt x="5" y="17"/>
                              <a:pt x="3" y="17"/>
                              <a:pt x="2" y="16"/>
                            </a:cubicBezTo>
                            <a:cubicBezTo>
                              <a:pt x="0" y="14"/>
                              <a:pt x="0" y="12"/>
                              <a:pt x="0" y="9"/>
                            </a:cubicBezTo>
                            <a:cubicBezTo>
                              <a:pt x="0" y="6"/>
                              <a:pt x="0" y="3"/>
                              <a:pt x="2" y="1"/>
                            </a:cubicBezTo>
                            <a:cubicBezTo>
                              <a:pt x="4" y="0"/>
                              <a:pt x="6" y="1"/>
                              <a:pt x="8" y="1"/>
                            </a:cubicBezTo>
                            <a:cubicBezTo>
                              <a:pt x="10" y="1"/>
                              <a:pt x="12" y="3"/>
                              <a:pt x="14" y="4"/>
                            </a:cubicBezTo>
                            <a:cubicBezTo>
                              <a:pt x="15" y="4"/>
                              <a:pt x="17" y="4"/>
                              <a:pt x="18" y="5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1986" name="Freeform 3150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299792" y="1762457"/>
                        <a:ext cx="33556" cy="19936"/>
                      </a:xfrm>
                      <a:custGeom>
                        <a:avLst/>
                        <a:gdLst>
                          <a:gd name="T0" fmla="*/ 8 w 25"/>
                          <a:gd name="T1" fmla="*/ 1 h 20"/>
                          <a:gd name="T2" fmla="*/ 22 w 25"/>
                          <a:gd name="T3" fmla="*/ 12 h 20"/>
                          <a:gd name="T4" fmla="*/ 25 w 25"/>
                          <a:gd name="T5" fmla="*/ 12 h 20"/>
                          <a:gd name="T6" fmla="*/ 30 w 25"/>
                          <a:gd name="T7" fmla="*/ 18 h 20"/>
                          <a:gd name="T8" fmla="*/ 29 w 25"/>
                          <a:gd name="T9" fmla="*/ 20 h 20"/>
                          <a:gd name="T10" fmla="*/ 20 w 25"/>
                          <a:gd name="T11" fmla="*/ 23 h 20"/>
                          <a:gd name="T12" fmla="*/ 14 w 25"/>
                          <a:gd name="T13" fmla="*/ 17 h 20"/>
                          <a:gd name="T14" fmla="*/ 8 w 25"/>
                          <a:gd name="T15" fmla="*/ 17 h 20"/>
                          <a:gd name="T16" fmla="*/ 1 w 25"/>
                          <a:gd name="T17" fmla="*/ 10 h 20"/>
                          <a:gd name="T18" fmla="*/ 1 w 25"/>
                          <a:gd name="T19" fmla="*/ 4 h 20"/>
                          <a:gd name="T20" fmla="*/ 5 w 25"/>
                          <a:gd name="T21" fmla="*/ 4 h 20"/>
                          <a:gd name="T22" fmla="*/ 8 w 25"/>
                          <a:gd name="T23" fmla="*/ 1 h 20"/>
                          <a:gd name="T24" fmla="*/ 0 60000 65536"/>
                          <a:gd name="T25" fmla="*/ 0 60000 65536"/>
                          <a:gd name="T26" fmla="*/ 0 60000 65536"/>
                          <a:gd name="T27" fmla="*/ 0 60000 65536"/>
                          <a:gd name="T28" fmla="*/ 0 60000 65536"/>
                          <a:gd name="T29" fmla="*/ 0 60000 65536"/>
                          <a:gd name="T30" fmla="*/ 0 60000 65536"/>
                          <a:gd name="T31" fmla="*/ 0 60000 65536"/>
                          <a:gd name="T32" fmla="*/ 0 60000 65536"/>
                          <a:gd name="T33" fmla="*/ 0 60000 65536"/>
                          <a:gd name="T34" fmla="*/ 0 60000 65536"/>
                          <a:gd name="T35" fmla="*/ 0 60000 65536"/>
                          <a:gd name="T36" fmla="*/ 0 w 25"/>
                          <a:gd name="T37" fmla="*/ 0 h 20"/>
                          <a:gd name="T38" fmla="*/ 25 w 25"/>
                          <a:gd name="T39" fmla="*/ 20 h 20"/>
                        </a:gdLst>
                        <a:ahLst/>
                        <a:cxnLst>
                          <a:cxn ang="T24">
                            <a:pos x="T0" y="T1"/>
                          </a:cxn>
                          <a:cxn ang="T25">
                            <a:pos x="T2" y="T3"/>
                          </a:cxn>
                          <a:cxn ang="T26">
                            <a:pos x="T4" y="T5"/>
                          </a:cxn>
                          <a:cxn ang="T27">
                            <a:pos x="T6" y="T7"/>
                          </a:cxn>
                          <a:cxn ang="T28">
                            <a:pos x="T8" y="T9"/>
                          </a:cxn>
                          <a:cxn ang="T29">
                            <a:pos x="T10" y="T11"/>
                          </a:cxn>
                          <a:cxn ang="T30">
                            <a:pos x="T12" y="T13"/>
                          </a:cxn>
                          <a:cxn ang="T31">
                            <a:pos x="T14" y="T15"/>
                          </a:cxn>
                          <a:cxn ang="T32">
                            <a:pos x="T16" y="T17"/>
                          </a:cxn>
                          <a:cxn ang="T33">
                            <a:pos x="T18" y="T19"/>
                          </a:cxn>
                          <a:cxn ang="T34">
                            <a:pos x="T20" y="T21"/>
                          </a:cxn>
                          <a:cxn ang="T35">
                            <a:pos x="T22" y="T23"/>
                          </a:cxn>
                        </a:cxnLst>
                        <a:rect l="T36" t="T37" r="T38" b="T39"/>
                        <a:pathLst>
                          <a:path w="25" h="20">
                            <a:moveTo>
                              <a:pt x="7" y="1"/>
                            </a:moveTo>
                            <a:cubicBezTo>
                              <a:pt x="11" y="3"/>
                              <a:pt x="14" y="7"/>
                              <a:pt x="18" y="10"/>
                            </a:cubicBezTo>
                            <a:cubicBezTo>
                              <a:pt x="19" y="10"/>
                              <a:pt x="20" y="9"/>
                              <a:pt x="21" y="10"/>
                            </a:cubicBezTo>
                            <a:cubicBezTo>
                              <a:pt x="23" y="11"/>
                              <a:pt x="24" y="13"/>
                              <a:pt x="25" y="15"/>
                            </a:cubicBezTo>
                            <a:cubicBezTo>
                              <a:pt x="25" y="15"/>
                              <a:pt x="25" y="16"/>
                              <a:pt x="24" y="17"/>
                            </a:cubicBezTo>
                            <a:cubicBezTo>
                              <a:pt x="22" y="18"/>
                              <a:pt x="19" y="20"/>
                              <a:pt x="17" y="19"/>
                            </a:cubicBezTo>
                            <a:cubicBezTo>
                              <a:pt x="15" y="19"/>
                              <a:pt x="14" y="16"/>
                              <a:pt x="12" y="14"/>
                            </a:cubicBezTo>
                            <a:cubicBezTo>
                              <a:pt x="11" y="14"/>
                              <a:pt x="9" y="15"/>
                              <a:pt x="7" y="14"/>
                            </a:cubicBezTo>
                            <a:cubicBezTo>
                              <a:pt x="5" y="13"/>
                              <a:pt x="3" y="11"/>
                              <a:pt x="1" y="8"/>
                            </a:cubicBezTo>
                            <a:cubicBezTo>
                              <a:pt x="0" y="6"/>
                              <a:pt x="0" y="4"/>
                              <a:pt x="1" y="3"/>
                            </a:cubicBezTo>
                            <a:cubicBezTo>
                              <a:pt x="2" y="2"/>
                              <a:pt x="3" y="3"/>
                              <a:pt x="4" y="3"/>
                            </a:cubicBezTo>
                            <a:cubicBezTo>
                              <a:pt x="5" y="2"/>
                              <a:pt x="6" y="0"/>
                              <a:pt x="7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1987" name="Freeform 3151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217023" y="1616260"/>
                        <a:ext cx="206920" cy="85559"/>
                      </a:xfrm>
                      <a:custGeom>
                        <a:avLst/>
                        <a:gdLst>
                          <a:gd name="T0" fmla="*/ 184 w 154"/>
                          <a:gd name="T1" fmla="*/ 16 h 86"/>
                          <a:gd name="T2" fmla="*/ 171 w 154"/>
                          <a:gd name="T3" fmla="*/ 25 h 86"/>
                          <a:gd name="T4" fmla="*/ 127 w 154"/>
                          <a:gd name="T5" fmla="*/ 38 h 86"/>
                          <a:gd name="T6" fmla="*/ 120 w 154"/>
                          <a:gd name="T7" fmla="*/ 37 h 86"/>
                          <a:gd name="T8" fmla="*/ 112 w 154"/>
                          <a:gd name="T9" fmla="*/ 43 h 86"/>
                          <a:gd name="T10" fmla="*/ 105 w 154"/>
                          <a:gd name="T11" fmla="*/ 47 h 86"/>
                          <a:gd name="T12" fmla="*/ 95 w 154"/>
                          <a:gd name="T13" fmla="*/ 55 h 86"/>
                          <a:gd name="T14" fmla="*/ 83 w 154"/>
                          <a:gd name="T15" fmla="*/ 55 h 86"/>
                          <a:gd name="T16" fmla="*/ 83 w 154"/>
                          <a:gd name="T17" fmla="*/ 61 h 86"/>
                          <a:gd name="T18" fmla="*/ 73 w 154"/>
                          <a:gd name="T19" fmla="*/ 66 h 86"/>
                          <a:gd name="T20" fmla="*/ 65 w 154"/>
                          <a:gd name="T21" fmla="*/ 66 h 86"/>
                          <a:gd name="T22" fmla="*/ 61 w 154"/>
                          <a:gd name="T23" fmla="*/ 77 h 86"/>
                          <a:gd name="T24" fmla="*/ 56 w 154"/>
                          <a:gd name="T25" fmla="*/ 85 h 86"/>
                          <a:gd name="T26" fmla="*/ 50 w 154"/>
                          <a:gd name="T27" fmla="*/ 81 h 86"/>
                          <a:gd name="T28" fmla="*/ 50 w 154"/>
                          <a:gd name="T29" fmla="*/ 85 h 86"/>
                          <a:gd name="T30" fmla="*/ 54 w 154"/>
                          <a:gd name="T31" fmla="*/ 92 h 86"/>
                          <a:gd name="T32" fmla="*/ 46 w 154"/>
                          <a:gd name="T33" fmla="*/ 91 h 86"/>
                          <a:gd name="T34" fmla="*/ 49 w 154"/>
                          <a:gd name="T35" fmla="*/ 97 h 86"/>
                          <a:gd name="T36" fmla="*/ 38 w 154"/>
                          <a:gd name="T37" fmla="*/ 103 h 86"/>
                          <a:gd name="T38" fmla="*/ 26 w 154"/>
                          <a:gd name="T39" fmla="*/ 98 h 86"/>
                          <a:gd name="T40" fmla="*/ 12 w 154"/>
                          <a:gd name="T41" fmla="*/ 98 h 86"/>
                          <a:gd name="T42" fmla="*/ 7 w 154"/>
                          <a:gd name="T43" fmla="*/ 98 h 86"/>
                          <a:gd name="T44" fmla="*/ 13 w 154"/>
                          <a:gd name="T45" fmla="*/ 93 h 86"/>
                          <a:gd name="T46" fmla="*/ 1 w 154"/>
                          <a:gd name="T47" fmla="*/ 95 h 86"/>
                          <a:gd name="T48" fmla="*/ 10 w 154"/>
                          <a:gd name="T49" fmla="*/ 86 h 86"/>
                          <a:gd name="T50" fmla="*/ 17 w 154"/>
                          <a:gd name="T51" fmla="*/ 80 h 86"/>
                          <a:gd name="T52" fmla="*/ 24 w 154"/>
                          <a:gd name="T53" fmla="*/ 83 h 86"/>
                          <a:gd name="T54" fmla="*/ 18 w 154"/>
                          <a:gd name="T55" fmla="*/ 77 h 86"/>
                          <a:gd name="T56" fmla="*/ 31 w 154"/>
                          <a:gd name="T57" fmla="*/ 73 h 86"/>
                          <a:gd name="T58" fmla="*/ 20 w 154"/>
                          <a:gd name="T59" fmla="*/ 69 h 86"/>
                          <a:gd name="T60" fmla="*/ 31 w 154"/>
                          <a:gd name="T61" fmla="*/ 66 h 86"/>
                          <a:gd name="T62" fmla="*/ 25 w 154"/>
                          <a:gd name="T63" fmla="*/ 63 h 86"/>
                          <a:gd name="T64" fmla="*/ 25 w 154"/>
                          <a:gd name="T65" fmla="*/ 60 h 86"/>
                          <a:gd name="T66" fmla="*/ 18 w 154"/>
                          <a:gd name="T67" fmla="*/ 53 h 86"/>
                          <a:gd name="T68" fmla="*/ 22 w 154"/>
                          <a:gd name="T69" fmla="*/ 53 h 86"/>
                          <a:gd name="T70" fmla="*/ 25 w 154"/>
                          <a:gd name="T71" fmla="*/ 56 h 86"/>
                          <a:gd name="T72" fmla="*/ 35 w 154"/>
                          <a:gd name="T73" fmla="*/ 53 h 86"/>
                          <a:gd name="T74" fmla="*/ 46 w 154"/>
                          <a:gd name="T75" fmla="*/ 53 h 86"/>
                          <a:gd name="T76" fmla="*/ 48 w 154"/>
                          <a:gd name="T77" fmla="*/ 46 h 86"/>
                          <a:gd name="T78" fmla="*/ 48 w 154"/>
                          <a:gd name="T79" fmla="*/ 40 h 86"/>
                          <a:gd name="T80" fmla="*/ 58 w 154"/>
                          <a:gd name="T81" fmla="*/ 41 h 86"/>
                          <a:gd name="T82" fmla="*/ 61 w 154"/>
                          <a:gd name="T83" fmla="*/ 35 h 86"/>
                          <a:gd name="T84" fmla="*/ 73 w 154"/>
                          <a:gd name="T85" fmla="*/ 31 h 86"/>
                          <a:gd name="T86" fmla="*/ 77 w 154"/>
                          <a:gd name="T87" fmla="*/ 29 h 86"/>
                          <a:gd name="T88" fmla="*/ 82 w 154"/>
                          <a:gd name="T89" fmla="*/ 30 h 86"/>
                          <a:gd name="T90" fmla="*/ 83 w 154"/>
                          <a:gd name="T91" fmla="*/ 25 h 86"/>
                          <a:gd name="T92" fmla="*/ 102 w 154"/>
                          <a:gd name="T93" fmla="*/ 25 h 86"/>
                          <a:gd name="T94" fmla="*/ 105 w 154"/>
                          <a:gd name="T95" fmla="*/ 28 h 86"/>
                          <a:gd name="T96" fmla="*/ 109 w 154"/>
                          <a:gd name="T97" fmla="*/ 24 h 86"/>
                          <a:gd name="T98" fmla="*/ 120 w 154"/>
                          <a:gd name="T99" fmla="*/ 23 h 86"/>
                          <a:gd name="T100" fmla="*/ 131 w 154"/>
                          <a:gd name="T101" fmla="*/ 23 h 86"/>
                          <a:gd name="T102" fmla="*/ 135 w 154"/>
                          <a:gd name="T103" fmla="*/ 17 h 86"/>
                          <a:gd name="T104" fmla="*/ 144 w 154"/>
                          <a:gd name="T105" fmla="*/ 14 h 86"/>
                          <a:gd name="T106" fmla="*/ 145 w 154"/>
                          <a:gd name="T107" fmla="*/ 8 h 86"/>
                          <a:gd name="T108" fmla="*/ 166 w 154"/>
                          <a:gd name="T109" fmla="*/ 1 h 86"/>
                          <a:gd name="T110" fmla="*/ 175 w 154"/>
                          <a:gd name="T111" fmla="*/ 5 h 86"/>
                          <a:gd name="T112" fmla="*/ 181 w 154"/>
                          <a:gd name="T113" fmla="*/ 6 h 86"/>
                          <a:gd name="T114" fmla="*/ 185 w 154"/>
                          <a:gd name="T115" fmla="*/ 12 h 86"/>
                          <a:gd name="T116" fmla="*/ 184 w 154"/>
                          <a:gd name="T117" fmla="*/ 16 h 86"/>
                          <a:gd name="T118" fmla="*/ 0 60000 65536"/>
                          <a:gd name="T119" fmla="*/ 0 60000 65536"/>
                          <a:gd name="T120" fmla="*/ 0 60000 65536"/>
                          <a:gd name="T121" fmla="*/ 0 60000 65536"/>
                          <a:gd name="T122" fmla="*/ 0 60000 65536"/>
                          <a:gd name="T123" fmla="*/ 0 60000 65536"/>
                          <a:gd name="T124" fmla="*/ 0 60000 65536"/>
                          <a:gd name="T125" fmla="*/ 0 60000 65536"/>
                          <a:gd name="T126" fmla="*/ 0 60000 65536"/>
                          <a:gd name="T127" fmla="*/ 0 60000 65536"/>
                          <a:gd name="T128" fmla="*/ 0 60000 65536"/>
                          <a:gd name="T129" fmla="*/ 0 60000 65536"/>
                          <a:gd name="T130" fmla="*/ 0 60000 65536"/>
                          <a:gd name="T131" fmla="*/ 0 60000 65536"/>
                          <a:gd name="T132" fmla="*/ 0 60000 65536"/>
                          <a:gd name="T133" fmla="*/ 0 60000 65536"/>
                          <a:gd name="T134" fmla="*/ 0 60000 65536"/>
                          <a:gd name="T135" fmla="*/ 0 60000 65536"/>
                          <a:gd name="T136" fmla="*/ 0 60000 65536"/>
                          <a:gd name="T137" fmla="*/ 0 60000 65536"/>
                          <a:gd name="T138" fmla="*/ 0 60000 65536"/>
                          <a:gd name="T139" fmla="*/ 0 60000 65536"/>
                          <a:gd name="T140" fmla="*/ 0 60000 65536"/>
                          <a:gd name="T141" fmla="*/ 0 60000 65536"/>
                          <a:gd name="T142" fmla="*/ 0 60000 65536"/>
                          <a:gd name="T143" fmla="*/ 0 60000 65536"/>
                          <a:gd name="T144" fmla="*/ 0 60000 65536"/>
                          <a:gd name="T145" fmla="*/ 0 60000 65536"/>
                          <a:gd name="T146" fmla="*/ 0 60000 65536"/>
                          <a:gd name="T147" fmla="*/ 0 60000 65536"/>
                          <a:gd name="T148" fmla="*/ 0 60000 65536"/>
                          <a:gd name="T149" fmla="*/ 0 60000 65536"/>
                          <a:gd name="T150" fmla="*/ 0 60000 65536"/>
                          <a:gd name="T151" fmla="*/ 0 60000 65536"/>
                          <a:gd name="T152" fmla="*/ 0 60000 65536"/>
                          <a:gd name="T153" fmla="*/ 0 60000 65536"/>
                          <a:gd name="T154" fmla="*/ 0 60000 65536"/>
                          <a:gd name="T155" fmla="*/ 0 60000 65536"/>
                          <a:gd name="T156" fmla="*/ 0 60000 65536"/>
                          <a:gd name="T157" fmla="*/ 0 60000 65536"/>
                          <a:gd name="T158" fmla="*/ 0 60000 65536"/>
                          <a:gd name="T159" fmla="*/ 0 60000 65536"/>
                          <a:gd name="T160" fmla="*/ 0 60000 65536"/>
                          <a:gd name="T161" fmla="*/ 0 60000 65536"/>
                          <a:gd name="T162" fmla="*/ 0 60000 65536"/>
                          <a:gd name="T163" fmla="*/ 0 60000 65536"/>
                          <a:gd name="T164" fmla="*/ 0 60000 65536"/>
                          <a:gd name="T165" fmla="*/ 0 60000 65536"/>
                          <a:gd name="T166" fmla="*/ 0 60000 65536"/>
                          <a:gd name="T167" fmla="*/ 0 60000 65536"/>
                          <a:gd name="T168" fmla="*/ 0 60000 65536"/>
                          <a:gd name="T169" fmla="*/ 0 60000 65536"/>
                          <a:gd name="T170" fmla="*/ 0 60000 65536"/>
                          <a:gd name="T171" fmla="*/ 0 60000 65536"/>
                          <a:gd name="T172" fmla="*/ 0 60000 65536"/>
                          <a:gd name="T173" fmla="*/ 0 60000 65536"/>
                          <a:gd name="T174" fmla="*/ 0 60000 65536"/>
                          <a:gd name="T175" fmla="*/ 0 60000 65536"/>
                          <a:gd name="T176" fmla="*/ 0 60000 65536"/>
                          <a:gd name="T177" fmla="*/ 0 w 154"/>
                          <a:gd name="T178" fmla="*/ 0 h 86"/>
                          <a:gd name="T179" fmla="*/ 154 w 154"/>
                          <a:gd name="T180" fmla="*/ 86 h 86"/>
                        </a:gdLst>
                        <a:ahLst/>
                        <a:cxnLst>
                          <a:cxn ang="T118">
                            <a:pos x="T0" y="T1"/>
                          </a:cxn>
                          <a:cxn ang="T119">
                            <a:pos x="T2" y="T3"/>
                          </a:cxn>
                          <a:cxn ang="T120">
                            <a:pos x="T4" y="T5"/>
                          </a:cxn>
                          <a:cxn ang="T121">
                            <a:pos x="T6" y="T7"/>
                          </a:cxn>
                          <a:cxn ang="T122">
                            <a:pos x="T8" y="T9"/>
                          </a:cxn>
                          <a:cxn ang="T123">
                            <a:pos x="T10" y="T11"/>
                          </a:cxn>
                          <a:cxn ang="T124">
                            <a:pos x="T12" y="T13"/>
                          </a:cxn>
                          <a:cxn ang="T125">
                            <a:pos x="T14" y="T15"/>
                          </a:cxn>
                          <a:cxn ang="T126">
                            <a:pos x="T16" y="T17"/>
                          </a:cxn>
                          <a:cxn ang="T127">
                            <a:pos x="T18" y="T19"/>
                          </a:cxn>
                          <a:cxn ang="T128">
                            <a:pos x="T20" y="T21"/>
                          </a:cxn>
                          <a:cxn ang="T129">
                            <a:pos x="T22" y="T23"/>
                          </a:cxn>
                          <a:cxn ang="T130">
                            <a:pos x="T24" y="T25"/>
                          </a:cxn>
                          <a:cxn ang="T131">
                            <a:pos x="T26" y="T27"/>
                          </a:cxn>
                          <a:cxn ang="T132">
                            <a:pos x="T28" y="T29"/>
                          </a:cxn>
                          <a:cxn ang="T133">
                            <a:pos x="T30" y="T31"/>
                          </a:cxn>
                          <a:cxn ang="T134">
                            <a:pos x="T32" y="T33"/>
                          </a:cxn>
                          <a:cxn ang="T135">
                            <a:pos x="T34" y="T35"/>
                          </a:cxn>
                          <a:cxn ang="T136">
                            <a:pos x="T36" y="T37"/>
                          </a:cxn>
                          <a:cxn ang="T137">
                            <a:pos x="T38" y="T39"/>
                          </a:cxn>
                          <a:cxn ang="T138">
                            <a:pos x="T40" y="T41"/>
                          </a:cxn>
                          <a:cxn ang="T139">
                            <a:pos x="T42" y="T43"/>
                          </a:cxn>
                          <a:cxn ang="T140">
                            <a:pos x="T44" y="T45"/>
                          </a:cxn>
                          <a:cxn ang="T141">
                            <a:pos x="T46" y="T47"/>
                          </a:cxn>
                          <a:cxn ang="T142">
                            <a:pos x="T48" y="T49"/>
                          </a:cxn>
                          <a:cxn ang="T143">
                            <a:pos x="T50" y="T51"/>
                          </a:cxn>
                          <a:cxn ang="T144">
                            <a:pos x="T52" y="T53"/>
                          </a:cxn>
                          <a:cxn ang="T145">
                            <a:pos x="T54" y="T55"/>
                          </a:cxn>
                          <a:cxn ang="T146">
                            <a:pos x="T56" y="T57"/>
                          </a:cxn>
                          <a:cxn ang="T147">
                            <a:pos x="T58" y="T59"/>
                          </a:cxn>
                          <a:cxn ang="T148">
                            <a:pos x="T60" y="T61"/>
                          </a:cxn>
                          <a:cxn ang="T149">
                            <a:pos x="T62" y="T63"/>
                          </a:cxn>
                          <a:cxn ang="T150">
                            <a:pos x="T64" y="T65"/>
                          </a:cxn>
                          <a:cxn ang="T151">
                            <a:pos x="T66" y="T67"/>
                          </a:cxn>
                          <a:cxn ang="T152">
                            <a:pos x="T68" y="T69"/>
                          </a:cxn>
                          <a:cxn ang="T153">
                            <a:pos x="T70" y="T71"/>
                          </a:cxn>
                          <a:cxn ang="T154">
                            <a:pos x="T72" y="T73"/>
                          </a:cxn>
                          <a:cxn ang="T155">
                            <a:pos x="T74" y="T75"/>
                          </a:cxn>
                          <a:cxn ang="T156">
                            <a:pos x="T76" y="T77"/>
                          </a:cxn>
                          <a:cxn ang="T157">
                            <a:pos x="T78" y="T79"/>
                          </a:cxn>
                          <a:cxn ang="T158">
                            <a:pos x="T80" y="T81"/>
                          </a:cxn>
                          <a:cxn ang="T159">
                            <a:pos x="T82" y="T83"/>
                          </a:cxn>
                          <a:cxn ang="T160">
                            <a:pos x="T84" y="T85"/>
                          </a:cxn>
                          <a:cxn ang="T161">
                            <a:pos x="T86" y="T87"/>
                          </a:cxn>
                          <a:cxn ang="T162">
                            <a:pos x="T88" y="T89"/>
                          </a:cxn>
                          <a:cxn ang="T163">
                            <a:pos x="T90" y="T91"/>
                          </a:cxn>
                          <a:cxn ang="T164">
                            <a:pos x="T92" y="T93"/>
                          </a:cxn>
                          <a:cxn ang="T165">
                            <a:pos x="T94" y="T95"/>
                          </a:cxn>
                          <a:cxn ang="T166">
                            <a:pos x="T96" y="T97"/>
                          </a:cxn>
                          <a:cxn ang="T167">
                            <a:pos x="T98" y="T99"/>
                          </a:cxn>
                          <a:cxn ang="T168">
                            <a:pos x="T100" y="T101"/>
                          </a:cxn>
                          <a:cxn ang="T169">
                            <a:pos x="T102" y="T103"/>
                          </a:cxn>
                          <a:cxn ang="T170">
                            <a:pos x="T104" y="T105"/>
                          </a:cxn>
                          <a:cxn ang="T171">
                            <a:pos x="T106" y="T107"/>
                          </a:cxn>
                          <a:cxn ang="T172">
                            <a:pos x="T108" y="T109"/>
                          </a:cxn>
                          <a:cxn ang="T173">
                            <a:pos x="T110" y="T111"/>
                          </a:cxn>
                          <a:cxn ang="T174">
                            <a:pos x="T112" y="T113"/>
                          </a:cxn>
                          <a:cxn ang="T175">
                            <a:pos x="T114" y="T115"/>
                          </a:cxn>
                          <a:cxn ang="T176">
                            <a:pos x="T116" y="T117"/>
                          </a:cxn>
                        </a:cxnLst>
                        <a:rect l="T177" t="T178" r="T179" b="T180"/>
                        <a:pathLst>
                          <a:path w="154" h="86">
                            <a:moveTo>
                              <a:pt x="153" y="13"/>
                            </a:moveTo>
                            <a:cubicBezTo>
                              <a:pt x="149" y="16"/>
                              <a:pt x="146" y="19"/>
                              <a:pt x="142" y="21"/>
                            </a:cubicBezTo>
                            <a:cubicBezTo>
                              <a:pt x="130" y="25"/>
                              <a:pt x="118" y="29"/>
                              <a:pt x="106" y="32"/>
                            </a:cubicBezTo>
                            <a:cubicBezTo>
                              <a:pt x="104" y="32"/>
                              <a:pt x="102" y="30"/>
                              <a:pt x="100" y="31"/>
                            </a:cubicBezTo>
                            <a:cubicBezTo>
                              <a:pt x="97" y="32"/>
                              <a:pt x="96" y="35"/>
                              <a:pt x="93" y="36"/>
                            </a:cubicBezTo>
                            <a:cubicBezTo>
                              <a:pt x="91" y="38"/>
                              <a:pt x="89" y="38"/>
                              <a:pt x="87" y="39"/>
                            </a:cubicBezTo>
                            <a:cubicBezTo>
                              <a:pt x="84" y="41"/>
                              <a:pt x="83" y="45"/>
                              <a:pt x="79" y="46"/>
                            </a:cubicBezTo>
                            <a:cubicBezTo>
                              <a:pt x="76" y="48"/>
                              <a:pt x="72" y="45"/>
                              <a:pt x="69" y="46"/>
                            </a:cubicBezTo>
                            <a:cubicBezTo>
                              <a:pt x="68" y="47"/>
                              <a:pt x="70" y="50"/>
                              <a:pt x="69" y="51"/>
                            </a:cubicBezTo>
                            <a:cubicBezTo>
                              <a:pt x="67" y="53"/>
                              <a:pt x="64" y="54"/>
                              <a:pt x="61" y="55"/>
                            </a:cubicBezTo>
                            <a:cubicBezTo>
                              <a:pt x="59" y="55"/>
                              <a:pt x="56" y="54"/>
                              <a:pt x="54" y="55"/>
                            </a:cubicBezTo>
                            <a:cubicBezTo>
                              <a:pt x="52" y="57"/>
                              <a:pt x="52" y="61"/>
                              <a:pt x="51" y="64"/>
                            </a:cubicBezTo>
                            <a:cubicBezTo>
                              <a:pt x="50" y="66"/>
                              <a:pt x="50" y="70"/>
                              <a:pt x="47" y="71"/>
                            </a:cubicBezTo>
                            <a:cubicBezTo>
                              <a:pt x="46" y="72"/>
                              <a:pt x="44" y="68"/>
                              <a:pt x="42" y="68"/>
                            </a:cubicBezTo>
                            <a:cubicBezTo>
                              <a:pt x="41" y="68"/>
                              <a:pt x="42" y="70"/>
                              <a:pt x="42" y="71"/>
                            </a:cubicBezTo>
                            <a:cubicBezTo>
                              <a:pt x="43" y="73"/>
                              <a:pt x="47" y="76"/>
                              <a:pt x="45" y="77"/>
                            </a:cubicBezTo>
                            <a:cubicBezTo>
                              <a:pt x="44" y="79"/>
                              <a:pt x="40" y="74"/>
                              <a:pt x="38" y="76"/>
                            </a:cubicBezTo>
                            <a:cubicBezTo>
                              <a:pt x="36" y="77"/>
                              <a:pt x="42" y="79"/>
                              <a:pt x="41" y="81"/>
                            </a:cubicBezTo>
                            <a:cubicBezTo>
                              <a:pt x="39" y="84"/>
                              <a:pt x="36" y="85"/>
                              <a:pt x="32" y="86"/>
                            </a:cubicBezTo>
                            <a:cubicBezTo>
                              <a:pt x="29" y="86"/>
                              <a:pt x="26" y="83"/>
                              <a:pt x="22" y="82"/>
                            </a:cubicBezTo>
                            <a:cubicBezTo>
                              <a:pt x="18" y="82"/>
                              <a:pt x="14" y="82"/>
                              <a:pt x="10" y="82"/>
                            </a:cubicBezTo>
                            <a:cubicBezTo>
                              <a:pt x="9" y="82"/>
                              <a:pt x="6" y="83"/>
                              <a:pt x="6" y="82"/>
                            </a:cubicBezTo>
                            <a:cubicBezTo>
                              <a:pt x="7" y="80"/>
                              <a:pt x="13" y="79"/>
                              <a:pt x="11" y="78"/>
                            </a:cubicBezTo>
                            <a:cubicBezTo>
                              <a:pt x="8" y="76"/>
                              <a:pt x="3" y="81"/>
                              <a:pt x="1" y="79"/>
                            </a:cubicBezTo>
                            <a:cubicBezTo>
                              <a:pt x="0" y="76"/>
                              <a:pt x="6" y="74"/>
                              <a:pt x="8" y="72"/>
                            </a:cubicBezTo>
                            <a:cubicBezTo>
                              <a:pt x="10" y="70"/>
                              <a:pt x="11" y="68"/>
                              <a:pt x="14" y="67"/>
                            </a:cubicBezTo>
                            <a:cubicBezTo>
                              <a:pt x="16" y="67"/>
                              <a:pt x="19" y="71"/>
                              <a:pt x="20" y="69"/>
                            </a:cubicBezTo>
                            <a:cubicBezTo>
                              <a:pt x="20" y="67"/>
                              <a:pt x="14" y="66"/>
                              <a:pt x="15" y="64"/>
                            </a:cubicBezTo>
                            <a:cubicBezTo>
                              <a:pt x="18" y="61"/>
                              <a:pt x="24" y="64"/>
                              <a:pt x="26" y="61"/>
                            </a:cubicBezTo>
                            <a:cubicBezTo>
                              <a:pt x="27" y="58"/>
                              <a:pt x="17" y="61"/>
                              <a:pt x="17" y="58"/>
                            </a:cubicBezTo>
                            <a:cubicBezTo>
                              <a:pt x="17" y="55"/>
                              <a:pt x="24" y="57"/>
                              <a:pt x="26" y="55"/>
                            </a:cubicBezTo>
                            <a:cubicBezTo>
                              <a:pt x="27" y="54"/>
                              <a:pt x="22" y="54"/>
                              <a:pt x="21" y="53"/>
                            </a:cubicBezTo>
                            <a:cubicBezTo>
                              <a:pt x="20" y="52"/>
                              <a:pt x="21" y="51"/>
                              <a:pt x="21" y="50"/>
                            </a:cubicBezTo>
                            <a:cubicBezTo>
                              <a:pt x="19" y="47"/>
                              <a:pt x="16" y="46"/>
                              <a:pt x="15" y="44"/>
                            </a:cubicBezTo>
                            <a:cubicBezTo>
                              <a:pt x="15" y="43"/>
                              <a:pt x="17" y="44"/>
                              <a:pt x="18" y="44"/>
                            </a:cubicBezTo>
                            <a:cubicBezTo>
                              <a:pt x="19" y="45"/>
                              <a:pt x="20" y="47"/>
                              <a:pt x="21" y="47"/>
                            </a:cubicBezTo>
                            <a:cubicBezTo>
                              <a:pt x="24" y="47"/>
                              <a:pt x="26" y="44"/>
                              <a:pt x="29" y="44"/>
                            </a:cubicBezTo>
                            <a:cubicBezTo>
                              <a:pt x="32" y="43"/>
                              <a:pt x="35" y="45"/>
                              <a:pt x="38" y="44"/>
                            </a:cubicBezTo>
                            <a:cubicBezTo>
                              <a:pt x="39" y="43"/>
                              <a:pt x="39" y="40"/>
                              <a:pt x="40" y="38"/>
                            </a:cubicBezTo>
                            <a:cubicBezTo>
                              <a:pt x="40" y="36"/>
                              <a:pt x="39" y="34"/>
                              <a:pt x="40" y="33"/>
                            </a:cubicBezTo>
                            <a:cubicBezTo>
                              <a:pt x="43" y="32"/>
                              <a:pt x="46" y="35"/>
                              <a:pt x="48" y="34"/>
                            </a:cubicBezTo>
                            <a:cubicBezTo>
                              <a:pt x="50" y="33"/>
                              <a:pt x="49" y="30"/>
                              <a:pt x="51" y="29"/>
                            </a:cubicBezTo>
                            <a:cubicBezTo>
                              <a:pt x="54" y="28"/>
                              <a:pt x="58" y="28"/>
                              <a:pt x="61" y="26"/>
                            </a:cubicBezTo>
                            <a:cubicBezTo>
                              <a:pt x="62" y="26"/>
                              <a:pt x="62" y="24"/>
                              <a:pt x="64" y="24"/>
                            </a:cubicBezTo>
                            <a:cubicBezTo>
                              <a:pt x="65" y="23"/>
                              <a:pt x="67" y="26"/>
                              <a:pt x="68" y="25"/>
                            </a:cubicBezTo>
                            <a:cubicBezTo>
                              <a:pt x="69" y="24"/>
                              <a:pt x="67" y="21"/>
                              <a:pt x="69" y="21"/>
                            </a:cubicBezTo>
                            <a:cubicBezTo>
                              <a:pt x="74" y="19"/>
                              <a:pt x="80" y="20"/>
                              <a:pt x="85" y="21"/>
                            </a:cubicBezTo>
                            <a:cubicBezTo>
                              <a:pt x="86" y="21"/>
                              <a:pt x="86" y="23"/>
                              <a:pt x="87" y="23"/>
                            </a:cubicBezTo>
                            <a:cubicBezTo>
                              <a:pt x="89" y="23"/>
                              <a:pt x="89" y="21"/>
                              <a:pt x="91" y="20"/>
                            </a:cubicBezTo>
                            <a:cubicBezTo>
                              <a:pt x="94" y="19"/>
                              <a:pt x="97" y="19"/>
                              <a:pt x="100" y="19"/>
                            </a:cubicBezTo>
                            <a:cubicBezTo>
                              <a:pt x="103" y="19"/>
                              <a:pt x="106" y="20"/>
                              <a:pt x="109" y="19"/>
                            </a:cubicBezTo>
                            <a:cubicBezTo>
                              <a:pt x="111" y="18"/>
                              <a:pt x="110" y="15"/>
                              <a:pt x="112" y="14"/>
                            </a:cubicBezTo>
                            <a:cubicBezTo>
                              <a:pt x="114" y="13"/>
                              <a:pt x="118" y="13"/>
                              <a:pt x="120" y="12"/>
                            </a:cubicBezTo>
                            <a:cubicBezTo>
                              <a:pt x="121" y="11"/>
                              <a:pt x="120" y="8"/>
                              <a:pt x="121" y="7"/>
                            </a:cubicBezTo>
                            <a:cubicBezTo>
                              <a:pt x="126" y="4"/>
                              <a:pt x="132" y="2"/>
                              <a:pt x="138" y="1"/>
                            </a:cubicBezTo>
                            <a:cubicBezTo>
                              <a:pt x="140" y="0"/>
                              <a:pt x="143" y="3"/>
                              <a:pt x="146" y="4"/>
                            </a:cubicBezTo>
                            <a:cubicBezTo>
                              <a:pt x="147" y="4"/>
                              <a:pt x="149" y="4"/>
                              <a:pt x="151" y="5"/>
                            </a:cubicBezTo>
                            <a:cubicBezTo>
                              <a:pt x="152" y="6"/>
                              <a:pt x="153" y="8"/>
                              <a:pt x="154" y="10"/>
                            </a:cubicBezTo>
                            <a:cubicBezTo>
                              <a:pt x="154" y="11"/>
                              <a:pt x="154" y="12"/>
                              <a:pt x="153" y="13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1988" name="Freeform 3152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194654" y="1700158"/>
                        <a:ext cx="88361" cy="63962"/>
                      </a:xfrm>
                      <a:custGeom>
                        <a:avLst/>
                        <a:gdLst>
                          <a:gd name="T0" fmla="*/ 59 w 66"/>
                          <a:gd name="T1" fmla="*/ 7 h 64"/>
                          <a:gd name="T2" fmla="*/ 54 w 66"/>
                          <a:gd name="T3" fmla="*/ 11 h 64"/>
                          <a:gd name="T4" fmla="*/ 55 w 66"/>
                          <a:gd name="T5" fmla="*/ 13 h 64"/>
                          <a:gd name="T6" fmla="*/ 48 w 66"/>
                          <a:gd name="T7" fmla="*/ 13 h 64"/>
                          <a:gd name="T8" fmla="*/ 51 w 66"/>
                          <a:gd name="T9" fmla="*/ 18 h 64"/>
                          <a:gd name="T10" fmla="*/ 51 w 66"/>
                          <a:gd name="T11" fmla="*/ 30 h 64"/>
                          <a:gd name="T12" fmla="*/ 53 w 66"/>
                          <a:gd name="T13" fmla="*/ 48 h 64"/>
                          <a:gd name="T14" fmla="*/ 75 w 66"/>
                          <a:gd name="T15" fmla="*/ 67 h 64"/>
                          <a:gd name="T16" fmla="*/ 79 w 66"/>
                          <a:gd name="T17" fmla="*/ 72 h 64"/>
                          <a:gd name="T18" fmla="*/ 74 w 66"/>
                          <a:gd name="T19" fmla="*/ 75 h 64"/>
                          <a:gd name="T20" fmla="*/ 67 w 66"/>
                          <a:gd name="T21" fmla="*/ 71 h 64"/>
                          <a:gd name="T22" fmla="*/ 65 w 66"/>
                          <a:gd name="T23" fmla="*/ 75 h 64"/>
                          <a:gd name="T24" fmla="*/ 56 w 66"/>
                          <a:gd name="T25" fmla="*/ 75 h 64"/>
                          <a:gd name="T26" fmla="*/ 51 w 66"/>
                          <a:gd name="T27" fmla="*/ 69 h 64"/>
                          <a:gd name="T28" fmla="*/ 48 w 66"/>
                          <a:gd name="T29" fmla="*/ 69 h 64"/>
                          <a:gd name="T30" fmla="*/ 53 w 66"/>
                          <a:gd name="T31" fmla="*/ 75 h 64"/>
                          <a:gd name="T32" fmla="*/ 48 w 66"/>
                          <a:gd name="T33" fmla="*/ 76 h 64"/>
                          <a:gd name="T34" fmla="*/ 43 w 66"/>
                          <a:gd name="T35" fmla="*/ 71 h 64"/>
                          <a:gd name="T36" fmla="*/ 29 w 66"/>
                          <a:gd name="T37" fmla="*/ 71 h 64"/>
                          <a:gd name="T38" fmla="*/ 31 w 66"/>
                          <a:gd name="T39" fmla="*/ 66 h 64"/>
                          <a:gd name="T40" fmla="*/ 30 w 66"/>
                          <a:gd name="T41" fmla="*/ 61 h 64"/>
                          <a:gd name="T42" fmla="*/ 36 w 66"/>
                          <a:gd name="T43" fmla="*/ 59 h 64"/>
                          <a:gd name="T44" fmla="*/ 30 w 66"/>
                          <a:gd name="T45" fmla="*/ 57 h 64"/>
                          <a:gd name="T46" fmla="*/ 25 w 66"/>
                          <a:gd name="T47" fmla="*/ 51 h 64"/>
                          <a:gd name="T48" fmla="*/ 18 w 66"/>
                          <a:gd name="T49" fmla="*/ 52 h 64"/>
                          <a:gd name="T50" fmla="*/ 14 w 66"/>
                          <a:gd name="T51" fmla="*/ 46 h 64"/>
                          <a:gd name="T52" fmla="*/ 10 w 66"/>
                          <a:gd name="T53" fmla="*/ 48 h 64"/>
                          <a:gd name="T54" fmla="*/ 2 w 66"/>
                          <a:gd name="T55" fmla="*/ 47 h 64"/>
                          <a:gd name="T56" fmla="*/ 1 w 66"/>
                          <a:gd name="T57" fmla="*/ 35 h 64"/>
                          <a:gd name="T58" fmla="*/ 7 w 66"/>
                          <a:gd name="T59" fmla="*/ 35 h 64"/>
                          <a:gd name="T60" fmla="*/ 10 w 66"/>
                          <a:gd name="T61" fmla="*/ 37 h 64"/>
                          <a:gd name="T62" fmla="*/ 12 w 66"/>
                          <a:gd name="T63" fmla="*/ 25 h 64"/>
                          <a:gd name="T64" fmla="*/ 13 w 66"/>
                          <a:gd name="T65" fmla="*/ 16 h 64"/>
                          <a:gd name="T66" fmla="*/ 19 w 66"/>
                          <a:gd name="T67" fmla="*/ 6 h 64"/>
                          <a:gd name="T68" fmla="*/ 24 w 66"/>
                          <a:gd name="T69" fmla="*/ 2 h 64"/>
                          <a:gd name="T70" fmla="*/ 36 w 66"/>
                          <a:gd name="T71" fmla="*/ 0 h 64"/>
                          <a:gd name="T72" fmla="*/ 47 w 66"/>
                          <a:gd name="T73" fmla="*/ 2 h 64"/>
                          <a:gd name="T74" fmla="*/ 59 w 66"/>
                          <a:gd name="T75" fmla="*/ 7 h 64"/>
                          <a:gd name="T76" fmla="*/ 0 60000 65536"/>
                          <a:gd name="T77" fmla="*/ 0 60000 65536"/>
                          <a:gd name="T78" fmla="*/ 0 60000 65536"/>
                          <a:gd name="T79" fmla="*/ 0 60000 65536"/>
                          <a:gd name="T80" fmla="*/ 0 60000 65536"/>
                          <a:gd name="T81" fmla="*/ 0 60000 65536"/>
                          <a:gd name="T82" fmla="*/ 0 60000 65536"/>
                          <a:gd name="T83" fmla="*/ 0 60000 65536"/>
                          <a:gd name="T84" fmla="*/ 0 60000 65536"/>
                          <a:gd name="T85" fmla="*/ 0 60000 65536"/>
                          <a:gd name="T86" fmla="*/ 0 60000 65536"/>
                          <a:gd name="T87" fmla="*/ 0 60000 65536"/>
                          <a:gd name="T88" fmla="*/ 0 60000 65536"/>
                          <a:gd name="T89" fmla="*/ 0 60000 65536"/>
                          <a:gd name="T90" fmla="*/ 0 60000 65536"/>
                          <a:gd name="T91" fmla="*/ 0 60000 65536"/>
                          <a:gd name="T92" fmla="*/ 0 60000 65536"/>
                          <a:gd name="T93" fmla="*/ 0 60000 65536"/>
                          <a:gd name="T94" fmla="*/ 0 60000 65536"/>
                          <a:gd name="T95" fmla="*/ 0 60000 65536"/>
                          <a:gd name="T96" fmla="*/ 0 60000 65536"/>
                          <a:gd name="T97" fmla="*/ 0 60000 65536"/>
                          <a:gd name="T98" fmla="*/ 0 60000 65536"/>
                          <a:gd name="T99" fmla="*/ 0 60000 65536"/>
                          <a:gd name="T100" fmla="*/ 0 60000 65536"/>
                          <a:gd name="T101" fmla="*/ 0 60000 65536"/>
                          <a:gd name="T102" fmla="*/ 0 60000 65536"/>
                          <a:gd name="T103" fmla="*/ 0 60000 65536"/>
                          <a:gd name="T104" fmla="*/ 0 60000 65536"/>
                          <a:gd name="T105" fmla="*/ 0 60000 65536"/>
                          <a:gd name="T106" fmla="*/ 0 60000 65536"/>
                          <a:gd name="T107" fmla="*/ 0 60000 65536"/>
                          <a:gd name="T108" fmla="*/ 0 60000 65536"/>
                          <a:gd name="T109" fmla="*/ 0 60000 65536"/>
                          <a:gd name="T110" fmla="*/ 0 60000 65536"/>
                          <a:gd name="T111" fmla="*/ 0 60000 65536"/>
                          <a:gd name="T112" fmla="*/ 0 60000 65536"/>
                          <a:gd name="T113" fmla="*/ 0 60000 65536"/>
                          <a:gd name="T114" fmla="*/ 0 w 66"/>
                          <a:gd name="T115" fmla="*/ 0 h 64"/>
                          <a:gd name="T116" fmla="*/ 66 w 66"/>
                          <a:gd name="T117" fmla="*/ 64 h 64"/>
                        </a:gdLst>
                        <a:ahLst/>
                        <a:cxnLst>
                          <a:cxn ang="T76">
                            <a:pos x="T0" y="T1"/>
                          </a:cxn>
                          <a:cxn ang="T77">
                            <a:pos x="T2" y="T3"/>
                          </a:cxn>
                          <a:cxn ang="T78">
                            <a:pos x="T4" y="T5"/>
                          </a:cxn>
                          <a:cxn ang="T79">
                            <a:pos x="T6" y="T7"/>
                          </a:cxn>
                          <a:cxn ang="T80">
                            <a:pos x="T8" y="T9"/>
                          </a:cxn>
                          <a:cxn ang="T81">
                            <a:pos x="T10" y="T11"/>
                          </a:cxn>
                          <a:cxn ang="T82">
                            <a:pos x="T12" y="T13"/>
                          </a:cxn>
                          <a:cxn ang="T83">
                            <a:pos x="T14" y="T15"/>
                          </a:cxn>
                          <a:cxn ang="T84">
                            <a:pos x="T16" y="T17"/>
                          </a:cxn>
                          <a:cxn ang="T85">
                            <a:pos x="T18" y="T19"/>
                          </a:cxn>
                          <a:cxn ang="T86">
                            <a:pos x="T20" y="T21"/>
                          </a:cxn>
                          <a:cxn ang="T87">
                            <a:pos x="T22" y="T23"/>
                          </a:cxn>
                          <a:cxn ang="T88">
                            <a:pos x="T24" y="T25"/>
                          </a:cxn>
                          <a:cxn ang="T89">
                            <a:pos x="T26" y="T27"/>
                          </a:cxn>
                          <a:cxn ang="T90">
                            <a:pos x="T28" y="T29"/>
                          </a:cxn>
                          <a:cxn ang="T91">
                            <a:pos x="T30" y="T31"/>
                          </a:cxn>
                          <a:cxn ang="T92">
                            <a:pos x="T32" y="T33"/>
                          </a:cxn>
                          <a:cxn ang="T93">
                            <a:pos x="T34" y="T35"/>
                          </a:cxn>
                          <a:cxn ang="T94">
                            <a:pos x="T36" y="T37"/>
                          </a:cxn>
                          <a:cxn ang="T95">
                            <a:pos x="T38" y="T39"/>
                          </a:cxn>
                          <a:cxn ang="T96">
                            <a:pos x="T40" y="T41"/>
                          </a:cxn>
                          <a:cxn ang="T97">
                            <a:pos x="T42" y="T43"/>
                          </a:cxn>
                          <a:cxn ang="T98">
                            <a:pos x="T44" y="T45"/>
                          </a:cxn>
                          <a:cxn ang="T99">
                            <a:pos x="T46" y="T47"/>
                          </a:cxn>
                          <a:cxn ang="T100">
                            <a:pos x="T48" y="T49"/>
                          </a:cxn>
                          <a:cxn ang="T101">
                            <a:pos x="T50" y="T51"/>
                          </a:cxn>
                          <a:cxn ang="T102">
                            <a:pos x="T52" y="T53"/>
                          </a:cxn>
                          <a:cxn ang="T103">
                            <a:pos x="T54" y="T55"/>
                          </a:cxn>
                          <a:cxn ang="T104">
                            <a:pos x="T56" y="T57"/>
                          </a:cxn>
                          <a:cxn ang="T105">
                            <a:pos x="T58" y="T59"/>
                          </a:cxn>
                          <a:cxn ang="T106">
                            <a:pos x="T60" y="T61"/>
                          </a:cxn>
                          <a:cxn ang="T107">
                            <a:pos x="T62" y="T63"/>
                          </a:cxn>
                          <a:cxn ang="T108">
                            <a:pos x="T64" y="T65"/>
                          </a:cxn>
                          <a:cxn ang="T109">
                            <a:pos x="T66" y="T67"/>
                          </a:cxn>
                          <a:cxn ang="T110">
                            <a:pos x="T68" y="T69"/>
                          </a:cxn>
                          <a:cxn ang="T111">
                            <a:pos x="T70" y="T71"/>
                          </a:cxn>
                          <a:cxn ang="T112">
                            <a:pos x="T72" y="T73"/>
                          </a:cxn>
                          <a:cxn ang="T113">
                            <a:pos x="T74" y="T75"/>
                          </a:cxn>
                        </a:cxnLst>
                        <a:rect l="T114" t="T115" r="T116" b="T117"/>
                        <a:pathLst>
                          <a:path w="66" h="64">
                            <a:moveTo>
                              <a:pt x="49" y="6"/>
                            </a:moveTo>
                            <a:cubicBezTo>
                              <a:pt x="50" y="7"/>
                              <a:pt x="46" y="7"/>
                              <a:pt x="45" y="9"/>
                            </a:cubicBezTo>
                            <a:cubicBezTo>
                              <a:pt x="45" y="9"/>
                              <a:pt x="46" y="11"/>
                              <a:pt x="46" y="11"/>
                            </a:cubicBezTo>
                            <a:cubicBezTo>
                              <a:pt x="44" y="12"/>
                              <a:pt x="41" y="9"/>
                              <a:pt x="40" y="11"/>
                            </a:cubicBezTo>
                            <a:cubicBezTo>
                              <a:pt x="39" y="12"/>
                              <a:pt x="43" y="13"/>
                              <a:pt x="43" y="15"/>
                            </a:cubicBezTo>
                            <a:cubicBezTo>
                              <a:pt x="44" y="18"/>
                              <a:pt x="42" y="22"/>
                              <a:pt x="43" y="25"/>
                            </a:cubicBezTo>
                            <a:cubicBezTo>
                              <a:pt x="43" y="30"/>
                              <a:pt x="41" y="36"/>
                              <a:pt x="44" y="40"/>
                            </a:cubicBezTo>
                            <a:cubicBezTo>
                              <a:pt x="49" y="47"/>
                              <a:pt x="57" y="51"/>
                              <a:pt x="63" y="56"/>
                            </a:cubicBezTo>
                            <a:cubicBezTo>
                              <a:pt x="64" y="57"/>
                              <a:pt x="66" y="58"/>
                              <a:pt x="66" y="60"/>
                            </a:cubicBezTo>
                            <a:cubicBezTo>
                              <a:pt x="66" y="62"/>
                              <a:pt x="64" y="63"/>
                              <a:pt x="62" y="62"/>
                            </a:cubicBezTo>
                            <a:cubicBezTo>
                              <a:pt x="60" y="62"/>
                              <a:pt x="58" y="59"/>
                              <a:pt x="56" y="59"/>
                            </a:cubicBezTo>
                            <a:cubicBezTo>
                              <a:pt x="55" y="59"/>
                              <a:pt x="55" y="62"/>
                              <a:pt x="54" y="62"/>
                            </a:cubicBezTo>
                            <a:cubicBezTo>
                              <a:pt x="52" y="63"/>
                              <a:pt x="49" y="63"/>
                              <a:pt x="47" y="62"/>
                            </a:cubicBezTo>
                            <a:cubicBezTo>
                              <a:pt x="46" y="61"/>
                              <a:pt x="45" y="58"/>
                              <a:pt x="43" y="57"/>
                            </a:cubicBezTo>
                            <a:cubicBezTo>
                              <a:pt x="42" y="56"/>
                              <a:pt x="40" y="56"/>
                              <a:pt x="40" y="57"/>
                            </a:cubicBezTo>
                            <a:cubicBezTo>
                              <a:pt x="40" y="59"/>
                              <a:pt x="44" y="60"/>
                              <a:pt x="44" y="62"/>
                            </a:cubicBezTo>
                            <a:cubicBezTo>
                              <a:pt x="44" y="64"/>
                              <a:pt x="41" y="64"/>
                              <a:pt x="40" y="63"/>
                            </a:cubicBezTo>
                            <a:cubicBezTo>
                              <a:pt x="38" y="63"/>
                              <a:pt x="38" y="59"/>
                              <a:pt x="36" y="59"/>
                            </a:cubicBezTo>
                            <a:cubicBezTo>
                              <a:pt x="32" y="57"/>
                              <a:pt x="28" y="60"/>
                              <a:pt x="24" y="59"/>
                            </a:cubicBezTo>
                            <a:cubicBezTo>
                              <a:pt x="23" y="58"/>
                              <a:pt x="26" y="56"/>
                              <a:pt x="26" y="55"/>
                            </a:cubicBezTo>
                            <a:cubicBezTo>
                              <a:pt x="26" y="54"/>
                              <a:pt x="24" y="52"/>
                              <a:pt x="25" y="51"/>
                            </a:cubicBezTo>
                            <a:cubicBezTo>
                              <a:pt x="26" y="49"/>
                              <a:pt x="30" y="51"/>
                              <a:pt x="30" y="49"/>
                            </a:cubicBezTo>
                            <a:cubicBezTo>
                              <a:pt x="30" y="47"/>
                              <a:pt x="26" y="48"/>
                              <a:pt x="25" y="47"/>
                            </a:cubicBezTo>
                            <a:cubicBezTo>
                              <a:pt x="24" y="45"/>
                              <a:pt x="23" y="42"/>
                              <a:pt x="21" y="42"/>
                            </a:cubicBezTo>
                            <a:cubicBezTo>
                              <a:pt x="20" y="41"/>
                              <a:pt x="17" y="43"/>
                              <a:pt x="15" y="43"/>
                            </a:cubicBezTo>
                            <a:cubicBezTo>
                              <a:pt x="14" y="42"/>
                              <a:pt x="14" y="39"/>
                              <a:pt x="12" y="38"/>
                            </a:cubicBezTo>
                            <a:cubicBezTo>
                              <a:pt x="11" y="38"/>
                              <a:pt x="9" y="39"/>
                              <a:pt x="8" y="40"/>
                            </a:cubicBezTo>
                            <a:cubicBezTo>
                              <a:pt x="6" y="40"/>
                              <a:pt x="3" y="41"/>
                              <a:pt x="2" y="39"/>
                            </a:cubicBezTo>
                            <a:cubicBezTo>
                              <a:pt x="0" y="36"/>
                              <a:pt x="0" y="32"/>
                              <a:pt x="1" y="29"/>
                            </a:cubicBezTo>
                            <a:cubicBezTo>
                              <a:pt x="2" y="27"/>
                              <a:pt x="5" y="28"/>
                              <a:pt x="6" y="29"/>
                            </a:cubicBezTo>
                            <a:cubicBezTo>
                              <a:pt x="7" y="29"/>
                              <a:pt x="7" y="32"/>
                              <a:pt x="8" y="31"/>
                            </a:cubicBezTo>
                            <a:cubicBezTo>
                              <a:pt x="9" y="28"/>
                              <a:pt x="9" y="24"/>
                              <a:pt x="10" y="21"/>
                            </a:cubicBezTo>
                            <a:cubicBezTo>
                              <a:pt x="10" y="19"/>
                              <a:pt x="10" y="16"/>
                              <a:pt x="11" y="13"/>
                            </a:cubicBezTo>
                            <a:cubicBezTo>
                              <a:pt x="12" y="10"/>
                              <a:pt x="14" y="8"/>
                              <a:pt x="16" y="5"/>
                            </a:cubicBezTo>
                            <a:cubicBezTo>
                              <a:pt x="17" y="4"/>
                              <a:pt x="18" y="2"/>
                              <a:pt x="20" y="2"/>
                            </a:cubicBezTo>
                            <a:cubicBezTo>
                              <a:pt x="23" y="1"/>
                              <a:pt x="26" y="0"/>
                              <a:pt x="30" y="0"/>
                            </a:cubicBezTo>
                            <a:cubicBezTo>
                              <a:pt x="33" y="0"/>
                              <a:pt x="36" y="1"/>
                              <a:pt x="39" y="2"/>
                            </a:cubicBezTo>
                            <a:cubicBezTo>
                              <a:pt x="43" y="3"/>
                              <a:pt x="47" y="3"/>
                              <a:pt x="49" y="6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1989" name="Freeform 3153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208075" y="1744183"/>
                        <a:ext cx="12304" cy="10799"/>
                      </a:xfrm>
                      <a:custGeom>
                        <a:avLst/>
                        <a:gdLst>
                          <a:gd name="T0" fmla="*/ 2 w 9"/>
                          <a:gd name="T1" fmla="*/ 1 h 11"/>
                          <a:gd name="T2" fmla="*/ 1 w 9"/>
                          <a:gd name="T3" fmla="*/ 2 h 11"/>
                          <a:gd name="T4" fmla="*/ 10 w 9"/>
                          <a:gd name="T5" fmla="*/ 12 h 11"/>
                          <a:gd name="T6" fmla="*/ 11 w 9"/>
                          <a:gd name="T7" fmla="*/ 8 h 11"/>
                          <a:gd name="T8" fmla="*/ 7 w 9"/>
                          <a:gd name="T9" fmla="*/ 4 h 11"/>
                          <a:gd name="T10" fmla="*/ 2 w 9"/>
                          <a:gd name="T11" fmla="*/ 1 h 11"/>
                          <a:gd name="T12" fmla="*/ 0 60000 65536"/>
                          <a:gd name="T13" fmla="*/ 0 60000 65536"/>
                          <a:gd name="T14" fmla="*/ 0 60000 65536"/>
                          <a:gd name="T15" fmla="*/ 0 60000 65536"/>
                          <a:gd name="T16" fmla="*/ 0 60000 65536"/>
                          <a:gd name="T17" fmla="*/ 0 60000 65536"/>
                          <a:gd name="T18" fmla="*/ 0 w 9"/>
                          <a:gd name="T19" fmla="*/ 0 h 11"/>
                          <a:gd name="T20" fmla="*/ 9 w 9"/>
                          <a:gd name="T21" fmla="*/ 11 h 11"/>
                        </a:gdLst>
                        <a:ahLst/>
                        <a:cxnLst>
                          <a:cxn ang="T12">
                            <a:pos x="T0" y="T1"/>
                          </a:cxn>
                          <a:cxn ang="T13">
                            <a:pos x="T2" y="T3"/>
                          </a:cxn>
                          <a:cxn ang="T14">
                            <a:pos x="T4" y="T5"/>
                          </a:cxn>
                          <a:cxn ang="T15">
                            <a:pos x="T6" y="T7"/>
                          </a:cxn>
                          <a:cxn ang="T16">
                            <a:pos x="T8" y="T9"/>
                          </a:cxn>
                          <a:cxn ang="T17">
                            <a:pos x="T10" y="T11"/>
                          </a:cxn>
                        </a:cxnLst>
                        <a:rect l="T18" t="T19" r="T20" b="T21"/>
                        <a:pathLst>
                          <a:path w="9" h="11">
                            <a:moveTo>
                              <a:pt x="2" y="1"/>
                            </a:moveTo>
                            <a:cubicBezTo>
                              <a:pt x="1" y="0"/>
                              <a:pt x="0" y="2"/>
                              <a:pt x="1" y="2"/>
                            </a:cubicBezTo>
                            <a:cubicBezTo>
                              <a:pt x="3" y="5"/>
                              <a:pt x="5" y="8"/>
                              <a:pt x="8" y="10"/>
                            </a:cubicBezTo>
                            <a:cubicBezTo>
                              <a:pt x="9" y="11"/>
                              <a:pt x="9" y="8"/>
                              <a:pt x="9" y="7"/>
                            </a:cubicBezTo>
                            <a:cubicBezTo>
                              <a:pt x="8" y="6"/>
                              <a:pt x="7" y="4"/>
                              <a:pt x="6" y="3"/>
                            </a:cubicBezTo>
                            <a:cubicBezTo>
                              <a:pt x="5" y="2"/>
                              <a:pt x="3" y="1"/>
                              <a:pt x="2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1990" name="Freeform 3159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536912" y="1695175"/>
                        <a:ext cx="6712" cy="2493"/>
                      </a:xfrm>
                      <a:custGeom>
                        <a:avLst/>
                        <a:gdLst>
                          <a:gd name="T0" fmla="*/ 2 w 5"/>
                          <a:gd name="T1" fmla="*/ 3 h 3"/>
                          <a:gd name="T2" fmla="*/ 1 w 5"/>
                          <a:gd name="T3" fmla="*/ 3 h 3"/>
                          <a:gd name="T4" fmla="*/ 2 w 5"/>
                          <a:gd name="T5" fmla="*/ 1 h 3"/>
                          <a:gd name="T6" fmla="*/ 6 w 5"/>
                          <a:gd name="T7" fmla="*/ 1 h 3"/>
                          <a:gd name="T8" fmla="*/ 2 w 5"/>
                          <a:gd name="T9" fmla="*/ 3 h 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5"/>
                          <a:gd name="T16" fmla="*/ 0 h 3"/>
                          <a:gd name="T17" fmla="*/ 5 w 5"/>
                          <a:gd name="T18" fmla="*/ 3 h 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5" h="3">
                            <a:moveTo>
                              <a:pt x="2" y="3"/>
                            </a:moveTo>
                            <a:cubicBezTo>
                              <a:pt x="2" y="3"/>
                              <a:pt x="1" y="3"/>
                              <a:pt x="1" y="3"/>
                            </a:cubicBezTo>
                            <a:cubicBezTo>
                              <a:pt x="0" y="2"/>
                              <a:pt x="1" y="1"/>
                              <a:pt x="2" y="1"/>
                            </a:cubicBezTo>
                            <a:cubicBezTo>
                              <a:pt x="3" y="1"/>
                              <a:pt x="5" y="0"/>
                              <a:pt x="5" y="1"/>
                            </a:cubicBezTo>
                            <a:cubicBezTo>
                              <a:pt x="5" y="2"/>
                              <a:pt x="3" y="3"/>
                              <a:pt x="2" y="3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1991" name="Freeform 3229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6408216" y="1685207"/>
                        <a:ext cx="10067" cy="5815"/>
                      </a:xfrm>
                      <a:custGeom>
                        <a:avLst/>
                        <a:gdLst>
                          <a:gd name="T0" fmla="*/ 6 w 7"/>
                          <a:gd name="T1" fmla="*/ 4 h 6"/>
                          <a:gd name="T2" fmla="*/ 8 w 7"/>
                          <a:gd name="T3" fmla="*/ 6 h 6"/>
                          <a:gd name="T4" fmla="*/ 4 w 7"/>
                          <a:gd name="T5" fmla="*/ 5 h 6"/>
                          <a:gd name="T6" fmla="*/ 1 w 7"/>
                          <a:gd name="T7" fmla="*/ 1 h 6"/>
                          <a:gd name="T8" fmla="*/ 6 w 7"/>
                          <a:gd name="T9" fmla="*/ 4 h 6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7"/>
                          <a:gd name="T16" fmla="*/ 0 h 6"/>
                          <a:gd name="T17" fmla="*/ 7 w 7"/>
                          <a:gd name="T18" fmla="*/ 6 h 6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7" h="6">
                            <a:moveTo>
                              <a:pt x="5" y="3"/>
                            </a:moveTo>
                            <a:cubicBezTo>
                              <a:pt x="6" y="3"/>
                              <a:pt x="7" y="5"/>
                              <a:pt x="6" y="5"/>
                            </a:cubicBezTo>
                            <a:cubicBezTo>
                              <a:pt x="6" y="6"/>
                              <a:pt x="4" y="5"/>
                              <a:pt x="3" y="4"/>
                            </a:cubicBezTo>
                            <a:cubicBezTo>
                              <a:pt x="2" y="3"/>
                              <a:pt x="0" y="2"/>
                              <a:pt x="1" y="1"/>
                            </a:cubicBezTo>
                            <a:cubicBezTo>
                              <a:pt x="2" y="0"/>
                              <a:pt x="4" y="2"/>
                              <a:pt x="5" y="3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1992" name="Freeform 3230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6115172" y="1678561"/>
                        <a:ext cx="4474" cy="4153"/>
                      </a:xfrm>
                      <a:custGeom>
                        <a:avLst/>
                        <a:gdLst>
                          <a:gd name="T0" fmla="*/ 3 w 3"/>
                          <a:gd name="T1" fmla="*/ 4 h 4"/>
                          <a:gd name="T2" fmla="*/ 0 w 3"/>
                          <a:gd name="T3" fmla="*/ 5 h 4"/>
                          <a:gd name="T4" fmla="*/ 1 w 3"/>
                          <a:gd name="T5" fmla="*/ 3 h 4"/>
                          <a:gd name="T6" fmla="*/ 3 w 3"/>
                          <a:gd name="T7" fmla="*/ 0 h 4"/>
                          <a:gd name="T8" fmla="*/ 3 w 3"/>
                          <a:gd name="T9" fmla="*/ 4 h 4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3"/>
                          <a:gd name="T16" fmla="*/ 0 h 4"/>
                          <a:gd name="T17" fmla="*/ 3 w 3"/>
                          <a:gd name="T18" fmla="*/ 4 h 4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3" h="4">
                            <a:moveTo>
                              <a:pt x="2" y="3"/>
                            </a:moveTo>
                            <a:cubicBezTo>
                              <a:pt x="2" y="3"/>
                              <a:pt x="1" y="4"/>
                              <a:pt x="0" y="4"/>
                            </a:cubicBezTo>
                            <a:cubicBezTo>
                              <a:pt x="0" y="4"/>
                              <a:pt x="0" y="3"/>
                              <a:pt x="1" y="2"/>
                            </a:cubicBezTo>
                            <a:cubicBezTo>
                              <a:pt x="1" y="1"/>
                              <a:pt x="2" y="0"/>
                              <a:pt x="2" y="0"/>
                            </a:cubicBezTo>
                            <a:cubicBezTo>
                              <a:pt x="3" y="1"/>
                              <a:pt x="2" y="2"/>
                              <a:pt x="2" y="3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1993" name="Freeform 3231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6044707" y="1626228"/>
                        <a:ext cx="6712" cy="4984"/>
                      </a:xfrm>
                      <a:custGeom>
                        <a:avLst/>
                        <a:gdLst>
                          <a:gd name="T0" fmla="*/ 5 w 5"/>
                          <a:gd name="T1" fmla="*/ 2 h 5"/>
                          <a:gd name="T2" fmla="*/ 5 w 5"/>
                          <a:gd name="T3" fmla="*/ 5 h 5"/>
                          <a:gd name="T4" fmla="*/ 2 w 5"/>
                          <a:gd name="T5" fmla="*/ 4 h 5"/>
                          <a:gd name="T6" fmla="*/ 1 w 5"/>
                          <a:gd name="T7" fmla="*/ 1 h 5"/>
                          <a:gd name="T8" fmla="*/ 5 w 5"/>
                          <a:gd name="T9" fmla="*/ 2 h 5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5"/>
                          <a:gd name="T16" fmla="*/ 0 h 5"/>
                          <a:gd name="T17" fmla="*/ 5 w 5"/>
                          <a:gd name="T18" fmla="*/ 5 h 5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5" h="5">
                            <a:moveTo>
                              <a:pt x="4" y="2"/>
                            </a:moveTo>
                            <a:cubicBezTo>
                              <a:pt x="4" y="3"/>
                              <a:pt x="5" y="4"/>
                              <a:pt x="4" y="4"/>
                            </a:cubicBezTo>
                            <a:cubicBezTo>
                              <a:pt x="4" y="5"/>
                              <a:pt x="3" y="4"/>
                              <a:pt x="2" y="3"/>
                            </a:cubicBezTo>
                            <a:cubicBezTo>
                              <a:pt x="1" y="2"/>
                              <a:pt x="0" y="1"/>
                              <a:pt x="1" y="1"/>
                            </a:cubicBezTo>
                            <a:cubicBezTo>
                              <a:pt x="2" y="0"/>
                              <a:pt x="3" y="2"/>
                              <a:pt x="4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1994" name="Freeform 3233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638694" y="1682713"/>
                        <a:ext cx="6712" cy="2493"/>
                      </a:xfrm>
                      <a:custGeom>
                        <a:avLst/>
                        <a:gdLst>
                          <a:gd name="T0" fmla="*/ 4 w 5"/>
                          <a:gd name="T1" fmla="*/ 2 h 2"/>
                          <a:gd name="T2" fmla="*/ 5 w 5"/>
                          <a:gd name="T3" fmla="*/ 3 h 2"/>
                          <a:gd name="T4" fmla="*/ 2 w 5"/>
                          <a:gd name="T5" fmla="*/ 3 h 2"/>
                          <a:gd name="T6" fmla="*/ 0 w 5"/>
                          <a:gd name="T7" fmla="*/ 2 h 2"/>
                          <a:gd name="T8" fmla="*/ 4 w 5"/>
                          <a:gd name="T9" fmla="*/ 2 h 2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5"/>
                          <a:gd name="T16" fmla="*/ 0 h 2"/>
                          <a:gd name="T17" fmla="*/ 5 w 5"/>
                          <a:gd name="T18" fmla="*/ 2 h 2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5" h="2">
                            <a:moveTo>
                              <a:pt x="3" y="1"/>
                            </a:moveTo>
                            <a:cubicBezTo>
                              <a:pt x="3" y="1"/>
                              <a:pt x="5" y="1"/>
                              <a:pt x="4" y="2"/>
                            </a:cubicBezTo>
                            <a:cubicBezTo>
                              <a:pt x="4" y="2"/>
                              <a:pt x="3" y="2"/>
                              <a:pt x="2" y="2"/>
                            </a:cubicBezTo>
                            <a:cubicBezTo>
                              <a:pt x="1" y="2"/>
                              <a:pt x="0" y="2"/>
                              <a:pt x="0" y="1"/>
                            </a:cubicBezTo>
                            <a:cubicBezTo>
                              <a:pt x="0" y="0"/>
                              <a:pt x="2" y="1"/>
                              <a:pt x="3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1995" name="Freeform 3272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6808637" y="1759966"/>
                        <a:ext cx="5593" cy="5815"/>
                      </a:xfrm>
                      <a:custGeom>
                        <a:avLst/>
                        <a:gdLst>
                          <a:gd name="T0" fmla="*/ 5 w 4"/>
                          <a:gd name="T1" fmla="*/ 4 h 6"/>
                          <a:gd name="T2" fmla="*/ 4 w 4"/>
                          <a:gd name="T3" fmla="*/ 7 h 6"/>
                          <a:gd name="T4" fmla="*/ 1 w 4"/>
                          <a:gd name="T5" fmla="*/ 5 h 6"/>
                          <a:gd name="T6" fmla="*/ 1 w 4"/>
                          <a:gd name="T7" fmla="*/ 0 h 6"/>
                          <a:gd name="T8" fmla="*/ 5 w 4"/>
                          <a:gd name="T9" fmla="*/ 4 h 6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4"/>
                          <a:gd name="T16" fmla="*/ 0 h 6"/>
                          <a:gd name="T17" fmla="*/ 4 w 4"/>
                          <a:gd name="T18" fmla="*/ 6 h 6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4" h="6">
                            <a:moveTo>
                              <a:pt x="4" y="3"/>
                            </a:moveTo>
                            <a:cubicBezTo>
                              <a:pt x="4" y="4"/>
                              <a:pt x="4" y="5"/>
                              <a:pt x="3" y="6"/>
                            </a:cubicBezTo>
                            <a:cubicBezTo>
                              <a:pt x="2" y="6"/>
                              <a:pt x="1" y="4"/>
                              <a:pt x="1" y="4"/>
                            </a:cubicBezTo>
                            <a:cubicBezTo>
                              <a:pt x="1" y="3"/>
                              <a:pt x="0" y="0"/>
                              <a:pt x="1" y="0"/>
                            </a:cubicBezTo>
                            <a:cubicBezTo>
                              <a:pt x="3" y="0"/>
                              <a:pt x="3" y="2"/>
                              <a:pt x="4" y="3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1996" name="Oval 3273"/>
                      <p:cNvSpPr>
                        <a:spLocks noChangeAspect="1" noChangeArrowheads="1"/>
                      </p:cNvSpPr>
                      <p:nvPr/>
                    </p:nvSpPr>
                    <p:spPr bwMode="auto">
                      <a:xfrm>
                        <a:off x="6627440" y="1637857"/>
                        <a:ext cx="2237" cy="3322"/>
                      </a:xfrm>
                      <a:prstGeom prst="ellipse">
                        <a:avLst/>
                      </a:pr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1997" name="Freeform 3274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969768" y="1608784"/>
                        <a:ext cx="3356" cy="3322"/>
                      </a:xfrm>
                      <a:custGeom>
                        <a:avLst/>
                        <a:gdLst>
                          <a:gd name="T0" fmla="*/ 3 w 3"/>
                          <a:gd name="T1" fmla="*/ 3 h 3"/>
                          <a:gd name="T2" fmla="*/ 2 w 3"/>
                          <a:gd name="T3" fmla="*/ 4 h 3"/>
                          <a:gd name="T4" fmla="*/ 0 w 3"/>
                          <a:gd name="T5" fmla="*/ 1 h 3"/>
                          <a:gd name="T6" fmla="*/ 2 w 3"/>
                          <a:gd name="T7" fmla="*/ 0 h 3"/>
                          <a:gd name="T8" fmla="*/ 3 w 3"/>
                          <a:gd name="T9" fmla="*/ 3 h 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3"/>
                          <a:gd name="T16" fmla="*/ 0 h 3"/>
                          <a:gd name="T17" fmla="*/ 3 w 3"/>
                          <a:gd name="T18" fmla="*/ 3 h 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3" h="3">
                            <a:moveTo>
                              <a:pt x="3" y="2"/>
                            </a:moveTo>
                            <a:cubicBezTo>
                              <a:pt x="3" y="2"/>
                              <a:pt x="3" y="3"/>
                              <a:pt x="2" y="3"/>
                            </a:cubicBezTo>
                            <a:cubicBezTo>
                              <a:pt x="1" y="3"/>
                              <a:pt x="0" y="2"/>
                              <a:pt x="0" y="1"/>
                            </a:cubicBezTo>
                            <a:cubicBezTo>
                              <a:pt x="0" y="1"/>
                              <a:pt x="1" y="0"/>
                              <a:pt x="2" y="0"/>
                            </a:cubicBezTo>
                            <a:cubicBezTo>
                              <a:pt x="3" y="0"/>
                              <a:pt x="3" y="1"/>
                              <a:pt x="3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1998" name="Freeform 3278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436248" y="1787377"/>
                        <a:ext cx="3356" cy="3322"/>
                      </a:xfrm>
                      <a:custGeom>
                        <a:avLst/>
                        <a:gdLst>
                          <a:gd name="T0" fmla="*/ 3 w 2"/>
                          <a:gd name="T1" fmla="*/ 3 h 3"/>
                          <a:gd name="T2" fmla="*/ 2 w 2"/>
                          <a:gd name="T3" fmla="*/ 4 h 3"/>
                          <a:gd name="T4" fmla="*/ 0 w 2"/>
                          <a:gd name="T5" fmla="*/ 1 h 3"/>
                          <a:gd name="T6" fmla="*/ 2 w 2"/>
                          <a:gd name="T7" fmla="*/ 0 h 3"/>
                          <a:gd name="T8" fmla="*/ 3 w 2"/>
                          <a:gd name="T9" fmla="*/ 3 h 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"/>
                          <a:gd name="T16" fmla="*/ 0 h 3"/>
                          <a:gd name="T17" fmla="*/ 2 w 2"/>
                          <a:gd name="T18" fmla="*/ 3 h 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" h="3">
                            <a:moveTo>
                              <a:pt x="2" y="2"/>
                            </a:moveTo>
                            <a:cubicBezTo>
                              <a:pt x="2" y="2"/>
                              <a:pt x="2" y="3"/>
                              <a:pt x="1" y="3"/>
                            </a:cubicBezTo>
                            <a:cubicBezTo>
                              <a:pt x="0" y="3"/>
                              <a:pt x="0" y="2"/>
                              <a:pt x="0" y="1"/>
                            </a:cubicBezTo>
                            <a:cubicBezTo>
                              <a:pt x="0" y="1"/>
                              <a:pt x="0" y="0"/>
                              <a:pt x="1" y="0"/>
                            </a:cubicBezTo>
                            <a:cubicBezTo>
                              <a:pt x="2" y="0"/>
                              <a:pt x="2" y="1"/>
                              <a:pt x="2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1999" name="Freeform 3411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6841073" y="1769103"/>
                        <a:ext cx="2237" cy="2493"/>
                      </a:xfrm>
                      <a:custGeom>
                        <a:avLst/>
                        <a:gdLst>
                          <a:gd name="T0" fmla="*/ 1 w 2"/>
                          <a:gd name="T1" fmla="*/ 2 h 3"/>
                          <a:gd name="T2" fmla="*/ 1 w 2"/>
                          <a:gd name="T3" fmla="*/ 3 h 3"/>
                          <a:gd name="T4" fmla="*/ 0 w 2"/>
                          <a:gd name="T5" fmla="*/ 2 h 3"/>
                          <a:gd name="T6" fmla="*/ 1 w 2"/>
                          <a:gd name="T7" fmla="*/ 0 h 3"/>
                          <a:gd name="T8" fmla="*/ 1 w 2"/>
                          <a:gd name="T9" fmla="*/ 2 h 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"/>
                          <a:gd name="T16" fmla="*/ 0 h 3"/>
                          <a:gd name="T17" fmla="*/ 2 w 2"/>
                          <a:gd name="T18" fmla="*/ 3 h 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" h="3">
                            <a:moveTo>
                              <a:pt x="1" y="2"/>
                            </a:moveTo>
                            <a:cubicBezTo>
                              <a:pt x="1" y="2"/>
                              <a:pt x="1" y="3"/>
                              <a:pt x="1" y="3"/>
                            </a:cubicBezTo>
                            <a:cubicBezTo>
                              <a:pt x="0" y="3"/>
                              <a:pt x="0" y="2"/>
                              <a:pt x="0" y="2"/>
                            </a:cubicBezTo>
                            <a:cubicBezTo>
                              <a:pt x="0" y="1"/>
                              <a:pt x="0" y="0"/>
                              <a:pt x="1" y="0"/>
                            </a:cubicBezTo>
                            <a:cubicBezTo>
                              <a:pt x="2" y="0"/>
                              <a:pt x="1" y="1"/>
                              <a:pt x="1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00" name="Freeform 3412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6825413" y="1762457"/>
                        <a:ext cx="2237" cy="3322"/>
                      </a:xfrm>
                      <a:custGeom>
                        <a:avLst/>
                        <a:gdLst>
                          <a:gd name="T0" fmla="*/ 2 w 1"/>
                          <a:gd name="T1" fmla="*/ 3 h 3"/>
                          <a:gd name="T2" fmla="*/ 0 w 1"/>
                          <a:gd name="T3" fmla="*/ 4 h 3"/>
                          <a:gd name="T4" fmla="*/ 0 w 1"/>
                          <a:gd name="T5" fmla="*/ 1 h 3"/>
                          <a:gd name="T6" fmla="*/ 2 w 1"/>
                          <a:gd name="T7" fmla="*/ 0 h 3"/>
                          <a:gd name="T8" fmla="*/ 2 w 1"/>
                          <a:gd name="T9" fmla="*/ 3 h 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1"/>
                          <a:gd name="T16" fmla="*/ 0 h 3"/>
                          <a:gd name="T17" fmla="*/ 1 w 1"/>
                          <a:gd name="T18" fmla="*/ 3 h 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1" h="3">
                            <a:moveTo>
                              <a:pt x="1" y="2"/>
                            </a:moveTo>
                            <a:cubicBezTo>
                              <a:pt x="1" y="2"/>
                              <a:pt x="1" y="3"/>
                              <a:pt x="0" y="3"/>
                            </a:cubicBezTo>
                            <a:cubicBezTo>
                              <a:pt x="0" y="2"/>
                              <a:pt x="0" y="2"/>
                              <a:pt x="0" y="1"/>
                            </a:cubicBezTo>
                            <a:cubicBezTo>
                              <a:pt x="0" y="1"/>
                              <a:pt x="0" y="0"/>
                              <a:pt x="1" y="0"/>
                            </a:cubicBezTo>
                            <a:cubicBezTo>
                              <a:pt x="1" y="0"/>
                              <a:pt x="1" y="1"/>
                              <a:pt x="1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01" name="Freeform 3413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6823177" y="1757474"/>
                        <a:ext cx="4474" cy="3322"/>
                      </a:xfrm>
                      <a:custGeom>
                        <a:avLst/>
                        <a:gdLst>
                          <a:gd name="T0" fmla="*/ 3 w 3"/>
                          <a:gd name="T1" fmla="*/ 3 h 3"/>
                          <a:gd name="T2" fmla="*/ 1 w 3"/>
                          <a:gd name="T3" fmla="*/ 4 h 3"/>
                          <a:gd name="T4" fmla="*/ 0 w 3"/>
                          <a:gd name="T5" fmla="*/ 3 h 3"/>
                          <a:gd name="T6" fmla="*/ 1 w 3"/>
                          <a:gd name="T7" fmla="*/ 1 h 3"/>
                          <a:gd name="T8" fmla="*/ 3 w 3"/>
                          <a:gd name="T9" fmla="*/ 3 h 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3"/>
                          <a:gd name="T16" fmla="*/ 0 h 3"/>
                          <a:gd name="T17" fmla="*/ 3 w 3"/>
                          <a:gd name="T18" fmla="*/ 3 h 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3" h="3">
                            <a:moveTo>
                              <a:pt x="2" y="2"/>
                            </a:moveTo>
                            <a:cubicBezTo>
                              <a:pt x="2" y="3"/>
                              <a:pt x="2" y="3"/>
                              <a:pt x="1" y="3"/>
                            </a:cubicBezTo>
                            <a:cubicBezTo>
                              <a:pt x="0" y="3"/>
                              <a:pt x="0" y="2"/>
                              <a:pt x="0" y="2"/>
                            </a:cubicBezTo>
                            <a:cubicBezTo>
                              <a:pt x="0" y="1"/>
                              <a:pt x="0" y="0"/>
                              <a:pt x="1" y="1"/>
                            </a:cubicBezTo>
                            <a:cubicBezTo>
                              <a:pt x="3" y="1"/>
                              <a:pt x="3" y="2"/>
                              <a:pt x="2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02" name="Freeform 3414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6543554" y="1633704"/>
                        <a:ext cx="2237" cy="3322"/>
                      </a:xfrm>
                      <a:custGeom>
                        <a:avLst/>
                        <a:gdLst>
                          <a:gd name="T0" fmla="*/ 2 w 1"/>
                          <a:gd name="T1" fmla="*/ 3 h 3"/>
                          <a:gd name="T2" fmla="*/ 2 w 1"/>
                          <a:gd name="T3" fmla="*/ 4 h 3"/>
                          <a:gd name="T4" fmla="*/ 0 w 1"/>
                          <a:gd name="T5" fmla="*/ 1 h 3"/>
                          <a:gd name="T6" fmla="*/ 2 w 1"/>
                          <a:gd name="T7" fmla="*/ 0 h 3"/>
                          <a:gd name="T8" fmla="*/ 2 w 1"/>
                          <a:gd name="T9" fmla="*/ 3 h 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1"/>
                          <a:gd name="T16" fmla="*/ 0 h 3"/>
                          <a:gd name="T17" fmla="*/ 1 w 1"/>
                          <a:gd name="T18" fmla="*/ 3 h 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1" h="3">
                            <a:moveTo>
                              <a:pt x="1" y="2"/>
                            </a:moveTo>
                            <a:cubicBezTo>
                              <a:pt x="1" y="2"/>
                              <a:pt x="1" y="3"/>
                              <a:pt x="1" y="3"/>
                            </a:cubicBezTo>
                            <a:cubicBezTo>
                              <a:pt x="0" y="3"/>
                              <a:pt x="0" y="2"/>
                              <a:pt x="0" y="1"/>
                            </a:cubicBezTo>
                            <a:cubicBezTo>
                              <a:pt x="0" y="1"/>
                              <a:pt x="0" y="0"/>
                              <a:pt x="1" y="0"/>
                            </a:cubicBezTo>
                            <a:cubicBezTo>
                              <a:pt x="1" y="0"/>
                              <a:pt x="1" y="1"/>
                              <a:pt x="1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03" name="Freeform 3415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6060365" y="1632043"/>
                        <a:ext cx="3356" cy="1661"/>
                      </a:xfrm>
                      <a:custGeom>
                        <a:avLst/>
                        <a:gdLst>
                          <a:gd name="T0" fmla="*/ 3 w 2"/>
                          <a:gd name="T1" fmla="*/ 1 h 2"/>
                          <a:gd name="T2" fmla="*/ 3 w 2"/>
                          <a:gd name="T3" fmla="*/ 2 h 2"/>
                          <a:gd name="T4" fmla="*/ 2 w 2"/>
                          <a:gd name="T5" fmla="*/ 2 h 2"/>
                          <a:gd name="T6" fmla="*/ 0 w 2"/>
                          <a:gd name="T7" fmla="*/ 0 h 2"/>
                          <a:gd name="T8" fmla="*/ 3 w 2"/>
                          <a:gd name="T9" fmla="*/ 1 h 2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"/>
                          <a:gd name="T16" fmla="*/ 0 h 2"/>
                          <a:gd name="T17" fmla="*/ 2 w 2"/>
                          <a:gd name="T18" fmla="*/ 2 h 2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" h="2">
                            <a:moveTo>
                              <a:pt x="2" y="1"/>
                            </a:moveTo>
                            <a:cubicBezTo>
                              <a:pt x="2" y="1"/>
                              <a:pt x="2" y="2"/>
                              <a:pt x="2" y="2"/>
                            </a:cubicBezTo>
                            <a:cubicBezTo>
                              <a:pt x="2" y="2"/>
                              <a:pt x="1" y="2"/>
                              <a:pt x="1" y="2"/>
                            </a:cubicBezTo>
                            <a:cubicBezTo>
                              <a:pt x="0" y="1"/>
                              <a:pt x="0" y="0"/>
                              <a:pt x="0" y="0"/>
                            </a:cubicBezTo>
                            <a:cubicBezTo>
                              <a:pt x="1" y="0"/>
                              <a:pt x="1" y="0"/>
                              <a:pt x="2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04" name="Freeform 3419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958583" y="1602970"/>
                        <a:ext cx="2237" cy="3322"/>
                      </a:xfrm>
                      <a:custGeom>
                        <a:avLst/>
                        <a:gdLst>
                          <a:gd name="T0" fmla="*/ 1 w 2"/>
                          <a:gd name="T1" fmla="*/ 4 h 3"/>
                          <a:gd name="T2" fmla="*/ 0 w 2"/>
                          <a:gd name="T3" fmla="*/ 4 h 3"/>
                          <a:gd name="T4" fmla="*/ 0 w 2"/>
                          <a:gd name="T5" fmla="*/ 3 h 3"/>
                          <a:gd name="T6" fmla="*/ 2 w 2"/>
                          <a:gd name="T7" fmla="*/ 1 h 3"/>
                          <a:gd name="T8" fmla="*/ 1 w 2"/>
                          <a:gd name="T9" fmla="*/ 4 h 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"/>
                          <a:gd name="T16" fmla="*/ 0 h 3"/>
                          <a:gd name="T17" fmla="*/ 2 w 2"/>
                          <a:gd name="T18" fmla="*/ 3 h 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" h="3">
                            <a:moveTo>
                              <a:pt x="1" y="3"/>
                            </a:moveTo>
                            <a:cubicBezTo>
                              <a:pt x="1" y="3"/>
                              <a:pt x="0" y="3"/>
                              <a:pt x="0" y="3"/>
                            </a:cubicBezTo>
                            <a:cubicBezTo>
                              <a:pt x="0" y="2"/>
                              <a:pt x="0" y="2"/>
                              <a:pt x="0" y="2"/>
                            </a:cubicBezTo>
                            <a:cubicBezTo>
                              <a:pt x="0" y="1"/>
                              <a:pt x="1" y="0"/>
                              <a:pt x="2" y="1"/>
                            </a:cubicBezTo>
                            <a:cubicBezTo>
                              <a:pt x="2" y="1"/>
                              <a:pt x="1" y="2"/>
                              <a:pt x="1" y="3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05" name="Freeform 3421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824363" y="1630382"/>
                        <a:ext cx="2237" cy="2493"/>
                      </a:xfrm>
                      <a:custGeom>
                        <a:avLst/>
                        <a:gdLst>
                          <a:gd name="T0" fmla="*/ 2 w 2"/>
                          <a:gd name="T1" fmla="*/ 2 h 3"/>
                          <a:gd name="T2" fmla="*/ 1 w 2"/>
                          <a:gd name="T3" fmla="*/ 3 h 3"/>
                          <a:gd name="T4" fmla="*/ 0 w 2"/>
                          <a:gd name="T5" fmla="*/ 2 h 3"/>
                          <a:gd name="T6" fmla="*/ 1 w 2"/>
                          <a:gd name="T7" fmla="*/ 0 h 3"/>
                          <a:gd name="T8" fmla="*/ 2 w 2"/>
                          <a:gd name="T9" fmla="*/ 2 h 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"/>
                          <a:gd name="T16" fmla="*/ 0 h 3"/>
                          <a:gd name="T17" fmla="*/ 2 w 2"/>
                          <a:gd name="T18" fmla="*/ 3 h 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" h="3">
                            <a:moveTo>
                              <a:pt x="2" y="2"/>
                            </a:moveTo>
                            <a:cubicBezTo>
                              <a:pt x="2" y="2"/>
                              <a:pt x="1" y="3"/>
                              <a:pt x="1" y="3"/>
                            </a:cubicBezTo>
                            <a:cubicBezTo>
                              <a:pt x="0" y="3"/>
                              <a:pt x="0" y="2"/>
                              <a:pt x="0" y="2"/>
                            </a:cubicBezTo>
                            <a:cubicBezTo>
                              <a:pt x="0" y="1"/>
                              <a:pt x="0" y="0"/>
                              <a:pt x="1" y="0"/>
                            </a:cubicBezTo>
                            <a:cubicBezTo>
                              <a:pt x="2" y="1"/>
                              <a:pt x="2" y="1"/>
                              <a:pt x="2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06" name="Freeform 3424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810941" y="1623736"/>
                        <a:ext cx="4474" cy="2493"/>
                      </a:xfrm>
                      <a:custGeom>
                        <a:avLst/>
                        <a:gdLst>
                          <a:gd name="T0" fmla="*/ 3 w 3"/>
                          <a:gd name="T1" fmla="*/ 3 h 2"/>
                          <a:gd name="T2" fmla="*/ 0 w 3"/>
                          <a:gd name="T3" fmla="*/ 3 h 2"/>
                          <a:gd name="T4" fmla="*/ 1 w 3"/>
                          <a:gd name="T5" fmla="*/ 2 h 2"/>
                          <a:gd name="T6" fmla="*/ 3 w 3"/>
                          <a:gd name="T7" fmla="*/ 0 h 2"/>
                          <a:gd name="T8" fmla="*/ 3 w 3"/>
                          <a:gd name="T9" fmla="*/ 3 h 2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3"/>
                          <a:gd name="T16" fmla="*/ 0 h 2"/>
                          <a:gd name="T17" fmla="*/ 3 w 3"/>
                          <a:gd name="T18" fmla="*/ 2 h 2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3" h="2">
                            <a:moveTo>
                              <a:pt x="2" y="2"/>
                            </a:moveTo>
                            <a:cubicBezTo>
                              <a:pt x="1" y="2"/>
                              <a:pt x="1" y="2"/>
                              <a:pt x="0" y="2"/>
                            </a:cubicBezTo>
                            <a:cubicBezTo>
                              <a:pt x="0" y="1"/>
                              <a:pt x="0" y="1"/>
                              <a:pt x="1" y="1"/>
                            </a:cubicBezTo>
                            <a:cubicBezTo>
                              <a:pt x="1" y="0"/>
                              <a:pt x="2" y="0"/>
                              <a:pt x="2" y="0"/>
                            </a:cubicBezTo>
                            <a:cubicBezTo>
                              <a:pt x="3" y="1"/>
                              <a:pt x="2" y="1"/>
                              <a:pt x="2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07" name="Freeform 3426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656590" y="1686036"/>
                        <a:ext cx="4474" cy="1661"/>
                      </a:xfrm>
                      <a:custGeom>
                        <a:avLst/>
                        <a:gdLst>
                          <a:gd name="T0" fmla="*/ 3 w 3"/>
                          <a:gd name="T1" fmla="*/ 0 h 2"/>
                          <a:gd name="T2" fmla="*/ 4 w 3"/>
                          <a:gd name="T3" fmla="*/ 1 h 2"/>
                          <a:gd name="T4" fmla="*/ 3 w 3"/>
                          <a:gd name="T5" fmla="*/ 2 h 2"/>
                          <a:gd name="T6" fmla="*/ 0 w 3"/>
                          <a:gd name="T7" fmla="*/ 1 h 2"/>
                          <a:gd name="T8" fmla="*/ 3 w 3"/>
                          <a:gd name="T9" fmla="*/ 0 h 2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3"/>
                          <a:gd name="T16" fmla="*/ 0 h 2"/>
                          <a:gd name="T17" fmla="*/ 3 w 3"/>
                          <a:gd name="T18" fmla="*/ 2 h 2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3" h="2">
                            <a:moveTo>
                              <a:pt x="2" y="0"/>
                            </a:moveTo>
                            <a:cubicBezTo>
                              <a:pt x="2" y="0"/>
                              <a:pt x="3" y="0"/>
                              <a:pt x="3" y="1"/>
                            </a:cubicBezTo>
                            <a:cubicBezTo>
                              <a:pt x="3" y="1"/>
                              <a:pt x="2" y="2"/>
                              <a:pt x="2" y="2"/>
                            </a:cubicBezTo>
                            <a:cubicBezTo>
                              <a:pt x="1" y="2"/>
                              <a:pt x="0" y="2"/>
                              <a:pt x="0" y="1"/>
                            </a:cubicBezTo>
                            <a:cubicBezTo>
                              <a:pt x="0" y="0"/>
                              <a:pt x="1" y="0"/>
                              <a:pt x="2" y="0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08" name="Freeform 3427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631983" y="1682713"/>
                        <a:ext cx="3356" cy="3322"/>
                      </a:xfrm>
                      <a:custGeom>
                        <a:avLst/>
                        <a:gdLst>
                          <a:gd name="T0" fmla="*/ 3 w 2"/>
                          <a:gd name="T1" fmla="*/ 1 h 3"/>
                          <a:gd name="T2" fmla="*/ 2 w 2"/>
                          <a:gd name="T3" fmla="*/ 3 h 3"/>
                          <a:gd name="T4" fmla="*/ 0 w 2"/>
                          <a:gd name="T5" fmla="*/ 3 h 3"/>
                          <a:gd name="T6" fmla="*/ 0 w 2"/>
                          <a:gd name="T7" fmla="*/ 0 h 3"/>
                          <a:gd name="T8" fmla="*/ 3 w 2"/>
                          <a:gd name="T9" fmla="*/ 1 h 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"/>
                          <a:gd name="T16" fmla="*/ 0 h 3"/>
                          <a:gd name="T17" fmla="*/ 2 w 2"/>
                          <a:gd name="T18" fmla="*/ 3 h 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" h="3">
                            <a:moveTo>
                              <a:pt x="2" y="1"/>
                            </a:moveTo>
                            <a:cubicBezTo>
                              <a:pt x="2" y="2"/>
                              <a:pt x="2" y="2"/>
                              <a:pt x="1" y="2"/>
                            </a:cubicBezTo>
                            <a:cubicBezTo>
                              <a:pt x="1" y="3"/>
                              <a:pt x="0" y="2"/>
                              <a:pt x="0" y="2"/>
                            </a:cubicBezTo>
                            <a:cubicBezTo>
                              <a:pt x="0" y="1"/>
                              <a:pt x="0" y="0"/>
                              <a:pt x="0" y="0"/>
                            </a:cubicBezTo>
                            <a:cubicBezTo>
                              <a:pt x="1" y="0"/>
                              <a:pt x="2" y="1"/>
                              <a:pt x="2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09" name="Freeform 3429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550334" y="1700988"/>
                        <a:ext cx="4474" cy="1661"/>
                      </a:xfrm>
                      <a:custGeom>
                        <a:avLst/>
                        <a:gdLst>
                          <a:gd name="T0" fmla="*/ 1 w 3"/>
                          <a:gd name="T1" fmla="*/ 2 h 2"/>
                          <a:gd name="T2" fmla="*/ 0 w 3"/>
                          <a:gd name="T3" fmla="*/ 1 h 2"/>
                          <a:gd name="T4" fmla="*/ 1 w 3"/>
                          <a:gd name="T5" fmla="*/ 0 h 2"/>
                          <a:gd name="T6" fmla="*/ 4 w 3"/>
                          <a:gd name="T7" fmla="*/ 1 h 2"/>
                          <a:gd name="T8" fmla="*/ 1 w 3"/>
                          <a:gd name="T9" fmla="*/ 2 h 2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3"/>
                          <a:gd name="T16" fmla="*/ 0 h 2"/>
                          <a:gd name="T17" fmla="*/ 3 w 3"/>
                          <a:gd name="T18" fmla="*/ 2 h 2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3" h="2">
                            <a:moveTo>
                              <a:pt x="1" y="2"/>
                            </a:moveTo>
                            <a:cubicBezTo>
                              <a:pt x="1" y="2"/>
                              <a:pt x="0" y="2"/>
                              <a:pt x="0" y="1"/>
                            </a:cubicBezTo>
                            <a:cubicBezTo>
                              <a:pt x="0" y="0"/>
                              <a:pt x="1" y="0"/>
                              <a:pt x="1" y="0"/>
                            </a:cubicBezTo>
                            <a:cubicBezTo>
                              <a:pt x="2" y="0"/>
                              <a:pt x="3" y="0"/>
                              <a:pt x="3" y="1"/>
                            </a:cubicBezTo>
                            <a:cubicBezTo>
                              <a:pt x="3" y="1"/>
                              <a:pt x="2" y="1"/>
                              <a:pt x="1" y="2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10" name="Freeform 3430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432892" y="1790700"/>
                        <a:ext cx="3356" cy="1661"/>
                      </a:xfrm>
                      <a:custGeom>
                        <a:avLst/>
                        <a:gdLst>
                          <a:gd name="T0" fmla="*/ 2 w 3"/>
                          <a:gd name="T1" fmla="*/ 0 h 2"/>
                          <a:gd name="T2" fmla="*/ 2 w 3"/>
                          <a:gd name="T3" fmla="*/ 1 h 2"/>
                          <a:gd name="T4" fmla="*/ 1 w 3"/>
                          <a:gd name="T5" fmla="*/ 2 h 2"/>
                          <a:gd name="T6" fmla="*/ 0 w 3"/>
                          <a:gd name="T7" fmla="*/ 0 h 2"/>
                          <a:gd name="T8" fmla="*/ 2 w 3"/>
                          <a:gd name="T9" fmla="*/ 0 h 2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3"/>
                          <a:gd name="T16" fmla="*/ 0 h 2"/>
                          <a:gd name="T17" fmla="*/ 3 w 3"/>
                          <a:gd name="T18" fmla="*/ 2 h 2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3" h="2">
                            <a:moveTo>
                              <a:pt x="2" y="0"/>
                            </a:moveTo>
                            <a:cubicBezTo>
                              <a:pt x="2" y="0"/>
                              <a:pt x="3" y="1"/>
                              <a:pt x="2" y="1"/>
                            </a:cubicBezTo>
                            <a:cubicBezTo>
                              <a:pt x="2" y="2"/>
                              <a:pt x="1" y="2"/>
                              <a:pt x="1" y="2"/>
                            </a:cubicBezTo>
                            <a:cubicBezTo>
                              <a:pt x="1" y="1"/>
                              <a:pt x="0" y="1"/>
                              <a:pt x="0" y="0"/>
                            </a:cubicBezTo>
                            <a:cubicBezTo>
                              <a:pt x="0" y="0"/>
                              <a:pt x="1" y="0"/>
                              <a:pt x="2" y="0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11" name="Freeform 3431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455261" y="1693513"/>
                        <a:ext cx="27962" cy="14122"/>
                      </a:xfrm>
                      <a:custGeom>
                        <a:avLst/>
                        <a:gdLst>
                          <a:gd name="T0" fmla="*/ 8 w 21"/>
                          <a:gd name="T1" fmla="*/ 0 h 14"/>
                          <a:gd name="T2" fmla="*/ 13 w 21"/>
                          <a:gd name="T3" fmla="*/ 2 h 14"/>
                          <a:gd name="T4" fmla="*/ 14 w 21"/>
                          <a:gd name="T5" fmla="*/ 9 h 14"/>
                          <a:gd name="T6" fmla="*/ 18 w 21"/>
                          <a:gd name="T7" fmla="*/ 7 h 14"/>
                          <a:gd name="T8" fmla="*/ 23 w 21"/>
                          <a:gd name="T9" fmla="*/ 13 h 14"/>
                          <a:gd name="T10" fmla="*/ 12 w 21"/>
                          <a:gd name="T11" fmla="*/ 15 h 14"/>
                          <a:gd name="T12" fmla="*/ 5 w 21"/>
                          <a:gd name="T13" fmla="*/ 16 h 14"/>
                          <a:gd name="T14" fmla="*/ 4 w 21"/>
                          <a:gd name="T15" fmla="*/ 15 h 14"/>
                          <a:gd name="T16" fmla="*/ 1 w 21"/>
                          <a:gd name="T17" fmla="*/ 16 h 14"/>
                          <a:gd name="T18" fmla="*/ 1 w 21"/>
                          <a:gd name="T19" fmla="*/ 10 h 14"/>
                          <a:gd name="T20" fmla="*/ 1 w 21"/>
                          <a:gd name="T21" fmla="*/ 4 h 14"/>
                          <a:gd name="T22" fmla="*/ 8 w 21"/>
                          <a:gd name="T23" fmla="*/ 0 h 14"/>
                          <a:gd name="T24" fmla="*/ 0 60000 65536"/>
                          <a:gd name="T25" fmla="*/ 0 60000 65536"/>
                          <a:gd name="T26" fmla="*/ 0 60000 65536"/>
                          <a:gd name="T27" fmla="*/ 0 60000 65536"/>
                          <a:gd name="T28" fmla="*/ 0 60000 65536"/>
                          <a:gd name="T29" fmla="*/ 0 60000 65536"/>
                          <a:gd name="T30" fmla="*/ 0 60000 65536"/>
                          <a:gd name="T31" fmla="*/ 0 60000 65536"/>
                          <a:gd name="T32" fmla="*/ 0 60000 65536"/>
                          <a:gd name="T33" fmla="*/ 0 60000 65536"/>
                          <a:gd name="T34" fmla="*/ 0 60000 65536"/>
                          <a:gd name="T35" fmla="*/ 0 60000 65536"/>
                          <a:gd name="T36" fmla="*/ 0 w 21"/>
                          <a:gd name="T37" fmla="*/ 0 h 14"/>
                          <a:gd name="T38" fmla="*/ 21 w 21"/>
                          <a:gd name="T39" fmla="*/ 14 h 14"/>
                        </a:gdLst>
                        <a:ahLst/>
                        <a:cxnLst>
                          <a:cxn ang="T24">
                            <a:pos x="T0" y="T1"/>
                          </a:cxn>
                          <a:cxn ang="T25">
                            <a:pos x="T2" y="T3"/>
                          </a:cxn>
                          <a:cxn ang="T26">
                            <a:pos x="T4" y="T5"/>
                          </a:cxn>
                          <a:cxn ang="T27">
                            <a:pos x="T6" y="T7"/>
                          </a:cxn>
                          <a:cxn ang="T28">
                            <a:pos x="T8" y="T9"/>
                          </a:cxn>
                          <a:cxn ang="T29">
                            <a:pos x="T10" y="T11"/>
                          </a:cxn>
                          <a:cxn ang="T30">
                            <a:pos x="T12" y="T13"/>
                          </a:cxn>
                          <a:cxn ang="T31">
                            <a:pos x="T14" y="T15"/>
                          </a:cxn>
                          <a:cxn ang="T32">
                            <a:pos x="T16" y="T17"/>
                          </a:cxn>
                          <a:cxn ang="T33">
                            <a:pos x="T18" y="T19"/>
                          </a:cxn>
                          <a:cxn ang="T34">
                            <a:pos x="T20" y="T21"/>
                          </a:cxn>
                          <a:cxn ang="T35">
                            <a:pos x="T22" y="T23"/>
                          </a:cxn>
                        </a:cxnLst>
                        <a:rect l="T36" t="T37" r="T38" b="T39"/>
                        <a:pathLst>
                          <a:path w="21" h="14">
                            <a:moveTo>
                              <a:pt x="7" y="0"/>
                            </a:moveTo>
                            <a:cubicBezTo>
                              <a:pt x="9" y="0"/>
                              <a:pt x="10" y="1"/>
                              <a:pt x="11" y="2"/>
                            </a:cubicBezTo>
                            <a:cubicBezTo>
                              <a:pt x="12" y="4"/>
                              <a:pt x="11" y="6"/>
                              <a:pt x="12" y="7"/>
                            </a:cubicBezTo>
                            <a:cubicBezTo>
                              <a:pt x="13" y="8"/>
                              <a:pt x="14" y="5"/>
                              <a:pt x="15" y="6"/>
                            </a:cubicBezTo>
                            <a:cubicBezTo>
                              <a:pt x="17" y="7"/>
                              <a:pt x="21" y="9"/>
                              <a:pt x="19" y="11"/>
                            </a:cubicBezTo>
                            <a:cubicBezTo>
                              <a:pt x="18" y="13"/>
                              <a:pt x="13" y="11"/>
                              <a:pt x="10" y="12"/>
                            </a:cubicBezTo>
                            <a:cubicBezTo>
                              <a:pt x="8" y="12"/>
                              <a:pt x="6" y="13"/>
                              <a:pt x="4" y="13"/>
                            </a:cubicBezTo>
                            <a:cubicBezTo>
                              <a:pt x="4" y="13"/>
                              <a:pt x="4" y="12"/>
                              <a:pt x="3" y="12"/>
                            </a:cubicBezTo>
                            <a:cubicBezTo>
                              <a:pt x="2" y="12"/>
                              <a:pt x="1" y="14"/>
                              <a:pt x="1" y="13"/>
                            </a:cubicBezTo>
                            <a:cubicBezTo>
                              <a:pt x="0" y="12"/>
                              <a:pt x="1" y="9"/>
                              <a:pt x="1" y="8"/>
                            </a:cubicBezTo>
                            <a:cubicBezTo>
                              <a:pt x="1" y="6"/>
                              <a:pt x="0" y="4"/>
                              <a:pt x="1" y="3"/>
                            </a:cubicBezTo>
                            <a:cubicBezTo>
                              <a:pt x="2" y="1"/>
                              <a:pt x="5" y="0"/>
                              <a:pt x="7" y="0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12" name="Freeform 3432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523490" y="1705972"/>
                        <a:ext cx="7830" cy="6645"/>
                      </a:xfrm>
                      <a:custGeom>
                        <a:avLst/>
                        <a:gdLst>
                          <a:gd name="T0" fmla="*/ 5 w 6"/>
                          <a:gd name="T1" fmla="*/ 1 h 7"/>
                          <a:gd name="T2" fmla="*/ 5 w 6"/>
                          <a:gd name="T3" fmla="*/ 7 h 7"/>
                          <a:gd name="T4" fmla="*/ 1 w 6"/>
                          <a:gd name="T5" fmla="*/ 3 h 7"/>
                          <a:gd name="T6" fmla="*/ 1 w 6"/>
                          <a:gd name="T7" fmla="*/ 0 h 7"/>
                          <a:gd name="T8" fmla="*/ 5 w 6"/>
                          <a:gd name="T9" fmla="*/ 1 h 7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6"/>
                          <a:gd name="T16" fmla="*/ 0 h 7"/>
                          <a:gd name="T17" fmla="*/ 6 w 6"/>
                          <a:gd name="T18" fmla="*/ 7 h 7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6" h="7">
                            <a:moveTo>
                              <a:pt x="4" y="1"/>
                            </a:moveTo>
                            <a:cubicBezTo>
                              <a:pt x="5" y="2"/>
                              <a:pt x="6" y="5"/>
                              <a:pt x="4" y="6"/>
                            </a:cubicBezTo>
                            <a:cubicBezTo>
                              <a:pt x="3" y="7"/>
                              <a:pt x="1" y="5"/>
                              <a:pt x="1" y="3"/>
                            </a:cubicBezTo>
                            <a:cubicBezTo>
                              <a:pt x="0" y="3"/>
                              <a:pt x="0" y="1"/>
                              <a:pt x="1" y="0"/>
                            </a:cubicBezTo>
                            <a:cubicBezTo>
                              <a:pt x="2" y="0"/>
                              <a:pt x="4" y="0"/>
                              <a:pt x="4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13" name="Freeform 3433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585006" y="1702650"/>
                        <a:ext cx="13422" cy="12461"/>
                      </a:xfrm>
                      <a:custGeom>
                        <a:avLst/>
                        <a:gdLst>
                          <a:gd name="T0" fmla="*/ 8 w 10"/>
                          <a:gd name="T1" fmla="*/ 1 h 12"/>
                          <a:gd name="T2" fmla="*/ 5 w 10"/>
                          <a:gd name="T3" fmla="*/ 0 h 12"/>
                          <a:gd name="T4" fmla="*/ 0 w 10"/>
                          <a:gd name="T5" fmla="*/ 10 h 12"/>
                          <a:gd name="T6" fmla="*/ 6 w 10"/>
                          <a:gd name="T7" fmla="*/ 15 h 12"/>
                          <a:gd name="T8" fmla="*/ 11 w 10"/>
                          <a:gd name="T9" fmla="*/ 14 h 12"/>
                          <a:gd name="T10" fmla="*/ 10 w 10"/>
                          <a:gd name="T11" fmla="*/ 10 h 12"/>
                          <a:gd name="T12" fmla="*/ 10 w 10"/>
                          <a:gd name="T13" fmla="*/ 5 h 12"/>
                          <a:gd name="T14" fmla="*/ 8 w 10"/>
                          <a:gd name="T15" fmla="*/ 1 h 12"/>
                          <a:gd name="T16" fmla="*/ 0 60000 65536"/>
                          <a:gd name="T17" fmla="*/ 0 60000 65536"/>
                          <a:gd name="T18" fmla="*/ 0 60000 65536"/>
                          <a:gd name="T19" fmla="*/ 0 60000 65536"/>
                          <a:gd name="T20" fmla="*/ 0 60000 65536"/>
                          <a:gd name="T21" fmla="*/ 0 60000 65536"/>
                          <a:gd name="T22" fmla="*/ 0 60000 65536"/>
                          <a:gd name="T23" fmla="*/ 0 60000 65536"/>
                          <a:gd name="T24" fmla="*/ 0 w 10"/>
                          <a:gd name="T25" fmla="*/ 0 h 12"/>
                          <a:gd name="T26" fmla="*/ 10 w 10"/>
                          <a:gd name="T27" fmla="*/ 12 h 12"/>
                        </a:gdLst>
                        <a:ahLst/>
                        <a:cxnLst>
                          <a:cxn ang="T16">
                            <a:pos x="T0" y="T1"/>
                          </a:cxn>
                          <a:cxn ang="T17">
                            <a:pos x="T2" y="T3"/>
                          </a:cxn>
                          <a:cxn ang="T18">
                            <a:pos x="T4" y="T5"/>
                          </a:cxn>
                          <a:cxn ang="T19">
                            <a:pos x="T6" y="T7"/>
                          </a:cxn>
                          <a:cxn ang="T20">
                            <a:pos x="T8" y="T9"/>
                          </a:cxn>
                          <a:cxn ang="T21">
                            <a:pos x="T10" y="T11"/>
                          </a:cxn>
                          <a:cxn ang="T22">
                            <a:pos x="T12" y="T13"/>
                          </a:cxn>
                          <a:cxn ang="T23">
                            <a:pos x="T14" y="T15"/>
                          </a:cxn>
                        </a:cxnLst>
                        <a:rect l="T24" t="T25" r="T26" b="T27"/>
                        <a:pathLst>
                          <a:path w="10" h="12">
                            <a:moveTo>
                              <a:pt x="7" y="1"/>
                            </a:moveTo>
                            <a:cubicBezTo>
                              <a:pt x="6" y="0"/>
                              <a:pt x="5" y="0"/>
                              <a:pt x="4" y="0"/>
                            </a:cubicBezTo>
                            <a:cubicBezTo>
                              <a:pt x="2" y="2"/>
                              <a:pt x="0" y="5"/>
                              <a:pt x="0" y="8"/>
                            </a:cubicBezTo>
                            <a:cubicBezTo>
                              <a:pt x="1" y="10"/>
                              <a:pt x="3" y="11"/>
                              <a:pt x="5" y="12"/>
                            </a:cubicBezTo>
                            <a:cubicBezTo>
                              <a:pt x="6" y="12"/>
                              <a:pt x="8" y="12"/>
                              <a:pt x="9" y="11"/>
                            </a:cubicBezTo>
                            <a:cubicBezTo>
                              <a:pt x="10" y="10"/>
                              <a:pt x="8" y="9"/>
                              <a:pt x="8" y="8"/>
                            </a:cubicBezTo>
                            <a:cubicBezTo>
                              <a:pt x="8" y="6"/>
                              <a:pt x="8" y="5"/>
                              <a:pt x="8" y="4"/>
                            </a:cubicBezTo>
                            <a:cubicBezTo>
                              <a:pt x="7" y="3"/>
                              <a:pt x="8" y="2"/>
                              <a:pt x="7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14" name="Freeform 3434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563756" y="1715110"/>
                        <a:ext cx="20133" cy="10799"/>
                      </a:xfrm>
                      <a:custGeom>
                        <a:avLst/>
                        <a:gdLst>
                          <a:gd name="T0" fmla="*/ 8 w 15"/>
                          <a:gd name="T1" fmla="*/ 1 h 11"/>
                          <a:gd name="T2" fmla="*/ 17 w 15"/>
                          <a:gd name="T3" fmla="*/ 2 h 11"/>
                          <a:gd name="T4" fmla="*/ 16 w 15"/>
                          <a:gd name="T5" fmla="*/ 6 h 11"/>
                          <a:gd name="T6" fmla="*/ 11 w 15"/>
                          <a:gd name="T7" fmla="*/ 11 h 11"/>
                          <a:gd name="T8" fmla="*/ 2 w 15"/>
                          <a:gd name="T9" fmla="*/ 13 h 11"/>
                          <a:gd name="T10" fmla="*/ 1 w 15"/>
                          <a:gd name="T11" fmla="*/ 11 h 11"/>
                          <a:gd name="T12" fmla="*/ 6 w 15"/>
                          <a:gd name="T13" fmla="*/ 5 h 11"/>
                          <a:gd name="T14" fmla="*/ 8 w 15"/>
                          <a:gd name="T15" fmla="*/ 1 h 11"/>
                          <a:gd name="T16" fmla="*/ 0 60000 65536"/>
                          <a:gd name="T17" fmla="*/ 0 60000 65536"/>
                          <a:gd name="T18" fmla="*/ 0 60000 65536"/>
                          <a:gd name="T19" fmla="*/ 0 60000 65536"/>
                          <a:gd name="T20" fmla="*/ 0 60000 65536"/>
                          <a:gd name="T21" fmla="*/ 0 60000 65536"/>
                          <a:gd name="T22" fmla="*/ 0 60000 65536"/>
                          <a:gd name="T23" fmla="*/ 0 60000 65536"/>
                          <a:gd name="T24" fmla="*/ 0 w 15"/>
                          <a:gd name="T25" fmla="*/ 0 h 11"/>
                          <a:gd name="T26" fmla="*/ 15 w 15"/>
                          <a:gd name="T27" fmla="*/ 11 h 11"/>
                        </a:gdLst>
                        <a:ahLst/>
                        <a:cxnLst>
                          <a:cxn ang="T16">
                            <a:pos x="T0" y="T1"/>
                          </a:cxn>
                          <a:cxn ang="T17">
                            <a:pos x="T2" y="T3"/>
                          </a:cxn>
                          <a:cxn ang="T18">
                            <a:pos x="T4" y="T5"/>
                          </a:cxn>
                          <a:cxn ang="T19">
                            <a:pos x="T6" y="T7"/>
                          </a:cxn>
                          <a:cxn ang="T20">
                            <a:pos x="T8" y="T9"/>
                          </a:cxn>
                          <a:cxn ang="T21">
                            <a:pos x="T10" y="T11"/>
                          </a:cxn>
                          <a:cxn ang="T22">
                            <a:pos x="T12" y="T13"/>
                          </a:cxn>
                          <a:cxn ang="T23">
                            <a:pos x="T14" y="T15"/>
                          </a:cxn>
                        </a:cxnLst>
                        <a:rect l="T24" t="T25" r="T26" b="T27"/>
                        <a:pathLst>
                          <a:path w="15" h="11">
                            <a:moveTo>
                              <a:pt x="7" y="1"/>
                            </a:moveTo>
                            <a:cubicBezTo>
                              <a:pt x="9" y="0"/>
                              <a:pt x="12" y="1"/>
                              <a:pt x="14" y="2"/>
                            </a:cubicBezTo>
                            <a:cubicBezTo>
                              <a:pt x="15" y="3"/>
                              <a:pt x="14" y="4"/>
                              <a:pt x="13" y="5"/>
                            </a:cubicBezTo>
                            <a:cubicBezTo>
                              <a:pt x="12" y="7"/>
                              <a:pt x="11" y="9"/>
                              <a:pt x="9" y="9"/>
                            </a:cubicBezTo>
                            <a:cubicBezTo>
                              <a:pt x="7" y="11"/>
                              <a:pt x="4" y="11"/>
                              <a:pt x="2" y="11"/>
                            </a:cubicBezTo>
                            <a:cubicBezTo>
                              <a:pt x="1" y="11"/>
                              <a:pt x="0" y="9"/>
                              <a:pt x="1" y="9"/>
                            </a:cubicBezTo>
                            <a:cubicBezTo>
                              <a:pt x="1" y="7"/>
                              <a:pt x="3" y="5"/>
                              <a:pt x="5" y="4"/>
                            </a:cubicBezTo>
                            <a:cubicBezTo>
                              <a:pt x="5" y="3"/>
                              <a:pt x="6" y="1"/>
                              <a:pt x="7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15" name="Freeform 3437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806468" y="1631212"/>
                        <a:ext cx="16779" cy="5815"/>
                      </a:xfrm>
                      <a:custGeom>
                        <a:avLst/>
                        <a:gdLst>
                          <a:gd name="T0" fmla="*/ 4 w 12"/>
                          <a:gd name="T1" fmla="*/ 0 h 6"/>
                          <a:gd name="T2" fmla="*/ 1 w 12"/>
                          <a:gd name="T3" fmla="*/ 5 h 6"/>
                          <a:gd name="T4" fmla="*/ 10 w 12"/>
                          <a:gd name="T5" fmla="*/ 7 h 6"/>
                          <a:gd name="T6" fmla="*/ 15 w 12"/>
                          <a:gd name="T7" fmla="*/ 6 h 6"/>
                          <a:gd name="T8" fmla="*/ 10 w 12"/>
                          <a:gd name="T9" fmla="*/ 2 h 6"/>
                          <a:gd name="T10" fmla="*/ 4 w 12"/>
                          <a:gd name="T11" fmla="*/ 0 h 6"/>
                          <a:gd name="T12" fmla="*/ 0 60000 65536"/>
                          <a:gd name="T13" fmla="*/ 0 60000 65536"/>
                          <a:gd name="T14" fmla="*/ 0 60000 65536"/>
                          <a:gd name="T15" fmla="*/ 0 60000 65536"/>
                          <a:gd name="T16" fmla="*/ 0 60000 65536"/>
                          <a:gd name="T17" fmla="*/ 0 60000 65536"/>
                          <a:gd name="T18" fmla="*/ 0 w 12"/>
                          <a:gd name="T19" fmla="*/ 0 h 6"/>
                          <a:gd name="T20" fmla="*/ 12 w 12"/>
                          <a:gd name="T21" fmla="*/ 6 h 6"/>
                        </a:gdLst>
                        <a:ahLst/>
                        <a:cxnLst>
                          <a:cxn ang="T12">
                            <a:pos x="T0" y="T1"/>
                          </a:cxn>
                          <a:cxn ang="T13">
                            <a:pos x="T2" y="T3"/>
                          </a:cxn>
                          <a:cxn ang="T14">
                            <a:pos x="T4" y="T5"/>
                          </a:cxn>
                          <a:cxn ang="T15">
                            <a:pos x="T6" y="T7"/>
                          </a:cxn>
                          <a:cxn ang="T16">
                            <a:pos x="T8" y="T9"/>
                          </a:cxn>
                          <a:cxn ang="T17">
                            <a:pos x="T10" y="T11"/>
                          </a:cxn>
                        </a:cxnLst>
                        <a:rect l="T18" t="T19" r="T20" b="T21"/>
                        <a:pathLst>
                          <a:path w="12" h="6">
                            <a:moveTo>
                              <a:pt x="3" y="0"/>
                            </a:moveTo>
                            <a:cubicBezTo>
                              <a:pt x="2" y="1"/>
                              <a:pt x="0" y="3"/>
                              <a:pt x="1" y="4"/>
                            </a:cubicBezTo>
                            <a:cubicBezTo>
                              <a:pt x="3" y="5"/>
                              <a:pt x="6" y="6"/>
                              <a:pt x="8" y="6"/>
                            </a:cubicBezTo>
                            <a:cubicBezTo>
                              <a:pt x="10" y="6"/>
                              <a:pt x="12" y="6"/>
                              <a:pt x="12" y="5"/>
                            </a:cubicBezTo>
                            <a:cubicBezTo>
                              <a:pt x="12" y="3"/>
                              <a:pt x="10" y="2"/>
                              <a:pt x="8" y="2"/>
                            </a:cubicBezTo>
                            <a:cubicBezTo>
                              <a:pt x="7" y="1"/>
                              <a:pt x="5" y="0"/>
                              <a:pt x="3" y="0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16" name="Freeform 3438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950753" y="1588017"/>
                        <a:ext cx="16779" cy="5815"/>
                      </a:xfrm>
                      <a:custGeom>
                        <a:avLst/>
                        <a:gdLst>
                          <a:gd name="T0" fmla="*/ 13 w 13"/>
                          <a:gd name="T1" fmla="*/ 0 h 6"/>
                          <a:gd name="T2" fmla="*/ 15 w 13"/>
                          <a:gd name="T3" fmla="*/ 4 h 6"/>
                          <a:gd name="T4" fmla="*/ 13 w 13"/>
                          <a:gd name="T5" fmla="*/ 7 h 6"/>
                          <a:gd name="T6" fmla="*/ 8 w 13"/>
                          <a:gd name="T7" fmla="*/ 6 h 6"/>
                          <a:gd name="T8" fmla="*/ 1 w 13"/>
                          <a:gd name="T9" fmla="*/ 5 h 6"/>
                          <a:gd name="T10" fmla="*/ 0 w 13"/>
                          <a:gd name="T11" fmla="*/ 2 h 6"/>
                          <a:gd name="T12" fmla="*/ 5 w 13"/>
                          <a:gd name="T13" fmla="*/ 1 h 6"/>
                          <a:gd name="T14" fmla="*/ 8 w 13"/>
                          <a:gd name="T15" fmla="*/ 1 h 6"/>
                          <a:gd name="T16" fmla="*/ 13 w 13"/>
                          <a:gd name="T17" fmla="*/ 0 h 6"/>
                          <a:gd name="T18" fmla="*/ 0 60000 65536"/>
                          <a:gd name="T19" fmla="*/ 0 60000 65536"/>
                          <a:gd name="T20" fmla="*/ 0 60000 65536"/>
                          <a:gd name="T21" fmla="*/ 0 60000 65536"/>
                          <a:gd name="T22" fmla="*/ 0 60000 65536"/>
                          <a:gd name="T23" fmla="*/ 0 60000 65536"/>
                          <a:gd name="T24" fmla="*/ 0 60000 65536"/>
                          <a:gd name="T25" fmla="*/ 0 60000 65536"/>
                          <a:gd name="T26" fmla="*/ 0 60000 65536"/>
                          <a:gd name="T27" fmla="*/ 0 w 13"/>
                          <a:gd name="T28" fmla="*/ 0 h 6"/>
                          <a:gd name="T29" fmla="*/ 13 w 13"/>
                          <a:gd name="T30" fmla="*/ 6 h 6"/>
                        </a:gdLst>
                        <a:ahLst/>
                        <a:cxnLst>
                          <a:cxn ang="T18">
                            <a:pos x="T0" y="T1"/>
                          </a:cxn>
                          <a:cxn ang="T19">
                            <a:pos x="T2" y="T3"/>
                          </a:cxn>
                          <a:cxn ang="T20">
                            <a:pos x="T4" y="T5"/>
                          </a:cxn>
                          <a:cxn ang="T21">
                            <a:pos x="T6" y="T7"/>
                          </a:cxn>
                          <a:cxn ang="T22">
                            <a:pos x="T8" y="T9"/>
                          </a:cxn>
                          <a:cxn ang="T23">
                            <a:pos x="T10" y="T11"/>
                          </a:cxn>
                          <a:cxn ang="T24">
                            <a:pos x="T12" y="T13"/>
                          </a:cxn>
                          <a:cxn ang="T25">
                            <a:pos x="T14" y="T15"/>
                          </a:cxn>
                          <a:cxn ang="T26">
                            <a:pos x="T16" y="T17"/>
                          </a:cxn>
                        </a:cxnLst>
                        <a:rect l="T27" t="T28" r="T29" b="T30"/>
                        <a:pathLst>
                          <a:path w="13" h="6">
                            <a:moveTo>
                              <a:pt x="11" y="0"/>
                            </a:moveTo>
                            <a:cubicBezTo>
                              <a:pt x="12" y="0"/>
                              <a:pt x="13" y="2"/>
                              <a:pt x="13" y="3"/>
                            </a:cubicBezTo>
                            <a:cubicBezTo>
                              <a:pt x="13" y="4"/>
                              <a:pt x="12" y="6"/>
                              <a:pt x="11" y="6"/>
                            </a:cubicBezTo>
                            <a:cubicBezTo>
                              <a:pt x="9" y="6"/>
                              <a:pt x="8" y="5"/>
                              <a:pt x="7" y="5"/>
                            </a:cubicBezTo>
                            <a:cubicBezTo>
                              <a:pt x="5" y="4"/>
                              <a:pt x="3" y="5"/>
                              <a:pt x="1" y="4"/>
                            </a:cubicBezTo>
                            <a:cubicBezTo>
                              <a:pt x="0" y="4"/>
                              <a:pt x="0" y="2"/>
                              <a:pt x="0" y="2"/>
                            </a:cubicBezTo>
                            <a:cubicBezTo>
                              <a:pt x="1" y="1"/>
                              <a:pt x="3" y="1"/>
                              <a:pt x="4" y="1"/>
                            </a:cubicBezTo>
                            <a:cubicBezTo>
                              <a:pt x="5" y="1"/>
                              <a:pt x="6" y="1"/>
                              <a:pt x="7" y="1"/>
                            </a:cubicBezTo>
                            <a:cubicBezTo>
                              <a:pt x="9" y="1"/>
                              <a:pt x="10" y="0"/>
                              <a:pt x="11" y="0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17" name="Freeform 3439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942925" y="1583864"/>
                        <a:ext cx="8948" cy="4984"/>
                      </a:xfrm>
                      <a:custGeom>
                        <a:avLst/>
                        <a:gdLst>
                          <a:gd name="T0" fmla="*/ 5 w 7"/>
                          <a:gd name="T1" fmla="*/ 0 h 5"/>
                          <a:gd name="T2" fmla="*/ 8 w 7"/>
                          <a:gd name="T3" fmla="*/ 2 h 5"/>
                          <a:gd name="T4" fmla="*/ 5 w 7"/>
                          <a:gd name="T5" fmla="*/ 4 h 5"/>
                          <a:gd name="T6" fmla="*/ 2 w 7"/>
                          <a:gd name="T7" fmla="*/ 6 h 5"/>
                          <a:gd name="T8" fmla="*/ 0 w 7"/>
                          <a:gd name="T9" fmla="*/ 4 h 5"/>
                          <a:gd name="T10" fmla="*/ 2 w 7"/>
                          <a:gd name="T11" fmla="*/ 1 h 5"/>
                          <a:gd name="T12" fmla="*/ 5 w 7"/>
                          <a:gd name="T13" fmla="*/ 0 h 5"/>
                          <a:gd name="T14" fmla="*/ 0 60000 65536"/>
                          <a:gd name="T15" fmla="*/ 0 60000 65536"/>
                          <a:gd name="T16" fmla="*/ 0 60000 65536"/>
                          <a:gd name="T17" fmla="*/ 0 60000 65536"/>
                          <a:gd name="T18" fmla="*/ 0 60000 65536"/>
                          <a:gd name="T19" fmla="*/ 0 60000 65536"/>
                          <a:gd name="T20" fmla="*/ 0 60000 65536"/>
                          <a:gd name="T21" fmla="*/ 0 w 7"/>
                          <a:gd name="T22" fmla="*/ 0 h 5"/>
                          <a:gd name="T23" fmla="*/ 7 w 7"/>
                          <a:gd name="T24" fmla="*/ 5 h 5"/>
                        </a:gdLst>
                        <a:ahLst/>
                        <a:cxnLst>
                          <a:cxn ang="T14">
                            <a:pos x="T0" y="T1"/>
                          </a:cxn>
                          <a:cxn ang="T15">
                            <a:pos x="T2" y="T3"/>
                          </a:cxn>
                          <a:cxn ang="T16">
                            <a:pos x="T4" y="T5"/>
                          </a:cxn>
                          <a:cxn ang="T17">
                            <a:pos x="T6" y="T7"/>
                          </a:cxn>
                          <a:cxn ang="T18">
                            <a:pos x="T8" y="T9"/>
                          </a:cxn>
                          <a:cxn ang="T19">
                            <a:pos x="T10" y="T11"/>
                          </a:cxn>
                          <a:cxn ang="T20">
                            <a:pos x="T12" y="T13"/>
                          </a:cxn>
                        </a:cxnLst>
                        <a:rect l="T21" t="T22" r="T23" b="T24"/>
                        <a:pathLst>
                          <a:path w="7" h="5">
                            <a:moveTo>
                              <a:pt x="4" y="0"/>
                            </a:moveTo>
                            <a:cubicBezTo>
                              <a:pt x="5" y="0"/>
                              <a:pt x="7" y="1"/>
                              <a:pt x="7" y="2"/>
                            </a:cubicBezTo>
                            <a:cubicBezTo>
                              <a:pt x="7" y="3"/>
                              <a:pt x="5" y="2"/>
                              <a:pt x="4" y="3"/>
                            </a:cubicBezTo>
                            <a:cubicBezTo>
                              <a:pt x="3" y="3"/>
                              <a:pt x="3" y="5"/>
                              <a:pt x="2" y="5"/>
                            </a:cubicBezTo>
                            <a:cubicBezTo>
                              <a:pt x="1" y="5"/>
                              <a:pt x="0" y="4"/>
                              <a:pt x="0" y="3"/>
                            </a:cubicBezTo>
                            <a:cubicBezTo>
                              <a:pt x="0" y="2"/>
                              <a:pt x="2" y="2"/>
                              <a:pt x="2" y="1"/>
                            </a:cubicBezTo>
                            <a:cubicBezTo>
                              <a:pt x="3" y="1"/>
                              <a:pt x="3" y="0"/>
                              <a:pt x="4" y="0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18" name="Freeform 3440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853445" y="1557283"/>
                        <a:ext cx="77176" cy="39872"/>
                      </a:xfrm>
                      <a:custGeom>
                        <a:avLst/>
                        <a:gdLst>
                          <a:gd name="T0" fmla="*/ 64 w 57"/>
                          <a:gd name="T1" fmla="*/ 22 h 40"/>
                          <a:gd name="T2" fmla="*/ 65 w 57"/>
                          <a:gd name="T3" fmla="*/ 35 h 40"/>
                          <a:gd name="T4" fmla="*/ 40 w 57"/>
                          <a:gd name="T5" fmla="*/ 40 h 40"/>
                          <a:gd name="T6" fmla="*/ 19 w 57"/>
                          <a:gd name="T7" fmla="*/ 40 h 40"/>
                          <a:gd name="T8" fmla="*/ 5 w 57"/>
                          <a:gd name="T9" fmla="*/ 47 h 40"/>
                          <a:gd name="T10" fmla="*/ 1 w 57"/>
                          <a:gd name="T11" fmla="*/ 44 h 40"/>
                          <a:gd name="T12" fmla="*/ 1 w 57"/>
                          <a:gd name="T13" fmla="*/ 29 h 40"/>
                          <a:gd name="T14" fmla="*/ 6 w 57"/>
                          <a:gd name="T15" fmla="*/ 23 h 40"/>
                          <a:gd name="T16" fmla="*/ 11 w 57"/>
                          <a:gd name="T17" fmla="*/ 24 h 40"/>
                          <a:gd name="T18" fmla="*/ 8 w 57"/>
                          <a:gd name="T19" fmla="*/ 16 h 40"/>
                          <a:gd name="T20" fmla="*/ 16 w 57"/>
                          <a:gd name="T21" fmla="*/ 5 h 40"/>
                          <a:gd name="T22" fmla="*/ 22 w 57"/>
                          <a:gd name="T23" fmla="*/ 13 h 40"/>
                          <a:gd name="T24" fmla="*/ 23 w 57"/>
                          <a:gd name="T25" fmla="*/ 2 h 40"/>
                          <a:gd name="T26" fmla="*/ 29 w 57"/>
                          <a:gd name="T27" fmla="*/ 2 h 40"/>
                          <a:gd name="T28" fmla="*/ 31 w 57"/>
                          <a:gd name="T29" fmla="*/ 13 h 40"/>
                          <a:gd name="T30" fmla="*/ 36 w 57"/>
                          <a:gd name="T31" fmla="*/ 7 h 40"/>
                          <a:gd name="T32" fmla="*/ 40 w 57"/>
                          <a:gd name="T33" fmla="*/ 12 h 40"/>
                          <a:gd name="T34" fmla="*/ 44 w 57"/>
                          <a:gd name="T35" fmla="*/ 10 h 40"/>
                          <a:gd name="T36" fmla="*/ 54 w 57"/>
                          <a:gd name="T37" fmla="*/ 19 h 40"/>
                          <a:gd name="T38" fmla="*/ 56 w 57"/>
                          <a:gd name="T39" fmla="*/ 16 h 40"/>
                          <a:gd name="T40" fmla="*/ 64 w 57"/>
                          <a:gd name="T41" fmla="*/ 22 h 40"/>
                          <a:gd name="T42" fmla="*/ 0 60000 65536"/>
                          <a:gd name="T43" fmla="*/ 0 60000 65536"/>
                          <a:gd name="T44" fmla="*/ 0 60000 65536"/>
                          <a:gd name="T45" fmla="*/ 0 60000 65536"/>
                          <a:gd name="T46" fmla="*/ 0 60000 65536"/>
                          <a:gd name="T47" fmla="*/ 0 60000 65536"/>
                          <a:gd name="T48" fmla="*/ 0 60000 65536"/>
                          <a:gd name="T49" fmla="*/ 0 60000 65536"/>
                          <a:gd name="T50" fmla="*/ 0 60000 65536"/>
                          <a:gd name="T51" fmla="*/ 0 60000 65536"/>
                          <a:gd name="T52" fmla="*/ 0 60000 65536"/>
                          <a:gd name="T53" fmla="*/ 0 60000 65536"/>
                          <a:gd name="T54" fmla="*/ 0 60000 65536"/>
                          <a:gd name="T55" fmla="*/ 0 60000 65536"/>
                          <a:gd name="T56" fmla="*/ 0 60000 65536"/>
                          <a:gd name="T57" fmla="*/ 0 60000 65536"/>
                          <a:gd name="T58" fmla="*/ 0 60000 65536"/>
                          <a:gd name="T59" fmla="*/ 0 60000 65536"/>
                          <a:gd name="T60" fmla="*/ 0 60000 65536"/>
                          <a:gd name="T61" fmla="*/ 0 60000 65536"/>
                          <a:gd name="T62" fmla="*/ 0 60000 65536"/>
                          <a:gd name="T63" fmla="*/ 0 w 57"/>
                          <a:gd name="T64" fmla="*/ 0 h 40"/>
                          <a:gd name="T65" fmla="*/ 57 w 57"/>
                          <a:gd name="T66" fmla="*/ 40 h 40"/>
                        </a:gdLst>
                        <a:ahLst/>
                        <a:cxnLst>
                          <a:cxn ang="T42">
                            <a:pos x="T0" y="T1"/>
                          </a:cxn>
                          <a:cxn ang="T43">
                            <a:pos x="T2" y="T3"/>
                          </a:cxn>
                          <a:cxn ang="T44">
                            <a:pos x="T4" y="T5"/>
                          </a:cxn>
                          <a:cxn ang="T45">
                            <a:pos x="T6" y="T7"/>
                          </a:cxn>
                          <a:cxn ang="T46">
                            <a:pos x="T8" y="T9"/>
                          </a:cxn>
                          <a:cxn ang="T47">
                            <a:pos x="T10" y="T11"/>
                          </a:cxn>
                          <a:cxn ang="T48">
                            <a:pos x="T12" y="T13"/>
                          </a:cxn>
                          <a:cxn ang="T49">
                            <a:pos x="T14" y="T15"/>
                          </a:cxn>
                          <a:cxn ang="T50">
                            <a:pos x="T16" y="T17"/>
                          </a:cxn>
                          <a:cxn ang="T51">
                            <a:pos x="T18" y="T19"/>
                          </a:cxn>
                          <a:cxn ang="T52">
                            <a:pos x="T20" y="T21"/>
                          </a:cxn>
                          <a:cxn ang="T53">
                            <a:pos x="T22" y="T23"/>
                          </a:cxn>
                          <a:cxn ang="T54">
                            <a:pos x="T24" y="T25"/>
                          </a:cxn>
                          <a:cxn ang="T55">
                            <a:pos x="T26" y="T27"/>
                          </a:cxn>
                          <a:cxn ang="T56">
                            <a:pos x="T28" y="T29"/>
                          </a:cxn>
                          <a:cxn ang="T57">
                            <a:pos x="T30" y="T31"/>
                          </a:cxn>
                          <a:cxn ang="T58">
                            <a:pos x="T32" y="T33"/>
                          </a:cxn>
                          <a:cxn ang="T59">
                            <a:pos x="T34" y="T35"/>
                          </a:cxn>
                          <a:cxn ang="T60">
                            <a:pos x="T36" y="T37"/>
                          </a:cxn>
                          <a:cxn ang="T61">
                            <a:pos x="T38" y="T39"/>
                          </a:cxn>
                          <a:cxn ang="T62">
                            <a:pos x="T40" y="T41"/>
                          </a:cxn>
                        </a:cxnLst>
                        <a:rect l="T63" t="T64" r="T65" b="T66"/>
                        <a:pathLst>
                          <a:path w="57" h="40">
                            <a:moveTo>
                              <a:pt x="53" y="18"/>
                            </a:moveTo>
                            <a:cubicBezTo>
                              <a:pt x="55" y="21"/>
                              <a:pt x="57" y="27"/>
                              <a:pt x="54" y="29"/>
                            </a:cubicBezTo>
                            <a:cubicBezTo>
                              <a:pt x="48" y="30"/>
                              <a:pt x="40" y="31"/>
                              <a:pt x="33" y="33"/>
                            </a:cubicBezTo>
                            <a:cubicBezTo>
                              <a:pt x="28" y="35"/>
                              <a:pt x="22" y="32"/>
                              <a:pt x="16" y="33"/>
                            </a:cubicBezTo>
                            <a:cubicBezTo>
                              <a:pt x="12" y="34"/>
                              <a:pt x="8" y="38"/>
                              <a:pt x="4" y="39"/>
                            </a:cubicBezTo>
                            <a:cubicBezTo>
                              <a:pt x="3" y="40"/>
                              <a:pt x="1" y="38"/>
                              <a:pt x="1" y="37"/>
                            </a:cubicBezTo>
                            <a:cubicBezTo>
                              <a:pt x="0" y="33"/>
                              <a:pt x="0" y="28"/>
                              <a:pt x="1" y="24"/>
                            </a:cubicBezTo>
                            <a:cubicBezTo>
                              <a:pt x="1" y="22"/>
                              <a:pt x="3" y="20"/>
                              <a:pt x="5" y="19"/>
                            </a:cubicBezTo>
                            <a:cubicBezTo>
                              <a:pt x="6" y="19"/>
                              <a:pt x="8" y="21"/>
                              <a:pt x="9" y="20"/>
                            </a:cubicBezTo>
                            <a:cubicBezTo>
                              <a:pt x="10" y="17"/>
                              <a:pt x="7" y="15"/>
                              <a:pt x="7" y="13"/>
                            </a:cubicBezTo>
                            <a:cubicBezTo>
                              <a:pt x="8" y="10"/>
                              <a:pt x="10" y="5"/>
                              <a:pt x="13" y="4"/>
                            </a:cubicBezTo>
                            <a:cubicBezTo>
                              <a:pt x="16" y="4"/>
                              <a:pt x="15" y="12"/>
                              <a:pt x="18" y="11"/>
                            </a:cubicBezTo>
                            <a:cubicBezTo>
                              <a:pt x="20" y="10"/>
                              <a:pt x="17" y="4"/>
                              <a:pt x="19" y="2"/>
                            </a:cubicBezTo>
                            <a:cubicBezTo>
                              <a:pt x="20" y="0"/>
                              <a:pt x="23" y="0"/>
                              <a:pt x="24" y="2"/>
                            </a:cubicBezTo>
                            <a:cubicBezTo>
                              <a:pt x="26" y="4"/>
                              <a:pt x="24" y="10"/>
                              <a:pt x="26" y="11"/>
                            </a:cubicBezTo>
                            <a:cubicBezTo>
                              <a:pt x="28" y="13"/>
                              <a:pt x="28" y="6"/>
                              <a:pt x="30" y="6"/>
                            </a:cubicBezTo>
                            <a:cubicBezTo>
                              <a:pt x="32" y="5"/>
                              <a:pt x="32" y="9"/>
                              <a:pt x="33" y="10"/>
                            </a:cubicBezTo>
                            <a:cubicBezTo>
                              <a:pt x="35" y="10"/>
                              <a:pt x="35" y="7"/>
                              <a:pt x="36" y="8"/>
                            </a:cubicBezTo>
                            <a:cubicBezTo>
                              <a:pt x="40" y="9"/>
                              <a:pt x="41" y="14"/>
                              <a:pt x="45" y="16"/>
                            </a:cubicBezTo>
                            <a:cubicBezTo>
                              <a:pt x="46" y="16"/>
                              <a:pt x="45" y="13"/>
                              <a:pt x="46" y="13"/>
                            </a:cubicBezTo>
                            <a:cubicBezTo>
                              <a:pt x="49" y="14"/>
                              <a:pt x="52" y="16"/>
                              <a:pt x="53" y="18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19" name="Freeform 3441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746070" y="1538178"/>
                        <a:ext cx="105138" cy="40702"/>
                      </a:xfrm>
                      <a:custGeom>
                        <a:avLst/>
                        <a:gdLst>
                          <a:gd name="T0" fmla="*/ 78 w 78"/>
                          <a:gd name="T1" fmla="*/ 8 h 41"/>
                          <a:gd name="T2" fmla="*/ 88 w 78"/>
                          <a:gd name="T3" fmla="*/ 16 h 41"/>
                          <a:gd name="T4" fmla="*/ 89 w 78"/>
                          <a:gd name="T5" fmla="*/ 26 h 41"/>
                          <a:gd name="T6" fmla="*/ 80 w 78"/>
                          <a:gd name="T7" fmla="*/ 25 h 41"/>
                          <a:gd name="T8" fmla="*/ 80 w 78"/>
                          <a:gd name="T9" fmla="*/ 30 h 41"/>
                          <a:gd name="T10" fmla="*/ 92 w 78"/>
                          <a:gd name="T11" fmla="*/ 38 h 41"/>
                          <a:gd name="T12" fmla="*/ 92 w 78"/>
                          <a:gd name="T13" fmla="*/ 47 h 41"/>
                          <a:gd name="T14" fmla="*/ 69 w 78"/>
                          <a:gd name="T15" fmla="*/ 47 h 41"/>
                          <a:gd name="T16" fmla="*/ 54 w 78"/>
                          <a:gd name="T17" fmla="*/ 41 h 41"/>
                          <a:gd name="T18" fmla="*/ 42 w 78"/>
                          <a:gd name="T19" fmla="*/ 37 h 41"/>
                          <a:gd name="T20" fmla="*/ 36 w 78"/>
                          <a:gd name="T21" fmla="*/ 33 h 41"/>
                          <a:gd name="T22" fmla="*/ 30 w 78"/>
                          <a:gd name="T23" fmla="*/ 36 h 41"/>
                          <a:gd name="T24" fmla="*/ 16 w 78"/>
                          <a:gd name="T25" fmla="*/ 30 h 41"/>
                          <a:gd name="T26" fmla="*/ 16 w 78"/>
                          <a:gd name="T27" fmla="*/ 24 h 41"/>
                          <a:gd name="T28" fmla="*/ 1 w 78"/>
                          <a:gd name="T29" fmla="*/ 23 h 41"/>
                          <a:gd name="T30" fmla="*/ 1 w 78"/>
                          <a:gd name="T31" fmla="*/ 19 h 41"/>
                          <a:gd name="T32" fmla="*/ 17 w 78"/>
                          <a:gd name="T33" fmla="*/ 16 h 41"/>
                          <a:gd name="T34" fmla="*/ 18 w 78"/>
                          <a:gd name="T35" fmla="*/ 8 h 41"/>
                          <a:gd name="T36" fmla="*/ 28 w 78"/>
                          <a:gd name="T37" fmla="*/ 5 h 41"/>
                          <a:gd name="T38" fmla="*/ 41 w 78"/>
                          <a:gd name="T39" fmla="*/ 4 h 41"/>
                          <a:gd name="T40" fmla="*/ 49 w 78"/>
                          <a:gd name="T41" fmla="*/ 0 h 41"/>
                          <a:gd name="T42" fmla="*/ 60 w 78"/>
                          <a:gd name="T43" fmla="*/ 6 h 41"/>
                          <a:gd name="T44" fmla="*/ 60 w 78"/>
                          <a:gd name="T45" fmla="*/ 12 h 41"/>
                          <a:gd name="T46" fmla="*/ 57 w 78"/>
                          <a:gd name="T47" fmla="*/ 18 h 41"/>
                          <a:gd name="T48" fmla="*/ 60 w 78"/>
                          <a:gd name="T49" fmla="*/ 18 h 41"/>
                          <a:gd name="T50" fmla="*/ 65 w 78"/>
                          <a:gd name="T51" fmla="*/ 12 h 41"/>
                          <a:gd name="T52" fmla="*/ 66 w 78"/>
                          <a:gd name="T53" fmla="*/ 6 h 41"/>
                          <a:gd name="T54" fmla="*/ 72 w 78"/>
                          <a:gd name="T55" fmla="*/ 6 h 41"/>
                          <a:gd name="T56" fmla="*/ 75 w 78"/>
                          <a:gd name="T57" fmla="*/ 8 h 41"/>
                          <a:gd name="T58" fmla="*/ 78 w 78"/>
                          <a:gd name="T59" fmla="*/ 8 h 41"/>
                          <a:gd name="T60" fmla="*/ 0 60000 65536"/>
                          <a:gd name="T61" fmla="*/ 0 60000 65536"/>
                          <a:gd name="T62" fmla="*/ 0 60000 65536"/>
                          <a:gd name="T63" fmla="*/ 0 60000 65536"/>
                          <a:gd name="T64" fmla="*/ 0 60000 65536"/>
                          <a:gd name="T65" fmla="*/ 0 60000 65536"/>
                          <a:gd name="T66" fmla="*/ 0 60000 65536"/>
                          <a:gd name="T67" fmla="*/ 0 60000 65536"/>
                          <a:gd name="T68" fmla="*/ 0 60000 65536"/>
                          <a:gd name="T69" fmla="*/ 0 60000 65536"/>
                          <a:gd name="T70" fmla="*/ 0 60000 65536"/>
                          <a:gd name="T71" fmla="*/ 0 60000 65536"/>
                          <a:gd name="T72" fmla="*/ 0 60000 65536"/>
                          <a:gd name="T73" fmla="*/ 0 60000 65536"/>
                          <a:gd name="T74" fmla="*/ 0 60000 65536"/>
                          <a:gd name="T75" fmla="*/ 0 60000 65536"/>
                          <a:gd name="T76" fmla="*/ 0 60000 65536"/>
                          <a:gd name="T77" fmla="*/ 0 60000 65536"/>
                          <a:gd name="T78" fmla="*/ 0 60000 65536"/>
                          <a:gd name="T79" fmla="*/ 0 60000 65536"/>
                          <a:gd name="T80" fmla="*/ 0 60000 65536"/>
                          <a:gd name="T81" fmla="*/ 0 60000 65536"/>
                          <a:gd name="T82" fmla="*/ 0 60000 65536"/>
                          <a:gd name="T83" fmla="*/ 0 60000 65536"/>
                          <a:gd name="T84" fmla="*/ 0 60000 65536"/>
                          <a:gd name="T85" fmla="*/ 0 60000 65536"/>
                          <a:gd name="T86" fmla="*/ 0 60000 65536"/>
                          <a:gd name="T87" fmla="*/ 0 60000 65536"/>
                          <a:gd name="T88" fmla="*/ 0 60000 65536"/>
                          <a:gd name="T89" fmla="*/ 0 60000 65536"/>
                          <a:gd name="T90" fmla="*/ 0 w 78"/>
                          <a:gd name="T91" fmla="*/ 0 h 41"/>
                          <a:gd name="T92" fmla="*/ 78 w 78"/>
                          <a:gd name="T93" fmla="*/ 41 h 41"/>
                        </a:gdLst>
                        <a:ahLst/>
                        <a:cxnLst>
                          <a:cxn ang="T60">
                            <a:pos x="T0" y="T1"/>
                          </a:cxn>
                          <a:cxn ang="T61">
                            <a:pos x="T2" y="T3"/>
                          </a:cxn>
                          <a:cxn ang="T62">
                            <a:pos x="T4" y="T5"/>
                          </a:cxn>
                          <a:cxn ang="T63">
                            <a:pos x="T6" y="T7"/>
                          </a:cxn>
                          <a:cxn ang="T64">
                            <a:pos x="T8" y="T9"/>
                          </a:cxn>
                          <a:cxn ang="T65">
                            <a:pos x="T10" y="T11"/>
                          </a:cxn>
                          <a:cxn ang="T66">
                            <a:pos x="T12" y="T13"/>
                          </a:cxn>
                          <a:cxn ang="T67">
                            <a:pos x="T14" y="T15"/>
                          </a:cxn>
                          <a:cxn ang="T68">
                            <a:pos x="T16" y="T17"/>
                          </a:cxn>
                          <a:cxn ang="T69">
                            <a:pos x="T18" y="T19"/>
                          </a:cxn>
                          <a:cxn ang="T70">
                            <a:pos x="T20" y="T21"/>
                          </a:cxn>
                          <a:cxn ang="T71">
                            <a:pos x="T22" y="T23"/>
                          </a:cxn>
                          <a:cxn ang="T72">
                            <a:pos x="T24" y="T25"/>
                          </a:cxn>
                          <a:cxn ang="T73">
                            <a:pos x="T26" y="T27"/>
                          </a:cxn>
                          <a:cxn ang="T74">
                            <a:pos x="T28" y="T29"/>
                          </a:cxn>
                          <a:cxn ang="T75">
                            <a:pos x="T30" y="T31"/>
                          </a:cxn>
                          <a:cxn ang="T76">
                            <a:pos x="T32" y="T33"/>
                          </a:cxn>
                          <a:cxn ang="T77">
                            <a:pos x="T34" y="T35"/>
                          </a:cxn>
                          <a:cxn ang="T78">
                            <a:pos x="T36" y="T37"/>
                          </a:cxn>
                          <a:cxn ang="T79">
                            <a:pos x="T38" y="T39"/>
                          </a:cxn>
                          <a:cxn ang="T80">
                            <a:pos x="T40" y="T41"/>
                          </a:cxn>
                          <a:cxn ang="T81">
                            <a:pos x="T42" y="T43"/>
                          </a:cxn>
                          <a:cxn ang="T82">
                            <a:pos x="T44" y="T45"/>
                          </a:cxn>
                          <a:cxn ang="T83">
                            <a:pos x="T46" y="T47"/>
                          </a:cxn>
                          <a:cxn ang="T84">
                            <a:pos x="T48" y="T49"/>
                          </a:cxn>
                          <a:cxn ang="T85">
                            <a:pos x="T50" y="T51"/>
                          </a:cxn>
                          <a:cxn ang="T86">
                            <a:pos x="T52" y="T53"/>
                          </a:cxn>
                          <a:cxn ang="T87">
                            <a:pos x="T54" y="T55"/>
                          </a:cxn>
                          <a:cxn ang="T88">
                            <a:pos x="T56" y="T57"/>
                          </a:cxn>
                          <a:cxn ang="T89">
                            <a:pos x="T58" y="T59"/>
                          </a:cxn>
                        </a:cxnLst>
                        <a:rect l="T90" t="T91" r="T92" b="T93"/>
                        <a:pathLst>
                          <a:path w="78" h="41">
                            <a:moveTo>
                              <a:pt x="65" y="7"/>
                            </a:moveTo>
                            <a:cubicBezTo>
                              <a:pt x="68" y="8"/>
                              <a:pt x="71" y="10"/>
                              <a:pt x="73" y="13"/>
                            </a:cubicBezTo>
                            <a:cubicBezTo>
                              <a:pt x="75" y="15"/>
                              <a:pt x="76" y="20"/>
                              <a:pt x="74" y="22"/>
                            </a:cubicBezTo>
                            <a:cubicBezTo>
                              <a:pt x="73" y="24"/>
                              <a:pt x="69" y="20"/>
                              <a:pt x="66" y="21"/>
                            </a:cubicBezTo>
                            <a:cubicBezTo>
                              <a:pt x="65" y="22"/>
                              <a:pt x="65" y="24"/>
                              <a:pt x="66" y="25"/>
                            </a:cubicBezTo>
                            <a:cubicBezTo>
                              <a:pt x="69" y="28"/>
                              <a:pt x="73" y="29"/>
                              <a:pt x="76" y="32"/>
                            </a:cubicBezTo>
                            <a:cubicBezTo>
                              <a:pt x="77" y="34"/>
                              <a:pt x="78" y="38"/>
                              <a:pt x="76" y="39"/>
                            </a:cubicBezTo>
                            <a:cubicBezTo>
                              <a:pt x="70" y="41"/>
                              <a:pt x="63" y="40"/>
                              <a:pt x="57" y="39"/>
                            </a:cubicBezTo>
                            <a:cubicBezTo>
                              <a:pt x="53" y="38"/>
                              <a:pt x="49" y="36"/>
                              <a:pt x="45" y="34"/>
                            </a:cubicBezTo>
                            <a:cubicBezTo>
                              <a:pt x="41" y="33"/>
                              <a:pt x="38" y="33"/>
                              <a:pt x="35" y="31"/>
                            </a:cubicBezTo>
                            <a:cubicBezTo>
                              <a:pt x="33" y="30"/>
                              <a:pt x="32" y="28"/>
                              <a:pt x="30" y="28"/>
                            </a:cubicBezTo>
                            <a:cubicBezTo>
                              <a:pt x="28" y="27"/>
                              <a:pt x="26" y="30"/>
                              <a:pt x="25" y="30"/>
                            </a:cubicBezTo>
                            <a:cubicBezTo>
                              <a:pt x="20" y="29"/>
                              <a:pt x="16" y="28"/>
                              <a:pt x="13" y="25"/>
                            </a:cubicBezTo>
                            <a:cubicBezTo>
                              <a:pt x="11" y="24"/>
                              <a:pt x="14" y="20"/>
                              <a:pt x="13" y="20"/>
                            </a:cubicBezTo>
                            <a:cubicBezTo>
                              <a:pt x="9" y="18"/>
                              <a:pt x="4" y="20"/>
                              <a:pt x="1" y="19"/>
                            </a:cubicBezTo>
                            <a:cubicBezTo>
                              <a:pt x="0" y="19"/>
                              <a:pt x="0" y="17"/>
                              <a:pt x="1" y="16"/>
                            </a:cubicBezTo>
                            <a:cubicBezTo>
                              <a:pt x="5" y="15"/>
                              <a:pt x="10" y="16"/>
                              <a:pt x="14" y="13"/>
                            </a:cubicBezTo>
                            <a:cubicBezTo>
                              <a:pt x="16" y="12"/>
                              <a:pt x="13" y="9"/>
                              <a:pt x="15" y="7"/>
                            </a:cubicBezTo>
                            <a:cubicBezTo>
                              <a:pt x="17" y="5"/>
                              <a:pt x="20" y="5"/>
                              <a:pt x="23" y="4"/>
                            </a:cubicBezTo>
                            <a:cubicBezTo>
                              <a:pt x="27" y="3"/>
                              <a:pt x="30" y="4"/>
                              <a:pt x="34" y="3"/>
                            </a:cubicBezTo>
                            <a:cubicBezTo>
                              <a:pt x="37" y="3"/>
                              <a:pt x="39" y="0"/>
                              <a:pt x="41" y="0"/>
                            </a:cubicBezTo>
                            <a:cubicBezTo>
                              <a:pt x="44" y="1"/>
                              <a:pt x="48" y="2"/>
                              <a:pt x="50" y="5"/>
                            </a:cubicBezTo>
                            <a:cubicBezTo>
                              <a:pt x="51" y="6"/>
                              <a:pt x="50" y="8"/>
                              <a:pt x="50" y="10"/>
                            </a:cubicBezTo>
                            <a:cubicBezTo>
                              <a:pt x="49" y="12"/>
                              <a:pt x="47" y="13"/>
                              <a:pt x="47" y="15"/>
                            </a:cubicBezTo>
                            <a:cubicBezTo>
                              <a:pt x="47" y="16"/>
                              <a:pt x="49" y="16"/>
                              <a:pt x="50" y="15"/>
                            </a:cubicBezTo>
                            <a:cubicBezTo>
                              <a:pt x="52" y="14"/>
                              <a:pt x="53" y="12"/>
                              <a:pt x="54" y="10"/>
                            </a:cubicBezTo>
                            <a:cubicBezTo>
                              <a:pt x="55" y="9"/>
                              <a:pt x="53" y="6"/>
                              <a:pt x="55" y="5"/>
                            </a:cubicBezTo>
                            <a:cubicBezTo>
                              <a:pt x="56" y="4"/>
                              <a:pt x="58" y="5"/>
                              <a:pt x="60" y="5"/>
                            </a:cubicBezTo>
                            <a:cubicBezTo>
                              <a:pt x="61" y="6"/>
                              <a:pt x="61" y="7"/>
                              <a:pt x="62" y="7"/>
                            </a:cubicBezTo>
                            <a:cubicBezTo>
                              <a:pt x="63" y="8"/>
                              <a:pt x="64" y="6"/>
                              <a:pt x="65" y="7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20" name="Freeform 3442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718108" y="1510766"/>
                        <a:ext cx="83887" cy="32397"/>
                      </a:xfrm>
                      <a:custGeom>
                        <a:avLst/>
                        <a:gdLst>
                          <a:gd name="T0" fmla="*/ 46 w 62"/>
                          <a:gd name="T1" fmla="*/ 1 h 33"/>
                          <a:gd name="T2" fmla="*/ 65 w 62"/>
                          <a:gd name="T3" fmla="*/ 14 h 33"/>
                          <a:gd name="T4" fmla="*/ 75 w 62"/>
                          <a:gd name="T5" fmla="*/ 15 h 33"/>
                          <a:gd name="T6" fmla="*/ 69 w 62"/>
                          <a:gd name="T7" fmla="*/ 20 h 33"/>
                          <a:gd name="T8" fmla="*/ 74 w 62"/>
                          <a:gd name="T9" fmla="*/ 30 h 33"/>
                          <a:gd name="T10" fmla="*/ 63 w 62"/>
                          <a:gd name="T11" fmla="*/ 33 h 33"/>
                          <a:gd name="T12" fmla="*/ 51 w 62"/>
                          <a:gd name="T13" fmla="*/ 35 h 33"/>
                          <a:gd name="T14" fmla="*/ 38 w 62"/>
                          <a:gd name="T15" fmla="*/ 37 h 33"/>
                          <a:gd name="T16" fmla="*/ 29 w 62"/>
                          <a:gd name="T17" fmla="*/ 39 h 33"/>
                          <a:gd name="T18" fmla="*/ 12 w 62"/>
                          <a:gd name="T19" fmla="*/ 37 h 33"/>
                          <a:gd name="T20" fmla="*/ 0 w 62"/>
                          <a:gd name="T21" fmla="*/ 33 h 33"/>
                          <a:gd name="T22" fmla="*/ 0 w 62"/>
                          <a:gd name="T23" fmla="*/ 31 h 33"/>
                          <a:gd name="T24" fmla="*/ 11 w 62"/>
                          <a:gd name="T25" fmla="*/ 26 h 33"/>
                          <a:gd name="T26" fmla="*/ 11 w 62"/>
                          <a:gd name="T27" fmla="*/ 20 h 33"/>
                          <a:gd name="T28" fmla="*/ 25 w 62"/>
                          <a:gd name="T29" fmla="*/ 12 h 33"/>
                          <a:gd name="T30" fmla="*/ 36 w 62"/>
                          <a:gd name="T31" fmla="*/ 11 h 33"/>
                          <a:gd name="T32" fmla="*/ 40 w 62"/>
                          <a:gd name="T33" fmla="*/ 6 h 33"/>
                          <a:gd name="T34" fmla="*/ 40 w 62"/>
                          <a:gd name="T35" fmla="*/ 2 h 33"/>
                          <a:gd name="T36" fmla="*/ 46 w 62"/>
                          <a:gd name="T37" fmla="*/ 1 h 33"/>
                          <a:gd name="T38" fmla="*/ 0 60000 65536"/>
                          <a:gd name="T39" fmla="*/ 0 60000 65536"/>
                          <a:gd name="T40" fmla="*/ 0 60000 65536"/>
                          <a:gd name="T41" fmla="*/ 0 60000 65536"/>
                          <a:gd name="T42" fmla="*/ 0 60000 65536"/>
                          <a:gd name="T43" fmla="*/ 0 60000 65536"/>
                          <a:gd name="T44" fmla="*/ 0 60000 65536"/>
                          <a:gd name="T45" fmla="*/ 0 60000 65536"/>
                          <a:gd name="T46" fmla="*/ 0 60000 65536"/>
                          <a:gd name="T47" fmla="*/ 0 60000 65536"/>
                          <a:gd name="T48" fmla="*/ 0 60000 65536"/>
                          <a:gd name="T49" fmla="*/ 0 60000 65536"/>
                          <a:gd name="T50" fmla="*/ 0 60000 65536"/>
                          <a:gd name="T51" fmla="*/ 0 60000 65536"/>
                          <a:gd name="T52" fmla="*/ 0 60000 65536"/>
                          <a:gd name="T53" fmla="*/ 0 60000 65536"/>
                          <a:gd name="T54" fmla="*/ 0 60000 65536"/>
                          <a:gd name="T55" fmla="*/ 0 60000 65536"/>
                          <a:gd name="T56" fmla="*/ 0 60000 65536"/>
                          <a:gd name="T57" fmla="*/ 0 w 62"/>
                          <a:gd name="T58" fmla="*/ 0 h 33"/>
                          <a:gd name="T59" fmla="*/ 62 w 62"/>
                          <a:gd name="T60" fmla="*/ 33 h 33"/>
                        </a:gdLst>
                        <a:ahLst/>
                        <a:cxnLst>
                          <a:cxn ang="T38">
                            <a:pos x="T0" y="T1"/>
                          </a:cxn>
                          <a:cxn ang="T39">
                            <a:pos x="T2" y="T3"/>
                          </a:cxn>
                          <a:cxn ang="T40">
                            <a:pos x="T4" y="T5"/>
                          </a:cxn>
                          <a:cxn ang="T41">
                            <a:pos x="T6" y="T7"/>
                          </a:cxn>
                          <a:cxn ang="T42">
                            <a:pos x="T8" y="T9"/>
                          </a:cxn>
                          <a:cxn ang="T43">
                            <a:pos x="T10" y="T11"/>
                          </a:cxn>
                          <a:cxn ang="T44">
                            <a:pos x="T12" y="T13"/>
                          </a:cxn>
                          <a:cxn ang="T45">
                            <a:pos x="T14" y="T15"/>
                          </a:cxn>
                          <a:cxn ang="T46">
                            <a:pos x="T16" y="T17"/>
                          </a:cxn>
                          <a:cxn ang="T47">
                            <a:pos x="T18" y="T19"/>
                          </a:cxn>
                          <a:cxn ang="T48">
                            <a:pos x="T20" y="T21"/>
                          </a:cxn>
                          <a:cxn ang="T49">
                            <a:pos x="T22" y="T23"/>
                          </a:cxn>
                          <a:cxn ang="T50">
                            <a:pos x="T24" y="T25"/>
                          </a:cxn>
                          <a:cxn ang="T51">
                            <a:pos x="T26" y="T27"/>
                          </a:cxn>
                          <a:cxn ang="T52">
                            <a:pos x="T28" y="T29"/>
                          </a:cxn>
                          <a:cxn ang="T53">
                            <a:pos x="T30" y="T31"/>
                          </a:cxn>
                          <a:cxn ang="T54">
                            <a:pos x="T32" y="T33"/>
                          </a:cxn>
                          <a:cxn ang="T55">
                            <a:pos x="T34" y="T35"/>
                          </a:cxn>
                          <a:cxn ang="T56">
                            <a:pos x="T36" y="T37"/>
                          </a:cxn>
                        </a:cxnLst>
                        <a:rect l="T57" t="T58" r="T59" b="T60"/>
                        <a:pathLst>
                          <a:path w="62" h="33">
                            <a:moveTo>
                              <a:pt x="38" y="1"/>
                            </a:moveTo>
                            <a:cubicBezTo>
                              <a:pt x="44" y="4"/>
                              <a:pt x="49" y="9"/>
                              <a:pt x="54" y="12"/>
                            </a:cubicBezTo>
                            <a:cubicBezTo>
                              <a:pt x="57" y="13"/>
                              <a:pt x="61" y="11"/>
                              <a:pt x="62" y="13"/>
                            </a:cubicBezTo>
                            <a:cubicBezTo>
                              <a:pt x="62" y="15"/>
                              <a:pt x="57" y="15"/>
                              <a:pt x="57" y="17"/>
                            </a:cubicBezTo>
                            <a:cubicBezTo>
                              <a:pt x="57" y="20"/>
                              <a:pt x="62" y="23"/>
                              <a:pt x="61" y="25"/>
                            </a:cubicBezTo>
                            <a:cubicBezTo>
                              <a:pt x="60" y="28"/>
                              <a:pt x="55" y="27"/>
                              <a:pt x="52" y="28"/>
                            </a:cubicBezTo>
                            <a:cubicBezTo>
                              <a:pt x="49" y="28"/>
                              <a:pt x="46" y="29"/>
                              <a:pt x="42" y="30"/>
                            </a:cubicBezTo>
                            <a:cubicBezTo>
                              <a:pt x="38" y="31"/>
                              <a:pt x="34" y="31"/>
                              <a:pt x="31" y="31"/>
                            </a:cubicBezTo>
                            <a:cubicBezTo>
                              <a:pt x="28" y="31"/>
                              <a:pt x="26" y="33"/>
                              <a:pt x="24" y="33"/>
                            </a:cubicBezTo>
                            <a:cubicBezTo>
                              <a:pt x="19" y="33"/>
                              <a:pt x="15" y="32"/>
                              <a:pt x="10" y="31"/>
                            </a:cubicBezTo>
                            <a:cubicBezTo>
                              <a:pt x="7" y="30"/>
                              <a:pt x="3" y="30"/>
                              <a:pt x="0" y="28"/>
                            </a:cubicBezTo>
                            <a:cubicBezTo>
                              <a:pt x="0" y="28"/>
                              <a:pt x="0" y="26"/>
                              <a:pt x="0" y="26"/>
                            </a:cubicBezTo>
                            <a:cubicBezTo>
                              <a:pt x="3" y="24"/>
                              <a:pt x="7" y="24"/>
                              <a:pt x="9" y="22"/>
                            </a:cubicBezTo>
                            <a:cubicBezTo>
                              <a:pt x="11" y="21"/>
                              <a:pt x="8" y="19"/>
                              <a:pt x="9" y="17"/>
                            </a:cubicBezTo>
                            <a:cubicBezTo>
                              <a:pt x="13" y="14"/>
                              <a:pt x="17" y="12"/>
                              <a:pt x="21" y="10"/>
                            </a:cubicBezTo>
                            <a:cubicBezTo>
                              <a:pt x="24" y="9"/>
                              <a:pt x="27" y="10"/>
                              <a:pt x="30" y="9"/>
                            </a:cubicBezTo>
                            <a:cubicBezTo>
                              <a:pt x="32" y="8"/>
                              <a:pt x="32" y="7"/>
                              <a:pt x="33" y="5"/>
                            </a:cubicBezTo>
                            <a:cubicBezTo>
                              <a:pt x="34" y="4"/>
                              <a:pt x="32" y="3"/>
                              <a:pt x="33" y="2"/>
                            </a:cubicBezTo>
                            <a:cubicBezTo>
                              <a:pt x="35" y="1"/>
                              <a:pt x="37" y="0"/>
                              <a:pt x="38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21" name="Freeform 3444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6058130" y="1675238"/>
                        <a:ext cx="20133" cy="9968"/>
                      </a:xfrm>
                      <a:custGeom>
                        <a:avLst/>
                        <a:gdLst>
                          <a:gd name="T0" fmla="*/ 4 w 15"/>
                          <a:gd name="T1" fmla="*/ 0 h 10"/>
                          <a:gd name="T2" fmla="*/ 2 w 15"/>
                          <a:gd name="T3" fmla="*/ 2 h 10"/>
                          <a:gd name="T4" fmla="*/ 4 w 15"/>
                          <a:gd name="T5" fmla="*/ 7 h 10"/>
                          <a:gd name="T6" fmla="*/ 0 w 15"/>
                          <a:gd name="T7" fmla="*/ 7 h 10"/>
                          <a:gd name="T8" fmla="*/ 4 w 15"/>
                          <a:gd name="T9" fmla="*/ 11 h 10"/>
                          <a:gd name="T10" fmla="*/ 13 w 15"/>
                          <a:gd name="T11" fmla="*/ 12 h 10"/>
                          <a:gd name="T12" fmla="*/ 18 w 15"/>
                          <a:gd name="T13" fmla="*/ 5 h 10"/>
                          <a:gd name="T14" fmla="*/ 16 w 15"/>
                          <a:gd name="T15" fmla="*/ 2 h 10"/>
                          <a:gd name="T16" fmla="*/ 8 w 15"/>
                          <a:gd name="T17" fmla="*/ 1 h 10"/>
                          <a:gd name="T18" fmla="*/ 4 w 15"/>
                          <a:gd name="T19" fmla="*/ 0 h 10"/>
                          <a:gd name="T20" fmla="*/ 0 60000 65536"/>
                          <a:gd name="T21" fmla="*/ 0 60000 65536"/>
                          <a:gd name="T22" fmla="*/ 0 60000 65536"/>
                          <a:gd name="T23" fmla="*/ 0 60000 65536"/>
                          <a:gd name="T24" fmla="*/ 0 60000 65536"/>
                          <a:gd name="T25" fmla="*/ 0 60000 65536"/>
                          <a:gd name="T26" fmla="*/ 0 60000 65536"/>
                          <a:gd name="T27" fmla="*/ 0 60000 65536"/>
                          <a:gd name="T28" fmla="*/ 0 60000 65536"/>
                          <a:gd name="T29" fmla="*/ 0 60000 65536"/>
                          <a:gd name="T30" fmla="*/ 0 w 15"/>
                          <a:gd name="T31" fmla="*/ 0 h 10"/>
                          <a:gd name="T32" fmla="*/ 15 w 15"/>
                          <a:gd name="T33" fmla="*/ 10 h 10"/>
                        </a:gdLst>
                        <a:ahLst/>
                        <a:cxnLst>
                          <a:cxn ang="T20">
                            <a:pos x="T0" y="T1"/>
                          </a:cxn>
                          <a:cxn ang="T21">
                            <a:pos x="T2" y="T3"/>
                          </a:cxn>
                          <a:cxn ang="T22">
                            <a:pos x="T4" y="T5"/>
                          </a:cxn>
                          <a:cxn ang="T23">
                            <a:pos x="T6" y="T7"/>
                          </a:cxn>
                          <a:cxn ang="T24">
                            <a:pos x="T8" y="T9"/>
                          </a:cxn>
                          <a:cxn ang="T25">
                            <a:pos x="T10" y="T11"/>
                          </a:cxn>
                          <a:cxn ang="T26">
                            <a:pos x="T12" y="T13"/>
                          </a:cxn>
                          <a:cxn ang="T27">
                            <a:pos x="T14" y="T15"/>
                          </a:cxn>
                          <a:cxn ang="T28">
                            <a:pos x="T16" y="T17"/>
                          </a:cxn>
                          <a:cxn ang="T29">
                            <a:pos x="T18" y="T19"/>
                          </a:cxn>
                        </a:cxnLst>
                        <a:rect l="T30" t="T31" r="T32" b="T33"/>
                        <a:pathLst>
                          <a:path w="15" h="10">
                            <a:moveTo>
                              <a:pt x="3" y="0"/>
                            </a:moveTo>
                            <a:cubicBezTo>
                              <a:pt x="2" y="0"/>
                              <a:pt x="2" y="1"/>
                              <a:pt x="2" y="2"/>
                            </a:cubicBezTo>
                            <a:cubicBezTo>
                              <a:pt x="2" y="3"/>
                              <a:pt x="4" y="5"/>
                              <a:pt x="3" y="6"/>
                            </a:cubicBezTo>
                            <a:cubicBezTo>
                              <a:pt x="3" y="7"/>
                              <a:pt x="0" y="5"/>
                              <a:pt x="0" y="6"/>
                            </a:cubicBezTo>
                            <a:cubicBezTo>
                              <a:pt x="0" y="7"/>
                              <a:pt x="1" y="9"/>
                              <a:pt x="3" y="9"/>
                            </a:cubicBezTo>
                            <a:cubicBezTo>
                              <a:pt x="5" y="9"/>
                              <a:pt x="9" y="10"/>
                              <a:pt x="11" y="10"/>
                            </a:cubicBezTo>
                            <a:cubicBezTo>
                              <a:pt x="13" y="10"/>
                              <a:pt x="14" y="7"/>
                              <a:pt x="15" y="4"/>
                            </a:cubicBezTo>
                            <a:cubicBezTo>
                              <a:pt x="15" y="3"/>
                              <a:pt x="14" y="2"/>
                              <a:pt x="13" y="2"/>
                            </a:cubicBezTo>
                            <a:cubicBezTo>
                              <a:pt x="11" y="1"/>
                              <a:pt x="9" y="1"/>
                              <a:pt x="7" y="1"/>
                            </a:cubicBezTo>
                            <a:cubicBezTo>
                              <a:pt x="6" y="1"/>
                              <a:pt x="4" y="0"/>
                              <a:pt x="3" y="0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22" name="Freeform 3445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6392557" y="1645335"/>
                        <a:ext cx="7830" cy="12461"/>
                      </a:xfrm>
                      <a:custGeom>
                        <a:avLst/>
                        <a:gdLst>
                          <a:gd name="T0" fmla="*/ 1 w 6"/>
                          <a:gd name="T1" fmla="*/ 1 h 13"/>
                          <a:gd name="T2" fmla="*/ 6 w 6"/>
                          <a:gd name="T3" fmla="*/ 8 h 13"/>
                          <a:gd name="T4" fmla="*/ 6 w 6"/>
                          <a:gd name="T5" fmla="*/ 14 h 13"/>
                          <a:gd name="T6" fmla="*/ 2 w 6"/>
                          <a:gd name="T7" fmla="*/ 14 h 13"/>
                          <a:gd name="T8" fmla="*/ 0 w 6"/>
                          <a:gd name="T9" fmla="*/ 5 h 13"/>
                          <a:gd name="T10" fmla="*/ 1 w 6"/>
                          <a:gd name="T11" fmla="*/ 1 h 13"/>
                          <a:gd name="T12" fmla="*/ 0 60000 65536"/>
                          <a:gd name="T13" fmla="*/ 0 60000 65536"/>
                          <a:gd name="T14" fmla="*/ 0 60000 65536"/>
                          <a:gd name="T15" fmla="*/ 0 60000 65536"/>
                          <a:gd name="T16" fmla="*/ 0 60000 65536"/>
                          <a:gd name="T17" fmla="*/ 0 60000 65536"/>
                          <a:gd name="T18" fmla="*/ 0 w 6"/>
                          <a:gd name="T19" fmla="*/ 0 h 13"/>
                          <a:gd name="T20" fmla="*/ 6 w 6"/>
                          <a:gd name="T21" fmla="*/ 13 h 13"/>
                        </a:gdLst>
                        <a:ahLst/>
                        <a:cxnLst>
                          <a:cxn ang="T12">
                            <a:pos x="T0" y="T1"/>
                          </a:cxn>
                          <a:cxn ang="T13">
                            <a:pos x="T2" y="T3"/>
                          </a:cxn>
                          <a:cxn ang="T14">
                            <a:pos x="T4" y="T5"/>
                          </a:cxn>
                          <a:cxn ang="T15">
                            <a:pos x="T6" y="T7"/>
                          </a:cxn>
                          <a:cxn ang="T16">
                            <a:pos x="T8" y="T9"/>
                          </a:cxn>
                          <a:cxn ang="T17">
                            <a:pos x="T10" y="T11"/>
                          </a:cxn>
                        </a:cxnLst>
                        <a:rect l="T18" t="T19" r="T20" b="T21"/>
                        <a:pathLst>
                          <a:path w="6" h="13">
                            <a:moveTo>
                              <a:pt x="1" y="1"/>
                            </a:moveTo>
                            <a:cubicBezTo>
                              <a:pt x="3" y="2"/>
                              <a:pt x="4" y="4"/>
                              <a:pt x="5" y="7"/>
                            </a:cubicBezTo>
                            <a:cubicBezTo>
                              <a:pt x="5" y="8"/>
                              <a:pt x="6" y="11"/>
                              <a:pt x="5" y="12"/>
                            </a:cubicBezTo>
                            <a:cubicBezTo>
                              <a:pt x="4" y="13"/>
                              <a:pt x="2" y="13"/>
                              <a:pt x="2" y="12"/>
                            </a:cubicBezTo>
                            <a:cubicBezTo>
                              <a:pt x="1" y="9"/>
                              <a:pt x="1" y="7"/>
                              <a:pt x="0" y="4"/>
                            </a:cubicBezTo>
                            <a:cubicBezTo>
                              <a:pt x="0" y="3"/>
                              <a:pt x="0" y="0"/>
                              <a:pt x="1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23" name="Freeform 3446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6471970" y="1681052"/>
                        <a:ext cx="14540" cy="10799"/>
                      </a:xfrm>
                      <a:custGeom>
                        <a:avLst/>
                        <a:gdLst>
                          <a:gd name="T0" fmla="*/ 2 w 11"/>
                          <a:gd name="T1" fmla="*/ 1 h 11"/>
                          <a:gd name="T2" fmla="*/ 0 w 11"/>
                          <a:gd name="T3" fmla="*/ 5 h 11"/>
                          <a:gd name="T4" fmla="*/ 4 w 11"/>
                          <a:gd name="T5" fmla="*/ 12 h 11"/>
                          <a:gd name="T6" fmla="*/ 9 w 11"/>
                          <a:gd name="T7" fmla="*/ 12 h 11"/>
                          <a:gd name="T8" fmla="*/ 13 w 11"/>
                          <a:gd name="T9" fmla="*/ 8 h 11"/>
                          <a:gd name="T10" fmla="*/ 11 w 11"/>
                          <a:gd name="T11" fmla="*/ 2 h 11"/>
                          <a:gd name="T12" fmla="*/ 8 w 11"/>
                          <a:gd name="T13" fmla="*/ 1 h 11"/>
                          <a:gd name="T14" fmla="*/ 2 w 11"/>
                          <a:gd name="T15" fmla="*/ 1 h 11"/>
                          <a:gd name="T16" fmla="*/ 0 60000 65536"/>
                          <a:gd name="T17" fmla="*/ 0 60000 65536"/>
                          <a:gd name="T18" fmla="*/ 0 60000 65536"/>
                          <a:gd name="T19" fmla="*/ 0 60000 65536"/>
                          <a:gd name="T20" fmla="*/ 0 60000 65536"/>
                          <a:gd name="T21" fmla="*/ 0 60000 65536"/>
                          <a:gd name="T22" fmla="*/ 0 60000 65536"/>
                          <a:gd name="T23" fmla="*/ 0 60000 65536"/>
                          <a:gd name="T24" fmla="*/ 0 w 11"/>
                          <a:gd name="T25" fmla="*/ 0 h 11"/>
                          <a:gd name="T26" fmla="*/ 11 w 11"/>
                          <a:gd name="T27" fmla="*/ 11 h 11"/>
                        </a:gdLst>
                        <a:ahLst/>
                        <a:cxnLst>
                          <a:cxn ang="T16">
                            <a:pos x="T0" y="T1"/>
                          </a:cxn>
                          <a:cxn ang="T17">
                            <a:pos x="T2" y="T3"/>
                          </a:cxn>
                          <a:cxn ang="T18">
                            <a:pos x="T4" y="T5"/>
                          </a:cxn>
                          <a:cxn ang="T19">
                            <a:pos x="T6" y="T7"/>
                          </a:cxn>
                          <a:cxn ang="T20">
                            <a:pos x="T8" y="T9"/>
                          </a:cxn>
                          <a:cxn ang="T21">
                            <a:pos x="T10" y="T11"/>
                          </a:cxn>
                          <a:cxn ang="T22">
                            <a:pos x="T12" y="T13"/>
                          </a:cxn>
                          <a:cxn ang="T23">
                            <a:pos x="T14" y="T15"/>
                          </a:cxn>
                        </a:cxnLst>
                        <a:rect l="T24" t="T25" r="T26" b="T27"/>
                        <a:pathLst>
                          <a:path w="11" h="11">
                            <a:moveTo>
                              <a:pt x="2" y="1"/>
                            </a:moveTo>
                            <a:cubicBezTo>
                              <a:pt x="1" y="1"/>
                              <a:pt x="0" y="3"/>
                              <a:pt x="0" y="4"/>
                            </a:cubicBezTo>
                            <a:cubicBezTo>
                              <a:pt x="1" y="6"/>
                              <a:pt x="2" y="9"/>
                              <a:pt x="3" y="10"/>
                            </a:cubicBezTo>
                            <a:cubicBezTo>
                              <a:pt x="5" y="11"/>
                              <a:pt x="6" y="11"/>
                              <a:pt x="8" y="10"/>
                            </a:cubicBezTo>
                            <a:cubicBezTo>
                              <a:pt x="9" y="9"/>
                              <a:pt x="10" y="9"/>
                              <a:pt x="11" y="7"/>
                            </a:cubicBezTo>
                            <a:cubicBezTo>
                              <a:pt x="11" y="5"/>
                              <a:pt x="10" y="4"/>
                              <a:pt x="9" y="2"/>
                            </a:cubicBezTo>
                            <a:cubicBezTo>
                              <a:pt x="9" y="1"/>
                              <a:pt x="8" y="1"/>
                              <a:pt x="7" y="1"/>
                            </a:cubicBezTo>
                            <a:cubicBezTo>
                              <a:pt x="5" y="1"/>
                              <a:pt x="4" y="0"/>
                              <a:pt x="2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24" name="Freeform 3447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6475326" y="1690189"/>
                        <a:ext cx="51450" cy="16614"/>
                      </a:xfrm>
                      <a:custGeom>
                        <a:avLst/>
                        <a:gdLst>
                          <a:gd name="T0" fmla="*/ 1 w 38"/>
                          <a:gd name="T1" fmla="*/ 13 h 17"/>
                          <a:gd name="T2" fmla="*/ 1 w 38"/>
                          <a:gd name="T3" fmla="*/ 16 h 17"/>
                          <a:gd name="T4" fmla="*/ 13 w 38"/>
                          <a:gd name="T5" fmla="*/ 14 h 17"/>
                          <a:gd name="T6" fmla="*/ 38 w 38"/>
                          <a:gd name="T7" fmla="*/ 18 h 17"/>
                          <a:gd name="T8" fmla="*/ 44 w 38"/>
                          <a:gd name="T9" fmla="*/ 19 h 17"/>
                          <a:gd name="T10" fmla="*/ 46 w 38"/>
                          <a:gd name="T11" fmla="*/ 13 h 17"/>
                          <a:gd name="T12" fmla="*/ 36 w 38"/>
                          <a:gd name="T13" fmla="*/ 5 h 17"/>
                          <a:gd name="T14" fmla="*/ 18 w 38"/>
                          <a:gd name="T15" fmla="*/ 1 h 17"/>
                          <a:gd name="T16" fmla="*/ 10 w 38"/>
                          <a:gd name="T17" fmla="*/ 2 h 17"/>
                          <a:gd name="T18" fmla="*/ 10 w 38"/>
                          <a:gd name="T19" fmla="*/ 9 h 17"/>
                          <a:gd name="T20" fmla="*/ 1 w 38"/>
                          <a:gd name="T21" fmla="*/ 13 h 17"/>
                          <a:gd name="T22" fmla="*/ 0 60000 65536"/>
                          <a:gd name="T23" fmla="*/ 0 60000 65536"/>
                          <a:gd name="T24" fmla="*/ 0 60000 65536"/>
                          <a:gd name="T25" fmla="*/ 0 60000 65536"/>
                          <a:gd name="T26" fmla="*/ 0 60000 65536"/>
                          <a:gd name="T27" fmla="*/ 0 60000 65536"/>
                          <a:gd name="T28" fmla="*/ 0 60000 65536"/>
                          <a:gd name="T29" fmla="*/ 0 60000 65536"/>
                          <a:gd name="T30" fmla="*/ 0 60000 65536"/>
                          <a:gd name="T31" fmla="*/ 0 60000 65536"/>
                          <a:gd name="T32" fmla="*/ 0 60000 65536"/>
                          <a:gd name="T33" fmla="*/ 0 w 38"/>
                          <a:gd name="T34" fmla="*/ 0 h 17"/>
                          <a:gd name="T35" fmla="*/ 38 w 38"/>
                          <a:gd name="T36" fmla="*/ 17 h 17"/>
                        </a:gdLst>
                        <a:ahLst/>
                        <a:cxnLst>
                          <a:cxn ang="T22">
                            <a:pos x="T0" y="T1"/>
                          </a:cxn>
                          <a:cxn ang="T23">
                            <a:pos x="T2" y="T3"/>
                          </a:cxn>
                          <a:cxn ang="T24">
                            <a:pos x="T4" y="T5"/>
                          </a:cxn>
                          <a:cxn ang="T25">
                            <a:pos x="T6" y="T7"/>
                          </a:cxn>
                          <a:cxn ang="T26">
                            <a:pos x="T8" y="T9"/>
                          </a:cxn>
                          <a:cxn ang="T27">
                            <a:pos x="T10" y="T11"/>
                          </a:cxn>
                          <a:cxn ang="T28">
                            <a:pos x="T12" y="T13"/>
                          </a:cxn>
                          <a:cxn ang="T29">
                            <a:pos x="T14" y="T15"/>
                          </a:cxn>
                          <a:cxn ang="T30">
                            <a:pos x="T16" y="T17"/>
                          </a:cxn>
                          <a:cxn ang="T31">
                            <a:pos x="T18" y="T19"/>
                          </a:cxn>
                          <a:cxn ang="T32">
                            <a:pos x="T20" y="T21"/>
                          </a:cxn>
                        </a:cxnLst>
                        <a:rect l="T33" t="T34" r="T35" b="T36"/>
                        <a:pathLst>
                          <a:path w="38" h="17">
                            <a:moveTo>
                              <a:pt x="1" y="11"/>
                            </a:moveTo>
                            <a:cubicBezTo>
                              <a:pt x="0" y="12"/>
                              <a:pt x="0" y="14"/>
                              <a:pt x="1" y="14"/>
                            </a:cubicBezTo>
                            <a:cubicBezTo>
                              <a:pt x="5" y="14"/>
                              <a:pt x="8" y="11"/>
                              <a:pt x="11" y="12"/>
                            </a:cubicBezTo>
                            <a:cubicBezTo>
                              <a:pt x="18" y="12"/>
                              <a:pt x="24" y="14"/>
                              <a:pt x="31" y="15"/>
                            </a:cubicBezTo>
                            <a:cubicBezTo>
                              <a:pt x="33" y="15"/>
                              <a:pt x="34" y="17"/>
                              <a:pt x="36" y="16"/>
                            </a:cubicBezTo>
                            <a:cubicBezTo>
                              <a:pt x="37" y="15"/>
                              <a:pt x="38" y="13"/>
                              <a:pt x="38" y="11"/>
                            </a:cubicBezTo>
                            <a:cubicBezTo>
                              <a:pt x="36" y="8"/>
                              <a:pt x="33" y="5"/>
                              <a:pt x="30" y="4"/>
                            </a:cubicBezTo>
                            <a:cubicBezTo>
                              <a:pt x="25" y="2"/>
                              <a:pt x="20" y="1"/>
                              <a:pt x="15" y="1"/>
                            </a:cubicBezTo>
                            <a:cubicBezTo>
                              <a:pt x="12" y="0"/>
                              <a:pt x="9" y="1"/>
                              <a:pt x="8" y="2"/>
                            </a:cubicBezTo>
                            <a:cubicBezTo>
                              <a:pt x="6" y="4"/>
                              <a:pt x="9" y="7"/>
                              <a:pt x="8" y="8"/>
                            </a:cubicBezTo>
                            <a:cubicBezTo>
                              <a:pt x="6" y="10"/>
                              <a:pt x="3" y="9"/>
                              <a:pt x="1" y="1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25" name="Freeform 3448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6411572" y="1636196"/>
                        <a:ext cx="117442" cy="40702"/>
                      </a:xfrm>
                      <a:custGeom>
                        <a:avLst/>
                        <a:gdLst>
                          <a:gd name="T0" fmla="*/ 18 w 88"/>
                          <a:gd name="T1" fmla="*/ 0 h 41"/>
                          <a:gd name="T2" fmla="*/ 35 w 88"/>
                          <a:gd name="T3" fmla="*/ 12 h 41"/>
                          <a:gd name="T4" fmla="*/ 41 w 88"/>
                          <a:gd name="T5" fmla="*/ 12 h 41"/>
                          <a:gd name="T6" fmla="*/ 43 w 88"/>
                          <a:gd name="T7" fmla="*/ 17 h 41"/>
                          <a:gd name="T8" fmla="*/ 49 w 88"/>
                          <a:gd name="T9" fmla="*/ 17 h 41"/>
                          <a:gd name="T10" fmla="*/ 48 w 88"/>
                          <a:gd name="T11" fmla="*/ 7 h 41"/>
                          <a:gd name="T12" fmla="*/ 51 w 88"/>
                          <a:gd name="T13" fmla="*/ 6 h 41"/>
                          <a:gd name="T14" fmla="*/ 51 w 88"/>
                          <a:gd name="T15" fmla="*/ 4 h 41"/>
                          <a:gd name="T16" fmla="*/ 63 w 88"/>
                          <a:gd name="T17" fmla="*/ 11 h 41"/>
                          <a:gd name="T18" fmla="*/ 73 w 88"/>
                          <a:gd name="T19" fmla="*/ 12 h 41"/>
                          <a:gd name="T20" fmla="*/ 79 w 88"/>
                          <a:gd name="T21" fmla="*/ 10 h 41"/>
                          <a:gd name="T22" fmla="*/ 89 w 88"/>
                          <a:gd name="T23" fmla="*/ 13 h 41"/>
                          <a:gd name="T24" fmla="*/ 104 w 88"/>
                          <a:gd name="T25" fmla="*/ 19 h 41"/>
                          <a:gd name="T26" fmla="*/ 99 w 88"/>
                          <a:gd name="T27" fmla="*/ 24 h 41"/>
                          <a:gd name="T28" fmla="*/ 104 w 88"/>
                          <a:gd name="T29" fmla="*/ 30 h 41"/>
                          <a:gd name="T30" fmla="*/ 95 w 88"/>
                          <a:gd name="T31" fmla="*/ 36 h 41"/>
                          <a:gd name="T32" fmla="*/ 75 w 88"/>
                          <a:gd name="T33" fmla="*/ 27 h 41"/>
                          <a:gd name="T34" fmla="*/ 73 w 88"/>
                          <a:gd name="T35" fmla="*/ 23 h 41"/>
                          <a:gd name="T36" fmla="*/ 74 w 88"/>
                          <a:gd name="T37" fmla="*/ 18 h 41"/>
                          <a:gd name="T38" fmla="*/ 70 w 88"/>
                          <a:gd name="T39" fmla="*/ 16 h 41"/>
                          <a:gd name="T40" fmla="*/ 64 w 88"/>
                          <a:gd name="T41" fmla="*/ 19 h 41"/>
                          <a:gd name="T42" fmla="*/ 69 w 88"/>
                          <a:gd name="T43" fmla="*/ 29 h 41"/>
                          <a:gd name="T44" fmla="*/ 84 w 88"/>
                          <a:gd name="T45" fmla="*/ 35 h 41"/>
                          <a:gd name="T46" fmla="*/ 91 w 88"/>
                          <a:gd name="T47" fmla="*/ 38 h 41"/>
                          <a:gd name="T48" fmla="*/ 92 w 88"/>
                          <a:gd name="T49" fmla="*/ 42 h 41"/>
                          <a:gd name="T50" fmla="*/ 78 w 88"/>
                          <a:gd name="T51" fmla="*/ 38 h 41"/>
                          <a:gd name="T52" fmla="*/ 76 w 88"/>
                          <a:gd name="T53" fmla="*/ 41 h 41"/>
                          <a:gd name="T54" fmla="*/ 70 w 88"/>
                          <a:gd name="T55" fmla="*/ 39 h 41"/>
                          <a:gd name="T56" fmla="*/ 69 w 88"/>
                          <a:gd name="T57" fmla="*/ 36 h 41"/>
                          <a:gd name="T58" fmla="*/ 62 w 88"/>
                          <a:gd name="T59" fmla="*/ 38 h 41"/>
                          <a:gd name="T60" fmla="*/ 49 w 88"/>
                          <a:gd name="T61" fmla="*/ 42 h 41"/>
                          <a:gd name="T62" fmla="*/ 43 w 88"/>
                          <a:gd name="T63" fmla="*/ 37 h 41"/>
                          <a:gd name="T64" fmla="*/ 41 w 88"/>
                          <a:gd name="T65" fmla="*/ 41 h 41"/>
                          <a:gd name="T66" fmla="*/ 42 w 88"/>
                          <a:gd name="T67" fmla="*/ 44 h 41"/>
                          <a:gd name="T68" fmla="*/ 38 w 88"/>
                          <a:gd name="T69" fmla="*/ 49 h 41"/>
                          <a:gd name="T70" fmla="*/ 27 w 88"/>
                          <a:gd name="T71" fmla="*/ 45 h 41"/>
                          <a:gd name="T72" fmla="*/ 17 w 88"/>
                          <a:gd name="T73" fmla="*/ 37 h 41"/>
                          <a:gd name="T74" fmla="*/ 8 w 88"/>
                          <a:gd name="T75" fmla="*/ 33 h 41"/>
                          <a:gd name="T76" fmla="*/ 1 w 88"/>
                          <a:gd name="T77" fmla="*/ 29 h 41"/>
                          <a:gd name="T78" fmla="*/ 2 w 88"/>
                          <a:gd name="T79" fmla="*/ 25 h 41"/>
                          <a:gd name="T80" fmla="*/ 7 w 88"/>
                          <a:gd name="T81" fmla="*/ 24 h 41"/>
                          <a:gd name="T82" fmla="*/ 1 w 88"/>
                          <a:gd name="T83" fmla="*/ 18 h 41"/>
                          <a:gd name="T84" fmla="*/ 6 w 88"/>
                          <a:gd name="T85" fmla="*/ 17 h 41"/>
                          <a:gd name="T86" fmla="*/ 5 w 88"/>
                          <a:gd name="T87" fmla="*/ 12 h 41"/>
                          <a:gd name="T88" fmla="*/ 11 w 88"/>
                          <a:gd name="T89" fmla="*/ 7 h 41"/>
                          <a:gd name="T90" fmla="*/ 11 w 88"/>
                          <a:gd name="T91" fmla="*/ 2 h 41"/>
                          <a:gd name="T92" fmla="*/ 14 w 88"/>
                          <a:gd name="T93" fmla="*/ 2 h 41"/>
                          <a:gd name="T94" fmla="*/ 18 w 88"/>
                          <a:gd name="T95" fmla="*/ 0 h 41"/>
                          <a:gd name="T96" fmla="*/ 0 60000 65536"/>
                          <a:gd name="T97" fmla="*/ 0 60000 65536"/>
                          <a:gd name="T98" fmla="*/ 0 60000 65536"/>
                          <a:gd name="T99" fmla="*/ 0 60000 65536"/>
                          <a:gd name="T100" fmla="*/ 0 60000 65536"/>
                          <a:gd name="T101" fmla="*/ 0 60000 65536"/>
                          <a:gd name="T102" fmla="*/ 0 60000 65536"/>
                          <a:gd name="T103" fmla="*/ 0 60000 65536"/>
                          <a:gd name="T104" fmla="*/ 0 60000 65536"/>
                          <a:gd name="T105" fmla="*/ 0 60000 65536"/>
                          <a:gd name="T106" fmla="*/ 0 60000 65536"/>
                          <a:gd name="T107" fmla="*/ 0 60000 65536"/>
                          <a:gd name="T108" fmla="*/ 0 60000 65536"/>
                          <a:gd name="T109" fmla="*/ 0 60000 65536"/>
                          <a:gd name="T110" fmla="*/ 0 60000 65536"/>
                          <a:gd name="T111" fmla="*/ 0 60000 65536"/>
                          <a:gd name="T112" fmla="*/ 0 60000 65536"/>
                          <a:gd name="T113" fmla="*/ 0 60000 65536"/>
                          <a:gd name="T114" fmla="*/ 0 60000 65536"/>
                          <a:gd name="T115" fmla="*/ 0 60000 65536"/>
                          <a:gd name="T116" fmla="*/ 0 60000 65536"/>
                          <a:gd name="T117" fmla="*/ 0 60000 65536"/>
                          <a:gd name="T118" fmla="*/ 0 60000 65536"/>
                          <a:gd name="T119" fmla="*/ 0 60000 65536"/>
                          <a:gd name="T120" fmla="*/ 0 60000 65536"/>
                          <a:gd name="T121" fmla="*/ 0 60000 65536"/>
                          <a:gd name="T122" fmla="*/ 0 60000 65536"/>
                          <a:gd name="T123" fmla="*/ 0 60000 65536"/>
                          <a:gd name="T124" fmla="*/ 0 60000 65536"/>
                          <a:gd name="T125" fmla="*/ 0 60000 65536"/>
                          <a:gd name="T126" fmla="*/ 0 60000 65536"/>
                          <a:gd name="T127" fmla="*/ 0 60000 65536"/>
                          <a:gd name="T128" fmla="*/ 0 60000 65536"/>
                          <a:gd name="T129" fmla="*/ 0 60000 65536"/>
                          <a:gd name="T130" fmla="*/ 0 60000 65536"/>
                          <a:gd name="T131" fmla="*/ 0 60000 65536"/>
                          <a:gd name="T132" fmla="*/ 0 60000 65536"/>
                          <a:gd name="T133" fmla="*/ 0 60000 65536"/>
                          <a:gd name="T134" fmla="*/ 0 60000 65536"/>
                          <a:gd name="T135" fmla="*/ 0 60000 65536"/>
                          <a:gd name="T136" fmla="*/ 0 60000 65536"/>
                          <a:gd name="T137" fmla="*/ 0 60000 65536"/>
                          <a:gd name="T138" fmla="*/ 0 60000 65536"/>
                          <a:gd name="T139" fmla="*/ 0 60000 65536"/>
                          <a:gd name="T140" fmla="*/ 0 60000 65536"/>
                          <a:gd name="T141" fmla="*/ 0 60000 65536"/>
                          <a:gd name="T142" fmla="*/ 0 60000 65536"/>
                          <a:gd name="T143" fmla="*/ 0 60000 65536"/>
                          <a:gd name="T144" fmla="*/ 0 w 88"/>
                          <a:gd name="T145" fmla="*/ 0 h 41"/>
                          <a:gd name="T146" fmla="*/ 88 w 88"/>
                          <a:gd name="T147" fmla="*/ 41 h 41"/>
                        </a:gdLst>
                        <a:ahLst/>
                        <a:cxnLst>
                          <a:cxn ang="T96">
                            <a:pos x="T0" y="T1"/>
                          </a:cxn>
                          <a:cxn ang="T97">
                            <a:pos x="T2" y="T3"/>
                          </a:cxn>
                          <a:cxn ang="T98">
                            <a:pos x="T4" y="T5"/>
                          </a:cxn>
                          <a:cxn ang="T99">
                            <a:pos x="T6" y="T7"/>
                          </a:cxn>
                          <a:cxn ang="T100">
                            <a:pos x="T8" y="T9"/>
                          </a:cxn>
                          <a:cxn ang="T101">
                            <a:pos x="T10" y="T11"/>
                          </a:cxn>
                          <a:cxn ang="T102">
                            <a:pos x="T12" y="T13"/>
                          </a:cxn>
                          <a:cxn ang="T103">
                            <a:pos x="T14" y="T15"/>
                          </a:cxn>
                          <a:cxn ang="T104">
                            <a:pos x="T16" y="T17"/>
                          </a:cxn>
                          <a:cxn ang="T105">
                            <a:pos x="T18" y="T19"/>
                          </a:cxn>
                          <a:cxn ang="T106">
                            <a:pos x="T20" y="T21"/>
                          </a:cxn>
                          <a:cxn ang="T107">
                            <a:pos x="T22" y="T23"/>
                          </a:cxn>
                          <a:cxn ang="T108">
                            <a:pos x="T24" y="T25"/>
                          </a:cxn>
                          <a:cxn ang="T109">
                            <a:pos x="T26" y="T27"/>
                          </a:cxn>
                          <a:cxn ang="T110">
                            <a:pos x="T28" y="T29"/>
                          </a:cxn>
                          <a:cxn ang="T111">
                            <a:pos x="T30" y="T31"/>
                          </a:cxn>
                          <a:cxn ang="T112">
                            <a:pos x="T32" y="T33"/>
                          </a:cxn>
                          <a:cxn ang="T113">
                            <a:pos x="T34" y="T35"/>
                          </a:cxn>
                          <a:cxn ang="T114">
                            <a:pos x="T36" y="T37"/>
                          </a:cxn>
                          <a:cxn ang="T115">
                            <a:pos x="T38" y="T39"/>
                          </a:cxn>
                          <a:cxn ang="T116">
                            <a:pos x="T40" y="T41"/>
                          </a:cxn>
                          <a:cxn ang="T117">
                            <a:pos x="T42" y="T43"/>
                          </a:cxn>
                          <a:cxn ang="T118">
                            <a:pos x="T44" y="T45"/>
                          </a:cxn>
                          <a:cxn ang="T119">
                            <a:pos x="T46" y="T47"/>
                          </a:cxn>
                          <a:cxn ang="T120">
                            <a:pos x="T48" y="T49"/>
                          </a:cxn>
                          <a:cxn ang="T121">
                            <a:pos x="T50" y="T51"/>
                          </a:cxn>
                          <a:cxn ang="T122">
                            <a:pos x="T52" y="T53"/>
                          </a:cxn>
                          <a:cxn ang="T123">
                            <a:pos x="T54" y="T55"/>
                          </a:cxn>
                          <a:cxn ang="T124">
                            <a:pos x="T56" y="T57"/>
                          </a:cxn>
                          <a:cxn ang="T125">
                            <a:pos x="T58" y="T59"/>
                          </a:cxn>
                          <a:cxn ang="T126">
                            <a:pos x="T60" y="T61"/>
                          </a:cxn>
                          <a:cxn ang="T127">
                            <a:pos x="T62" y="T63"/>
                          </a:cxn>
                          <a:cxn ang="T128">
                            <a:pos x="T64" y="T65"/>
                          </a:cxn>
                          <a:cxn ang="T129">
                            <a:pos x="T66" y="T67"/>
                          </a:cxn>
                          <a:cxn ang="T130">
                            <a:pos x="T68" y="T69"/>
                          </a:cxn>
                          <a:cxn ang="T131">
                            <a:pos x="T70" y="T71"/>
                          </a:cxn>
                          <a:cxn ang="T132">
                            <a:pos x="T72" y="T73"/>
                          </a:cxn>
                          <a:cxn ang="T133">
                            <a:pos x="T74" y="T75"/>
                          </a:cxn>
                          <a:cxn ang="T134">
                            <a:pos x="T76" y="T77"/>
                          </a:cxn>
                          <a:cxn ang="T135">
                            <a:pos x="T78" y="T79"/>
                          </a:cxn>
                          <a:cxn ang="T136">
                            <a:pos x="T80" y="T81"/>
                          </a:cxn>
                          <a:cxn ang="T137">
                            <a:pos x="T82" y="T83"/>
                          </a:cxn>
                          <a:cxn ang="T138">
                            <a:pos x="T84" y="T85"/>
                          </a:cxn>
                          <a:cxn ang="T139">
                            <a:pos x="T86" y="T87"/>
                          </a:cxn>
                          <a:cxn ang="T140">
                            <a:pos x="T88" y="T89"/>
                          </a:cxn>
                          <a:cxn ang="T141">
                            <a:pos x="T90" y="T91"/>
                          </a:cxn>
                          <a:cxn ang="T142">
                            <a:pos x="T92" y="T93"/>
                          </a:cxn>
                          <a:cxn ang="T143">
                            <a:pos x="T94" y="T95"/>
                          </a:cxn>
                        </a:cxnLst>
                        <a:rect l="T144" t="T145" r="T146" b="T147"/>
                        <a:pathLst>
                          <a:path w="88" h="41">
                            <a:moveTo>
                              <a:pt x="15" y="0"/>
                            </a:moveTo>
                            <a:cubicBezTo>
                              <a:pt x="20" y="3"/>
                              <a:pt x="24" y="7"/>
                              <a:pt x="29" y="10"/>
                            </a:cubicBezTo>
                            <a:cubicBezTo>
                              <a:pt x="30" y="11"/>
                              <a:pt x="33" y="9"/>
                              <a:pt x="34" y="10"/>
                            </a:cubicBezTo>
                            <a:cubicBezTo>
                              <a:pt x="36" y="11"/>
                              <a:pt x="35" y="13"/>
                              <a:pt x="36" y="14"/>
                            </a:cubicBezTo>
                            <a:cubicBezTo>
                              <a:pt x="38" y="15"/>
                              <a:pt x="40" y="15"/>
                              <a:pt x="41" y="14"/>
                            </a:cubicBezTo>
                            <a:cubicBezTo>
                              <a:pt x="42" y="11"/>
                              <a:pt x="39" y="9"/>
                              <a:pt x="40" y="6"/>
                            </a:cubicBezTo>
                            <a:cubicBezTo>
                              <a:pt x="40" y="5"/>
                              <a:pt x="42" y="6"/>
                              <a:pt x="43" y="5"/>
                            </a:cubicBezTo>
                            <a:cubicBezTo>
                              <a:pt x="44" y="4"/>
                              <a:pt x="42" y="3"/>
                              <a:pt x="43" y="3"/>
                            </a:cubicBezTo>
                            <a:cubicBezTo>
                              <a:pt x="47" y="4"/>
                              <a:pt x="50" y="7"/>
                              <a:pt x="53" y="9"/>
                            </a:cubicBezTo>
                            <a:cubicBezTo>
                              <a:pt x="56" y="10"/>
                              <a:pt x="58" y="10"/>
                              <a:pt x="61" y="10"/>
                            </a:cubicBezTo>
                            <a:cubicBezTo>
                              <a:pt x="63" y="10"/>
                              <a:pt x="64" y="7"/>
                              <a:pt x="66" y="8"/>
                            </a:cubicBezTo>
                            <a:cubicBezTo>
                              <a:pt x="69" y="8"/>
                              <a:pt x="72" y="10"/>
                              <a:pt x="75" y="11"/>
                            </a:cubicBezTo>
                            <a:cubicBezTo>
                              <a:pt x="79" y="13"/>
                              <a:pt x="84" y="13"/>
                              <a:pt x="87" y="16"/>
                            </a:cubicBezTo>
                            <a:cubicBezTo>
                              <a:pt x="88" y="17"/>
                              <a:pt x="83" y="18"/>
                              <a:pt x="83" y="20"/>
                            </a:cubicBezTo>
                            <a:cubicBezTo>
                              <a:pt x="83" y="22"/>
                              <a:pt x="87" y="23"/>
                              <a:pt x="87" y="25"/>
                            </a:cubicBezTo>
                            <a:cubicBezTo>
                              <a:pt x="86" y="27"/>
                              <a:pt x="83" y="30"/>
                              <a:pt x="80" y="30"/>
                            </a:cubicBezTo>
                            <a:cubicBezTo>
                              <a:pt x="74" y="29"/>
                              <a:pt x="68" y="26"/>
                              <a:pt x="63" y="23"/>
                            </a:cubicBezTo>
                            <a:cubicBezTo>
                              <a:pt x="61" y="22"/>
                              <a:pt x="61" y="20"/>
                              <a:pt x="61" y="19"/>
                            </a:cubicBezTo>
                            <a:cubicBezTo>
                              <a:pt x="61" y="17"/>
                              <a:pt x="62" y="16"/>
                              <a:pt x="62" y="15"/>
                            </a:cubicBezTo>
                            <a:cubicBezTo>
                              <a:pt x="62" y="14"/>
                              <a:pt x="60" y="13"/>
                              <a:pt x="59" y="13"/>
                            </a:cubicBezTo>
                            <a:cubicBezTo>
                              <a:pt x="57" y="13"/>
                              <a:pt x="55" y="14"/>
                              <a:pt x="54" y="16"/>
                            </a:cubicBezTo>
                            <a:cubicBezTo>
                              <a:pt x="54" y="19"/>
                              <a:pt x="56" y="22"/>
                              <a:pt x="58" y="24"/>
                            </a:cubicBezTo>
                            <a:cubicBezTo>
                              <a:pt x="62" y="27"/>
                              <a:pt x="66" y="27"/>
                              <a:pt x="70" y="29"/>
                            </a:cubicBezTo>
                            <a:cubicBezTo>
                              <a:pt x="72" y="30"/>
                              <a:pt x="74" y="31"/>
                              <a:pt x="76" y="32"/>
                            </a:cubicBezTo>
                            <a:cubicBezTo>
                              <a:pt x="77" y="33"/>
                              <a:pt x="78" y="35"/>
                              <a:pt x="77" y="35"/>
                            </a:cubicBezTo>
                            <a:cubicBezTo>
                              <a:pt x="73" y="35"/>
                              <a:pt x="69" y="33"/>
                              <a:pt x="65" y="32"/>
                            </a:cubicBezTo>
                            <a:cubicBezTo>
                              <a:pt x="64" y="32"/>
                              <a:pt x="65" y="34"/>
                              <a:pt x="64" y="34"/>
                            </a:cubicBezTo>
                            <a:cubicBezTo>
                              <a:pt x="62" y="34"/>
                              <a:pt x="60" y="34"/>
                              <a:pt x="59" y="33"/>
                            </a:cubicBezTo>
                            <a:cubicBezTo>
                              <a:pt x="58" y="32"/>
                              <a:pt x="59" y="30"/>
                              <a:pt x="58" y="30"/>
                            </a:cubicBezTo>
                            <a:cubicBezTo>
                              <a:pt x="56" y="30"/>
                              <a:pt x="54" y="31"/>
                              <a:pt x="52" y="32"/>
                            </a:cubicBezTo>
                            <a:cubicBezTo>
                              <a:pt x="48" y="33"/>
                              <a:pt x="45" y="35"/>
                              <a:pt x="41" y="35"/>
                            </a:cubicBezTo>
                            <a:cubicBezTo>
                              <a:pt x="39" y="35"/>
                              <a:pt x="38" y="31"/>
                              <a:pt x="36" y="31"/>
                            </a:cubicBezTo>
                            <a:cubicBezTo>
                              <a:pt x="35" y="31"/>
                              <a:pt x="34" y="32"/>
                              <a:pt x="34" y="34"/>
                            </a:cubicBezTo>
                            <a:cubicBezTo>
                              <a:pt x="34" y="35"/>
                              <a:pt x="35" y="36"/>
                              <a:pt x="35" y="37"/>
                            </a:cubicBezTo>
                            <a:cubicBezTo>
                              <a:pt x="35" y="39"/>
                              <a:pt x="34" y="41"/>
                              <a:pt x="32" y="41"/>
                            </a:cubicBezTo>
                            <a:cubicBezTo>
                              <a:pt x="29" y="41"/>
                              <a:pt x="26" y="39"/>
                              <a:pt x="23" y="38"/>
                            </a:cubicBezTo>
                            <a:cubicBezTo>
                              <a:pt x="20" y="36"/>
                              <a:pt x="17" y="33"/>
                              <a:pt x="14" y="31"/>
                            </a:cubicBezTo>
                            <a:cubicBezTo>
                              <a:pt x="11" y="30"/>
                              <a:pt x="9" y="29"/>
                              <a:pt x="7" y="28"/>
                            </a:cubicBezTo>
                            <a:cubicBezTo>
                              <a:pt x="5" y="27"/>
                              <a:pt x="2" y="26"/>
                              <a:pt x="1" y="24"/>
                            </a:cubicBezTo>
                            <a:cubicBezTo>
                              <a:pt x="0" y="23"/>
                              <a:pt x="1" y="22"/>
                              <a:pt x="2" y="21"/>
                            </a:cubicBezTo>
                            <a:cubicBezTo>
                              <a:pt x="3" y="20"/>
                              <a:pt x="6" y="21"/>
                              <a:pt x="6" y="20"/>
                            </a:cubicBezTo>
                            <a:cubicBezTo>
                              <a:pt x="5" y="18"/>
                              <a:pt x="1" y="18"/>
                              <a:pt x="1" y="15"/>
                            </a:cubicBezTo>
                            <a:cubicBezTo>
                              <a:pt x="1" y="14"/>
                              <a:pt x="4" y="15"/>
                              <a:pt x="5" y="14"/>
                            </a:cubicBezTo>
                            <a:cubicBezTo>
                              <a:pt x="6" y="13"/>
                              <a:pt x="3" y="11"/>
                              <a:pt x="4" y="10"/>
                            </a:cubicBezTo>
                            <a:cubicBezTo>
                              <a:pt x="5" y="8"/>
                              <a:pt x="8" y="8"/>
                              <a:pt x="9" y="6"/>
                            </a:cubicBezTo>
                            <a:cubicBezTo>
                              <a:pt x="9" y="5"/>
                              <a:pt x="8" y="3"/>
                              <a:pt x="9" y="2"/>
                            </a:cubicBezTo>
                            <a:cubicBezTo>
                              <a:pt x="10" y="1"/>
                              <a:pt x="11" y="2"/>
                              <a:pt x="12" y="2"/>
                            </a:cubicBezTo>
                            <a:cubicBezTo>
                              <a:pt x="13" y="2"/>
                              <a:pt x="14" y="0"/>
                              <a:pt x="15" y="0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26" name="Freeform 3449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6561451" y="1622905"/>
                        <a:ext cx="11186" cy="4984"/>
                      </a:xfrm>
                      <a:custGeom>
                        <a:avLst/>
                        <a:gdLst>
                          <a:gd name="T0" fmla="*/ 1 w 8"/>
                          <a:gd name="T1" fmla="*/ 4 h 5"/>
                          <a:gd name="T2" fmla="*/ 1 w 8"/>
                          <a:gd name="T3" fmla="*/ 6 h 5"/>
                          <a:gd name="T4" fmla="*/ 9 w 8"/>
                          <a:gd name="T5" fmla="*/ 5 h 5"/>
                          <a:gd name="T6" fmla="*/ 9 w 8"/>
                          <a:gd name="T7" fmla="*/ 1 h 5"/>
                          <a:gd name="T8" fmla="*/ 5 w 8"/>
                          <a:gd name="T9" fmla="*/ 1 h 5"/>
                          <a:gd name="T10" fmla="*/ 1 w 8"/>
                          <a:gd name="T11" fmla="*/ 4 h 5"/>
                          <a:gd name="T12" fmla="*/ 0 60000 65536"/>
                          <a:gd name="T13" fmla="*/ 0 60000 65536"/>
                          <a:gd name="T14" fmla="*/ 0 60000 65536"/>
                          <a:gd name="T15" fmla="*/ 0 60000 65536"/>
                          <a:gd name="T16" fmla="*/ 0 60000 65536"/>
                          <a:gd name="T17" fmla="*/ 0 60000 65536"/>
                          <a:gd name="T18" fmla="*/ 0 w 8"/>
                          <a:gd name="T19" fmla="*/ 0 h 5"/>
                          <a:gd name="T20" fmla="*/ 8 w 8"/>
                          <a:gd name="T21" fmla="*/ 5 h 5"/>
                        </a:gdLst>
                        <a:ahLst/>
                        <a:cxnLst>
                          <a:cxn ang="T12">
                            <a:pos x="T0" y="T1"/>
                          </a:cxn>
                          <a:cxn ang="T13">
                            <a:pos x="T2" y="T3"/>
                          </a:cxn>
                          <a:cxn ang="T14">
                            <a:pos x="T4" y="T5"/>
                          </a:cxn>
                          <a:cxn ang="T15">
                            <a:pos x="T6" y="T7"/>
                          </a:cxn>
                          <a:cxn ang="T16">
                            <a:pos x="T8" y="T9"/>
                          </a:cxn>
                          <a:cxn ang="T17">
                            <a:pos x="T10" y="T11"/>
                          </a:cxn>
                        </a:cxnLst>
                        <a:rect l="T18" t="T19" r="T20" b="T21"/>
                        <a:pathLst>
                          <a:path w="8" h="5">
                            <a:moveTo>
                              <a:pt x="1" y="3"/>
                            </a:moveTo>
                            <a:cubicBezTo>
                              <a:pt x="0" y="3"/>
                              <a:pt x="0" y="5"/>
                              <a:pt x="1" y="5"/>
                            </a:cubicBezTo>
                            <a:cubicBezTo>
                              <a:pt x="3" y="5"/>
                              <a:pt x="5" y="5"/>
                              <a:pt x="7" y="4"/>
                            </a:cubicBezTo>
                            <a:cubicBezTo>
                              <a:pt x="8" y="4"/>
                              <a:pt x="8" y="2"/>
                              <a:pt x="7" y="1"/>
                            </a:cubicBezTo>
                            <a:cubicBezTo>
                              <a:pt x="6" y="0"/>
                              <a:pt x="5" y="1"/>
                              <a:pt x="4" y="1"/>
                            </a:cubicBezTo>
                            <a:cubicBezTo>
                              <a:pt x="3" y="2"/>
                              <a:pt x="1" y="2"/>
                              <a:pt x="1" y="3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27" name="Freeform 3450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6542434" y="1647825"/>
                        <a:ext cx="72702" cy="24920"/>
                      </a:xfrm>
                      <a:custGeom>
                        <a:avLst/>
                        <a:gdLst>
                          <a:gd name="T0" fmla="*/ 1 w 54"/>
                          <a:gd name="T1" fmla="*/ 1 h 25"/>
                          <a:gd name="T2" fmla="*/ 1 w 54"/>
                          <a:gd name="T3" fmla="*/ 13 h 25"/>
                          <a:gd name="T4" fmla="*/ 10 w 54"/>
                          <a:gd name="T5" fmla="*/ 20 h 25"/>
                          <a:gd name="T6" fmla="*/ 25 w 54"/>
                          <a:gd name="T7" fmla="*/ 24 h 25"/>
                          <a:gd name="T8" fmla="*/ 36 w 54"/>
                          <a:gd name="T9" fmla="*/ 30 h 25"/>
                          <a:gd name="T10" fmla="*/ 51 w 54"/>
                          <a:gd name="T11" fmla="*/ 29 h 25"/>
                          <a:gd name="T12" fmla="*/ 61 w 54"/>
                          <a:gd name="T13" fmla="*/ 25 h 25"/>
                          <a:gd name="T14" fmla="*/ 61 w 54"/>
                          <a:gd name="T15" fmla="*/ 19 h 25"/>
                          <a:gd name="T16" fmla="*/ 65 w 54"/>
                          <a:gd name="T17" fmla="*/ 14 h 25"/>
                          <a:gd name="T18" fmla="*/ 61 w 54"/>
                          <a:gd name="T19" fmla="*/ 13 h 25"/>
                          <a:gd name="T20" fmla="*/ 60 w 54"/>
                          <a:gd name="T21" fmla="*/ 14 h 25"/>
                          <a:gd name="T22" fmla="*/ 46 w 54"/>
                          <a:gd name="T23" fmla="*/ 12 h 25"/>
                          <a:gd name="T24" fmla="*/ 35 w 54"/>
                          <a:gd name="T25" fmla="*/ 16 h 25"/>
                          <a:gd name="T26" fmla="*/ 30 w 54"/>
                          <a:gd name="T27" fmla="*/ 11 h 25"/>
                          <a:gd name="T28" fmla="*/ 24 w 54"/>
                          <a:gd name="T29" fmla="*/ 11 h 25"/>
                          <a:gd name="T30" fmla="*/ 19 w 54"/>
                          <a:gd name="T31" fmla="*/ 8 h 25"/>
                          <a:gd name="T32" fmla="*/ 12 w 54"/>
                          <a:gd name="T33" fmla="*/ 12 h 25"/>
                          <a:gd name="T34" fmla="*/ 4 w 54"/>
                          <a:gd name="T35" fmla="*/ 5 h 25"/>
                          <a:gd name="T36" fmla="*/ 1 w 54"/>
                          <a:gd name="T37" fmla="*/ 1 h 25"/>
                          <a:gd name="T38" fmla="*/ 0 60000 65536"/>
                          <a:gd name="T39" fmla="*/ 0 60000 65536"/>
                          <a:gd name="T40" fmla="*/ 0 60000 65536"/>
                          <a:gd name="T41" fmla="*/ 0 60000 65536"/>
                          <a:gd name="T42" fmla="*/ 0 60000 65536"/>
                          <a:gd name="T43" fmla="*/ 0 60000 65536"/>
                          <a:gd name="T44" fmla="*/ 0 60000 65536"/>
                          <a:gd name="T45" fmla="*/ 0 60000 65536"/>
                          <a:gd name="T46" fmla="*/ 0 60000 65536"/>
                          <a:gd name="T47" fmla="*/ 0 60000 65536"/>
                          <a:gd name="T48" fmla="*/ 0 60000 65536"/>
                          <a:gd name="T49" fmla="*/ 0 60000 65536"/>
                          <a:gd name="T50" fmla="*/ 0 60000 65536"/>
                          <a:gd name="T51" fmla="*/ 0 60000 65536"/>
                          <a:gd name="T52" fmla="*/ 0 60000 65536"/>
                          <a:gd name="T53" fmla="*/ 0 60000 65536"/>
                          <a:gd name="T54" fmla="*/ 0 60000 65536"/>
                          <a:gd name="T55" fmla="*/ 0 60000 65536"/>
                          <a:gd name="T56" fmla="*/ 0 60000 65536"/>
                          <a:gd name="T57" fmla="*/ 0 w 54"/>
                          <a:gd name="T58" fmla="*/ 0 h 25"/>
                          <a:gd name="T59" fmla="*/ 54 w 54"/>
                          <a:gd name="T60" fmla="*/ 25 h 25"/>
                        </a:gdLst>
                        <a:ahLst/>
                        <a:cxnLst>
                          <a:cxn ang="T38">
                            <a:pos x="T0" y="T1"/>
                          </a:cxn>
                          <a:cxn ang="T39">
                            <a:pos x="T2" y="T3"/>
                          </a:cxn>
                          <a:cxn ang="T40">
                            <a:pos x="T4" y="T5"/>
                          </a:cxn>
                          <a:cxn ang="T41">
                            <a:pos x="T6" y="T7"/>
                          </a:cxn>
                          <a:cxn ang="T42">
                            <a:pos x="T8" y="T9"/>
                          </a:cxn>
                          <a:cxn ang="T43">
                            <a:pos x="T10" y="T11"/>
                          </a:cxn>
                          <a:cxn ang="T44">
                            <a:pos x="T12" y="T13"/>
                          </a:cxn>
                          <a:cxn ang="T45">
                            <a:pos x="T14" y="T15"/>
                          </a:cxn>
                          <a:cxn ang="T46">
                            <a:pos x="T16" y="T17"/>
                          </a:cxn>
                          <a:cxn ang="T47">
                            <a:pos x="T18" y="T19"/>
                          </a:cxn>
                          <a:cxn ang="T48">
                            <a:pos x="T20" y="T21"/>
                          </a:cxn>
                          <a:cxn ang="T49">
                            <a:pos x="T22" y="T23"/>
                          </a:cxn>
                          <a:cxn ang="T50">
                            <a:pos x="T24" y="T25"/>
                          </a:cxn>
                          <a:cxn ang="T51">
                            <a:pos x="T26" y="T27"/>
                          </a:cxn>
                          <a:cxn ang="T52">
                            <a:pos x="T28" y="T29"/>
                          </a:cxn>
                          <a:cxn ang="T53">
                            <a:pos x="T30" y="T31"/>
                          </a:cxn>
                          <a:cxn ang="T54">
                            <a:pos x="T32" y="T33"/>
                          </a:cxn>
                          <a:cxn ang="T55">
                            <a:pos x="T34" y="T35"/>
                          </a:cxn>
                          <a:cxn ang="T56">
                            <a:pos x="T36" y="T37"/>
                          </a:cxn>
                        </a:cxnLst>
                        <a:rect l="T57" t="T58" r="T59" b="T60"/>
                        <a:pathLst>
                          <a:path w="54" h="25">
                            <a:moveTo>
                              <a:pt x="1" y="1"/>
                            </a:moveTo>
                            <a:cubicBezTo>
                              <a:pt x="0" y="4"/>
                              <a:pt x="1" y="9"/>
                              <a:pt x="1" y="11"/>
                            </a:cubicBezTo>
                            <a:cubicBezTo>
                              <a:pt x="3" y="14"/>
                              <a:pt x="5" y="15"/>
                              <a:pt x="8" y="17"/>
                            </a:cubicBezTo>
                            <a:cubicBezTo>
                              <a:pt x="11" y="17"/>
                              <a:pt x="16" y="19"/>
                              <a:pt x="21" y="20"/>
                            </a:cubicBezTo>
                            <a:cubicBezTo>
                              <a:pt x="24" y="21"/>
                              <a:pt x="26" y="24"/>
                              <a:pt x="30" y="25"/>
                            </a:cubicBezTo>
                            <a:cubicBezTo>
                              <a:pt x="34" y="25"/>
                              <a:pt x="38" y="25"/>
                              <a:pt x="42" y="24"/>
                            </a:cubicBezTo>
                            <a:cubicBezTo>
                              <a:pt x="45" y="23"/>
                              <a:pt x="49" y="23"/>
                              <a:pt x="51" y="21"/>
                            </a:cubicBezTo>
                            <a:cubicBezTo>
                              <a:pt x="53" y="20"/>
                              <a:pt x="51" y="17"/>
                              <a:pt x="51" y="16"/>
                            </a:cubicBezTo>
                            <a:cubicBezTo>
                              <a:pt x="52" y="14"/>
                              <a:pt x="54" y="13"/>
                              <a:pt x="54" y="12"/>
                            </a:cubicBezTo>
                            <a:cubicBezTo>
                              <a:pt x="54" y="11"/>
                              <a:pt x="52" y="11"/>
                              <a:pt x="51" y="11"/>
                            </a:cubicBezTo>
                            <a:cubicBezTo>
                              <a:pt x="51" y="11"/>
                              <a:pt x="50" y="12"/>
                              <a:pt x="50" y="12"/>
                            </a:cubicBezTo>
                            <a:cubicBezTo>
                              <a:pt x="46" y="12"/>
                              <a:pt x="42" y="10"/>
                              <a:pt x="38" y="10"/>
                            </a:cubicBezTo>
                            <a:cubicBezTo>
                              <a:pt x="35" y="10"/>
                              <a:pt x="32" y="13"/>
                              <a:pt x="29" y="13"/>
                            </a:cubicBezTo>
                            <a:cubicBezTo>
                              <a:pt x="27" y="12"/>
                              <a:pt x="27" y="9"/>
                              <a:pt x="25" y="9"/>
                            </a:cubicBezTo>
                            <a:cubicBezTo>
                              <a:pt x="24" y="8"/>
                              <a:pt x="22" y="9"/>
                              <a:pt x="20" y="9"/>
                            </a:cubicBezTo>
                            <a:cubicBezTo>
                              <a:pt x="19" y="9"/>
                              <a:pt x="18" y="7"/>
                              <a:pt x="16" y="7"/>
                            </a:cubicBezTo>
                            <a:cubicBezTo>
                              <a:pt x="14" y="8"/>
                              <a:pt x="12" y="11"/>
                              <a:pt x="10" y="10"/>
                            </a:cubicBezTo>
                            <a:cubicBezTo>
                              <a:pt x="7" y="10"/>
                              <a:pt x="5" y="7"/>
                              <a:pt x="3" y="4"/>
                            </a:cubicBezTo>
                            <a:cubicBezTo>
                              <a:pt x="2" y="3"/>
                              <a:pt x="1" y="0"/>
                              <a:pt x="1" y="1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28" name="Freeform 3451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6451838" y="1740860"/>
                        <a:ext cx="15658" cy="4153"/>
                      </a:xfrm>
                      <a:custGeom>
                        <a:avLst/>
                        <a:gdLst>
                          <a:gd name="T0" fmla="*/ 1 w 12"/>
                          <a:gd name="T1" fmla="*/ 0 h 4"/>
                          <a:gd name="T2" fmla="*/ 0 w 12"/>
                          <a:gd name="T3" fmla="*/ 1 h 4"/>
                          <a:gd name="T4" fmla="*/ 11 w 12"/>
                          <a:gd name="T5" fmla="*/ 5 h 4"/>
                          <a:gd name="T6" fmla="*/ 14 w 12"/>
                          <a:gd name="T7" fmla="*/ 3 h 4"/>
                          <a:gd name="T8" fmla="*/ 11 w 12"/>
                          <a:gd name="T9" fmla="*/ 1 h 4"/>
                          <a:gd name="T10" fmla="*/ 1 w 12"/>
                          <a:gd name="T11" fmla="*/ 0 h 4"/>
                          <a:gd name="T12" fmla="*/ 0 60000 65536"/>
                          <a:gd name="T13" fmla="*/ 0 60000 65536"/>
                          <a:gd name="T14" fmla="*/ 0 60000 65536"/>
                          <a:gd name="T15" fmla="*/ 0 60000 65536"/>
                          <a:gd name="T16" fmla="*/ 0 60000 65536"/>
                          <a:gd name="T17" fmla="*/ 0 60000 65536"/>
                          <a:gd name="T18" fmla="*/ 0 w 12"/>
                          <a:gd name="T19" fmla="*/ 0 h 4"/>
                          <a:gd name="T20" fmla="*/ 12 w 12"/>
                          <a:gd name="T21" fmla="*/ 4 h 4"/>
                        </a:gdLst>
                        <a:ahLst/>
                        <a:cxnLst>
                          <a:cxn ang="T12">
                            <a:pos x="T0" y="T1"/>
                          </a:cxn>
                          <a:cxn ang="T13">
                            <a:pos x="T2" y="T3"/>
                          </a:cxn>
                          <a:cxn ang="T14">
                            <a:pos x="T4" y="T5"/>
                          </a:cxn>
                          <a:cxn ang="T15">
                            <a:pos x="T6" y="T7"/>
                          </a:cxn>
                          <a:cxn ang="T16">
                            <a:pos x="T8" y="T9"/>
                          </a:cxn>
                          <a:cxn ang="T17">
                            <a:pos x="T10" y="T11"/>
                          </a:cxn>
                        </a:cxnLst>
                        <a:rect l="T18" t="T19" r="T20" b="T21"/>
                        <a:pathLst>
                          <a:path w="12" h="4">
                            <a:moveTo>
                              <a:pt x="1" y="0"/>
                            </a:moveTo>
                            <a:cubicBezTo>
                              <a:pt x="1" y="0"/>
                              <a:pt x="0" y="1"/>
                              <a:pt x="0" y="1"/>
                            </a:cubicBezTo>
                            <a:cubicBezTo>
                              <a:pt x="3" y="3"/>
                              <a:pt x="6" y="4"/>
                              <a:pt x="9" y="4"/>
                            </a:cubicBezTo>
                            <a:cubicBezTo>
                              <a:pt x="10" y="4"/>
                              <a:pt x="12" y="4"/>
                              <a:pt x="12" y="2"/>
                            </a:cubicBezTo>
                            <a:cubicBezTo>
                              <a:pt x="12" y="1"/>
                              <a:pt x="10" y="1"/>
                              <a:pt x="9" y="1"/>
                            </a:cubicBezTo>
                            <a:cubicBezTo>
                              <a:pt x="6" y="0"/>
                              <a:pt x="4" y="0"/>
                              <a:pt x="1" y="0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29" name="Freeform 3452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6926079" y="1777410"/>
                        <a:ext cx="24606" cy="9968"/>
                      </a:xfrm>
                      <a:custGeom>
                        <a:avLst/>
                        <a:gdLst>
                          <a:gd name="T0" fmla="*/ 5 w 18"/>
                          <a:gd name="T1" fmla="*/ 0 h 10"/>
                          <a:gd name="T2" fmla="*/ 0 w 18"/>
                          <a:gd name="T3" fmla="*/ 1 h 10"/>
                          <a:gd name="T4" fmla="*/ 7 w 18"/>
                          <a:gd name="T5" fmla="*/ 7 h 10"/>
                          <a:gd name="T6" fmla="*/ 17 w 18"/>
                          <a:gd name="T7" fmla="*/ 12 h 10"/>
                          <a:gd name="T8" fmla="*/ 21 w 18"/>
                          <a:gd name="T9" fmla="*/ 10 h 10"/>
                          <a:gd name="T10" fmla="*/ 18 w 18"/>
                          <a:gd name="T11" fmla="*/ 4 h 10"/>
                          <a:gd name="T12" fmla="*/ 5 w 18"/>
                          <a:gd name="T13" fmla="*/ 0 h 10"/>
                          <a:gd name="T14" fmla="*/ 0 60000 65536"/>
                          <a:gd name="T15" fmla="*/ 0 60000 65536"/>
                          <a:gd name="T16" fmla="*/ 0 60000 65536"/>
                          <a:gd name="T17" fmla="*/ 0 60000 65536"/>
                          <a:gd name="T18" fmla="*/ 0 60000 65536"/>
                          <a:gd name="T19" fmla="*/ 0 60000 65536"/>
                          <a:gd name="T20" fmla="*/ 0 60000 65536"/>
                          <a:gd name="T21" fmla="*/ 0 w 18"/>
                          <a:gd name="T22" fmla="*/ 0 h 10"/>
                          <a:gd name="T23" fmla="*/ 18 w 18"/>
                          <a:gd name="T24" fmla="*/ 10 h 10"/>
                        </a:gdLst>
                        <a:ahLst/>
                        <a:cxnLst>
                          <a:cxn ang="T14">
                            <a:pos x="T0" y="T1"/>
                          </a:cxn>
                          <a:cxn ang="T15">
                            <a:pos x="T2" y="T3"/>
                          </a:cxn>
                          <a:cxn ang="T16">
                            <a:pos x="T4" y="T5"/>
                          </a:cxn>
                          <a:cxn ang="T17">
                            <a:pos x="T6" y="T7"/>
                          </a:cxn>
                          <a:cxn ang="T18">
                            <a:pos x="T8" y="T9"/>
                          </a:cxn>
                          <a:cxn ang="T19">
                            <a:pos x="T10" y="T11"/>
                          </a:cxn>
                          <a:cxn ang="T20">
                            <a:pos x="T12" y="T13"/>
                          </a:cxn>
                        </a:cxnLst>
                        <a:rect l="T21" t="T22" r="T23" b="T24"/>
                        <a:pathLst>
                          <a:path w="18" h="10">
                            <a:moveTo>
                              <a:pt x="4" y="0"/>
                            </a:moveTo>
                            <a:cubicBezTo>
                              <a:pt x="2" y="0"/>
                              <a:pt x="0" y="0"/>
                              <a:pt x="0" y="1"/>
                            </a:cubicBezTo>
                            <a:cubicBezTo>
                              <a:pt x="1" y="4"/>
                              <a:pt x="4" y="4"/>
                              <a:pt x="6" y="6"/>
                            </a:cubicBezTo>
                            <a:cubicBezTo>
                              <a:pt x="9" y="7"/>
                              <a:pt x="11" y="9"/>
                              <a:pt x="14" y="10"/>
                            </a:cubicBezTo>
                            <a:cubicBezTo>
                              <a:pt x="15" y="10"/>
                              <a:pt x="17" y="9"/>
                              <a:pt x="17" y="8"/>
                            </a:cubicBezTo>
                            <a:cubicBezTo>
                              <a:pt x="18" y="6"/>
                              <a:pt x="17" y="4"/>
                              <a:pt x="15" y="3"/>
                            </a:cubicBezTo>
                            <a:cubicBezTo>
                              <a:pt x="12" y="1"/>
                              <a:pt x="7" y="0"/>
                              <a:pt x="4" y="0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  <p:sp>
                    <p:nvSpPr>
                      <p:cNvPr id="2030" name="Freeform 3453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7069246" y="1741691"/>
                        <a:ext cx="54806" cy="22428"/>
                      </a:xfrm>
                      <a:custGeom>
                        <a:avLst/>
                        <a:gdLst>
                          <a:gd name="T0" fmla="*/ 6 w 41"/>
                          <a:gd name="T1" fmla="*/ 4 h 22"/>
                          <a:gd name="T2" fmla="*/ 0 w 41"/>
                          <a:gd name="T3" fmla="*/ 15 h 22"/>
                          <a:gd name="T4" fmla="*/ 7 w 41"/>
                          <a:gd name="T5" fmla="*/ 26 h 22"/>
                          <a:gd name="T6" fmla="*/ 14 w 41"/>
                          <a:gd name="T7" fmla="*/ 22 h 22"/>
                          <a:gd name="T8" fmla="*/ 25 w 41"/>
                          <a:gd name="T9" fmla="*/ 20 h 22"/>
                          <a:gd name="T10" fmla="*/ 37 w 41"/>
                          <a:gd name="T11" fmla="*/ 20 h 22"/>
                          <a:gd name="T12" fmla="*/ 47 w 41"/>
                          <a:gd name="T13" fmla="*/ 17 h 22"/>
                          <a:gd name="T14" fmla="*/ 47 w 41"/>
                          <a:gd name="T15" fmla="*/ 10 h 22"/>
                          <a:gd name="T16" fmla="*/ 31 w 41"/>
                          <a:gd name="T17" fmla="*/ 2 h 22"/>
                          <a:gd name="T18" fmla="*/ 25 w 41"/>
                          <a:gd name="T19" fmla="*/ 0 h 22"/>
                          <a:gd name="T20" fmla="*/ 17 w 41"/>
                          <a:gd name="T21" fmla="*/ 2 h 22"/>
                          <a:gd name="T22" fmla="*/ 6 w 41"/>
                          <a:gd name="T23" fmla="*/ 4 h 22"/>
                          <a:gd name="T24" fmla="*/ 0 60000 65536"/>
                          <a:gd name="T25" fmla="*/ 0 60000 65536"/>
                          <a:gd name="T26" fmla="*/ 0 60000 65536"/>
                          <a:gd name="T27" fmla="*/ 0 60000 65536"/>
                          <a:gd name="T28" fmla="*/ 0 60000 65536"/>
                          <a:gd name="T29" fmla="*/ 0 60000 65536"/>
                          <a:gd name="T30" fmla="*/ 0 60000 65536"/>
                          <a:gd name="T31" fmla="*/ 0 60000 65536"/>
                          <a:gd name="T32" fmla="*/ 0 60000 65536"/>
                          <a:gd name="T33" fmla="*/ 0 60000 65536"/>
                          <a:gd name="T34" fmla="*/ 0 60000 65536"/>
                          <a:gd name="T35" fmla="*/ 0 60000 65536"/>
                          <a:gd name="T36" fmla="*/ 0 w 41"/>
                          <a:gd name="T37" fmla="*/ 0 h 22"/>
                          <a:gd name="T38" fmla="*/ 41 w 41"/>
                          <a:gd name="T39" fmla="*/ 22 h 22"/>
                        </a:gdLst>
                        <a:ahLst/>
                        <a:cxnLst>
                          <a:cxn ang="T24">
                            <a:pos x="T0" y="T1"/>
                          </a:cxn>
                          <a:cxn ang="T25">
                            <a:pos x="T2" y="T3"/>
                          </a:cxn>
                          <a:cxn ang="T26">
                            <a:pos x="T4" y="T5"/>
                          </a:cxn>
                          <a:cxn ang="T27">
                            <a:pos x="T6" y="T7"/>
                          </a:cxn>
                          <a:cxn ang="T28">
                            <a:pos x="T8" y="T9"/>
                          </a:cxn>
                          <a:cxn ang="T29">
                            <a:pos x="T10" y="T11"/>
                          </a:cxn>
                          <a:cxn ang="T30">
                            <a:pos x="T12" y="T13"/>
                          </a:cxn>
                          <a:cxn ang="T31">
                            <a:pos x="T14" y="T15"/>
                          </a:cxn>
                          <a:cxn ang="T32">
                            <a:pos x="T16" y="T17"/>
                          </a:cxn>
                          <a:cxn ang="T33">
                            <a:pos x="T18" y="T19"/>
                          </a:cxn>
                          <a:cxn ang="T34">
                            <a:pos x="T20" y="T21"/>
                          </a:cxn>
                          <a:cxn ang="T35">
                            <a:pos x="T22" y="T23"/>
                          </a:cxn>
                        </a:cxnLst>
                        <a:rect l="T36" t="T37" r="T38" b="T39"/>
                        <a:pathLst>
                          <a:path w="41" h="22">
                            <a:moveTo>
                              <a:pt x="5" y="3"/>
                            </a:moveTo>
                            <a:cubicBezTo>
                              <a:pt x="4" y="6"/>
                              <a:pt x="1" y="9"/>
                              <a:pt x="0" y="12"/>
                            </a:cubicBezTo>
                            <a:cubicBezTo>
                              <a:pt x="1" y="15"/>
                              <a:pt x="3" y="18"/>
                              <a:pt x="6" y="21"/>
                            </a:cubicBezTo>
                            <a:cubicBezTo>
                              <a:pt x="8" y="22"/>
                              <a:pt x="10" y="19"/>
                              <a:pt x="12" y="18"/>
                            </a:cubicBezTo>
                            <a:cubicBezTo>
                              <a:pt x="15" y="17"/>
                              <a:pt x="18" y="16"/>
                              <a:pt x="21" y="16"/>
                            </a:cubicBezTo>
                            <a:cubicBezTo>
                              <a:pt x="24" y="16"/>
                              <a:pt x="27" y="16"/>
                              <a:pt x="31" y="16"/>
                            </a:cubicBezTo>
                            <a:cubicBezTo>
                              <a:pt x="34" y="15"/>
                              <a:pt x="37" y="16"/>
                              <a:pt x="39" y="14"/>
                            </a:cubicBezTo>
                            <a:cubicBezTo>
                              <a:pt x="41" y="13"/>
                              <a:pt x="41" y="9"/>
                              <a:pt x="39" y="8"/>
                            </a:cubicBezTo>
                            <a:cubicBezTo>
                              <a:pt x="36" y="5"/>
                              <a:pt x="31" y="4"/>
                              <a:pt x="26" y="2"/>
                            </a:cubicBezTo>
                            <a:cubicBezTo>
                              <a:pt x="24" y="1"/>
                              <a:pt x="23" y="0"/>
                              <a:pt x="21" y="0"/>
                            </a:cubicBezTo>
                            <a:cubicBezTo>
                              <a:pt x="18" y="0"/>
                              <a:pt x="16" y="1"/>
                              <a:pt x="14" y="2"/>
                            </a:cubicBezTo>
                            <a:cubicBezTo>
                              <a:pt x="11" y="2"/>
                              <a:pt x="8" y="2"/>
                              <a:pt x="5" y="3"/>
                            </a:cubicBezTo>
                            <a:close/>
                          </a:path>
                        </a:pathLst>
                      </a:custGeom>
                      <a:grpFill/>
                      <a:ln w="3175" cap="rnd">
                        <a:solidFill>
                          <a:schemeClr val="bg1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pPr defTabSz="68580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</a:pPr>
                        <a:endParaRPr lang="it-IT">
                          <a:solidFill>
                            <a:srgbClr val="133B9C"/>
                          </a:solidFill>
                          <a:latin typeface="Arial" charset="0"/>
                          <a:cs typeface="Arial" charset="0"/>
                        </a:endParaRPr>
                      </a:p>
                    </p:txBody>
                  </p:sp>
                </p:grpSp>
              </p:grpSp>
            </p:grpSp>
          </p:grpSp>
          <p:sp>
            <p:nvSpPr>
              <p:cNvPr id="1967" name="Freeform 2598"/>
              <p:cNvSpPr>
                <a:spLocks noChangeAspect="1"/>
              </p:cNvSpPr>
              <p:nvPr/>
            </p:nvSpPr>
            <p:spPr bwMode="auto">
              <a:xfrm>
                <a:off x="4127317" y="2467315"/>
                <a:ext cx="116847" cy="56918"/>
              </a:xfrm>
              <a:custGeom>
                <a:avLst/>
                <a:gdLst>
                  <a:gd name="T0" fmla="*/ 83 w 78"/>
                  <a:gd name="T1" fmla="*/ 45 h 51"/>
                  <a:gd name="T2" fmla="*/ 81 w 78"/>
                  <a:gd name="T3" fmla="*/ 39 h 51"/>
                  <a:gd name="T4" fmla="*/ 76 w 78"/>
                  <a:gd name="T5" fmla="*/ 36 h 51"/>
                  <a:gd name="T6" fmla="*/ 82 w 78"/>
                  <a:gd name="T7" fmla="*/ 31 h 51"/>
                  <a:gd name="T8" fmla="*/ 82 w 78"/>
                  <a:gd name="T9" fmla="*/ 24 h 51"/>
                  <a:gd name="T10" fmla="*/ 86 w 78"/>
                  <a:gd name="T11" fmla="*/ 17 h 51"/>
                  <a:gd name="T12" fmla="*/ 89 w 78"/>
                  <a:gd name="T13" fmla="*/ 17 h 51"/>
                  <a:gd name="T14" fmla="*/ 92 w 78"/>
                  <a:gd name="T15" fmla="*/ 17 h 51"/>
                  <a:gd name="T16" fmla="*/ 93 w 78"/>
                  <a:gd name="T17" fmla="*/ 10 h 51"/>
                  <a:gd name="T18" fmla="*/ 89 w 78"/>
                  <a:gd name="T19" fmla="*/ 10 h 51"/>
                  <a:gd name="T20" fmla="*/ 86 w 78"/>
                  <a:gd name="T21" fmla="*/ 7 h 51"/>
                  <a:gd name="T22" fmla="*/ 79 w 78"/>
                  <a:gd name="T23" fmla="*/ 6 h 51"/>
                  <a:gd name="T24" fmla="*/ 73 w 78"/>
                  <a:gd name="T25" fmla="*/ 4 h 51"/>
                  <a:gd name="T26" fmla="*/ 67 w 78"/>
                  <a:gd name="T27" fmla="*/ 4 h 51"/>
                  <a:gd name="T28" fmla="*/ 60 w 78"/>
                  <a:gd name="T29" fmla="*/ 5 h 51"/>
                  <a:gd name="T30" fmla="*/ 55 w 78"/>
                  <a:gd name="T31" fmla="*/ 8 h 51"/>
                  <a:gd name="T32" fmla="*/ 41 w 78"/>
                  <a:gd name="T33" fmla="*/ 11 h 51"/>
                  <a:gd name="T34" fmla="*/ 31 w 78"/>
                  <a:gd name="T35" fmla="*/ 10 h 51"/>
                  <a:gd name="T36" fmla="*/ 15 w 78"/>
                  <a:gd name="T37" fmla="*/ 8 h 51"/>
                  <a:gd name="T38" fmla="*/ 7 w 78"/>
                  <a:gd name="T39" fmla="*/ 10 h 51"/>
                  <a:gd name="T40" fmla="*/ 10 w 78"/>
                  <a:gd name="T41" fmla="*/ 5 h 51"/>
                  <a:gd name="T42" fmla="*/ 5 w 78"/>
                  <a:gd name="T43" fmla="*/ 0 h 51"/>
                  <a:gd name="T44" fmla="*/ 1 w 78"/>
                  <a:gd name="T45" fmla="*/ 6 h 51"/>
                  <a:gd name="T46" fmla="*/ 1 w 78"/>
                  <a:gd name="T47" fmla="*/ 16 h 51"/>
                  <a:gd name="T48" fmla="*/ 7 w 78"/>
                  <a:gd name="T49" fmla="*/ 22 h 51"/>
                  <a:gd name="T50" fmla="*/ 11 w 78"/>
                  <a:gd name="T51" fmla="*/ 25 h 51"/>
                  <a:gd name="T52" fmla="*/ 4 w 78"/>
                  <a:gd name="T53" fmla="*/ 29 h 51"/>
                  <a:gd name="T54" fmla="*/ 4 w 78"/>
                  <a:gd name="T55" fmla="*/ 38 h 51"/>
                  <a:gd name="T56" fmla="*/ 5 w 78"/>
                  <a:gd name="T57" fmla="*/ 43 h 51"/>
                  <a:gd name="T58" fmla="*/ 11 w 78"/>
                  <a:gd name="T59" fmla="*/ 45 h 51"/>
                  <a:gd name="T60" fmla="*/ 12 w 78"/>
                  <a:gd name="T61" fmla="*/ 51 h 51"/>
                  <a:gd name="T62" fmla="*/ 12 w 78"/>
                  <a:gd name="T63" fmla="*/ 57 h 51"/>
                  <a:gd name="T64" fmla="*/ 17 w 78"/>
                  <a:gd name="T65" fmla="*/ 57 h 51"/>
                  <a:gd name="T66" fmla="*/ 25 w 78"/>
                  <a:gd name="T67" fmla="*/ 57 h 51"/>
                  <a:gd name="T68" fmla="*/ 29 w 78"/>
                  <a:gd name="T69" fmla="*/ 55 h 51"/>
                  <a:gd name="T70" fmla="*/ 35 w 78"/>
                  <a:gd name="T71" fmla="*/ 55 h 51"/>
                  <a:gd name="T72" fmla="*/ 37 w 78"/>
                  <a:gd name="T73" fmla="*/ 57 h 51"/>
                  <a:gd name="T74" fmla="*/ 43 w 78"/>
                  <a:gd name="T75" fmla="*/ 59 h 51"/>
                  <a:gd name="T76" fmla="*/ 49 w 78"/>
                  <a:gd name="T77" fmla="*/ 60 h 51"/>
                  <a:gd name="T78" fmla="*/ 58 w 78"/>
                  <a:gd name="T79" fmla="*/ 56 h 51"/>
                  <a:gd name="T80" fmla="*/ 60 w 78"/>
                  <a:gd name="T81" fmla="*/ 53 h 51"/>
                  <a:gd name="T82" fmla="*/ 60 w 78"/>
                  <a:gd name="T83" fmla="*/ 48 h 51"/>
                  <a:gd name="T84" fmla="*/ 64 w 78"/>
                  <a:gd name="T85" fmla="*/ 47 h 51"/>
                  <a:gd name="T86" fmla="*/ 70 w 78"/>
                  <a:gd name="T87" fmla="*/ 48 h 51"/>
                  <a:gd name="T88" fmla="*/ 74 w 78"/>
                  <a:gd name="T89" fmla="*/ 44 h 51"/>
                  <a:gd name="T90" fmla="*/ 79 w 78"/>
                  <a:gd name="T91" fmla="*/ 44 h 51"/>
                  <a:gd name="T92" fmla="*/ 82 w 78"/>
                  <a:gd name="T93" fmla="*/ 47 h 51"/>
                  <a:gd name="T94" fmla="*/ 83 w 78"/>
                  <a:gd name="T95" fmla="*/ 45 h 51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8"/>
                  <a:gd name="T145" fmla="*/ 0 h 51"/>
                  <a:gd name="T146" fmla="*/ 78 w 78"/>
                  <a:gd name="T147" fmla="*/ 51 h 51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8" h="51">
                    <a:moveTo>
                      <a:pt x="70" y="38"/>
                    </a:moveTo>
                    <a:cubicBezTo>
                      <a:pt x="70" y="36"/>
                      <a:pt x="69" y="34"/>
                      <a:pt x="68" y="33"/>
                    </a:cubicBezTo>
                    <a:cubicBezTo>
                      <a:pt x="67" y="32"/>
                      <a:pt x="63" y="32"/>
                      <a:pt x="64" y="30"/>
                    </a:cubicBezTo>
                    <a:cubicBezTo>
                      <a:pt x="64" y="28"/>
                      <a:pt x="68" y="28"/>
                      <a:pt x="69" y="26"/>
                    </a:cubicBezTo>
                    <a:cubicBezTo>
                      <a:pt x="70" y="24"/>
                      <a:pt x="68" y="22"/>
                      <a:pt x="69" y="20"/>
                    </a:cubicBezTo>
                    <a:cubicBezTo>
                      <a:pt x="69" y="18"/>
                      <a:pt x="70" y="16"/>
                      <a:pt x="72" y="14"/>
                    </a:cubicBezTo>
                    <a:cubicBezTo>
                      <a:pt x="72" y="13"/>
                      <a:pt x="74" y="14"/>
                      <a:pt x="75" y="14"/>
                    </a:cubicBezTo>
                    <a:cubicBezTo>
                      <a:pt x="75" y="14"/>
                      <a:pt x="76" y="14"/>
                      <a:pt x="77" y="14"/>
                    </a:cubicBezTo>
                    <a:cubicBezTo>
                      <a:pt x="78" y="12"/>
                      <a:pt x="78" y="10"/>
                      <a:pt x="78" y="8"/>
                    </a:cubicBezTo>
                    <a:cubicBezTo>
                      <a:pt x="77" y="8"/>
                      <a:pt x="76" y="8"/>
                      <a:pt x="75" y="8"/>
                    </a:cubicBezTo>
                    <a:cubicBezTo>
                      <a:pt x="74" y="7"/>
                      <a:pt x="73" y="6"/>
                      <a:pt x="72" y="6"/>
                    </a:cubicBezTo>
                    <a:cubicBezTo>
                      <a:pt x="70" y="5"/>
                      <a:pt x="68" y="5"/>
                      <a:pt x="66" y="5"/>
                    </a:cubicBezTo>
                    <a:cubicBezTo>
                      <a:pt x="64" y="4"/>
                      <a:pt x="63" y="3"/>
                      <a:pt x="61" y="3"/>
                    </a:cubicBezTo>
                    <a:cubicBezTo>
                      <a:pt x="60" y="3"/>
                      <a:pt x="58" y="3"/>
                      <a:pt x="56" y="3"/>
                    </a:cubicBezTo>
                    <a:cubicBezTo>
                      <a:pt x="54" y="3"/>
                      <a:pt x="52" y="3"/>
                      <a:pt x="50" y="4"/>
                    </a:cubicBezTo>
                    <a:cubicBezTo>
                      <a:pt x="48" y="4"/>
                      <a:pt x="48" y="6"/>
                      <a:pt x="46" y="7"/>
                    </a:cubicBezTo>
                    <a:cubicBezTo>
                      <a:pt x="42" y="8"/>
                      <a:pt x="38" y="9"/>
                      <a:pt x="34" y="9"/>
                    </a:cubicBezTo>
                    <a:cubicBezTo>
                      <a:pt x="31" y="9"/>
                      <a:pt x="28" y="9"/>
                      <a:pt x="26" y="8"/>
                    </a:cubicBezTo>
                    <a:cubicBezTo>
                      <a:pt x="22" y="8"/>
                      <a:pt x="18" y="7"/>
                      <a:pt x="13" y="7"/>
                    </a:cubicBezTo>
                    <a:cubicBezTo>
                      <a:pt x="11" y="7"/>
                      <a:pt x="8" y="9"/>
                      <a:pt x="6" y="8"/>
                    </a:cubicBezTo>
                    <a:cubicBezTo>
                      <a:pt x="5" y="7"/>
                      <a:pt x="8" y="5"/>
                      <a:pt x="8" y="4"/>
                    </a:cubicBezTo>
                    <a:cubicBezTo>
                      <a:pt x="7" y="2"/>
                      <a:pt x="6" y="2"/>
                      <a:pt x="4" y="0"/>
                    </a:cubicBezTo>
                    <a:cubicBezTo>
                      <a:pt x="3" y="2"/>
                      <a:pt x="1" y="3"/>
                      <a:pt x="1" y="5"/>
                    </a:cubicBezTo>
                    <a:cubicBezTo>
                      <a:pt x="0" y="7"/>
                      <a:pt x="0" y="10"/>
                      <a:pt x="1" y="13"/>
                    </a:cubicBezTo>
                    <a:cubicBezTo>
                      <a:pt x="2" y="15"/>
                      <a:pt x="5" y="16"/>
                      <a:pt x="6" y="18"/>
                    </a:cubicBezTo>
                    <a:cubicBezTo>
                      <a:pt x="7" y="19"/>
                      <a:pt x="10" y="20"/>
                      <a:pt x="9" y="21"/>
                    </a:cubicBezTo>
                    <a:cubicBezTo>
                      <a:pt x="8" y="23"/>
                      <a:pt x="4" y="22"/>
                      <a:pt x="3" y="24"/>
                    </a:cubicBezTo>
                    <a:cubicBezTo>
                      <a:pt x="2" y="27"/>
                      <a:pt x="3" y="30"/>
                      <a:pt x="3" y="32"/>
                    </a:cubicBezTo>
                    <a:cubicBezTo>
                      <a:pt x="3" y="34"/>
                      <a:pt x="3" y="35"/>
                      <a:pt x="4" y="36"/>
                    </a:cubicBezTo>
                    <a:cubicBezTo>
                      <a:pt x="5" y="37"/>
                      <a:pt x="8" y="36"/>
                      <a:pt x="9" y="38"/>
                    </a:cubicBezTo>
                    <a:cubicBezTo>
                      <a:pt x="10" y="39"/>
                      <a:pt x="10" y="41"/>
                      <a:pt x="10" y="43"/>
                    </a:cubicBezTo>
                    <a:cubicBezTo>
                      <a:pt x="11" y="44"/>
                      <a:pt x="10" y="47"/>
                      <a:pt x="10" y="48"/>
                    </a:cubicBezTo>
                    <a:cubicBezTo>
                      <a:pt x="11" y="48"/>
                      <a:pt x="13" y="48"/>
                      <a:pt x="14" y="48"/>
                    </a:cubicBezTo>
                    <a:cubicBezTo>
                      <a:pt x="17" y="48"/>
                      <a:pt x="19" y="49"/>
                      <a:pt x="21" y="48"/>
                    </a:cubicBezTo>
                    <a:cubicBezTo>
                      <a:pt x="22" y="48"/>
                      <a:pt x="22" y="46"/>
                      <a:pt x="24" y="46"/>
                    </a:cubicBezTo>
                    <a:cubicBezTo>
                      <a:pt x="26" y="45"/>
                      <a:pt x="28" y="45"/>
                      <a:pt x="29" y="46"/>
                    </a:cubicBezTo>
                    <a:cubicBezTo>
                      <a:pt x="30" y="46"/>
                      <a:pt x="30" y="48"/>
                      <a:pt x="31" y="48"/>
                    </a:cubicBezTo>
                    <a:cubicBezTo>
                      <a:pt x="33" y="49"/>
                      <a:pt x="35" y="49"/>
                      <a:pt x="36" y="49"/>
                    </a:cubicBezTo>
                    <a:cubicBezTo>
                      <a:pt x="38" y="50"/>
                      <a:pt x="40" y="51"/>
                      <a:pt x="41" y="50"/>
                    </a:cubicBezTo>
                    <a:cubicBezTo>
                      <a:pt x="44" y="50"/>
                      <a:pt x="47" y="49"/>
                      <a:pt x="49" y="47"/>
                    </a:cubicBezTo>
                    <a:cubicBezTo>
                      <a:pt x="50" y="47"/>
                      <a:pt x="50" y="45"/>
                      <a:pt x="50" y="44"/>
                    </a:cubicBezTo>
                    <a:cubicBezTo>
                      <a:pt x="50" y="43"/>
                      <a:pt x="49" y="41"/>
                      <a:pt x="50" y="40"/>
                    </a:cubicBezTo>
                    <a:cubicBezTo>
                      <a:pt x="51" y="39"/>
                      <a:pt x="53" y="39"/>
                      <a:pt x="54" y="39"/>
                    </a:cubicBezTo>
                    <a:cubicBezTo>
                      <a:pt x="56" y="39"/>
                      <a:pt x="57" y="40"/>
                      <a:pt x="59" y="40"/>
                    </a:cubicBezTo>
                    <a:cubicBezTo>
                      <a:pt x="60" y="39"/>
                      <a:pt x="60" y="37"/>
                      <a:pt x="62" y="37"/>
                    </a:cubicBezTo>
                    <a:cubicBezTo>
                      <a:pt x="63" y="36"/>
                      <a:pt x="65" y="37"/>
                      <a:pt x="66" y="37"/>
                    </a:cubicBezTo>
                    <a:cubicBezTo>
                      <a:pt x="67" y="38"/>
                      <a:pt x="68" y="39"/>
                      <a:pt x="69" y="39"/>
                    </a:cubicBezTo>
                    <a:cubicBezTo>
                      <a:pt x="69" y="39"/>
                      <a:pt x="70" y="38"/>
                      <a:pt x="70" y="38"/>
                    </a:cubicBezTo>
                    <a:close/>
                  </a:path>
                </a:pathLst>
              </a:custGeom>
              <a:grp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</p:grpSp>
        <p:grpSp>
          <p:nvGrpSpPr>
            <p:cNvPr id="1228" name="Gruppo 1132"/>
            <p:cNvGrpSpPr/>
            <p:nvPr/>
          </p:nvGrpSpPr>
          <p:grpSpPr>
            <a:xfrm>
              <a:off x="710640" y="1645633"/>
              <a:ext cx="7287979" cy="2870560"/>
              <a:chOff x="1565232" y="1448466"/>
              <a:chExt cx="5915618" cy="2330020"/>
            </a:xfrm>
          </p:grpSpPr>
          <p:sp>
            <p:nvSpPr>
              <p:cNvPr id="1229" name="Freeform 2527"/>
              <p:cNvSpPr>
                <a:spLocks noChangeAspect="1"/>
              </p:cNvSpPr>
              <p:nvPr/>
            </p:nvSpPr>
            <p:spPr bwMode="auto">
              <a:xfrm>
                <a:off x="3085260" y="3066603"/>
                <a:ext cx="206921" cy="196869"/>
              </a:xfrm>
              <a:custGeom>
                <a:avLst/>
                <a:gdLst>
                  <a:gd name="T0" fmla="*/ 118 w 154"/>
                  <a:gd name="T1" fmla="*/ 201 h 197"/>
                  <a:gd name="T2" fmla="*/ 121 w 154"/>
                  <a:gd name="T3" fmla="*/ 186 h 197"/>
                  <a:gd name="T4" fmla="*/ 150 w 154"/>
                  <a:gd name="T5" fmla="*/ 168 h 197"/>
                  <a:gd name="T6" fmla="*/ 179 w 154"/>
                  <a:gd name="T7" fmla="*/ 179 h 197"/>
                  <a:gd name="T8" fmla="*/ 185 w 154"/>
                  <a:gd name="T9" fmla="*/ 147 h 197"/>
                  <a:gd name="T10" fmla="*/ 172 w 154"/>
                  <a:gd name="T11" fmla="*/ 130 h 197"/>
                  <a:gd name="T12" fmla="*/ 174 w 154"/>
                  <a:gd name="T13" fmla="*/ 117 h 197"/>
                  <a:gd name="T14" fmla="*/ 145 w 154"/>
                  <a:gd name="T15" fmla="*/ 117 h 197"/>
                  <a:gd name="T16" fmla="*/ 139 w 154"/>
                  <a:gd name="T17" fmla="*/ 97 h 197"/>
                  <a:gd name="T18" fmla="*/ 143 w 154"/>
                  <a:gd name="T19" fmla="*/ 88 h 197"/>
                  <a:gd name="T20" fmla="*/ 139 w 154"/>
                  <a:gd name="T21" fmla="*/ 70 h 197"/>
                  <a:gd name="T22" fmla="*/ 117 w 154"/>
                  <a:gd name="T23" fmla="*/ 66 h 197"/>
                  <a:gd name="T24" fmla="*/ 106 w 154"/>
                  <a:gd name="T25" fmla="*/ 59 h 197"/>
                  <a:gd name="T26" fmla="*/ 91 w 154"/>
                  <a:gd name="T27" fmla="*/ 52 h 197"/>
                  <a:gd name="T28" fmla="*/ 66 w 154"/>
                  <a:gd name="T29" fmla="*/ 34 h 197"/>
                  <a:gd name="T30" fmla="*/ 60 w 154"/>
                  <a:gd name="T31" fmla="*/ 14 h 197"/>
                  <a:gd name="T32" fmla="*/ 44 w 154"/>
                  <a:gd name="T33" fmla="*/ 2 h 197"/>
                  <a:gd name="T34" fmla="*/ 29 w 154"/>
                  <a:gd name="T35" fmla="*/ 12 h 197"/>
                  <a:gd name="T36" fmla="*/ 12 w 154"/>
                  <a:gd name="T37" fmla="*/ 22 h 197"/>
                  <a:gd name="T38" fmla="*/ 0 w 154"/>
                  <a:gd name="T39" fmla="*/ 20 h 197"/>
                  <a:gd name="T40" fmla="*/ 16 w 154"/>
                  <a:gd name="T41" fmla="*/ 57 h 197"/>
                  <a:gd name="T42" fmla="*/ 13 w 154"/>
                  <a:gd name="T43" fmla="*/ 71 h 197"/>
                  <a:gd name="T44" fmla="*/ 13 w 154"/>
                  <a:gd name="T45" fmla="*/ 79 h 197"/>
                  <a:gd name="T46" fmla="*/ 10 w 154"/>
                  <a:gd name="T47" fmla="*/ 100 h 197"/>
                  <a:gd name="T48" fmla="*/ 6 w 154"/>
                  <a:gd name="T49" fmla="*/ 129 h 197"/>
                  <a:gd name="T50" fmla="*/ 6 w 154"/>
                  <a:gd name="T51" fmla="*/ 141 h 197"/>
                  <a:gd name="T52" fmla="*/ 16 w 154"/>
                  <a:gd name="T53" fmla="*/ 164 h 197"/>
                  <a:gd name="T54" fmla="*/ 19 w 154"/>
                  <a:gd name="T55" fmla="*/ 177 h 197"/>
                  <a:gd name="T56" fmla="*/ 19 w 154"/>
                  <a:gd name="T57" fmla="*/ 183 h 197"/>
                  <a:gd name="T58" fmla="*/ 23 w 154"/>
                  <a:gd name="T59" fmla="*/ 194 h 197"/>
                  <a:gd name="T60" fmla="*/ 26 w 154"/>
                  <a:gd name="T61" fmla="*/ 200 h 197"/>
                  <a:gd name="T62" fmla="*/ 35 w 154"/>
                  <a:gd name="T63" fmla="*/ 226 h 197"/>
                  <a:gd name="T64" fmla="*/ 40 w 154"/>
                  <a:gd name="T65" fmla="*/ 233 h 197"/>
                  <a:gd name="T66" fmla="*/ 49 w 154"/>
                  <a:gd name="T67" fmla="*/ 227 h 197"/>
                  <a:gd name="T68" fmla="*/ 56 w 154"/>
                  <a:gd name="T69" fmla="*/ 221 h 197"/>
                  <a:gd name="T70" fmla="*/ 67 w 154"/>
                  <a:gd name="T71" fmla="*/ 220 h 197"/>
                  <a:gd name="T72" fmla="*/ 88 w 154"/>
                  <a:gd name="T73" fmla="*/ 235 h 197"/>
                  <a:gd name="T74" fmla="*/ 94 w 154"/>
                  <a:gd name="T75" fmla="*/ 218 h 197"/>
                  <a:gd name="T76" fmla="*/ 113 w 154"/>
                  <a:gd name="T77" fmla="*/ 223 h 197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154"/>
                  <a:gd name="T118" fmla="*/ 0 h 197"/>
                  <a:gd name="T119" fmla="*/ 154 w 154"/>
                  <a:gd name="T120" fmla="*/ 197 h 197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154" h="197">
                    <a:moveTo>
                      <a:pt x="94" y="185"/>
                    </a:moveTo>
                    <a:cubicBezTo>
                      <a:pt x="96" y="179"/>
                      <a:pt x="97" y="173"/>
                      <a:pt x="98" y="167"/>
                    </a:cubicBezTo>
                    <a:cubicBezTo>
                      <a:pt x="98" y="164"/>
                      <a:pt x="97" y="162"/>
                      <a:pt x="97" y="160"/>
                    </a:cubicBezTo>
                    <a:cubicBezTo>
                      <a:pt x="99" y="158"/>
                      <a:pt x="100" y="156"/>
                      <a:pt x="101" y="155"/>
                    </a:cubicBezTo>
                    <a:cubicBezTo>
                      <a:pt x="102" y="152"/>
                      <a:pt x="102" y="149"/>
                      <a:pt x="103" y="147"/>
                    </a:cubicBezTo>
                    <a:cubicBezTo>
                      <a:pt x="110" y="144"/>
                      <a:pt x="117" y="142"/>
                      <a:pt x="125" y="140"/>
                    </a:cubicBezTo>
                    <a:cubicBezTo>
                      <a:pt x="129" y="140"/>
                      <a:pt x="133" y="141"/>
                      <a:pt x="138" y="141"/>
                    </a:cubicBezTo>
                    <a:cubicBezTo>
                      <a:pt x="141" y="144"/>
                      <a:pt x="145" y="146"/>
                      <a:pt x="149" y="149"/>
                    </a:cubicBezTo>
                    <a:cubicBezTo>
                      <a:pt x="150" y="145"/>
                      <a:pt x="152" y="140"/>
                      <a:pt x="153" y="136"/>
                    </a:cubicBezTo>
                    <a:cubicBezTo>
                      <a:pt x="154" y="131"/>
                      <a:pt x="154" y="127"/>
                      <a:pt x="154" y="122"/>
                    </a:cubicBezTo>
                    <a:cubicBezTo>
                      <a:pt x="153" y="118"/>
                      <a:pt x="153" y="114"/>
                      <a:pt x="150" y="111"/>
                    </a:cubicBezTo>
                    <a:cubicBezTo>
                      <a:pt x="149" y="109"/>
                      <a:pt x="144" y="110"/>
                      <a:pt x="143" y="108"/>
                    </a:cubicBezTo>
                    <a:cubicBezTo>
                      <a:pt x="142" y="105"/>
                      <a:pt x="145" y="103"/>
                      <a:pt x="145" y="100"/>
                    </a:cubicBezTo>
                    <a:cubicBezTo>
                      <a:pt x="146" y="99"/>
                      <a:pt x="145" y="98"/>
                      <a:pt x="145" y="97"/>
                    </a:cubicBezTo>
                    <a:cubicBezTo>
                      <a:pt x="145" y="96"/>
                      <a:pt x="144" y="97"/>
                      <a:pt x="144" y="97"/>
                    </a:cubicBezTo>
                    <a:cubicBezTo>
                      <a:pt x="136" y="97"/>
                      <a:pt x="128" y="97"/>
                      <a:pt x="121" y="97"/>
                    </a:cubicBezTo>
                    <a:cubicBezTo>
                      <a:pt x="120" y="97"/>
                      <a:pt x="121" y="96"/>
                      <a:pt x="121" y="95"/>
                    </a:cubicBezTo>
                    <a:cubicBezTo>
                      <a:pt x="119" y="90"/>
                      <a:pt x="116" y="86"/>
                      <a:pt x="116" y="81"/>
                    </a:cubicBezTo>
                    <a:cubicBezTo>
                      <a:pt x="116" y="79"/>
                      <a:pt x="119" y="80"/>
                      <a:pt x="119" y="79"/>
                    </a:cubicBezTo>
                    <a:cubicBezTo>
                      <a:pt x="120" y="77"/>
                      <a:pt x="120" y="75"/>
                      <a:pt x="119" y="73"/>
                    </a:cubicBezTo>
                    <a:cubicBezTo>
                      <a:pt x="119" y="71"/>
                      <a:pt x="117" y="69"/>
                      <a:pt x="116" y="67"/>
                    </a:cubicBezTo>
                    <a:cubicBezTo>
                      <a:pt x="116" y="64"/>
                      <a:pt x="118" y="60"/>
                      <a:pt x="116" y="58"/>
                    </a:cubicBezTo>
                    <a:cubicBezTo>
                      <a:pt x="115" y="57"/>
                      <a:pt x="111" y="56"/>
                      <a:pt x="108" y="56"/>
                    </a:cubicBezTo>
                    <a:cubicBezTo>
                      <a:pt x="104" y="55"/>
                      <a:pt x="101" y="56"/>
                      <a:pt x="97" y="55"/>
                    </a:cubicBezTo>
                    <a:cubicBezTo>
                      <a:pt x="95" y="54"/>
                      <a:pt x="95" y="50"/>
                      <a:pt x="93" y="49"/>
                    </a:cubicBezTo>
                    <a:cubicBezTo>
                      <a:pt x="91" y="49"/>
                      <a:pt x="90" y="50"/>
                      <a:pt x="88" y="49"/>
                    </a:cubicBezTo>
                    <a:cubicBezTo>
                      <a:pt x="86" y="48"/>
                      <a:pt x="86" y="44"/>
                      <a:pt x="84" y="43"/>
                    </a:cubicBezTo>
                    <a:cubicBezTo>
                      <a:pt x="81" y="42"/>
                      <a:pt x="79" y="43"/>
                      <a:pt x="76" y="43"/>
                    </a:cubicBezTo>
                    <a:cubicBezTo>
                      <a:pt x="73" y="42"/>
                      <a:pt x="68" y="43"/>
                      <a:pt x="65" y="41"/>
                    </a:cubicBezTo>
                    <a:cubicBezTo>
                      <a:pt x="62" y="37"/>
                      <a:pt x="58" y="32"/>
                      <a:pt x="55" y="28"/>
                    </a:cubicBezTo>
                    <a:cubicBezTo>
                      <a:pt x="54" y="26"/>
                      <a:pt x="54" y="24"/>
                      <a:pt x="53" y="22"/>
                    </a:cubicBezTo>
                    <a:cubicBezTo>
                      <a:pt x="52" y="19"/>
                      <a:pt x="53" y="16"/>
                      <a:pt x="50" y="12"/>
                    </a:cubicBezTo>
                    <a:cubicBezTo>
                      <a:pt x="50" y="9"/>
                      <a:pt x="54" y="3"/>
                      <a:pt x="51" y="1"/>
                    </a:cubicBezTo>
                    <a:cubicBezTo>
                      <a:pt x="47" y="2"/>
                      <a:pt x="42" y="0"/>
                      <a:pt x="37" y="2"/>
                    </a:cubicBezTo>
                    <a:cubicBezTo>
                      <a:pt x="34" y="3"/>
                      <a:pt x="33" y="7"/>
                      <a:pt x="30" y="8"/>
                    </a:cubicBezTo>
                    <a:cubicBezTo>
                      <a:pt x="28" y="9"/>
                      <a:pt x="25" y="9"/>
                      <a:pt x="24" y="10"/>
                    </a:cubicBezTo>
                    <a:cubicBezTo>
                      <a:pt x="21" y="11"/>
                      <a:pt x="20" y="14"/>
                      <a:pt x="18" y="15"/>
                    </a:cubicBezTo>
                    <a:cubicBezTo>
                      <a:pt x="15" y="17"/>
                      <a:pt x="13" y="18"/>
                      <a:pt x="10" y="18"/>
                    </a:cubicBezTo>
                    <a:cubicBezTo>
                      <a:pt x="8" y="19"/>
                      <a:pt x="6" y="18"/>
                      <a:pt x="5" y="18"/>
                    </a:cubicBezTo>
                    <a:cubicBezTo>
                      <a:pt x="3" y="18"/>
                      <a:pt x="1" y="17"/>
                      <a:pt x="0" y="17"/>
                    </a:cubicBezTo>
                    <a:cubicBezTo>
                      <a:pt x="5" y="25"/>
                      <a:pt x="10" y="33"/>
                      <a:pt x="16" y="41"/>
                    </a:cubicBezTo>
                    <a:cubicBezTo>
                      <a:pt x="15" y="43"/>
                      <a:pt x="14" y="45"/>
                      <a:pt x="13" y="47"/>
                    </a:cubicBezTo>
                    <a:cubicBezTo>
                      <a:pt x="12" y="49"/>
                      <a:pt x="11" y="50"/>
                      <a:pt x="10" y="52"/>
                    </a:cubicBezTo>
                    <a:cubicBezTo>
                      <a:pt x="10" y="54"/>
                      <a:pt x="11" y="56"/>
                      <a:pt x="11" y="59"/>
                    </a:cubicBezTo>
                    <a:cubicBezTo>
                      <a:pt x="10" y="60"/>
                      <a:pt x="8" y="58"/>
                      <a:pt x="8" y="59"/>
                    </a:cubicBezTo>
                    <a:cubicBezTo>
                      <a:pt x="8" y="61"/>
                      <a:pt x="11" y="64"/>
                      <a:pt x="11" y="66"/>
                    </a:cubicBezTo>
                    <a:cubicBezTo>
                      <a:pt x="11" y="70"/>
                      <a:pt x="6" y="73"/>
                      <a:pt x="6" y="77"/>
                    </a:cubicBezTo>
                    <a:cubicBezTo>
                      <a:pt x="5" y="79"/>
                      <a:pt x="8" y="81"/>
                      <a:pt x="8" y="83"/>
                    </a:cubicBezTo>
                    <a:cubicBezTo>
                      <a:pt x="9" y="88"/>
                      <a:pt x="9" y="94"/>
                      <a:pt x="8" y="100"/>
                    </a:cubicBezTo>
                    <a:cubicBezTo>
                      <a:pt x="8" y="102"/>
                      <a:pt x="7" y="105"/>
                      <a:pt x="5" y="107"/>
                    </a:cubicBezTo>
                    <a:cubicBezTo>
                      <a:pt x="4" y="108"/>
                      <a:pt x="2" y="109"/>
                      <a:pt x="2" y="110"/>
                    </a:cubicBezTo>
                    <a:cubicBezTo>
                      <a:pt x="1" y="112"/>
                      <a:pt x="4" y="115"/>
                      <a:pt x="5" y="117"/>
                    </a:cubicBezTo>
                    <a:cubicBezTo>
                      <a:pt x="6" y="119"/>
                      <a:pt x="9" y="120"/>
                      <a:pt x="10" y="122"/>
                    </a:cubicBezTo>
                    <a:cubicBezTo>
                      <a:pt x="12" y="127"/>
                      <a:pt x="11" y="131"/>
                      <a:pt x="13" y="136"/>
                    </a:cubicBezTo>
                    <a:cubicBezTo>
                      <a:pt x="14" y="138"/>
                      <a:pt x="17" y="140"/>
                      <a:pt x="18" y="142"/>
                    </a:cubicBezTo>
                    <a:cubicBezTo>
                      <a:pt x="18" y="144"/>
                      <a:pt x="16" y="145"/>
                      <a:pt x="16" y="147"/>
                    </a:cubicBezTo>
                    <a:cubicBezTo>
                      <a:pt x="16" y="148"/>
                      <a:pt x="18" y="149"/>
                      <a:pt x="17" y="150"/>
                    </a:cubicBezTo>
                    <a:cubicBezTo>
                      <a:pt x="17" y="150"/>
                      <a:pt x="16" y="151"/>
                      <a:pt x="16" y="152"/>
                    </a:cubicBezTo>
                    <a:cubicBezTo>
                      <a:pt x="16" y="154"/>
                      <a:pt x="16" y="156"/>
                      <a:pt x="16" y="158"/>
                    </a:cubicBezTo>
                    <a:cubicBezTo>
                      <a:pt x="17" y="159"/>
                      <a:pt x="19" y="159"/>
                      <a:pt x="19" y="161"/>
                    </a:cubicBezTo>
                    <a:cubicBezTo>
                      <a:pt x="19" y="162"/>
                      <a:pt x="18" y="164"/>
                      <a:pt x="19" y="165"/>
                    </a:cubicBezTo>
                    <a:cubicBezTo>
                      <a:pt x="19" y="166"/>
                      <a:pt x="21" y="165"/>
                      <a:pt x="22" y="166"/>
                    </a:cubicBezTo>
                    <a:cubicBezTo>
                      <a:pt x="23" y="168"/>
                      <a:pt x="23" y="171"/>
                      <a:pt x="24" y="173"/>
                    </a:cubicBezTo>
                    <a:cubicBezTo>
                      <a:pt x="26" y="178"/>
                      <a:pt x="28" y="183"/>
                      <a:pt x="29" y="188"/>
                    </a:cubicBezTo>
                    <a:cubicBezTo>
                      <a:pt x="30" y="189"/>
                      <a:pt x="29" y="191"/>
                      <a:pt x="30" y="193"/>
                    </a:cubicBezTo>
                    <a:cubicBezTo>
                      <a:pt x="31" y="194"/>
                      <a:pt x="32" y="194"/>
                      <a:pt x="33" y="194"/>
                    </a:cubicBezTo>
                    <a:cubicBezTo>
                      <a:pt x="35" y="195"/>
                      <a:pt x="36" y="194"/>
                      <a:pt x="37" y="194"/>
                    </a:cubicBezTo>
                    <a:cubicBezTo>
                      <a:pt x="38" y="193"/>
                      <a:pt x="39" y="191"/>
                      <a:pt x="41" y="189"/>
                    </a:cubicBezTo>
                    <a:cubicBezTo>
                      <a:pt x="41" y="188"/>
                      <a:pt x="42" y="187"/>
                      <a:pt x="44" y="186"/>
                    </a:cubicBezTo>
                    <a:cubicBezTo>
                      <a:pt x="45" y="185"/>
                      <a:pt x="47" y="186"/>
                      <a:pt x="47" y="184"/>
                    </a:cubicBezTo>
                    <a:cubicBezTo>
                      <a:pt x="49" y="183"/>
                      <a:pt x="47" y="178"/>
                      <a:pt x="49" y="178"/>
                    </a:cubicBezTo>
                    <a:cubicBezTo>
                      <a:pt x="52" y="177"/>
                      <a:pt x="53" y="182"/>
                      <a:pt x="56" y="183"/>
                    </a:cubicBezTo>
                    <a:cubicBezTo>
                      <a:pt x="60" y="185"/>
                      <a:pt x="66" y="182"/>
                      <a:pt x="69" y="184"/>
                    </a:cubicBezTo>
                    <a:cubicBezTo>
                      <a:pt x="72" y="186"/>
                      <a:pt x="70" y="193"/>
                      <a:pt x="73" y="195"/>
                    </a:cubicBezTo>
                    <a:cubicBezTo>
                      <a:pt x="75" y="197"/>
                      <a:pt x="73" y="190"/>
                      <a:pt x="74" y="188"/>
                    </a:cubicBezTo>
                    <a:cubicBezTo>
                      <a:pt x="75" y="185"/>
                      <a:pt x="76" y="182"/>
                      <a:pt x="78" y="181"/>
                    </a:cubicBezTo>
                    <a:cubicBezTo>
                      <a:pt x="82" y="180"/>
                      <a:pt x="87" y="180"/>
                      <a:pt x="91" y="181"/>
                    </a:cubicBezTo>
                    <a:cubicBezTo>
                      <a:pt x="92" y="182"/>
                      <a:pt x="93" y="184"/>
                      <a:pt x="94" y="185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30" name="Freeform 2528"/>
              <p:cNvSpPr>
                <a:spLocks noChangeAspect="1"/>
              </p:cNvSpPr>
              <p:nvPr/>
            </p:nvSpPr>
            <p:spPr bwMode="auto">
              <a:xfrm>
                <a:off x="3211650" y="3206156"/>
                <a:ext cx="145404" cy="123770"/>
              </a:xfrm>
              <a:custGeom>
                <a:avLst/>
                <a:gdLst>
                  <a:gd name="T0" fmla="*/ 124 w 109"/>
                  <a:gd name="T1" fmla="*/ 113 h 124"/>
                  <a:gd name="T2" fmla="*/ 124 w 109"/>
                  <a:gd name="T3" fmla="*/ 106 h 124"/>
                  <a:gd name="T4" fmla="*/ 128 w 109"/>
                  <a:gd name="T5" fmla="*/ 96 h 124"/>
                  <a:gd name="T6" fmla="*/ 130 w 109"/>
                  <a:gd name="T7" fmla="*/ 83 h 124"/>
                  <a:gd name="T8" fmla="*/ 123 w 109"/>
                  <a:gd name="T9" fmla="*/ 79 h 124"/>
                  <a:gd name="T10" fmla="*/ 110 w 109"/>
                  <a:gd name="T11" fmla="*/ 82 h 124"/>
                  <a:gd name="T12" fmla="*/ 104 w 109"/>
                  <a:gd name="T13" fmla="*/ 72 h 124"/>
                  <a:gd name="T14" fmla="*/ 106 w 109"/>
                  <a:gd name="T15" fmla="*/ 55 h 124"/>
                  <a:gd name="T16" fmla="*/ 97 w 109"/>
                  <a:gd name="T17" fmla="*/ 50 h 124"/>
                  <a:gd name="T18" fmla="*/ 83 w 109"/>
                  <a:gd name="T19" fmla="*/ 49 h 124"/>
                  <a:gd name="T20" fmla="*/ 73 w 109"/>
                  <a:gd name="T21" fmla="*/ 49 h 124"/>
                  <a:gd name="T22" fmla="*/ 73 w 109"/>
                  <a:gd name="T23" fmla="*/ 46 h 124"/>
                  <a:gd name="T24" fmla="*/ 73 w 109"/>
                  <a:gd name="T25" fmla="*/ 29 h 124"/>
                  <a:gd name="T26" fmla="*/ 66 w 109"/>
                  <a:gd name="T27" fmla="*/ 22 h 124"/>
                  <a:gd name="T28" fmla="*/ 66 w 109"/>
                  <a:gd name="T29" fmla="*/ 11 h 124"/>
                  <a:gd name="T30" fmla="*/ 52 w 109"/>
                  <a:gd name="T31" fmla="*/ 1 h 124"/>
                  <a:gd name="T32" fmla="*/ 37 w 109"/>
                  <a:gd name="T33" fmla="*/ 0 h 124"/>
                  <a:gd name="T34" fmla="*/ 11 w 109"/>
                  <a:gd name="T35" fmla="*/ 8 h 124"/>
                  <a:gd name="T36" fmla="*/ 8 w 109"/>
                  <a:gd name="T37" fmla="*/ 18 h 124"/>
                  <a:gd name="T38" fmla="*/ 4 w 109"/>
                  <a:gd name="T39" fmla="*/ 24 h 124"/>
                  <a:gd name="T40" fmla="*/ 5 w 109"/>
                  <a:gd name="T41" fmla="*/ 32 h 124"/>
                  <a:gd name="T42" fmla="*/ 0 w 109"/>
                  <a:gd name="T43" fmla="*/ 54 h 124"/>
                  <a:gd name="T44" fmla="*/ 6 w 109"/>
                  <a:gd name="T45" fmla="*/ 61 h 124"/>
                  <a:gd name="T46" fmla="*/ 11 w 109"/>
                  <a:gd name="T47" fmla="*/ 71 h 124"/>
                  <a:gd name="T48" fmla="*/ 25 w 109"/>
                  <a:gd name="T49" fmla="*/ 79 h 124"/>
                  <a:gd name="T50" fmla="*/ 35 w 109"/>
                  <a:gd name="T51" fmla="*/ 87 h 124"/>
                  <a:gd name="T52" fmla="*/ 43 w 109"/>
                  <a:gd name="T53" fmla="*/ 87 h 124"/>
                  <a:gd name="T54" fmla="*/ 57 w 109"/>
                  <a:gd name="T55" fmla="*/ 99 h 124"/>
                  <a:gd name="T56" fmla="*/ 74 w 109"/>
                  <a:gd name="T57" fmla="*/ 103 h 124"/>
                  <a:gd name="T58" fmla="*/ 78 w 109"/>
                  <a:gd name="T59" fmla="*/ 109 h 124"/>
                  <a:gd name="T60" fmla="*/ 78 w 109"/>
                  <a:gd name="T61" fmla="*/ 123 h 124"/>
                  <a:gd name="T62" fmla="*/ 70 w 109"/>
                  <a:gd name="T63" fmla="*/ 125 h 124"/>
                  <a:gd name="T64" fmla="*/ 70 w 109"/>
                  <a:gd name="T65" fmla="*/ 133 h 124"/>
                  <a:gd name="T66" fmla="*/ 66 w 109"/>
                  <a:gd name="T67" fmla="*/ 144 h 124"/>
                  <a:gd name="T68" fmla="*/ 76 w 109"/>
                  <a:gd name="T69" fmla="*/ 144 h 124"/>
                  <a:gd name="T70" fmla="*/ 92 w 109"/>
                  <a:gd name="T71" fmla="*/ 149 h 124"/>
                  <a:gd name="T72" fmla="*/ 101 w 109"/>
                  <a:gd name="T73" fmla="*/ 145 h 124"/>
                  <a:gd name="T74" fmla="*/ 107 w 109"/>
                  <a:gd name="T75" fmla="*/ 147 h 124"/>
                  <a:gd name="T76" fmla="*/ 110 w 109"/>
                  <a:gd name="T77" fmla="*/ 148 h 124"/>
                  <a:gd name="T78" fmla="*/ 116 w 109"/>
                  <a:gd name="T79" fmla="*/ 137 h 124"/>
                  <a:gd name="T80" fmla="*/ 124 w 109"/>
                  <a:gd name="T81" fmla="*/ 130 h 124"/>
                  <a:gd name="T82" fmla="*/ 124 w 109"/>
                  <a:gd name="T83" fmla="*/ 123 h 124"/>
                  <a:gd name="T84" fmla="*/ 124 w 109"/>
                  <a:gd name="T85" fmla="*/ 113 h 124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09"/>
                  <a:gd name="T130" fmla="*/ 0 h 124"/>
                  <a:gd name="T131" fmla="*/ 109 w 109"/>
                  <a:gd name="T132" fmla="*/ 124 h 124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09" h="124">
                    <a:moveTo>
                      <a:pt x="104" y="94"/>
                    </a:moveTo>
                    <a:cubicBezTo>
                      <a:pt x="104" y="92"/>
                      <a:pt x="104" y="90"/>
                      <a:pt x="104" y="88"/>
                    </a:cubicBezTo>
                    <a:cubicBezTo>
                      <a:pt x="105" y="86"/>
                      <a:pt x="106" y="83"/>
                      <a:pt x="107" y="80"/>
                    </a:cubicBezTo>
                    <a:cubicBezTo>
                      <a:pt x="107" y="77"/>
                      <a:pt x="109" y="73"/>
                      <a:pt x="109" y="69"/>
                    </a:cubicBezTo>
                    <a:cubicBezTo>
                      <a:pt x="108" y="67"/>
                      <a:pt x="105" y="66"/>
                      <a:pt x="103" y="66"/>
                    </a:cubicBezTo>
                    <a:cubicBezTo>
                      <a:pt x="99" y="65"/>
                      <a:pt x="95" y="70"/>
                      <a:pt x="92" y="68"/>
                    </a:cubicBezTo>
                    <a:cubicBezTo>
                      <a:pt x="89" y="67"/>
                      <a:pt x="87" y="63"/>
                      <a:pt x="87" y="60"/>
                    </a:cubicBezTo>
                    <a:cubicBezTo>
                      <a:pt x="86" y="56"/>
                      <a:pt x="90" y="51"/>
                      <a:pt x="89" y="46"/>
                    </a:cubicBezTo>
                    <a:cubicBezTo>
                      <a:pt x="88" y="44"/>
                      <a:pt x="84" y="43"/>
                      <a:pt x="81" y="42"/>
                    </a:cubicBezTo>
                    <a:cubicBezTo>
                      <a:pt x="77" y="41"/>
                      <a:pt x="73" y="42"/>
                      <a:pt x="70" y="41"/>
                    </a:cubicBezTo>
                    <a:cubicBezTo>
                      <a:pt x="67" y="41"/>
                      <a:pt x="64" y="42"/>
                      <a:pt x="61" y="41"/>
                    </a:cubicBezTo>
                    <a:cubicBezTo>
                      <a:pt x="60" y="41"/>
                      <a:pt x="61" y="39"/>
                      <a:pt x="61" y="38"/>
                    </a:cubicBezTo>
                    <a:cubicBezTo>
                      <a:pt x="61" y="33"/>
                      <a:pt x="62" y="29"/>
                      <a:pt x="61" y="24"/>
                    </a:cubicBezTo>
                    <a:cubicBezTo>
                      <a:pt x="60" y="21"/>
                      <a:pt x="56" y="21"/>
                      <a:pt x="55" y="18"/>
                    </a:cubicBezTo>
                    <a:cubicBezTo>
                      <a:pt x="54" y="15"/>
                      <a:pt x="55" y="12"/>
                      <a:pt x="55" y="9"/>
                    </a:cubicBezTo>
                    <a:cubicBezTo>
                      <a:pt x="51" y="6"/>
                      <a:pt x="47" y="4"/>
                      <a:pt x="44" y="1"/>
                    </a:cubicBezTo>
                    <a:cubicBezTo>
                      <a:pt x="39" y="1"/>
                      <a:pt x="35" y="0"/>
                      <a:pt x="31" y="0"/>
                    </a:cubicBezTo>
                    <a:cubicBezTo>
                      <a:pt x="23" y="2"/>
                      <a:pt x="16" y="4"/>
                      <a:pt x="9" y="7"/>
                    </a:cubicBezTo>
                    <a:cubicBezTo>
                      <a:pt x="8" y="9"/>
                      <a:pt x="8" y="12"/>
                      <a:pt x="7" y="15"/>
                    </a:cubicBezTo>
                    <a:cubicBezTo>
                      <a:pt x="6" y="16"/>
                      <a:pt x="5" y="18"/>
                      <a:pt x="3" y="20"/>
                    </a:cubicBezTo>
                    <a:cubicBezTo>
                      <a:pt x="3" y="22"/>
                      <a:pt x="4" y="24"/>
                      <a:pt x="4" y="27"/>
                    </a:cubicBezTo>
                    <a:cubicBezTo>
                      <a:pt x="3" y="33"/>
                      <a:pt x="2" y="39"/>
                      <a:pt x="0" y="45"/>
                    </a:cubicBezTo>
                    <a:cubicBezTo>
                      <a:pt x="2" y="47"/>
                      <a:pt x="4" y="49"/>
                      <a:pt x="5" y="51"/>
                    </a:cubicBezTo>
                    <a:cubicBezTo>
                      <a:pt x="7" y="53"/>
                      <a:pt x="7" y="56"/>
                      <a:pt x="9" y="59"/>
                    </a:cubicBezTo>
                    <a:cubicBezTo>
                      <a:pt x="13" y="62"/>
                      <a:pt x="17" y="63"/>
                      <a:pt x="21" y="66"/>
                    </a:cubicBezTo>
                    <a:cubicBezTo>
                      <a:pt x="24" y="68"/>
                      <a:pt x="26" y="70"/>
                      <a:pt x="29" y="72"/>
                    </a:cubicBezTo>
                    <a:cubicBezTo>
                      <a:pt x="31" y="73"/>
                      <a:pt x="34" y="71"/>
                      <a:pt x="36" y="72"/>
                    </a:cubicBezTo>
                    <a:cubicBezTo>
                      <a:pt x="40" y="74"/>
                      <a:pt x="43" y="79"/>
                      <a:pt x="48" y="82"/>
                    </a:cubicBezTo>
                    <a:cubicBezTo>
                      <a:pt x="52" y="84"/>
                      <a:pt x="57" y="84"/>
                      <a:pt x="62" y="86"/>
                    </a:cubicBezTo>
                    <a:cubicBezTo>
                      <a:pt x="64" y="87"/>
                      <a:pt x="65" y="89"/>
                      <a:pt x="65" y="91"/>
                    </a:cubicBezTo>
                    <a:cubicBezTo>
                      <a:pt x="66" y="95"/>
                      <a:pt x="66" y="99"/>
                      <a:pt x="65" y="102"/>
                    </a:cubicBezTo>
                    <a:cubicBezTo>
                      <a:pt x="64" y="104"/>
                      <a:pt x="60" y="103"/>
                      <a:pt x="59" y="104"/>
                    </a:cubicBezTo>
                    <a:cubicBezTo>
                      <a:pt x="57" y="106"/>
                      <a:pt x="59" y="109"/>
                      <a:pt x="59" y="111"/>
                    </a:cubicBezTo>
                    <a:cubicBezTo>
                      <a:pt x="58" y="114"/>
                      <a:pt x="53" y="117"/>
                      <a:pt x="55" y="120"/>
                    </a:cubicBezTo>
                    <a:cubicBezTo>
                      <a:pt x="56" y="123"/>
                      <a:pt x="61" y="119"/>
                      <a:pt x="64" y="120"/>
                    </a:cubicBezTo>
                    <a:cubicBezTo>
                      <a:pt x="69" y="121"/>
                      <a:pt x="73" y="124"/>
                      <a:pt x="77" y="124"/>
                    </a:cubicBezTo>
                    <a:cubicBezTo>
                      <a:pt x="80" y="124"/>
                      <a:pt x="82" y="121"/>
                      <a:pt x="85" y="121"/>
                    </a:cubicBezTo>
                    <a:cubicBezTo>
                      <a:pt x="87" y="120"/>
                      <a:pt x="89" y="121"/>
                      <a:pt x="90" y="122"/>
                    </a:cubicBezTo>
                    <a:cubicBezTo>
                      <a:pt x="91" y="122"/>
                      <a:pt x="91" y="123"/>
                      <a:pt x="92" y="123"/>
                    </a:cubicBezTo>
                    <a:cubicBezTo>
                      <a:pt x="94" y="120"/>
                      <a:pt x="95" y="117"/>
                      <a:pt x="97" y="114"/>
                    </a:cubicBezTo>
                    <a:cubicBezTo>
                      <a:pt x="99" y="112"/>
                      <a:pt x="102" y="110"/>
                      <a:pt x="104" y="108"/>
                    </a:cubicBezTo>
                    <a:cubicBezTo>
                      <a:pt x="105" y="106"/>
                      <a:pt x="104" y="104"/>
                      <a:pt x="104" y="102"/>
                    </a:cubicBezTo>
                    <a:cubicBezTo>
                      <a:pt x="104" y="99"/>
                      <a:pt x="104" y="97"/>
                      <a:pt x="104" y="94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31" name="Freeform 2534"/>
              <p:cNvSpPr>
                <a:spLocks noChangeAspect="1"/>
              </p:cNvSpPr>
              <p:nvPr/>
            </p:nvSpPr>
            <p:spPr bwMode="auto">
              <a:xfrm>
                <a:off x="2886169" y="2906285"/>
                <a:ext cx="99546" cy="90543"/>
              </a:xfrm>
              <a:custGeom>
                <a:avLst/>
                <a:gdLst>
                  <a:gd name="T0" fmla="*/ 12 w 74"/>
                  <a:gd name="T1" fmla="*/ 81 h 91"/>
                  <a:gd name="T2" fmla="*/ 19 w 74"/>
                  <a:gd name="T3" fmla="*/ 78 h 91"/>
                  <a:gd name="T4" fmla="*/ 22 w 74"/>
                  <a:gd name="T5" fmla="*/ 67 h 91"/>
                  <a:gd name="T6" fmla="*/ 19 w 74"/>
                  <a:gd name="T7" fmla="*/ 65 h 91"/>
                  <a:gd name="T8" fmla="*/ 17 w 74"/>
                  <a:gd name="T9" fmla="*/ 67 h 91"/>
                  <a:gd name="T10" fmla="*/ 13 w 74"/>
                  <a:gd name="T11" fmla="*/ 66 h 91"/>
                  <a:gd name="T12" fmla="*/ 10 w 74"/>
                  <a:gd name="T13" fmla="*/ 69 h 91"/>
                  <a:gd name="T14" fmla="*/ 1 w 74"/>
                  <a:gd name="T15" fmla="*/ 65 h 91"/>
                  <a:gd name="T16" fmla="*/ 2 w 74"/>
                  <a:gd name="T17" fmla="*/ 60 h 91"/>
                  <a:gd name="T18" fmla="*/ 5 w 74"/>
                  <a:gd name="T19" fmla="*/ 54 h 91"/>
                  <a:gd name="T20" fmla="*/ 2 w 74"/>
                  <a:gd name="T21" fmla="*/ 50 h 91"/>
                  <a:gd name="T22" fmla="*/ 2 w 74"/>
                  <a:gd name="T23" fmla="*/ 43 h 91"/>
                  <a:gd name="T24" fmla="*/ 7 w 74"/>
                  <a:gd name="T25" fmla="*/ 35 h 91"/>
                  <a:gd name="T26" fmla="*/ 5 w 74"/>
                  <a:gd name="T27" fmla="*/ 31 h 91"/>
                  <a:gd name="T28" fmla="*/ 12 w 74"/>
                  <a:gd name="T29" fmla="*/ 24 h 91"/>
                  <a:gd name="T30" fmla="*/ 13 w 74"/>
                  <a:gd name="T31" fmla="*/ 17 h 91"/>
                  <a:gd name="T32" fmla="*/ 13 w 74"/>
                  <a:gd name="T33" fmla="*/ 11 h 91"/>
                  <a:gd name="T34" fmla="*/ 20 w 74"/>
                  <a:gd name="T35" fmla="*/ 7 h 91"/>
                  <a:gd name="T36" fmla="*/ 28 w 74"/>
                  <a:gd name="T37" fmla="*/ 2 h 91"/>
                  <a:gd name="T38" fmla="*/ 32 w 74"/>
                  <a:gd name="T39" fmla="*/ 0 h 91"/>
                  <a:gd name="T40" fmla="*/ 41 w 74"/>
                  <a:gd name="T41" fmla="*/ 4 h 91"/>
                  <a:gd name="T42" fmla="*/ 45 w 74"/>
                  <a:gd name="T43" fmla="*/ 7 h 91"/>
                  <a:gd name="T44" fmla="*/ 51 w 74"/>
                  <a:gd name="T45" fmla="*/ 11 h 91"/>
                  <a:gd name="T46" fmla="*/ 54 w 74"/>
                  <a:gd name="T47" fmla="*/ 16 h 91"/>
                  <a:gd name="T48" fmla="*/ 59 w 74"/>
                  <a:gd name="T49" fmla="*/ 16 h 91"/>
                  <a:gd name="T50" fmla="*/ 64 w 74"/>
                  <a:gd name="T51" fmla="*/ 18 h 91"/>
                  <a:gd name="T52" fmla="*/ 69 w 74"/>
                  <a:gd name="T53" fmla="*/ 18 h 91"/>
                  <a:gd name="T54" fmla="*/ 70 w 74"/>
                  <a:gd name="T55" fmla="*/ 16 h 91"/>
                  <a:gd name="T56" fmla="*/ 75 w 74"/>
                  <a:gd name="T57" fmla="*/ 17 h 91"/>
                  <a:gd name="T58" fmla="*/ 84 w 74"/>
                  <a:gd name="T59" fmla="*/ 24 h 91"/>
                  <a:gd name="T60" fmla="*/ 84 w 74"/>
                  <a:gd name="T61" fmla="*/ 26 h 91"/>
                  <a:gd name="T62" fmla="*/ 88 w 74"/>
                  <a:gd name="T63" fmla="*/ 32 h 91"/>
                  <a:gd name="T64" fmla="*/ 88 w 74"/>
                  <a:gd name="T65" fmla="*/ 40 h 91"/>
                  <a:gd name="T66" fmla="*/ 84 w 74"/>
                  <a:gd name="T67" fmla="*/ 42 h 91"/>
                  <a:gd name="T68" fmla="*/ 82 w 74"/>
                  <a:gd name="T69" fmla="*/ 52 h 91"/>
                  <a:gd name="T70" fmla="*/ 77 w 74"/>
                  <a:gd name="T71" fmla="*/ 56 h 91"/>
                  <a:gd name="T72" fmla="*/ 70 w 74"/>
                  <a:gd name="T73" fmla="*/ 63 h 91"/>
                  <a:gd name="T74" fmla="*/ 69 w 74"/>
                  <a:gd name="T75" fmla="*/ 67 h 91"/>
                  <a:gd name="T76" fmla="*/ 46 w 74"/>
                  <a:gd name="T77" fmla="*/ 77 h 91"/>
                  <a:gd name="T78" fmla="*/ 40 w 74"/>
                  <a:gd name="T79" fmla="*/ 81 h 91"/>
                  <a:gd name="T80" fmla="*/ 36 w 74"/>
                  <a:gd name="T81" fmla="*/ 101 h 91"/>
                  <a:gd name="T82" fmla="*/ 30 w 74"/>
                  <a:gd name="T83" fmla="*/ 109 h 91"/>
                  <a:gd name="T84" fmla="*/ 28 w 74"/>
                  <a:gd name="T85" fmla="*/ 108 h 91"/>
                  <a:gd name="T86" fmla="*/ 25 w 74"/>
                  <a:gd name="T87" fmla="*/ 99 h 91"/>
                  <a:gd name="T88" fmla="*/ 17 w 74"/>
                  <a:gd name="T89" fmla="*/ 97 h 91"/>
                  <a:gd name="T90" fmla="*/ 11 w 74"/>
                  <a:gd name="T91" fmla="*/ 101 h 91"/>
                  <a:gd name="T92" fmla="*/ 11 w 74"/>
                  <a:gd name="T93" fmla="*/ 97 h 91"/>
                  <a:gd name="T94" fmla="*/ 8 w 74"/>
                  <a:gd name="T95" fmla="*/ 92 h 91"/>
                  <a:gd name="T96" fmla="*/ 14 w 74"/>
                  <a:gd name="T97" fmla="*/ 90 h 91"/>
                  <a:gd name="T98" fmla="*/ 16 w 74"/>
                  <a:gd name="T99" fmla="*/ 87 h 91"/>
                  <a:gd name="T100" fmla="*/ 12 w 74"/>
                  <a:gd name="T101" fmla="*/ 81 h 9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74"/>
                  <a:gd name="T154" fmla="*/ 0 h 91"/>
                  <a:gd name="T155" fmla="*/ 74 w 74"/>
                  <a:gd name="T156" fmla="*/ 91 h 91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74" h="91">
                    <a:moveTo>
                      <a:pt x="10" y="68"/>
                    </a:moveTo>
                    <a:cubicBezTo>
                      <a:pt x="12" y="67"/>
                      <a:pt x="15" y="67"/>
                      <a:pt x="16" y="65"/>
                    </a:cubicBezTo>
                    <a:cubicBezTo>
                      <a:pt x="18" y="63"/>
                      <a:pt x="18" y="60"/>
                      <a:pt x="18" y="56"/>
                    </a:cubicBezTo>
                    <a:cubicBezTo>
                      <a:pt x="18" y="55"/>
                      <a:pt x="17" y="54"/>
                      <a:pt x="16" y="54"/>
                    </a:cubicBezTo>
                    <a:cubicBezTo>
                      <a:pt x="15" y="54"/>
                      <a:pt x="15" y="56"/>
                      <a:pt x="14" y="56"/>
                    </a:cubicBezTo>
                    <a:cubicBezTo>
                      <a:pt x="13" y="56"/>
                      <a:pt x="12" y="54"/>
                      <a:pt x="11" y="55"/>
                    </a:cubicBezTo>
                    <a:cubicBezTo>
                      <a:pt x="10" y="55"/>
                      <a:pt x="9" y="58"/>
                      <a:pt x="8" y="58"/>
                    </a:cubicBezTo>
                    <a:cubicBezTo>
                      <a:pt x="5" y="57"/>
                      <a:pt x="3" y="56"/>
                      <a:pt x="1" y="54"/>
                    </a:cubicBezTo>
                    <a:cubicBezTo>
                      <a:pt x="0" y="53"/>
                      <a:pt x="2" y="51"/>
                      <a:pt x="2" y="50"/>
                    </a:cubicBezTo>
                    <a:cubicBezTo>
                      <a:pt x="3" y="48"/>
                      <a:pt x="4" y="47"/>
                      <a:pt x="4" y="45"/>
                    </a:cubicBezTo>
                    <a:cubicBezTo>
                      <a:pt x="4" y="44"/>
                      <a:pt x="2" y="43"/>
                      <a:pt x="2" y="42"/>
                    </a:cubicBezTo>
                    <a:cubicBezTo>
                      <a:pt x="1" y="40"/>
                      <a:pt x="1" y="37"/>
                      <a:pt x="2" y="36"/>
                    </a:cubicBezTo>
                    <a:cubicBezTo>
                      <a:pt x="2" y="33"/>
                      <a:pt x="5" y="31"/>
                      <a:pt x="6" y="29"/>
                    </a:cubicBezTo>
                    <a:cubicBezTo>
                      <a:pt x="6" y="28"/>
                      <a:pt x="3" y="27"/>
                      <a:pt x="4" y="26"/>
                    </a:cubicBezTo>
                    <a:cubicBezTo>
                      <a:pt x="5" y="24"/>
                      <a:pt x="8" y="22"/>
                      <a:pt x="10" y="20"/>
                    </a:cubicBezTo>
                    <a:cubicBezTo>
                      <a:pt x="11" y="18"/>
                      <a:pt x="11" y="16"/>
                      <a:pt x="11" y="14"/>
                    </a:cubicBezTo>
                    <a:cubicBezTo>
                      <a:pt x="12" y="12"/>
                      <a:pt x="10" y="10"/>
                      <a:pt x="11" y="9"/>
                    </a:cubicBezTo>
                    <a:cubicBezTo>
                      <a:pt x="12" y="7"/>
                      <a:pt x="15" y="7"/>
                      <a:pt x="17" y="6"/>
                    </a:cubicBezTo>
                    <a:cubicBezTo>
                      <a:pt x="19" y="5"/>
                      <a:pt x="21" y="3"/>
                      <a:pt x="23" y="2"/>
                    </a:cubicBezTo>
                    <a:cubicBezTo>
                      <a:pt x="24" y="1"/>
                      <a:pt x="26" y="1"/>
                      <a:pt x="27" y="0"/>
                    </a:cubicBezTo>
                    <a:lnTo>
                      <a:pt x="34" y="3"/>
                    </a:lnTo>
                    <a:lnTo>
                      <a:pt x="37" y="6"/>
                    </a:lnTo>
                    <a:lnTo>
                      <a:pt x="42" y="9"/>
                    </a:lnTo>
                    <a:lnTo>
                      <a:pt x="45" y="13"/>
                    </a:lnTo>
                    <a:lnTo>
                      <a:pt x="49" y="13"/>
                    </a:lnTo>
                    <a:lnTo>
                      <a:pt x="53" y="15"/>
                    </a:lnTo>
                    <a:lnTo>
                      <a:pt x="57" y="15"/>
                    </a:lnTo>
                    <a:lnTo>
                      <a:pt x="58" y="13"/>
                    </a:lnTo>
                    <a:lnTo>
                      <a:pt x="62" y="14"/>
                    </a:lnTo>
                    <a:lnTo>
                      <a:pt x="70" y="20"/>
                    </a:lnTo>
                    <a:cubicBezTo>
                      <a:pt x="70" y="21"/>
                      <a:pt x="70" y="21"/>
                      <a:pt x="70" y="22"/>
                    </a:cubicBezTo>
                    <a:cubicBezTo>
                      <a:pt x="71" y="24"/>
                      <a:pt x="73" y="25"/>
                      <a:pt x="73" y="27"/>
                    </a:cubicBezTo>
                    <a:cubicBezTo>
                      <a:pt x="74" y="29"/>
                      <a:pt x="74" y="31"/>
                      <a:pt x="73" y="33"/>
                    </a:cubicBezTo>
                    <a:cubicBezTo>
                      <a:pt x="73" y="34"/>
                      <a:pt x="70" y="33"/>
                      <a:pt x="70" y="35"/>
                    </a:cubicBezTo>
                    <a:cubicBezTo>
                      <a:pt x="68" y="37"/>
                      <a:pt x="69" y="40"/>
                      <a:pt x="68" y="43"/>
                    </a:cubicBezTo>
                    <a:cubicBezTo>
                      <a:pt x="67" y="44"/>
                      <a:pt x="65" y="46"/>
                      <a:pt x="64" y="47"/>
                    </a:cubicBezTo>
                    <a:cubicBezTo>
                      <a:pt x="62" y="49"/>
                      <a:pt x="59" y="51"/>
                      <a:pt x="58" y="53"/>
                    </a:cubicBezTo>
                    <a:cubicBezTo>
                      <a:pt x="57" y="54"/>
                      <a:pt x="58" y="55"/>
                      <a:pt x="57" y="56"/>
                    </a:cubicBezTo>
                    <a:cubicBezTo>
                      <a:pt x="51" y="59"/>
                      <a:pt x="45" y="61"/>
                      <a:pt x="38" y="64"/>
                    </a:cubicBezTo>
                    <a:cubicBezTo>
                      <a:pt x="36" y="65"/>
                      <a:pt x="34" y="66"/>
                      <a:pt x="33" y="68"/>
                    </a:cubicBezTo>
                    <a:cubicBezTo>
                      <a:pt x="32" y="73"/>
                      <a:pt x="31" y="79"/>
                      <a:pt x="30" y="84"/>
                    </a:cubicBezTo>
                    <a:cubicBezTo>
                      <a:pt x="29" y="87"/>
                      <a:pt x="27" y="89"/>
                      <a:pt x="25" y="91"/>
                    </a:cubicBezTo>
                    <a:cubicBezTo>
                      <a:pt x="25" y="91"/>
                      <a:pt x="24" y="90"/>
                      <a:pt x="23" y="90"/>
                    </a:cubicBezTo>
                    <a:cubicBezTo>
                      <a:pt x="22" y="88"/>
                      <a:pt x="22" y="85"/>
                      <a:pt x="21" y="83"/>
                    </a:cubicBezTo>
                    <a:cubicBezTo>
                      <a:pt x="19" y="81"/>
                      <a:pt x="16" y="81"/>
                      <a:pt x="14" y="81"/>
                    </a:cubicBezTo>
                    <a:cubicBezTo>
                      <a:pt x="12" y="82"/>
                      <a:pt x="11" y="84"/>
                      <a:pt x="9" y="84"/>
                    </a:cubicBezTo>
                    <a:cubicBezTo>
                      <a:pt x="8" y="84"/>
                      <a:pt x="9" y="82"/>
                      <a:pt x="9" y="81"/>
                    </a:cubicBezTo>
                    <a:cubicBezTo>
                      <a:pt x="8" y="80"/>
                      <a:pt x="8" y="79"/>
                      <a:pt x="7" y="77"/>
                    </a:cubicBezTo>
                    <a:cubicBezTo>
                      <a:pt x="8" y="76"/>
                      <a:pt x="10" y="76"/>
                      <a:pt x="12" y="75"/>
                    </a:cubicBezTo>
                    <a:cubicBezTo>
                      <a:pt x="12" y="75"/>
                      <a:pt x="13" y="74"/>
                      <a:pt x="13" y="73"/>
                    </a:cubicBezTo>
                    <a:cubicBezTo>
                      <a:pt x="12" y="71"/>
                      <a:pt x="11" y="70"/>
                      <a:pt x="10" y="68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32" name="Freeform 2535"/>
              <p:cNvSpPr>
                <a:spLocks noChangeAspect="1"/>
              </p:cNvSpPr>
              <p:nvPr/>
            </p:nvSpPr>
            <p:spPr bwMode="auto">
              <a:xfrm>
                <a:off x="3047231" y="2638811"/>
                <a:ext cx="63754" cy="29904"/>
              </a:xfrm>
              <a:custGeom>
                <a:avLst/>
                <a:gdLst>
                  <a:gd name="T0" fmla="*/ 5 w 47"/>
                  <a:gd name="T1" fmla="*/ 30 h 30"/>
                  <a:gd name="T2" fmla="*/ 8 w 47"/>
                  <a:gd name="T3" fmla="*/ 36 h 30"/>
                  <a:gd name="T4" fmla="*/ 15 w 47"/>
                  <a:gd name="T5" fmla="*/ 26 h 30"/>
                  <a:gd name="T6" fmla="*/ 24 w 47"/>
                  <a:gd name="T7" fmla="*/ 28 h 30"/>
                  <a:gd name="T8" fmla="*/ 34 w 47"/>
                  <a:gd name="T9" fmla="*/ 24 h 30"/>
                  <a:gd name="T10" fmla="*/ 50 w 47"/>
                  <a:gd name="T11" fmla="*/ 25 h 30"/>
                  <a:gd name="T12" fmla="*/ 56 w 47"/>
                  <a:gd name="T13" fmla="*/ 19 h 30"/>
                  <a:gd name="T14" fmla="*/ 47 w 47"/>
                  <a:gd name="T15" fmla="*/ 12 h 30"/>
                  <a:gd name="T16" fmla="*/ 36 w 47"/>
                  <a:gd name="T17" fmla="*/ 7 h 30"/>
                  <a:gd name="T18" fmla="*/ 29 w 47"/>
                  <a:gd name="T19" fmla="*/ 5 h 30"/>
                  <a:gd name="T20" fmla="*/ 16 w 47"/>
                  <a:gd name="T21" fmla="*/ 0 h 30"/>
                  <a:gd name="T22" fmla="*/ 5 w 47"/>
                  <a:gd name="T23" fmla="*/ 1 h 30"/>
                  <a:gd name="T24" fmla="*/ 6 w 47"/>
                  <a:gd name="T25" fmla="*/ 10 h 30"/>
                  <a:gd name="T26" fmla="*/ 4 w 47"/>
                  <a:gd name="T27" fmla="*/ 13 h 30"/>
                  <a:gd name="T28" fmla="*/ 5 w 47"/>
                  <a:gd name="T29" fmla="*/ 17 h 30"/>
                  <a:gd name="T30" fmla="*/ 0 w 47"/>
                  <a:gd name="T31" fmla="*/ 22 h 30"/>
                  <a:gd name="T32" fmla="*/ 6 w 47"/>
                  <a:gd name="T33" fmla="*/ 28 h 30"/>
                  <a:gd name="T34" fmla="*/ 5 w 47"/>
                  <a:gd name="T35" fmla="*/ 30 h 30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47"/>
                  <a:gd name="T55" fmla="*/ 0 h 30"/>
                  <a:gd name="T56" fmla="*/ 47 w 47"/>
                  <a:gd name="T57" fmla="*/ 30 h 30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47" h="30">
                    <a:moveTo>
                      <a:pt x="4" y="25"/>
                    </a:moveTo>
                    <a:cubicBezTo>
                      <a:pt x="5" y="27"/>
                      <a:pt x="6" y="30"/>
                      <a:pt x="7" y="30"/>
                    </a:cubicBezTo>
                    <a:cubicBezTo>
                      <a:pt x="10" y="28"/>
                      <a:pt x="9" y="23"/>
                      <a:pt x="12" y="22"/>
                    </a:cubicBezTo>
                    <a:cubicBezTo>
                      <a:pt x="14" y="21"/>
                      <a:pt x="17" y="23"/>
                      <a:pt x="20" y="23"/>
                    </a:cubicBezTo>
                    <a:cubicBezTo>
                      <a:pt x="23" y="23"/>
                      <a:pt x="25" y="20"/>
                      <a:pt x="28" y="20"/>
                    </a:cubicBezTo>
                    <a:cubicBezTo>
                      <a:pt x="32" y="20"/>
                      <a:pt x="37" y="22"/>
                      <a:pt x="41" y="21"/>
                    </a:cubicBezTo>
                    <a:cubicBezTo>
                      <a:pt x="44" y="20"/>
                      <a:pt x="47" y="18"/>
                      <a:pt x="46" y="16"/>
                    </a:cubicBezTo>
                    <a:cubicBezTo>
                      <a:pt x="46" y="13"/>
                      <a:pt x="42" y="11"/>
                      <a:pt x="39" y="10"/>
                    </a:cubicBezTo>
                    <a:cubicBezTo>
                      <a:pt x="36" y="8"/>
                      <a:pt x="33" y="8"/>
                      <a:pt x="30" y="6"/>
                    </a:cubicBezTo>
                    <a:cubicBezTo>
                      <a:pt x="28" y="6"/>
                      <a:pt x="26" y="4"/>
                      <a:pt x="24" y="4"/>
                    </a:cubicBezTo>
                    <a:cubicBezTo>
                      <a:pt x="20" y="2"/>
                      <a:pt x="16" y="1"/>
                      <a:pt x="13" y="0"/>
                    </a:cubicBezTo>
                    <a:cubicBezTo>
                      <a:pt x="10" y="0"/>
                      <a:pt x="7" y="1"/>
                      <a:pt x="4" y="1"/>
                    </a:cubicBezTo>
                    <a:cubicBezTo>
                      <a:pt x="5" y="4"/>
                      <a:pt x="6" y="6"/>
                      <a:pt x="5" y="8"/>
                    </a:cubicBezTo>
                    <a:cubicBezTo>
                      <a:pt x="5" y="10"/>
                      <a:pt x="4" y="10"/>
                      <a:pt x="3" y="11"/>
                    </a:cubicBezTo>
                    <a:cubicBezTo>
                      <a:pt x="3" y="12"/>
                      <a:pt x="4" y="13"/>
                      <a:pt x="4" y="14"/>
                    </a:cubicBezTo>
                    <a:cubicBezTo>
                      <a:pt x="3" y="16"/>
                      <a:pt x="0" y="17"/>
                      <a:pt x="0" y="18"/>
                    </a:cubicBezTo>
                    <a:cubicBezTo>
                      <a:pt x="1" y="20"/>
                      <a:pt x="4" y="21"/>
                      <a:pt x="5" y="23"/>
                    </a:cubicBezTo>
                    <a:cubicBezTo>
                      <a:pt x="5" y="24"/>
                      <a:pt x="4" y="25"/>
                      <a:pt x="4" y="25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33" name="Freeform 2537"/>
              <p:cNvSpPr>
                <a:spLocks noChangeAspect="1"/>
              </p:cNvSpPr>
              <p:nvPr/>
            </p:nvSpPr>
            <p:spPr bwMode="auto">
              <a:xfrm>
                <a:off x="2755306" y="2660408"/>
                <a:ext cx="22370" cy="35719"/>
              </a:xfrm>
              <a:custGeom>
                <a:avLst/>
                <a:gdLst>
                  <a:gd name="T0" fmla="*/ 6 w 17"/>
                  <a:gd name="T1" fmla="*/ 43 h 36"/>
                  <a:gd name="T2" fmla="*/ 9 w 17"/>
                  <a:gd name="T3" fmla="*/ 37 h 36"/>
                  <a:gd name="T4" fmla="*/ 15 w 17"/>
                  <a:gd name="T5" fmla="*/ 32 h 36"/>
                  <a:gd name="T6" fmla="*/ 15 w 17"/>
                  <a:gd name="T7" fmla="*/ 20 h 36"/>
                  <a:gd name="T8" fmla="*/ 16 w 17"/>
                  <a:gd name="T9" fmla="*/ 13 h 36"/>
                  <a:gd name="T10" fmla="*/ 20 w 17"/>
                  <a:gd name="T11" fmla="*/ 2 h 36"/>
                  <a:gd name="T12" fmla="*/ 15 w 17"/>
                  <a:gd name="T13" fmla="*/ 4 h 36"/>
                  <a:gd name="T14" fmla="*/ 16 w 17"/>
                  <a:gd name="T15" fmla="*/ 0 h 36"/>
                  <a:gd name="T16" fmla="*/ 11 w 17"/>
                  <a:gd name="T17" fmla="*/ 5 h 36"/>
                  <a:gd name="T18" fmla="*/ 8 w 17"/>
                  <a:gd name="T19" fmla="*/ 11 h 36"/>
                  <a:gd name="T20" fmla="*/ 5 w 17"/>
                  <a:gd name="T21" fmla="*/ 10 h 36"/>
                  <a:gd name="T22" fmla="*/ 2 w 17"/>
                  <a:gd name="T23" fmla="*/ 12 h 36"/>
                  <a:gd name="T24" fmla="*/ 4 w 17"/>
                  <a:gd name="T25" fmla="*/ 24 h 36"/>
                  <a:gd name="T26" fmla="*/ 0 w 17"/>
                  <a:gd name="T27" fmla="*/ 43 h 36"/>
                  <a:gd name="T28" fmla="*/ 6 w 17"/>
                  <a:gd name="T29" fmla="*/ 43 h 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"/>
                  <a:gd name="T46" fmla="*/ 0 h 36"/>
                  <a:gd name="T47" fmla="*/ 17 w 17"/>
                  <a:gd name="T48" fmla="*/ 36 h 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" h="36">
                    <a:moveTo>
                      <a:pt x="5" y="36"/>
                    </a:moveTo>
                    <a:cubicBezTo>
                      <a:pt x="6" y="35"/>
                      <a:pt x="7" y="32"/>
                      <a:pt x="8" y="31"/>
                    </a:cubicBezTo>
                    <a:cubicBezTo>
                      <a:pt x="9" y="29"/>
                      <a:pt x="12" y="29"/>
                      <a:pt x="13" y="27"/>
                    </a:cubicBezTo>
                    <a:cubicBezTo>
                      <a:pt x="14" y="24"/>
                      <a:pt x="12" y="21"/>
                      <a:pt x="13" y="17"/>
                    </a:cubicBezTo>
                    <a:cubicBezTo>
                      <a:pt x="13" y="15"/>
                      <a:pt x="13" y="13"/>
                      <a:pt x="14" y="11"/>
                    </a:cubicBezTo>
                    <a:cubicBezTo>
                      <a:pt x="15" y="8"/>
                      <a:pt x="17" y="5"/>
                      <a:pt x="17" y="2"/>
                    </a:cubicBezTo>
                    <a:cubicBezTo>
                      <a:pt x="17" y="1"/>
                      <a:pt x="15" y="4"/>
                      <a:pt x="13" y="3"/>
                    </a:cubicBezTo>
                    <a:cubicBezTo>
                      <a:pt x="13" y="3"/>
                      <a:pt x="14" y="1"/>
                      <a:pt x="14" y="0"/>
                    </a:cubicBezTo>
                    <a:cubicBezTo>
                      <a:pt x="12" y="1"/>
                      <a:pt x="10" y="3"/>
                      <a:pt x="9" y="4"/>
                    </a:cubicBezTo>
                    <a:cubicBezTo>
                      <a:pt x="9" y="6"/>
                      <a:pt x="9" y="8"/>
                      <a:pt x="7" y="9"/>
                    </a:cubicBezTo>
                    <a:cubicBezTo>
                      <a:pt x="6" y="10"/>
                      <a:pt x="5" y="7"/>
                      <a:pt x="4" y="8"/>
                    </a:cubicBezTo>
                    <a:cubicBezTo>
                      <a:pt x="3" y="8"/>
                      <a:pt x="3" y="9"/>
                      <a:pt x="2" y="10"/>
                    </a:cubicBezTo>
                    <a:cubicBezTo>
                      <a:pt x="2" y="14"/>
                      <a:pt x="2" y="16"/>
                      <a:pt x="3" y="20"/>
                    </a:cubicBezTo>
                    <a:cubicBezTo>
                      <a:pt x="2" y="25"/>
                      <a:pt x="1" y="31"/>
                      <a:pt x="0" y="36"/>
                    </a:cubicBezTo>
                    <a:cubicBezTo>
                      <a:pt x="2" y="36"/>
                      <a:pt x="3" y="36"/>
                      <a:pt x="5" y="36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34" name="Freeform 2539"/>
              <p:cNvSpPr>
                <a:spLocks noChangeAspect="1"/>
              </p:cNvSpPr>
              <p:nvPr/>
            </p:nvSpPr>
            <p:spPr bwMode="auto">
              <a:xfrm>
                <a:off x="2735173" y="2716894"/>
                <a:ext cx="43622" cy="21597"/>
              </a:xfrm>
              <a:custGeom>
                <a:avLst/>
                <a:gdLst>
                  <a:gd name="T0" fmla="*/ 38 w 33"/>
                  <a:gd name="T1" fmla="*/ 20 h 22"/>
                  <a:gd name="T2" fmla="*/ 38 w 33"/>
                  <a:gd name="T3" fmla="*/ 14 h 22"/>
                  <a:gd name="T4" fmla="*/ 35 w 33"/>
                  <a:gd name="T5" fmla="*/ 11 h 22"/>
                  <a:gd name="T6" fmla="*/ 28 w 33"/>
                  <a:gd name="T7" fmla="*/ 12 h 22"/>
                  <a:gd name="T8" fmla="*/ 28 w 33"/>
                  <a:gd name="T9" fmla="*/ 7 h 22"/>
                  <a:gd name="T10" fmla="*/ 24 w 33"/>
                  <a:gd name="T11" fmla="*/ 6 h 22"/>
                  <a:gd name="T12" fmla="*/ 20 w 33"/>
                  <a:gd name="T13" fmla="*/ 4 h 22"/>
                  <a:gd name="T14" fmla="*/ 18 w 33"/>
                  <a:gd name="T15" fmla="*/ 0 h 22"/>
                  <a:gd name="T16" fmla="*/ 15 w 33"/>
                  <a:gd name="T17" fmla="*/ 0 h 22"/>
                  <a:gd name="T18" fmla="*/ 11 w 33"/>
                  <a:gd name="T19" fmla="*/ 1 h 22"/>
                  <a:gd name="T20" fmla="*/ 8 w 33"/>
                  <a:gd name="T21" fmla="*/ 9 h 22"/>
                  <a:gd name="T22" fmla="*/ 5 w 33"/>
                  <a:gd name="T23" fmla="*/ 9 h 22"/>
                  <a:gd name="T24" fmla="*/ 0 w 33"/>
                  <a:gd name="T25" fmla="*/ 13 h 22"/>
                  <a:gd name="T26" fmla="*/ 6 w 33"/>
                  <a:gd name="T27" fmla="*/ 15 h 22"/>
                  <a:gd name="T28" fmla="*/ 8 w 33"/>
                  <a:gd name="T29" fmla="*/ 19 h 22"/>
                  <a:gd name="T30" fmla="*/ 17 w 33"/>
                  <a:gd name="T31" fmla="*/ 20 h 22"/>
                  <a:gd name="T32" fmla="*/ 19 w 33"/>
                  <a:gd name="T33" fmla="*/ 22 h 22"/>
                  <a:gd name="T34" fmla="*/ 26 w 33"/>
                  <a:gd name="T35" fmla="*/ 21 h 22"/>
                  <a:gd name="T36" fmla="*/ 31 w 33"/>
                  <a:gd name="T37" fmla="*/ 25 h 22"/>
                  <a:gd name="T38" fmla="*/ 34 w 33"/>
                  <a:gd name="T39" fmla="*/ 25 h 22"/>
                  <a:gd name="T40" fmla="*/ 35 w 33"/>
                  <a:gd name="T41" fmla="*/ 21 h 22"/>
                  <a:gd name="T42" fmla="*/ 38 w 33"/>
                  <a:gd name="T43" fmla="*/ 20 h 22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33"/>
                  <a:gd name="T67" fmla="*/ 0 h 22"/>
                  <a:gd name="T68" fmla="*/ 33 w 33"/>
                  <a:gd name="T69" fmla="*/ 22 h 22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33" h="22">
                    <a:moveTo>
                      <a:pt x="32" y="17"/>
                    </a:moveTo>
                    <a:cubicBezTo>
                      <a:pt x="32" y="15"/>
                      <a:pt x="33" y="14"/>
                      <a:pt x="32" y="12"/>
                    </a:cubicBezTo>
                    <a:cubicBezTo>
                      <a:pt x="32" y="10"/>
                      <a:pt x="31" y="10"/>
                      <a:pt x="30" y="9"/>
                    </a:cubicBezTo>
                    <a:cubicBezTo>
                      <a:pt x="28" y="9"/>
                      <a:pt x="26" y="11"/>
                      <a:pt x="24" y="10"/>
                    </a:cubicBezTo>
                    <a:cubicBezTo>
                      <a:pt x="23" y="9"/>
                      <a:pt x="25" y="7"/>
                      <a:pt x="24" y="6"/>
                    </a:cubicBezTo>
                    <a:cubicBezTo>
                      <a:pt x="23" y="5"/>
                      <a:pt x="21" y="5"/>
                      <a:pt x="20" y="5"/>
                    </a:cubicBezTo>
                    <a:cubicBezTo>
                      <a:pt x="19" y="4"/>
                      <a:pt x="18" y="4"/>
                      <a:pt x="17" y="3"/>
                    </a:cubicBezTo>
                    <a:cubicBezTo>
                      <a:pt x="16" y="2"/>
                      <a:pt x="15" y="1"/>
                      <a:pt x="15" y="0"/>
                    </a:cubicBezTo>
                    <a:cubicBezTo>
                      <a:pt x="14" y="0"/>
                      <a:pt x="13" y="0"/>
                      <a:pt x="13" y="0"/>
                    </a:cubicBezTo>
                    <a:cubicBezTo>
                      <a:pt x="11" y="0"/>
                      <a:pt x="9" y="0"/>
                      <a:pt x="9" y="1"/>
                    </a:cubicBezTo>
                    <a:cubicBezTo>
                      <a:pt x="7" y="3"/>
                      <a:pt x="8" y="6"/>
                      <a:pt x="7" y="8"/>
                    </a:cubicBezTo>
                    <a:cubicBezTo>
                      <a:pt x="6" y="9"/>
                      <a:pt x="5" y="8"/>
                      <a:pt x="4" y="8"/>
                    </a:cubicBezTo>
                    <a:cubicBezTo>
                      <a:pt x="3" y="9"/>
                      <a:pt x="2" y="10"/>
                      <a:pt x="0" y="11"/>
                    </a:cubicBezTo>
                    <a:cubicBezTo>
                      <a:pt x="2" y="12"/>
                      <a:pt x="4" y="12"/>
                      <a:pt x="5" y="13"/>
                    </a:cubicBezTo>
                    <a:cubicBezTo>
                      <a:pt x="6" y="13"/>
                      <a:pt x="6" y="15"/>
                      <a:pt x="7" y="16"/>
                    </a:cubicBezTo>
                    <a:cubicBezTo>
                      <a:pt x="9" y="17"/>
                      <a:pt x="12" y="16"/>
                      <a:pt x="14" y="17"/>
                    </a:cubicBezTo>
                    <a:cubicBezTo>
                      <a:pt x="15" y="17"/>
                      <a:pt x="15" y="19"/>
                      <a:pt x="16" y="19"/>
                    </a:cubicBezTo>
                    <a:cubicBezTo>
                      <a:pt x="18" y="19"/>
                      <a:pt x="20" y="17"/>
                      <a:pt x="22" y="18"/>
                    </a:cubicBezTo>
                    <a:cubicBezTo>
                      <a:pt x="24" y="18"/>
                      <a:pt x="24" y="21"/>
                      <a:pt x="26" y="21"/>
                    </a:cubicBezTo>
                    <a:cubicBezTo>
                      <a:pt x="27" y="22"/>
                      <a:pt x="29" y="22"/>
                      <a:pt x="29" y="21"/>
                    </a:cubicBezTo>
                    <a:cubicBezTo>
                      <a:pt x="30" y="20"/>
                      <a:pt x="29" y="18"/>
                      <a:pt x="30" y="18"/>
                    </a:cubicBezTo>
                    <a:cubicBezTo>
                      <a:pt x="30" y="17"/>
                      <a:pt x="31" y="17"/>
                      <a:pt x="32" y="17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35" name="Freeform 2540"/>
              <p:cNvSpPr>
                <a:spLocks noChangeAspect="1"/>
              </p:cNvSpPr>
              <p:nvPr/>
            </p:nvSpPr>
            <p:spPr bwMode="auto">
              <a:xfrm>
                <a:off x="2755306" y="2696958"/>
                <a:ext cx="100665" cy="44026"/>
              </a:xfrm>
              <a:custGeom>
                <a:avLst/>
                <a:gdLst>
                  <a:gd name="T0" fmla="*/ 20 w 75"/>
                  <a:gd name="T1" fmla="*/ 45 h 44"/>
                  <a:gd name="T2" fmla="*/ 20 w 75"/>
                  <a:gd name="T3" fmla="*/ 39 h 44"/>
                  <a:gd name="T4" fmla="*/ 18 w 75"/>
                  <a:gd name="T5" fmla="*/ 35 h 44"/>
                  <a:gd name="T6" fmla="*/ 11 w 75"/>
                  <a:gd name="T7" fmla="*/ 36 h 44"/>
                  <a:gd name="T8" fmla="*/ 11 w 75"/>
                  <a:gd name="T9" fmla="*/ 31 h 44"/>
                  <a:gd name="T10" fmla="*/ 6 w 75"/>
                  <a:gd name="T11" fmla="*/ 30 h 44"/>
                  <a:gd name="T12" fmla="*/ 2 w 75"/>
                  <a:gd name="T13" fmla="*/ 28 h 44"/>
                  <a:gd name="T14" fmla="*/ 0 w 75"/>
                  <a:gd name="T15" fmla="*/ 24 h 44"/>
                  <a:gd name="T16" fmla="*/ 0 w 75"/>
                  <a:gd name="T17" fmla="*/ 17 h 44"/>
                  <a:gd name="T18" fmla="*/ 6 w 75"/>
                  <a:gd name="T19" fmla="*/ 13 h 44"/>
                  <a:gd name="T20" fmla="*/ 14 w 75"/>
                  <a:gd name="T21" fmla="*/ 7 h 44"/>
                  <a:gd name="T22" fmla="*/ 16 w 75"/>
                  <a:gd name="T23" fmla="*/ 4 h 44"/>
                  <a:gd name="T24" fmla="*/ 22 w 75"/>
                  <a:gd name="T25" fmla="*/ 0 h 44"/>
                  <a:gd name="T26" fmla="*/ 28 w 75"/>
                  <a:gd name="T27" fmla="*/ 1 h 44"/>
                  <a:gd name="T28" fmla="*/ 30 w 75"/>
                  <a:gd name="T29" fmla="*/ 4 h 44"/>
                  <a:gd name="T30" fmla="*/ 41 w 75"/>
                  <a:gd name="T31" fmla="*/ 4 h 44"/>
                  <a:gd name="T32" fmla="*/ 49 w 75"/>
                  <a:gd name="T33" fmla="*/ 0 h 44"/>
                  <a:gd name="T34" fmla="*/ 54 w 75"/>
                  <a:gd name="T35" fmla="*/ 0 h 44"/>
                  <a:gd name="T36" fmla="*/ 64 w 75"/>
                  <a:gd name="T37" fmla="*/ 1 h 44"/>
                  <a:gd name="T38" fmla="*/ 71 w 75"/>
                  <a:gd name="T39" fmla="*/ 2 h 44"/>
                  <a:gd name="T40" fmla="*/ 76 w 75"/>
                  <a:gd name="T41" fmla="*/ 2 h 44"/>
                  <a:gd name="T42" fmla="*/ 80 w 75"/>
                  <a:gd name="T43" fmla="*/ 6 h 44"/>
                  <a:gd name="T44" fmla="*/ 80 w 75"/>
                  <a:gd name="T45" fmla="*/ 7 h 44"/>
                  <a:gd name="T46" fmla="*/ 76 w 75"/>
                  <a:gd name="T47" fmla="*/ 6 h 44"/>
                  <a:gd name="T48" fmla="*/ 76 w 75"/>
                  <a:gd name="T49" fmla="*/ 11 h 44"/>
                  <a:gd name="T50" fmla="*/ 77 w 75"/>
                  <a:gd name="T51" fmla="*/ 12 h 44"/>
                  <a:gd name="T52" fmla="*/ 83 w 75"/>
                  <a:gd name="T53" fmla="*/ 12 h 44"/>
                  <a:gd name="T54" fmla="*/ 83 w 75"/>
                  <a:gd name="T55" fmla="*/ 11 h 44"/>
                  <a:gd name="T56" fmla="*/ 83 w 75"/>
                  <a:gd name="T57" fmla="*/ 8 h 44"/>
                  <a:gd name="T58" fmla="*/ 89 w 75"/>
                  <a:gd name="T59" fmla="*/ 13 h 44"/>
                  <a:gd name="T60" fmla="*/ 89 w 75"/>
                  <a:gd name="T61" fmla="*/ 18 h 44"/>
                  <a:gd name="T62" fmla="*/ 82 w 75"/>
                  <a:gd name="T63" fmla="*/ 18 h 44"/>
                  <a:gd name="T64" fmla="*/ 78 w 75"/>
                  <a:gd name="T65" fmla="*/ 20 h 44"/>
                  <a:gd name="T66" fmla="*/ 68 w 75"/>
                  <a:gd name="T67" fmla="*/ 24 h 44"/>
                  <a:gd name="T68" fmla="*/ 66 w 75"/>
                  <a:gd name="T69" fmla="*/ 20 h 44"/>
                  <a:gd name="T70" fmla="*/ 60 w 75"/>
                  <a:gd name="T71" fmla="*/ 25 h 44"/>
                  <a:gd name="T72" fmla="*/ 59 w 75"/>
                  <a:gd name="T73" fmla="*/ 30 h 44"/>
                  <a:gd name="T74" fmla="*/ 50 w 75"/>
                  <a:gd name="T75" fmla="*/ 35 h 44"/>
                  <a:gd name="T76" fmla="*/ 44 w 75"/>
                  <a:gd name="T77" fmla="*/ 35 h 44"/>
                  <a:gd name="T78" fmla="*/ 41 w 75"/>
                  <a:gd name="T79" fmla="*/ 39 h 44"/>
                  <a:gd name="T80" fmla="*/ 35 w 75"/>
                  <a:gd name="T81" fmla="*/ 39 h 44"/>
                  <a:gd name="T82" fmla="*/ 35 w 75"/>
                  <a:gd name="T83" fmla="*/ 47 h 44"/>
                  <a:gd name="T84" fmla="*/ 30 w 75"/>
                  <a:gd name="T85" fmla="*/ 53 h 44"/>
                  <a:gd name="T86" fmla="*/ 26 w 75"/>
                  <a:gd name="T87" fmla="*/ 53 h 44"/>
                  <a:gd name="T88" fmla="*/ 24 w 75"/>
                  <a:gd name="T89" fmla="*/ 49 h 44"/>
                  <a:gd name="T90" fmla="*/ 20 w 75"/>
                  <a:gd name="T91" fmla="*/ 45 h 44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75"/>
                  <a:gd name="T139" fmla="*/ 0 h 44"/>
                  <a:gd name="T140" fmla="*/ 75 w 75"/>
                  <a:gd name="T141" fmla="*/ 44 h 44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75" h="44">
                    <a:moveTo>
                      <a:pt x="17" y="37"/>
                    </a:moveTo>
                    <a:cubicBezTo>
                      <a:pt x="17" y="35"/>
                      <a:pt x="18" y="34"/>
                      <a:pt x="17" y="32"/>
                    </a:cubicBezTo>
                    <a:cubicBezTo>
                      <a:pt x="17" y="30"/>
                      <a:pt x="16" y="30"/>
                      <a:pt x="15" y="29"/>
                    </a:cubicBezTo>
                    <a:cubicBezTo>
                      <a:pt x="13" y="29"/>
                      <a:pt x="11" y="31"/>
                      <a:pt x="9" y="30"/>
                    </a:cubicBezTo>
                    <a:cubicBezTo>
                      <a:pt x="8" y="29"/>
                      <a:pt x="10" y="27"/>
                      <a:pt x="9" y="26"/>
                    </a:cubicBezTo>
                    <a:cubicBezTo>
                      <a:pt x="8" y="25"/>
                      <a:pt x="6" y="25"/>
                      <a:pt x="5" y="25"/>
                    </a:cubicBezTo>
                    <a:cubicBezTo>
                      <a:pt x="4" y="24"/>
                      <a:pt x="3" y="24"/>
                      <a:pt x="2" y="23"/>
                    </a:cubicBezTo>
                    <a:cubicBezTo>
                      <a:pt x="1" y="22"/>
                      <a:pt x="0" y="21"/>
                      <a:pt x="0" y="20"/>
                    </a:cubicBezTo>
                    <a:cubicBezTo>
                      <a:pt x="0" y="18"/>
                      <a:pt x="0" y="16"/>
                      <a:pt x="0" y="14"/>
                    </a:cubicBezTo>
                    <a:cubicBezTo>
                      <a:pt x="1" y="13"/>
                      <a:pt x="3" y="12"/>
                      <a:pt x="5" y="11"/>
                    </a:cubicBezTo>
                    <a:cubicBezTo>
                      <a:pt x="7" y="9"/>
                      <a:pt x="10" y="8"/>
                      <a:pt x="12" y="6"/>
                    </a:cubicBezTo>
                    <a:cubicBezTo>
                      <a:pt x="13" y="6"/>
                      <a:pt x="12" y="4"/>
                      <a:pt x="13" y="3"/>
                    </a:cubicBezTo>
                    <a:cubicBezTo>
                      <a:pt x="14" y="2"/>
                      <a:pt x="16" y="1"/>
                      <a:pt x="18" y="0"/>
                    </a:cubicBezTo>
                    <a:cubicBezTo>
                      <a:pt x="20" y="0"/>
                      <a:pt x="21" y="0"/>
                      <a:pt x="23" y="1"/>
                    </a:cubicBezTo>
                    <a:cubicBezTo>
                      <a:pt x="24" y="1"/>
                      <a:pt x="24" y="3"/>
                      <a:pt x="25" y="3"/>
                    </a:cubicBezTo>
                    <a:cubicBezTo>
                      <a:pt x="28" y="4"/>
                      <a:pt x="31" y="4"/>
                      <a:pt x="34" y="3"/>
                    </a:cubicBezTo>
                    <a:cubicBezTo>
                      <a:pt x="37" y="3"/>
                      <a:pt x="39" y="1"/>
                      <a:pt x="41" y="0"/>
                    </a:cubicBezTo>
                    <a:cubicBezTo>
                      <a:pt x="43" y="0"/>
                      <a:pt x="44" y="0"/>
                      <a:pt x="45" y="0"/>
                    </a:cubicBezTo>
                    <a:cubicBezTo>
                      <a:pt x="48" y="0"/>
                      <a:pt x="51" y="0"/>
                      <a:pt x="53" y="1"/>
                    </a:cubicBezTo>
                    <a:cubicBezTo>
                      <a:pt x="55" y="1"/>
                      <a:pt x="57" y="2"/>
                      <a:pt x="59" y="2"/>
                    </a:cubicBezTo>
                    <a:cubicBezTo>
                      <a:pt x="60" y="2"/>
                      <a:pt x="62" y="1"/>
                      <a:pt x="63" y="2"/>
                    </a:cubicBezTo>
                    <a:cubicBezTo>
                      <a:pt x="65" y="2"/>
                      <a:pt x="66" y="4"/>
                      <a:pt x="67" y="5"/>
                    </a:cubicBezTo>
                    <a:cubicBezTo>
                      <a:pt x="67" y="6"/>
                      <a:pt x="67" y="6"/>
                      <a:pt x="67" y="6"/>
                    </a:cubicBezTo>
                    <a:cubicBezTo>
                      <a:pt x="66" y="6"/>
                      <a:pt x="64" y="5"/>
                      <a:pt x="63" y="5"/>
                    </a:cubicBezTo>
                    <a:cubicBezTo>
                      <a:pt x="62" y="6"/>
                      <a:pt x="63" y="8"/>
                      <a:pt x="63" y="9"/>
                    </a:cubicBezTo>
                    <a:cubicBezTo>
                      <a:pt x="63" y="9"/>
                      <a:pt x="64" y="10"/>
                      <a:pt x="64" y="10"/>
                    </a:cubicBezTo>
                    <a:cubicBezTo>
                      <a:pt x="66" y="11"/>
                      <a:pt x="67" y="11"/>
                      <a:pt x="69" y="10"/>
                    </a:cubicBezTo>
                    <a:cubicBezTo>
                      <a:pt x="69" y="10"/>
                      <a:pt x="69" y="9"/>
                      <a:pt x="69" y="9"/>
                    </a:cubicBezTo>
                    <a:cubicBezTo>
                      <a:pt x="69" y="8"/>
                      <a:pt x="68" y="6"/>
                      <a:pt x="69" y="7"/>
                    </a:cubicBezTo>
                    <a:cubicBezTo>
                      <a:pt x="71" y="8"/>
                      <a:pt x="73" y="9"/>
                      <a:pt x="74" y="11"/>
                    </a:cubicBezTo>
                    <a:cubicBezTo>
                      <a:pt x="75" y="12"/>
                      <a:pt x="74" y="14"/>
                      <a:pt x="74" y="15"/>
                    </a:cubicBezTo>
                    <a:cubicBezTo>
                      <a:pt x="72" y="15"/>
                      <a:pt x="70" y="14"/>
                      <a:pt x="68" y="15"/>
                    </a:cubicBezTo>
                    <a:cubicBezTo>
                      <a:pt x="67" y="15"/>
                      <a:pt x="66" y="17"/>
                      <a:pt x="65" y="17"/>
                    </a:cubicBezTo>
                    <a:cubicBezTo>
                      <a:pt x="62" y="18"/>
                      <a:pt x="59" y="20"/>
                      <a:pt x="57" y="20"/>
                    </a:cubicBezTo>
                    <a:cubicBezTo>
                      <a:pt x="55" y="20"/>
                      <a:pt x="56" y="17"/>
                      <a:pt x="55" y="17"/>
                    </a:cubicBezTo>
                    <a:cubicBezTo>
                      <a:pt x="53" y="17"/>
                      <a:pt x="51" y="19"/>
                      <a:pt x="50" y="21"/>
                    </a:cubicBezTo>
                    <a:cubicBezTo>
                      <a:pt x="49" y="22"/>
                      <a:pt x="50" y="24"/>
                      <a:pt x="49" y="25"/>
                    </a:cubicBezTo>
                    <a:cubicBezTo>
                      <a:pt x="47" y="27"/>
                      <a:pt x="45" y="28"/>
                      <a:pt x="42" y="29"/>
                    </a:cubicBezTo>
                    <a:cubicBezTo>
                      <a:pt x="40" y="29"/>
                      <a:pt x="38" y="29"/>
                      <a:pt x="37" y="29"/>
                    </a:cubicBezTo>
                    <a:cubicBezTo>
                      <a:pt x="35" y="30"/>
                      <a:pt x="35" y="31"/>
                      <a:pt x="34" y="32"/>
                    </a:cubicBezTo>
                    <a:cubicBezTo>
                      <a:pt x="32" y="32"/>
                      <a:pt x="30" y="31"/>
                      <a:pt x="29" y="32"/>
                    </a:cubicBezTo>
                    <a:cubicBezTo>
                      <a:pt x="28" y="34"/>
                      <a:pt x="30" y="37"/>
                      <a:pt x="29" y="39"/>
                    </a:cubicBezTo>
                    <a:cubicBezTo>
                      <a:pt x="28" y="41"/>
                      <a:pt x="27" y="42"/>
                      <a:pt x="25" y="44"/>
                    </a:cubicBezTo>
                    <a:cubicBezTo>
                      <a:pt x="24" y="44"/>
                      <a:pt x="23" y="44"/>
                      <a:pt x="22" y="44"/>
                    </a:cubicBezTo>
                    <a:cubicBezTo>
                      <a:pt x="21" y="43"/>
                      <a:pt x="20" y="42"/>
                      <a:pt x="20" y="41"/>
                    </a:cubicBezTo>
                    <a:cubicBezTo>
                      <a:pt x="19" y="40"/>
                      <a:pt x="18" y="38"/>
                      <a:pt x="17" y="37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36" name="Freeform 2541"/>
              <p:cNvSpPr>
                <a:spLocks noChangeAspect="1"/>
              </p:cNvSpPr>
              <p:nvPr/>
            </p:nvSpPr>
            <p:spPr bwMode="auto">
              <a:xfrm>
                <a:off x="2776557" y="2711079"/>
                <a:ext cx="77176" cy="62301"/>
              </a:xfrm>
              <a:custGeom>
                <a:avLst/>
                <a:gdLst>
                  <a:gd name="T0" fmla="*/ 31 w 58"/>
                  <a:gd name="T1" fmla="*/ 65 h 63"/>
                  <a:gd name="T2" fmla="*/ 42 w 58"/>
                  <a:gd name="T3" fmla="*/ 70 h 63"/>
                  <a:gd name="T4" fmla="*/ 46 w 58"/>
                  <a:gd name="T5" fmla="*/ 70 h 63"/>
                  <a:gd name="T6" fmla="*/ 51 w 58"/>
                  <a:gd name="T7" fmla="*/ 74 h 63"/>
                  <a:gd name="T8" fmla="*/ 59 w 58"/>
                  <a:gd name="T9" fmla="*/ 74 h 63"/>
                  <a:gd name="T10" fmla="*/ 61 w 58"/>
                  <a:gd name="T11" fmla="*/ 70 h 63"/>
                  <a:gd name="T12" fmla="*/ 57 w 58"/>
                  <a:gd name="T13" fmla="*/ 63 h 63"/>
                  <a:gd name="T14" fmla="*/ 59 w 58"/>
                  <a:gd name="T15" fmla="*/ 55 h 63"/>
                  <a:gd name="T16" fmla="*/ 58 w 58"/>
                  <a:gd name="T17" fmla="*/ 48 h 63"/>
                  <a:gd name="T18" fmla="*/ 62 w 58"/>
                  <a:gd name="T19" fmla="*/ 42 h 63"/>
                  <a:gd name="T20" fmla="*/ 62 w 58"/>
                  <a:gd name="T21" fmla="*/ 26 h 63"/>
                  <a:gd name="T22" fmla="*/ 68 w 58"/>
                  <a:gd name="T23" fmla="*/ 15 h 63"/>
                  <a:gd name="T24" fmla="*/ 68 w 58"/>
                  <a:gd name="T25" fmla="*/ 7 h 63"/>
                  <a:gd name="T26" fmla="*/ 69 w 58"/>
                  <a:gd name="T27" fmla="*/ 1 h 63"/>
                  <a:gd name="T28" fmla="*/ 62 w 58"/>
                  <a:gd name="T29" fmla="*/ 1 h 63"/>
                  <a:gd name="T30" fmla="*/ 58 w 58"/>
                  <a:gd name="T31" fmla="*/ 4 h 63"/>
                  <a:gd name="T32" fmla="*/ 49 w 58"/>
                  <a:gd name="T33" fmla="*/ 7 h 63"/>
                  <a:gd name="T34" fmla="*/ 46 w 58"/>
                  <a:gd name="T35" fmla="*/ 4 h 63"/>
                  <a:gd name="T36" fmla="*/ 40 w 58"/>
                  <a:gd name="T37" fmla="*/ 8 h 63"/>
                  <a:gd name="T38" fmla="*/ 39 w 58"/>
                  <a:gd name="T39" fmla="*/ 13 h 63"/>
                  <a:gd name="T40" fmla="*/ 31 w 58"/>
                  <a:gd name="T41" fmla="*/ 18 h 63"/>
                  <a:gd name="T42" fmla="*/ 25 w 58"/>
                  <a:gd name="T43" fmla="*/ 18 h 63"/>
                  <a:gd name="T44" fmla="*/ 21 w 58"/>
                  <a:gd name="T45" fmla="*/ 21 h 63"/>
                  <a:gd name="T46" fmla="*/ 15 w 58"/>
                  <a:gd name="T47" fmla="*/ 21 h 63"/>
                  <a:gd name="T48" fmla="*/ 15 w 58"/>
                  <a:gd name="T49" fmla="*/ 30 h 63"/>
                  <a:gd name="T50" fmla="*/ 11 w 58"/>
                  <a:gd name="T51" fmla="*/ 36 h 63"/>
                  <a:gd name="T52" fmla="*/ 7 w 58"/>
                  <a:gd name="T53" fmla="*/ 36 h 63"/>
                  <a:gd name="T54" fmla="*/ 5 w 58"/>
                  <a:gd name="T55" fmla="*/ 37 h 63"/>
                  <a:gd name="T56" fmla="*/ 1 w 58"/>
                  <a:gd name="T57" fmla="*/ 33 h 63"/>
                  <a:gd name="T58" fmla="*/ 1 w 58"/>
                  <a:gd name="T59" fmla="*/ 38 h 63"/>
                  <a:gd name="T60" fmla="*/ 15 w 58"/>
                  <a:gd name="T61" fmla="*/ 54 h 63"/>
                  <a:gd name="T62" fmla="*/ 27 w 58"/>
                  <a:gd name="T63" fmla="*/ 67 h 63"/>
                  <a:gd name="T64" fmla="*/ 30 w 58"/>
                  <a:gd name="T65" fmla="*/ 65 h 63"/>
                  <a:gd name="T66" fmla="*/ 27 w 58"/>
                  <a:gd name="T67" fmla="*/ 60 h 63"/>
                  <a:gd name="T68" fmla="*/ 26 w 58"/>
                  <a:gd name="T69" fmla="*/ 51 h 63"/>
                  <a:gd name="T70" fmla="*/ 27 w 58"/>
                  <a:gd name="T71" fmla="*/ 50 h 63"/>
                  <a:gd name="T72" fmla="*/ 36 w 58"/>
                  <a:gd name="T73" fmla="*/ 56 h 63"/>
                  <a:gd name="T74" fmla="*/ 43 w 58"/>
                  <a:gd name="T75" fmla="*/ 64 h 63"/>
                  <a:gd name="T76" fmla="*/ 43 w 58"/>
                  <a:gd name="T77" fmla="*/ 68 h 63"/>
                  <a:gd name="T78" fmla="*/ 32 w 58"/>
                  <a:gd name="T79" fmla="*/ 63 h 63"/>
                  <a:gd name="T80" fmla="*/ 31 w 58"/>
                  <a:gd name="T81" fmla="*/ 65 h 63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58"/>
                  <a:gd name="T124" fmla="*/ 0 h 63"/>
                  <a:gd name="T125" fmla="*/ 58 w 58"/>
                  <a:gd name="T126" fmla="*/ 63 h 63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58" h="63">
                    <a:moveTo>
                      <a:pt x="26" y="55"/>
                    </a:moveTo>
                    <a:cubicBezTo>
                      <a:pt x="30" y="55"/>
                      <a:pt x="31" y="58"/>
                      <a:pt x="35" y="59"/>
                    </a:cubicBezTo>
                    <a:cubicBezTo>
                      <a:pt x="36" y="59"/>
                      <a:pt x="38" y="58"/>
                      <a:pt x="39" y="59"/>
                    </a:cubicBezTo>
                    <a:cubicBezTo>
                      <a:pt x="41" y="59"/>
                      <a:pt x="41" y="62"/>
                      <a:pt x="43" y="62"/>
                    </a:cubicBezTo>
                    <a:cubicBezTo>
                      <a:pt x="45" y="63"/>
                      <a:pt x="48" y="63"/>
                      <a:pt x="50" y="62"/>
                    </a:cubicBezTo>
                    <a:cubicBezTo>
                      <a:pt x="51" y="62"/>
                      <a:pt x="51" y="60"/>
                      <a:pt x="51" y="59"/>
                    </a:cubicBezTo>
                    <a:cubicBezTo>
                      <a:pt x="50" y="57"/>
                      <a:pt x="48" y="55"/>
                      <a:pt x="48" y="53"/>
                    </a:cubicBezTo>
                    <a:cubicBezTo>
                      <a:pt x="48" y="50"/>
                      <a:pt x="50" y="48"/>
                      <a:pt x="50" y="46"/>
                    </a:cubicBezTo>
                    <a:cubicBezTo>
                      <a:pt x="50" y="44"/>
                      <a:pt x="48" y="42"/>
                      <a:pt x="49" y="40"/>
                    </a:cubicBezTo>
                    <a:cubicBezTo>
                      <a:pt x="49" y="38"/>
                      <a:pt x="52" y="37"/>
                      <a:pt x="52" y="35"/>
                    </a:cubicBezTo>
                    <a:cubicBezTo>
                      <a:pt x="53" y="31"/>
                      <a:pt x="51" y="26"/>
                      <a:pt x="52" y="22"/>
                    </a:cubicBezTo>
                    <a:cubicBezTo>
                      <a:pt x="53" y="18"/>
                      <a:pt x="56" y="16"/>
                      <a:pt x="57" y="13"/>
                    </a:cubicBezTo>
                    <a:cubicBezTo>
                      <a:pt x="58" y="11"/>
                      <a:pt x="57" y="8"/>
                      <a:pt x="57" y="6"/>
                    </a:cubicBezTo>
                    <a:cubicBezTo>
                      <a:pt x="57" y="4"/>
                      <a:pt x="57" y="3"/>
                      <a:pt x="58" y="1"/>
                    </a:cubicBezTo>
                    <a:cubicBezTo>
                      <a:pt x="56" y="1"/>
                      <a:pt x="54" y="0"/>
                      <a:pt x="52" y="1"/>
                    </a:cubicBezTo>
                    <a:cubicBezTo>
                      <a:pt x="51" y="1"/>
                      <a:pt x="50" y="3"/>
                      <a:pt x="49" y="3"/>
                    </a:cubicBezTo>
                    <a:cubicBezTo>
                      <a:pt x="46" y="4"/>
                      <a:pt x="43" y="6"/>
                      <a:pt x="41" y="6"/>
                    </a:cubicBezTo>
                    <a:cubicBezTo>
                      <a:pt x="39" y="6"/>
                      <a:pt x="40" y="3"/>
                      <a:pt x="39" y="3"/>
                    </a:cubicBezTo>
                    <a:cubicBezTo>
                      <a:pt x="37" y="3"/>
                      <a:pt x="35" y="5"/>
                      <a:pt x="34" y="7"/>
                    </a:cubicBezTo>
                    <a:cubicBezTo>
                      <a:pt x="33" y="8"/>
                      <a:pt x="34" y="10"/>
                      <a:pt x="33" y="11"/>
                    </a:cubicBezTo>
                    <a:cubicBezTo>
                      <a:pt x="31" y="13"/>
                      <a:pt x="29" y="14"/>
                      <a:pt x="26" y="15"/>
                    </a:cubicBezTo>
                    <a:cubicBezTo>
                      <a:pt x="24" y="15"/>
                      <a:pt x="22" y="15"/>
                      <a:pt x="21" y="15"/>
                    </a:cubicBezTo>
                    <a:cubicBezTo>
                      <a:pt x="19" y="16"/>
                      <a:pt x="19" y="17"/>
                      <a:pt x="18" y="18"/>
                    </a:cubicBezTo>
                    <a:cubicBezTo>
                      <a:pt x="16" y="18"/>
                      <a:pt x="14" y="17"/>
                      <a:pt x="13" y="18"/>
                    </a:cubicBezTo>
                    <a:cubicBezTo>
                      <a:pt x="12" y="20"/>
                      <a:pt x="14" y="23"/>
                      <a:pt x="13" y="25"/>
                    </a:cubicBezTo>
                    <a:cubicBezTo>
                      <a:pt x="12" y="27"/>
                      <a:pt x="11" y="28"/>
                      <a:pt x="9" y="30"/>
                    </a:cubicBezTo>
                    <a:cubicBezTo>
                      <a:pt x="8" y="30"/>
                      <a:pt x="7" y="30"/>
                      <a:pt x="6" y="30"/>
                    </a:cubicBezTo>
                    <a:cubicBezTo>
                      <a:pt x="5" y="30"/>
                      <a:pt x="4" y="32"/>
                      <a:pt x="4" y="31"/>
                    </a:cubicBezTo>
                    <a:cubicBezTo>
                      <a:pt x="3" y="31"/>
                      <a:pt x="2" y="28"/>
                      <a:pt x="1" y="28"/>
                    </a:cubicBezTo>
                    <a:cubicBezTo>
                      <a:pt x="0" y="29"/>
                      <a:pt x="0" y="31"/>
                      <a:pt x="1" y="32"/>
                    </a:cubicBezTo>
                    <a:cubicBezTo>
                      <a:pt x="4" y="37"/>
                      <a:pt x="9" y="41"/>
                      <a:pt x="13" y="45"/>
                    </a:cubicBezTo>
                    <a:cubicBezTo>
                      <a:pt x="17" y="49"/>
                      <a:pt x="19" y="53"/>
                      <a:pt x="23" y="56"/>
                    </a:cubicBezTo>
                    <a:cubicBezTo>
                      <a:pt x="24" y="56"/>
                      <a:pt x="24" y="55"/>
                      <a:pt x="25" y="55"/>
                    </a:cubicBezTo>
                    <a:cubicBezTo>
                      <a:pt x="25" y="53"/>
                      <a:pt x="23" y="52"/>
                      <a:pt x="23" y="50"/>
                    </a:cubicBezTo>
                    <a:cubicBezTo>
                      <a:pt x="22" y="48"/>
                      <a:pt x="22" y="45"/>
                      <a:pt x="22" y="43"/>
                    </a:cubicBezTo>
                    <a:cubicBezTo>
                      <a:pt x="22" y="42"/>
                      <a:pt x="23" y="42"/>
                      <a:pt x="23" y="42"/>
                    </a:cubicBezTo>
                    <a:cubicBezTo>
                      <a:pt x="26" y="43"/>
                      <a:pt x="28" y="45"/>
                      <a:pt x="30" y="47"/>
                    </a:cubicBezTo>
                    <a:cubicBezTo>
                      <a:pt x="32" y="49"/>
                      <a:pt x="34" y="51"/>
                      <a:pt x="36" y="54"/>
                    </a:cubicBezTo>
                    <a:cubicBezTo>
                      <a:pt x="36" y="55"/>
                      <a:pt x="37" y="57"/>
                      <a:pt x="36" y="57"/>
                    </a:cubicBezTo>
                    <a:cubicBezTo>
                      <a:pt x="32" y="57"/>
                      <a:pt x="30" y="54"/>
                      <a:pt x="27" y="53"/>
                    </a:cubicBezTo>
                    <a:cubicBezTo>
                      <a:pt x="26" y="53"/>
                      <a:pt x="26" y="54"/>
                      <a:pt x="26" y="55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37" name="Freeform 2545"/>
              <p:cNvSpPr>
                <a:spLocks noChangeAspect="1"/>
              </p:cNvSpPr>
              <p:nvPr/>
            </p:nvSpPr>
            <p:spPr bwMode="auto">
              <a:xfrm>
                <a:off x="3017032" y="2752612"/>
                <a:ext cx="231528" cy="164472"/>
              </a:xfrm>
              <a:custGeom>
                <a:avLst/>
                <a:gdLst>
                  <a:gd name="T0" fmla="*/ 182 w 173"/>
                  <a:gd name="T1" fmla="*/ 104 h 165"/>
                  <a:gd name="T2" fmla="*/ 191 w 173"/>
                  <a:gd name="T3" fmla="*/ 92 h 165"/>
                  <a:gd name="T4" fmla="*/ 190 w 173"/>
                  <a:gd name="T5" fmla="*/ 82 h 165"/>
                  <a:gd name="T6" fmla="*/ 207 w 173"/>
                  <a:gd name="T7" fmla="*/ 67 h 165"/>
                  <a:gd name="T8" fmla="*/ 188 w 173"/>
                  <a:gd name="T9" fmla="*/ 62 h 165"/>
                  <a:gd name="T10" fmla="*/ 191 w 173"/>
                  <a:gd name="T11" fmla="*/ 49 h 165"/>
                  <a:gd name="T12" fmla="*/ 168 w 173"/>
                  <a:gd name="T13" fmla="*/ 38 h 165"/>
                  <a:gd name="T14" fmla="*/ 173 w 173"/>
                  <a:gd name="T15" fmla="*/ 25 h 165"/>
                  <a:gd name="T16" fmla="*/ 144 w 173"/>
                  <a:gd name="T17" fmla="*/ 28 h 165"/>
                  <a:gd name="T18" fmla="*/ 134 w 173"/>
                  <a:gd name="T19" fmla="*/ 34 h 165"/>
                  <a:gd name="T20" fmla="*/ 110 w 173"/>
                  <a:gd name="T21" fmla="*/ 29 h 165"/>
                  <a:gd name="T22" fmla="*/ 83 w 173"/>
                  <a:gd name="T23" fmla="*/ 31 h 165"/>
                  <a:gd name="T24" fmla="*/ 71 w 173"/>
                  <a:gd name="T25" fmla="*/ 12 h 165"/>
                  <a:gd name="T26" fmla="*/ 56 w 173"/>
                  <a:gd name="T27" fmla="*/ 4 h 165"/>
                  <a:gd name="T28" fmla="*/ 50 w 173"/>
                  <a:gd name="T29" fmla="*/ 10 h 165"/>
                  <a:gd name="T30" fmla="*/ 51 w 173"/>
                  <a:gd name="T31" fmla="*/ 13 h 165"/>
                  <a:gd name="T32" fmla="*/ 34 w 173"/>
                  <a:gd name="T33" fmla="*/ 23 h 165"/>
                  <a:gd name="T34" fmla="*/ 35 w 173"/>
                  <a:gd name="T35" fmla="*/ 42 h 165"/>
                  <a:gd name="T36" fmla="*/ 24 w 173"/>
                  <a:gd name="T37" fmla="*/ 48 h 165"/>
                  <a:gd name="T38" fmla="*/ 28 w 173"/>
                  <a:gd name="T39" fmla="*/ 29 h 165"/>
                  <a:gd name="T40" fmla="*/ 23 w 173"/>
                  <a:gd name="T41" fmla="*/ 10 h 165"/>
                  <a:gd name="T42" fmla="*/ 22 w 173"/>
                  <a:gd name="T43" fmla="*/ 8 h 165"/>
                  <a:gd name="T44" fmla="*/ 8 w 173"/>
                  <a:gd name="T45" fmla="*/ 41 h 165"/>
                  <a:gd name="T46" fmla="*/ 6 w 173"/>
                  <a:gd name="T47" fmla="*/ 53 h 165"/>
                  <a:gd name="T48" fmla="*/ 16 w 173"/>
                  <a:gd name="T49" fmla="*/ 77 h 165"/>
                  <a:gd name="T50" fmla="*/ 30 w 173"/>
                  <a:gd name="T51" fmla="*/ 86 h 165"/>
                  <a:gd name="T52" fmla="*/ 44 w 173"/>
                  <a:gd name="T53" fmla="*/ 90 h 165"/>
                  <a:gd name="T54" fmla="*/ 65 w 173"/>
                  <a:gd name="T55" fmla="*/ 102 h 165"/>
                  <a:gd name="T56" fmla="*/ 85 w 173"/>
                  <a:gd name="T57" fmla="*/ 102 h 165"/>
                  <a:gd name="T58" fmla="*/ 84 w 173"/>
                  <a:gd name="T59" fmla="*/ 119 h 165"/>
                  <a:gd name="T60" fmla="*/ 86 w 173"/>
                  <a:gd name="T61" fmla="*/ 136 h 165"/>
                  <a:gd name="T62" fmla="*/ 89 w 173"/>
                  <a:gd name="T63" fmla="*/ 151 h 165"/>
                  <a:gd name="T64" fmla="*/ 91 w 173"/>
                  <a:gd name="T65" fmla="*/ 169 h 165"/>
                  <a:gd name="T66" fmla="*/ 116 w 173"/>
                  <a:gd name="T67" fmla="*/ 196 h 165"/>
                  <a:gd name="T68" fmla="*/ 134 w 173"/>
                  <a:gd name="T69" fmla="*/ 182 h 165"/>
                  <a:gd name="T70" fmla="*/ 138 w 173"/>
                  <a:gd name="T71" fmla="*/ 175 h 165"/>
                  <a:gd name="T72" fmla="*/ 151 w 173"/>
                  <a:gd name="T73" fmla="*/ 168 h 165"/>
                  <a:gd name="T74" fmla="*/ 138 w 173"/>
                  <a:gd name="T75" fmla="*/ 163 h 165"/>
                  <a:gd name="T76" fmla="*/ 139 w 173"/>
                  <a:gd name="T77" fmla="*/ 150 h 165"/>
                  <a:gd name="T78" fmla="*/ 138 w 173"/>
                  <a:gd name="T79" fmla="*/ 138 h 165"/>
                  <a:gd name="T80" fmla="*/ 160 w 173"/>
                  <a:gd name="T81" fmla="*/ 144 h 165"/>
                  <a:gd name="T82" fmla="*/ 183 w 173"/>
                  <a:gd name="T83" fmla="*/ 133 h 165"/>
                  <a:gd name="T84" fmla="*/ 191 w 173"/>
                  <a:gd name="T85" fmla="*/ 119 h 165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73"/>
                  <a:gd name="T130" fmla="*/ 0 h 165"/>
                  <a:gd name="T131" fmla="*/ 173 w 173"/>
                  <a:gd name="T132" fmla="*/ 165 h 165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73" h="165">
                    <a:moveTo>
                      <a:pt x="160" y="99"/>
                    </a:moveTo>
                    <a:cubicBezTo>
                      <a:pt x="157" y="95"/>
                      <a:pt x="153" y="92"/>
                      <a:pt x="150" y="88"/>
                    </a:cubicBezTo>
                    <a:cubicBezTo>
                      <a:pt x="150" y="87"/>
                      <a:pt x="152" y="87"/>
                      <a:pt x="152" y="87"/>
                    </a:cubicBezTo>
                    <a:cubicBezTo>
                      <a:pt x="152" y="85"/>
                      <a:pt x="152" y="83"/>
                      <a:pt x="152" y="82"/>
                    </a:cubicBezTo>
                    <a:cubicBezTo>
                      <a:pt x="152" y="81"/>
                      <a:pt x="153" y="80"/>
                      <a:pt x="153" y="79"/>
                    </a:cubicBezTo>
                    <a:cubicBezTo>
                      <a:pt x="155" y="78"/>
                      <a:pt x="158" y="78"/>
                      <a:pt x="160" y="77"/>
                    </a:cubicBezTo>
                    <a:cubicBezTo>
                      <a:pt x="162" y="76"/>
                      <a:pt x="165" y="76"/>
                      <a:pt x="166" y="74"/>
                    </a:cubicBezTo>
                    <a:cubicBezTo>
                      <a:pt x="167" y="73"/>
                      <a:pt x="163" y="73"/>
                      <a:pt x="162" y="72"/>
                    </a:cubicBezTo>
                    <a:cubicBezTo>
                      <a:pt x="161" y="71"/>
                      <a:pt x="159" y="70"/>
                      <a:pt x="159" y="68"/>
                    </a:cubicBezTo>
                    <a:cubicBezTo>
                      <a:pt x="159" y="66"/>
                      <a:pt x="162" y="64"/>
                      <a:pt x="164" y="62"/>
                    </a:cubicBezTo>
                    <a:cubicBezTo>
                      <a:pt x="165" y="61"/>
                      <a:pt x="167" y="59"/>
                      <a:pt x="169" y="58"/>
                    </a:cubicBezTo>
                    <a:cubicBezTo>
                      <a:pt x="170" y="57"/>
                      <a:pt x="172" y="57"/>
                      <a:pt x="173" y="56"/>
                    </a:cubicBezTo>
                    <a:cubicBezTo>
                      <a:pt x="172" y="54"/>
                      <a:pt x="171" y="54"/>
                      <a:pt x="170" y="53"/>
                    </a:cubicBezTo>
                    <a:cubicBezTo>
                      <a:pt x="168" y="52"/>
                      <a:pt x="166" y="51"/>
                      <a:pt x="164" y="50"/>
                    </a:cubicBezTo>
                    <a:cubicBezTo>
                      <a:pt x="162" y="50"/>
                      <a:pt x="160" y="52"/>
                      <a:pt x="157" y="52"/>
                    </a:cubicBezTo>
                    <a:cubicBezTo>
                      <a:pt x="156" y="52"/>
                      <a:pt x="160" y="51"/>
                      <a:pt x="160" y="50"/>
                    </a:cubicBezTo>
                    <a:cubicBezTo>
                      <a:pt x="161" y="49"/>
                      <a:pt x="159" y="48"/>
                      <a:pt x="159" y="47"/>
                    </a:cubicBezTo>
                    <a:cubicBezTo>
                      <a:pt x="159" y="45"/>
                      <a:pt x="161" y="43"/>
                      <a:pt x="160" y="41"/>
                    </a:cubicBezTo>
                    <a:cubicBezTo>
                      <a:pt x="159" y="39"/>
                      <a:pt x="156" y="38"/>
                      <a:pt x="154" y="36"/>
                    </a:cubicBezTo>
                    <a:cubicBezTo>
                      <a:pt x="151" y="35"/>
                      <a:pt x="149" y="33"/>
                      <a:pt x="146" y="32"/>
                    </a:cubicBezTo>
                    <a:cubicBezTo>
                      <a:pt x="144" y="31"/>
                      <a:pt x="141" y="33"/>
                      <a:pt x="140" y="32"/>
                    </a:cubicBezTo>
                    <a:cubicBezTo>
                      <a:pt x="137" y="30"/>
                      <a:pt x="134" y="27"/>
                      <a:pt x="135" y="25"/>
                    </a:cubicBezTo>
                    <a:cubicBezTo>
                      <a:pt x="137" y="22"/>
                      <a:pt x="141" y="25"/>
                      <a:pt x="144" y="24"/>
                    </a:cubicBezTo>
                    <a:cubicBezTo>
                      <a:pt x="145" y="23"/>
                      <a:pt x="145" y="21"/>
                      <a:pt x="145" y="21"/>
                    </a:cubicBezTo>
                    <a:cubicBezTo>
                      <a:pt x="142" y="21"/>
                      <a:pt x="139" y="22"/>
                      <a:pt x="136" y="22"/>
                    </a:cubicBezTo>
                    <a:cubicBezTo>
                      <a:pt x="132" y="22"/>
                      <a:pt x="129" y="22"/>
                      <a:pt x="125" y="22"/>
                    </a:cubicBezTo>
                    <a:cubicBezTo>
                      <a:pt x="123" y="22"/>
                      <a:pt x="120" y="21"/>
                      <a:pt x="120" y="23"/>
                    </a:cubicBezTo>
                    <a:cubicBezTo>
                      <a:pt x="120" y="25"/>
                      <a:pt x="127" y="24"/>
                      <a:pt x="126" y="26"/>
                    </a:cubicBezTo>
                    <a:cubicBezTo>
                      <a:pt x="125" y="28"/>
                      <a:pt x="121" y="25"/>
                      <a:pt x="119" y="25"/>
                    </a:cubicBezTo>
                    <a:cubicBezTo>
                      <a:pt x="117" y="26"/>
                      <a:pt x="114" y="27"/>
                      <a:pt x="112" y="28"/>
                    </a:cubicBezTo>
                    <a:cubicBezTo>
                      <a:pt x="110" y="29"/>
                      <a:pt x="108" y="32"/>
                      <a:pt x="105" y="32"/>
                    </a:cubicBezTo>
                    <a:cubicBezTo>
                      <a:pt x="102" y="32"/>
                      <a:pt x="99" y="30"/>
                      <a:pt x="97" y="29"/>
                    </a:cubicBezTo>
                    <a:cubicBezTo>
                      <a:pt x="95" y="27"/>
                      <a:pt x="94" y="25"/>
                      <a:pt x="92" y="24"/>
                    </a:cubicBezTo>
                    <a:cubicBezTo>
                      <a:pt x="89" y="23"/>
                      <a:pt x="86" y="23"/>
                      <a:pt x="83" y="23"/>
                    </a:cubicBezTo>
                    <a:cubicBezTo>
                      <a:pt x="80" y="23"/>
                      <a:pt x="78" y="25"/>
                      <a:pt x="75" y="25"/>
                    </a:cubicBezTo>
                    <a:cubicBezTo>
                      <a:pt x="73" y="26"/>
                      <a:pt x="71" y="26"/>
                      <a:pt x="69" y="26"/>
                    </a:cubicBezTo>
                    <a:cubicBezTo>
                      <a:pt x="68" y="26"/>
                      <a:pt x="67" y="25"/>
                      <a:pt x="66" y="24"/>
                    </a:cubicBezTo>
                    <a:cubicBezTo>
                      <a:pt x="66" y="21"/>
                      <a:pt x="68" y="18"/>
                      <a:pt x="66" y="16"/>
                    </a:cubicBezTo>
                    <a:cubicBezTo>
                      <a:pt x="65" y="14"/>
                      <a:pt x="62" y="12"/>
                      <a:pt x="59" y="10"/>
                    </a:cubicBezTo>
                    <a:cubicBezTo>
                      <a:pt x="56" y="9"/>
                      <a:pt x="53" y="11"/>
                      <a:pt x="50" y="10"/>
                    </a:cubicBezTo>
                    <a:cubicBezTo>
                      <a:pt x="49" y="10"/>
                      <a:pt x="49" y="9"/>
                      <a:pt x="49" y="8"/>
                    </a:cubicBezTo>
                    <a:cubicBezTo>
                      <a:pt x="48" y="6"/>
                      <a:pt x="48" y="5"/>
                      <a:pt x="47" y="3"/>
                    </a:cubicBezTo>
                    <a:cubicBezTo>
                      <a:pt x="46" y="2"/>
                      <a:pt x="45" y="0"/>
                      <a:pt x="44" y="0"/>
                    </a:cubicBezTo>
                    <a:cubicBezTo>
                      <a:pt x="43" y="0"/>
                      <a:pt x="41" y="1"/>
                      <a:pt x="40" y="2"/>
                    </a:cubicBezTo>
                    <a:cubicBezTo>
                      <a:pt x="40" y="4"/>
                      <a:pt x="41" y="7"/>
                      <a:pt x="42" y="8"/>
                    </a:cubicBezTo>
                    <a:cubicBezTo>
                      <a:pt x="43" y="9"/>
                      <a:pt x="46" y="8"/>
                      <a:pt x="47" y="8"/>
                    </a:cubicBezTo>
                    <a:cubicBezTo>
                      <a:pt x="48" y="9"/>
                      <a:pt x="49" y="10"/>
                      <a:pt x="49" y="11"/>
                    </a:cubicBezTo>
                    <a:cubicBezTo>
                      <a:pt x="47" y="12"/>
                      <a:pt x="45" y="10"/>
                      <a:pt x="43" y="11"/>
                    </a:cubicBezTo>
                    <a:cubicBezTo>
                      <a:pt x="41" y="11"/>
                      <a:pt x="40" y="13"/>
                      <a:pt x="39" y="14"/>
                    </a:cubicBezTo>
                    <a:cubicBezTo>
                      <a:pt x="37" y="14"/>
                      <a:pt x="35" y="14"/>
                      <a:pt x="34" y="15"/>
                    </a:cubicBezTo>
                    <a:cubicBezTo>
                      <a:pt x="32" y="16"/>
                      <a:pt x="30" y="17"/>
                      <a:pt x="28" y="19"/>
                    </a:cubicBezTo>
                    <a:cubicBezTo>
                      <a:pt x="27" y="20"/>
                      <a:pt x="26" y="21"/>
                      <a:pt x="26" y="23"/>
                    </a:cubicBezTo>
                    <a:cubicBezTo>
                      <a:pt x="26" y="25"/>
                      <a:pt x="26" y="27"/>
                      <a:pt x="27" y="28"/>
                    </a:cubicBezTo>
                    <a:cubicBezTo>
                      <a:pt x="27" y="31"/>
                      <a:pt x="28" y="33"/>
                      <a:pt x="29" y="35"/>
                    </a:cubicBezTo>
                    <a:cubicBezTo>
                      <a:pt x="29" y="37"/>
                      <a:pt x="30" y="39"/>
                      <a:pt x="29" y="41"/>
                    </a:cubicBezTo>
                    <a:cubicBezTo>
                      <a:pt x="28" y="43"/>
                      <a:pt x="25" y="46"/>
                      <a:pt x="23" y="45"/>
                    </a:cubicBezTo>
                    <a:cubicBezTo>
                      <a:pt x="21" y="45"/>
                      <a:pt x="21" y="42"/>
                      <a:pt x="20" y="40"/>
                    </a:cubicBezTo>
                    <a:cubicBezTo>
                      <a:pt x="19" y="39"/>
                      <a:pt x="17" y="38"/>
                      <a:pt x="17" y="36"/>
                    </a:cubicBezTo>
                    <a:cubicBezTo>
                      <a:pt x="17" y="33"/>
                      <a:pt x="18" y="31"/>
                      <a:pt x="19" y="30"/>
                    </a:cubicBezTo>
                    <a:cubicBezTo>
                      <a:pt x="20" y="28"/>
                      <a:pt x="22" y="26"/>
                      <a:pt x="23" y="24"/>
                    </a:cubicBezTo>
                    <a:cubicBezTo>
                      <a:pt x="24" y="22"/>
                      <a:pt x="24" y="20"/>
                      <a:pt x="24" y="18"/>
                    </a:cubicBezTo>
                    <a:cubicBezTo>
                      <a:pt x="23" y="16"/>
                      <a:pt x="21" y="14"/>
                      <a:pt x="19" y="11"/>
                    </a:cubicBezTo>
                    <a:cubicBezTo>
                      <a:pt x="19" y="10"/>
                      <a:pt x="19" y="9"/>
                      <a:pt x="19" y="8"/>
                    </a:cubicBezTo>
                    <a:cubicBezTo>
                      <a:pt x="22" y="7"/>
                      <a:pt x="25" y="8"/>
                      <a:pt x="27" y="6"/>
                    </a:cubicBezTo>
                    <a:cubicBezTo>
                      <a:pt x="28" y="6"/>
                      <a:pt x="28" y="4"/>
                      <a:pt x="28" y="3"/>
                    </a:cubicBezTo>
                    <a:cubicBezTo>
                      <a:pt x="25" y="4"/>
                      <a:pt x="21" y="4"/>
                      <a:pt x="18" y="7"/>
                    </a:cubicBezTo>
                    <a:cubicBezTo>
                      <a:pt x="16" y="9"/>
                      <a:pt x="16" y="12"/>
                      <a:pt x="15" y="15"/>
                    </a:cubicBezTo>
                    <a:cubicBezTo>
                      <a:pt x="13" y="19"/>
                      <a:pt x="9" y="21"/>
                      <a:pt x="7" y="26"/>
                    </a:cubicBezTo>
                    <a:cubicBezTo>
                      <a:pt x="6" y="28"/>
                      <a:pt x="8" y="32"/>
                      <a:pt x="7" y="34"/>
                    </a:cubicBezTo>
                    <a:cubicBezTo>
                      <a:pt x="5" y="38"/>
                      <a:pt x="1" y="40"/>
                      <a:pt x="0" y="44"/>
                    </a:cubicBezTo>
                    <a:cubicBezTo>
                      <a:pt x="0" y="45"/>
                      <a:pt x="1" y="46"/>
                      <a:pt x="2" y="46"/>
                    </a:cubicBezTo>
                    <a:cubicBezTo>
                      <a:pt x="3" y="46"/>
                      <a:pt x="4" y="44"/>
                      <a:pt x="5" y="44"/>
                    </a:cubicBezTo>
                    <a:cubicBezTo>
                      <a:pt x="6" y="43"/>
                      <a:pt x="8" y="44"/>
                      <a:pt x="10" y="45"/>
                    </a:cubicBezTo>
                    <a:cubicBezTo>
                      <a:pt x="12" y="47"/>
                      <a:pt x="12" y="50"/>
                      <a:pt x="13" y="53"/>
                    </a:cubicBezTo>
                    <a:cubicBezTo>
                      <a:pt x="14" y="57"/>
                      <a:pt x="12" y="60"/>
                      <a:pt x="13" y="64"/>
                    </a:cubicBezTo>
                    <a:cubicBezTo>
                      <a:pt x="13" y="66"/>
                      <a:pt x="14" y="68"/>
                      <a:pt x="15" y="70"/>
                    </a:cubicBezTo>
                    <a:cubicBezTo>
                      <a:pt x="16" y="71"/>
                      <a:pt x="16" y="73"/>
                      <a:pt x="17" y="73"/>
                    </a:cubicBezTo>
                    <a:cubicBezTo>
                      <a:pt x="20" y="73"/>
                      <a:pt x="23" y="72"/>
                      <a:pt x="25" y="72"/>
                    </a:cubicBezTo>
                    <a:cubicBezTo>
                      <a:pt x="27" y="72"/>
                      <a:pt x="29" y="73"/>
                      <a:pt x="30" y="73"/>
                    </a:cubicBezTo>
                    <a:cubicBezTo>
                      <a:pt x="32" y="73"/>
                      <a:pt x="33" y="71"/>
                      <a:pt x="35" y="71"/>
                    </a:cubicBezTo>
                    <a:cubicBezTo>
                      <a:pt x="37" y="71"/>
                      <a:pt x="36" y="74"/>
                      <a:pt x="37" y="75"/>
                    </a:cubicBezTo>
                    <a:cubicBezTo>
                      <a:pt x="39" y="76"/>
                      <a:pt x="41" y="74"/>
                      <a:pt x="42" y="75"/>
                    </a:cubicBezTo>
                    <a:cubicBezTo>
                      <a:pt x="45" y="78"/>
                      <a:pt x="47" y="83"/>
                      <a:pt x="50" y="86"/>
                    </a:cubicBezTo>
                    <a:cubicBezTo>
                      <a:pt x="51" y="87"/>
                      <a:pt x="52" y="85"/>
                      <a:pt x="54" y="85"/>
                    </a:cubicBezTo>
                    <a:cubicBezTo>
                      <a:pt x="54" y="85"/>
                      <a:pt x="55" y="86"/>
                      <a:pt x="56" y="86"/>
                    </a:cubicBezTo>
                    <a:cubicBezTo>
                      <a:pt x="58" y="86"/>
                      <a:pt x="59" y="86"/>
                      <a:pt x="61" y="86"/>
                    </a:cubicBezTo>
                    <a:cubicBezTo>
                      <a:pt x="65" y="86"/>
                      <a:pt x="68" y="85"/>
                      <a:pt x="71" y="85"/>
                    </a:cubicBezTo>
                    <a:cubicBezTo>
                      <a:pt x="72" y="85"/>
                      <a:pt x="74" y="85"/>
                      <a:pt x="74" y="86"/>
                    </a:cubicBezTo>
                    <a:cubicBezTo>
                      <a:pt x="75" y="89"/>
                      <a:pt x="75" y="93"/>
                      <a:pt x="74" y="96"/>
                    </a:cubicBezTo>
                    <a:cubicBezTo>
                      <a:pt x="73" y="97"/>
                      <a:pt x="70" y="97"/>
                      <a:pt x="70" y="99"/>
                    </a:cubicBezTo>
                    <a:cubicBezTo>
                      <a:pt x="69" y="100"/>
                      <a:pt x="71" y="101"/>
                      <a:pt x="71" y="102"/>
                    </a:cubicBezTo>
                    <a:cubicBezTo>
                      <a:pt x="70" y="104"/>
                      <a:pt x="68" y="106"/>
                      <a:pt x="68" y="108"/>
                    </a:cubicBezTo>
                    <a:cubicBezTo>
                      <a:pt x="69" y="110"/>
                      <a:pt x="72" y="111"/>
                      <a:pt x="72" y="113"/>
                    </a:cubicBezTo>
                    <a:cubicBezTo>
                      <a:pt x="73" y="115"/>
                      <a:pt x="72" y="117"/>
                      <a:pt x="72" y="119"/>
                    </a:cubicBezTo>
                    <a:cubicBezTo>
                      <a:pt x="72" y="119"/>
                      <a:pt x="74" y="119"/>
                      <a:pt x="74" y="119"/>
                    </a:cubicBezTo>
                    <a:cubicBezTo>
                      <a:pt x="75" y="121"/>
                      <a:pt x="75" y="124"/>
                      <a:pt x="74" y="126"/>
                    </a:cubicBezTo>
                    <a:cubicBezTo>
                      <a:pt x="73" y="129"/>
                      <a:pt x="69" y="130"/>
                      <a:pt x="68" y="133"/>
                    </a:cubicBezTo>
                    <a:cubicBezTo>
                      <a:pt x="68" y="135"/>
                      <a:pt x="72" y="135"/>
                      <a:pt x="73" y="137"/>
                    </a:cubicBezTo>
                    <a:cubicBezTo>
                      <a:pt x="75" y="138"/>
                      <a:pt x="75" y="140"/>
                      <a:pt x="76" y="141"/>
                    </a:cubicBezTo>
                    <a:cubicBezTo>
                      <a:pt x="78" y="146"/>
                      <a:pt x="79" y="150"/>
                      <a:pt x="81" y="155"/>
                    </a:cubicBezTo>
                    <a:cubicBezTo>
                      <a:pt x="84" y="158"/>
                      <a:pt x="86" y="162"/>
                      <a:pt x="89" y="163"/>
                    </a:cubicBezTo>
                    <a:cubicBezTo>
                      <a:pt x="91" y="165"/>
                      <a:pt x="94" y="164"/>
                      <a:pt x="97" y="163"/>
                    </a:cubicBezTo>
                    <a:cubicBezTo>
                      <a:pt x="100" y="161"/>
                      <a:pt x="103" y="158"/>
                      <a:pt x="106" y="156"/>
                    </a:cubicBezTo>
                    <a:cubicBezTo>
                      <a:pt x="107" y="155"/>
                      <a:pt x="108" y="155"/>
                      <a:pt x="109" y="154"/>
                    </a:cubicBezTo>
                    <a:cubicBezTo>
                      <a:pt x="110" y="154"/>
                      <a:pt x="111" y="152"/>
                      <a:pt x="112" y="152"/>
                    </a:cubicBezTo>
                    <a:cubicBezTo>
                      <a:pt x="113" y="152"/>
                      <a:pt x="113" y="154"/>
                      <a:pt x="114" y="154"/>
                    </a:cubicBezTo>
                    <a:cubicBezTo>
                      <a:pt x="115" y="154"/>
                      <a:pt x="115" y="153"/>
                      <a:pt x="115" y="152"/>
                    </a:cubicBezTo>
                    <a:cubicBezTo>
                      <a:pt x="116" y="150"/>
                      <a:pt x="114" y="148"/>
                      <a:pt x="115" y="146"/>
                    </a:cubicBezTo>
                    <a:cubicBezTo>
                      <a:pt x="116" y="145"/>
                      <a:pt x="119" y="146"/>
                      <a:pt x="121" y="145"/>
                    </a:cubicBezTo>
                    <a:cubicBezTo>
                      <a:pt x="121" y="144"/>
                      <a:pt x="120" y="143"/>
                      <a:pt x="121" y="143"/>
                    </a:cubicBezTo>
                    <a:cubicBezTo>
                      <a:pt x="122" y="141"/>
                      <a:pt x="125" y="141"/>
                      <a:pt x="126" y="140"/>
                    </a:cubicBezTo>
                    <a:cubicBezTo>
                      <a:pt x="127" y="139"/>
                      <a:pt x="127" y="138"/>
                      <a:pt x="126" y="138"/>
                    </a:cubicBezTo>
                    <a:cubicBezTo>
                      <a:pt x="123" y="137"/>
                      <a:pt x="120" y="138"/>
                      <a:pt x="117" y="138"/>
                    </a:cubicBezTo>
                    <a:cubicBezTo>
                      <a:pt x="116" y="138"/>
                      <a:pt x="115" y="137"/>
                      <a:pt x="115" y="136"/>
                    </a:cubicBezTo>
                    <a:cubicBezTo>
                      <a:pt x="114" y="135"/>
                      <a:pt x="115" y="133"/>
                      <a:pt x="115" y="132"/>
                    </a:cubicBezTo>
                    <a:cubicBezTo>
                      <a:pt x="114" y="132"/>
                      <a:pt x="113" y="131"/>
                      <a:pt x="113" y="130"/>
                    </a:cubicBezTo>
                    <a:cubicBezTo>
                      <a:pt x="114" y="128"/>
                      <a:pt x="116" y="127"/>
                      <a:pt x="116" y="125"/>
                    </a:cubicBezTo>
                    <a:cubicBezTo>
                      <a:pt x="117" y="123"/>
                      <a:pt x="117" y="121"/>
                      <a:pt x="116" y="119"/>
                    </a:cubicBezTo>
                    <a:cubicBezTo>
                      <a:pt x="115" y="117"/>
                      <a:pt x="112" y="118"/>
                      <a:pt x="111" y="116"/>
                    </a:cubicBezTo>
                    <a:cubicBezTo>
                      <a:pt x="111" y="115"/>
                      <a:pt x="113" y="115"/>
                      <a:pt x="115" y="115"/>
                    </a:cubicBezTo>
                    <a:cubicBezTo>
                      <a:pt x="118" y="115"/>
                      <a:pt x="120" y="118"/>
                      <a:pt x="123" y="118"/>
                    </a:cubicBezTo>
                    <a:cubicBezTo>
                      <a:pt x="125" y="119"/>
                      <a:pt x="126" y="118"/>
                      <a:pt x="127" y="118"/>
                    </a:cubicBezTo>
                    <a:cubicBezTo>
                      <a:pt x="130" y="119"/>
                      <a:pt x="132" y="120"/>
                      <a:pt x="134" y="120"/>
                    </a:cubicBezTo>
                    <a:cubicBezTo>
                      <a:pt x="135" y="119"/>
                      <a:pt x="134" y="117"/>
                      <a:pt x="136" y="116"/>
                    </a:cubicBezTo>
                    <a:cubicBezTo>
                      <a:pt x="140" y="115"/>
                      <a:pt x="145" y="116"/>
                      <a:pt x="149" y="115"/>
                    </a:cubicBezTo>
                    <a:cubicBezTo>
                      <a:pt x="151" y="114"/>
                      <a:pt x="151" y="112"/>
                      <a:pt x="153" y="111"/>
                    </a:cubicBezTo>
                    <a:cubicBezTo>
                      <a:pt x="155" y="110"/>
                      <a:pt x="157" y="111"/>
                      <a:pt x="158" y="110"/>
                    </a:cubicBezTo>
                    <a:cubicBezTo>
                      <a:pt x="159" y="109"/>
                      <a:pt x="160" y="107"/>
                      <a:pt x="160" y="105"/>
                    </a:cubicBezTo>
                    <a:cubicBezTo>
                      <a:pt x="161" y="103"/>
                      <a:pt x="160" y="100"/>
                      <a:pt x="160" y="99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38" name="Freeform 2546"/>
              <p:cNvSpPr>
                <a:spLocks noChangeAspect="1"/>
              </p:cNvSpPr>
              <p:nvPr/>
            </p:nvSpPr>
            <p:spPr bwMode="auto">
              <a:xfrm>
                <a:off x="3218362" y="2808267"/>
                <a:ext cx="83888" cy="103003"/>
              </a:xfrm>
              <a:custGeom>
                <a:avLst/>
                <a:gdLst>
                  <a:gd name="T0" fmla="*/ 75 w 63"/>
                  <a:gd name="T1" fmla="*/ 108 h 103"/>
                  <a:gd name="T2" fmla="*/ 71 w 63"/>
                  <a:gd name="T3" fmla="*/ 104 h 103"/>
                  <a:gd name="T4" fmla="*/ 68 w 63"/>
                  <a:gd name="T5" fmla="*/ 98 h 103"/>
                  <a:gd name="T6" fmla="*/ 65 w 63"/>
                  <a:gd name="T7" fmla="*/ 88 h 103"/>
                  <a:gd name="T8" fmla="*/ 63 w 63"/>
                  <a:gd name="T9" fmla="*/ 87 h 103"/>
                  <a:gd name="T10" fmla="*/ 63 w 63"/>
                  <a:gd name="T11" fmla="*/ 82 h 103"/>
                  <a:gd name="T12" fmla="*/ 60 w 63"/>
                  <a:gd name="T13" fmla="*/ 82 h 103"/>
                  <a:gd name="T14" fmla="*/ 52 w 63"/>
                  <a:gd name="T15" fmla="*/ 71 h 103"/>
                  <a:gd name="T16" fmla="*/ 55 w 63"/>
                  <a:gd name="T17" fmla="*/ 64 h 103"/>
                  <a:gd name="T18" fmla="*/ 56 w 63"/>
                  <a:gd name="T19" fmla="*/ 57 h 103"/>
                  <a:gd name="T20" fmla="*/ 62 w 63"/>
                  <a:gd name="T21" fmla="*/ 57 h 103"/>
                  <a:gd name="T22" fmla="*/ 64 w 63"/>
                  <a:gd name="T23" fmla="*/ 52 h 103"/>
                  <a:gd name="T24" fmla="*/ 63 w 63"/>
                  <a:gd name="T25" fmla="*/ 45 h 103"/>
                  <a:gd name="T26" fmla="*/ 67 w 63"/>
                  <a:gd name="T27" fmla="*/ 40 h 103"/>
                  <a:gd name="T28" fmla="*/ 64 w 63"/>
                  <a:gd name="T29" fmla="*/ 35 h 103"/>
                  <a:gd name="T30" fmla="*/ 60 w 63"/>
                  <a:gd name="T31" fmla="*/ 31 h 103"/>
                  <a:gd name="T32" fmla="*/ 52 w 63"/>
                  <a:gd name="T33" fmla="*/ 26 h 103"/>
                  <a:gd name="T34" fmla="*/ 46 w 63"/>
                  <a:gd name="T35" fmla="*/ 25 h 103"/>
                  <a:gd name="T36" fmla="*/ 44 w 63"/>
                  <a:gd name="T37" fmla="*/ 31 h 103"/>
                  <a:gd name="T38" fmla="*/ 44 w 63"/>
                  <a:gd name="T39" fmla="*/ 25 h 103"/>
                  <a:gd name="T40" fmla="*/ 44 w 63"/>
                  <a:gd name="T41" fmla="*/ 18 h 103"/>
                  <a:gd name="T42" fmla="*/ 39 w 63"/>
                  <a:gd name="T43" fmla="*/ 8 h 103"/>
                  <a:gd name="T44" fmla="*/ 36 w 63"/>
                  <a:gd name="T45" fmla="*/ 5 h 103"/>
                  <a:gd name="T46" fmla="*/ 30 w 63"/>
                  <a:gd name="T47" fmla="*/ 1 h 103"/>
                  <a:gd name="T48" fmla="*/ 27 w 63"/>
                  <a:gd name="T49" fmla="*/ 0 h 103"/>
                  <a:gd name="T50" fmla="*/ 23 w 63"/>
                  <a:gd name="T51" fmla="*/ 2 h 103"/>
                  <a:gd name="T52" fmla="*/ 17 w 63"/>
                  <a:gd name="T53" fmla="*/ 7 h 103"/>
                  <a:gd name="T54" fmla="*/ 11 w 63"/>
                  <a:gd name="T55" fmla="*/ 14 h 103"/>
                  <a:gd name="T56" fmla="*/ 14 w 63"/>
                  <a:gd name="T57" fmla="*/ 19 h 103"/>
                  <a:gd name="T58" fmla="*/ 19 w 63"/>
                  <a:gd name="T59" fmla="*/ 22 h 103"/>
                  <a:gd name="T60" fmla="*/ 12 w 63"/>
                  <a:gd name="T61" fmla="*/ 25 h 103"/>
                  <a:gd name="T62" fmla="*/ 4 w 63"/>
                  <a:gd name="T63" fmla="*/ 28 h 103"/>
                  <a:gd name="T64" fmla="*/ 2 w 63"/>
                  <a:gd name="T65" fmla="*/ 31 h 103"/>
                  <a:gd name="T66" fmla="*/ 2 w 63"/>
                  <a:gd name="T67" fmla="*/ 37 h 103"/>
                  <a:gd name="T68" fmla="*/ 0 w 63"/>
                  <a:gd name="T69" fmla="*/ 39 h 103"/>
                  <a:gd name="T70" fmla="*/ 12 w 63"/>
                  <a:gd name="T71" fmla="*/ 52 h 103"/>
                  <a:gd name="T72" fmla="*/ 20 w 63"/>
                  <a:gd name="T73" fmla="*/ 52 h 103"/>
                  <a:gd name="T74" fmla="*/ 21 w 63"/>
                  <a:gd name="T75" fmla="*/ 57 h 103"/>
                  <a:gd name="T76" fmla="*/ 19 w 63"/>
                  <a:gd name="T77" fmla="*/ 60 h 103"/>
                  <a:gd name="T78" fmla="*/ 20 w 63"/>
                  <a:gd name="T79" fmla="*/ 64 h 103"/>
                  <a:gd name="T80" fmla="*/ 27 w 63"/>
                  <a:gd name="T81" fmla="*/ 64 h 103"/>
                  <a:gd name="T82" fmla="*/ 27 w 63"/>
                  <a:gd name="T83" fmla="*/ 71 h 103"/>
                  <a:gd name="T84" fmla="*/ 32 w 63"/>
                  <a:gd name="T85" fmla="*/ 73 h 103"/>
                  <a:gd name="T86" fmla="*/ 23 w 63"/>
                  <a:gd name="T87" fmla="*/ 79 h 103"/>
                  <a:gd name="T88" fmla="*/ 23 w 63"/>
                  <a:gd name="T89" fmla="*/ 96 h 103"/>
                  <a:gd name="T90" fmla="*/ 26 w 63"/>
                  <a:gd name="T91" fmla="*/ 100 h 103"/>
                  <a:gd name="T92" fmla="*/ 26 w 63"/>
                  <a:gd name="T93" fmla="*/ 106 h 103"/>
                  <a:gd name="T94" fmla="*/ 29 w 63"/>
                  <a:gd name="T95" fmla="*/ 110 h 103"/>
                  <a:gd name="T96" fmla="*/ 36 w 63"/>
                  <a:gd name="T97" fmla="*/ 113 h 103"/>
                  <a:gd name="T98" fmla="*/ 36 w 63"/>
                  <a:gd name="T99" fmla="*/ 118 h 103"/>
                  <a:gd name="T100" fmla="*/ 40 w 63"/>
                  <a:gd name="T101" fmla="*/ 122 h 103"/>
                  <a:gd name="T102" fmla="*/ 45 w 63"/>
                  <a:gd name="T103" fmla="*/ 123 h 103"/>
                  <a:gd name="T104" fmla="*/ 44 w 63"/>
                  <a:gd name="T105" fmla="*/ 118 h 103"/>
                  <a:gd name="T106" fmla="*/ 50 w 63"/>
                  <a:gd name="T107" fmla="*/ 113 h 103"/>
                  <a:gd name="T108" fmla="*/ 54 w 63"/>
                  <a:gd name="T109" fmla="*/ 116 h 103"/>
                  <a:gd name="T110" fmla="*/ 56 w 63"/>
                  <a:gd name="T111" fmla="*/ 110 h 103"/>
                  <a:gd name="T112" fmla="*/ 61 w 63"/>
                  <a:gd name="T113" fmla="*/ 110 h 103"/>
                  <a:gd name="T114" fmla="*/ 63 w 63"/>
                  <a:gd name="T115" fmla="*/ 107 h 103"/>
                  <a:gd name="T116" fmla="*/ 68 w 63"/>
                  <a:gd name="T117" fmla="*/ 108 h 103"/>
                  <a:gd name="T118" fmla="*/ 75 w 63"/>
                  <a:gd name="T119" fmla="*/ 108 h 103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63"/>
                  <a:gd name="T181" fmla="*/ 0 h 103"/>
                  <a:gd name="T182" fmla="*/ 63 w 63"/>
                  <a:gd name="T183" fmla="*/ 103 h 103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63" h="103">
                    <a:moveTo>
                      <a:pt x="63" y="90"/>
                    </a:moveTo>
                    <a:cubicBezTo>
                      <a:pt x="62" y="89"/>
                      <a:pt x="60" y="87"/>
                      <a:pt x="60" y="86"/>
                    </a:cubicBezTo>
                    <a:cubicBezTo>
                      <a:pt x="59" y="84"/>
                      <a:pt x="58" y="83"/>
                      <a:pt x="57" y="81"/>
                    </a:cubicBezTo>
                    <a:cubicBezTo>
                      <a:pt x="56" y="78"/>
                      <a:pt x="54" y="75"/>
                      <a:pt x="55" y="73"/>
                    </a:cubicBezTo>
                    <a:cubicBezTo>
                      <a:pt x="55" y="72"/>
                      <a:pt x="53" y="73"/>
                      <a:pt x="53" y="72"/>
                    </a:cubicBezTo>
                    <a:cubicBezTo>
                      <a:pt x="52" y="71"/>
                      <a:pt x="54" y="69"/>
                      <a:pt x="53" y="68"/>
                    </a:cubicBezTo>
                    <a:cubicBezTo>
                      <a:pt x="52" y="67"/>
                      <a:pt x="51" y="69"/>
                      <a:pt x="50" y="68"/>
                    </a:cubicBezTo>
                    <a:cubicBezTo>
                      <a:pt x="48" y="65"/>
                      <a:pt x="45" y="62"/>
                      <a:pt x="44" y="59"/>
                    </a:cubicBezTo>
                    <a:cubicBezTo>
                      <a:pt x="44" y="57"/>
                      <a:pt x="46" y="55"/>
                      <a:pt x="46" y="53"/>
                    </a:cubicBezTo>
                    <a:cubicBezTo>
                      <a:pt x="47" y="51"/>
                      <a:pt x="46" y="49"/>
                      <a:pt x="47" y="47"/>
                    </a:cubicBezTo>
                    <a:cubicBezTo>
                      <a:pt x="48" y="46"/>
                      <a:pt x="50" y="47"/>
                      <a:pt x="52" y="47"/>
                    </a:cubicBezTo>
                    <a:cubicBezTo>
                      <a:pt x="53" y="46"/>
                      <a:pt x="54" y="45"/>
                      <a:pt x="54" y="43"/>
                    </a:cubicBezTo>
                    <a:cubicBezTo>
                      <a:pt x="54" y="41"/>
                      <a:pt x="53" y="39"/>
                      <a:pt x="53" y="37"/>
                    </a:cubicBezTo>
                    <a:cubicBezTo>
                      <a:pt x="53" y="36"/>
                      <a:pt x="55" y="35"/>
                      <a:pt x="56" y="33"/>
                    </a:cubicBezTo>
                    <a:cubicBezTo>
                      <a:pt x="56" y="32"/>
                      <a:pt x="55" y="30"/>
                      <a:pt x="54" y="29"/>
                    </a:cubicBezTo>
                    <a:cubicBezTo>
                      <a:pt x="53" y="28"/>
                      <a:pt x="51" y="27"/>
                      <a:pt x="50" y="26"/>
                    </a:cubicBezTo>
                    <a:cubicBezTo>
                      <a:pt x="48" y="25"/>
                      <a:pt x="46" y="23"/>
                      <a:pt x="44" y="22"/>
                    </a:cubicBezTo>
                    <a:cubicBezTo>
                      <a:pt x="43" y="21"/>
                      <a:pt x="41" y="20"/>
                      <a:pt x="39" y="21"/>
                    </a:cubicBezTo>
                    <a:cubicBezTo>
                      <a:pt x="38" y="22"/>
                      <a:pt x="38" y="26"/>
                      <a:pt x="37" y="26"/>
                    </a:cubicBezTo>
                    <a:cubicBezTo>
                      <a:pt x="35" y="26"/>
                      <a:pt x="37" y="23"/>
                      <a:pt x="37" y="21"/>
                    </a:cubicBezTo>
                    <a:cubicBezTo>
                      <a:pt x="37" y="19"/>
                      <a:pt x="37" y="17"/>
                      <a:pt x="37" y="15"/>
                    </a:cubicBezTo>
                    <a:cubicBezTo>
                      <a:pt x="36" y="12"/>
                      <a:pt x="34" y="10"/>
                      <a:pt x="33" y="7"/>
                    </a:cubicBezTo>
                    <a:cubicBezTo>
                      <a:pt x="32" y="6"/>
                      <a:pt x="31" y="5"/>
                      <a:pt x="30" y="4"/>
                    </a:cubicBezTo>
                    <a:cubicBezTo>
                      <a:pt x="28" y="3"/>
                      <a:pt x="27" y="1"/>
                      <a:pt x="25" y="1"/>
                    </a:cubicBezTo>
                    <a:cubicBezTo>
                      <a:pt x="24" y="0"/>
                      <a:pt x="24" y="0"/>
                      <a:pt x="23" y="0"/>
                    </a:cubicBezTo>
                    <a:cubicBezTo>
                      <a:pt x="22" y="1"/>
                      <a:pt x="20" y="1"/>
                      <a:pt x="19" y="2"/>
                    </a:cubicBezTo>
                    <a:cubicBezTo>
                      <a:pt x="17" y="3"/>
                      <a:pt x="15" y="5"/>
                      <a:pt x="14" y="6"/>
                    </a:cubicBezTo>
                    <a:cubicBezTo>
                      <a:pt x="12" y="8"/>
                      <a:pt x="9" y="10"/>
                      <a:pt x="9" y="12"/>
                    </a:cubicBezTo>
                    <a:cubicBezTo>
                      <a:pt x="9" y="14"/>
                      <a:pt x="11" y="15"/>
                      <a:pt x="12" y="16"/>
                    </a:cubicBezTo>
                    <a:cubicBezTo>
                      <a:pt x="13" y="17"/>
                      <a:pt x="17" y="17"/>
                      <a:pt x="16" y="18"/>
                    </a:cubicBezTo>
                    <a:cubicBezTo>
                      <a:pt x="15" y="20"/>
                      <a:pt x="12" y="20"/>
                      <a:pt x="10" y="21"/>
                    </a:cubicBezTo>
                    <a:cubicBezTo>
                      <a:pt x="8" y="22"/>
                      <a:pt x="5" y="22"/>
                      <a:pt x="3" y="23"/>
                    </a:cubicBezTo>
                    <a:cubicBezTo>
                      <a:pt x="3" y="24"/>
                      <a:pt x="2" y="25"/>
                      <a:pt x="2" y="26"/>
                    </a:cubicBezTo>
                    <a:cubicBezTo>
                      <a:pt x="2" y="27"/>
                      <a:pt x="2" y="29"/>
                      <a:pt x="2" y="31"/>
                    </a:cubicBezTo>
                    <a:cubicBezTo>
                      <a:pt x="2" y="31"/>
                      <a:pt x="0" y="31"/>
                      <a:pt x="0" y="32"/>
                    </a:cubicBezTo>
                    <a:cubicBezTo>
                      <a:pt x="3" y="36"/>
                      <a:pt x="7" y="39"/>
                      <a:pt x="10" y="43"/>
                    </a:cubicBezTo>
                    <a:cubicBezTo>
                      <a:pt x="13" y="43"/>
                      <a:pt x="15" y="42"/>
                      <a:pt x="17" y="43"/>
                    </a:cubicBezTo>
                    <a:cubicBezTo>
                      <a:pt x="19" y="43"/>
                      <a:pt x="18" y="46"/>
                      <a:pt x="18" y="47"/>
                    </a:cubicBezTo>
                    <a:cubicBezTo>
                      <a:pt x="18" y="48"/>
                      <a:pt x="16" y="49"/>
                      <a:pt x="16" y="50"/>
                    </a:cubicBezTo>
                    <a:cubicBezTo>
                      <a:pt x="16" y="51"/>
                      <a:pt x="16" y="53"/>
                      <a:pt x="17" y="53"/>
                    </a:cubicBezTo>
                    <a:cubicBezTo>
                      <a:pt x="19" y="54"/>
                      <a:pt x="21" y="52"/>
                      <a:pt x="23" y="53"/>
                    </a:cubicBezTo>
                    <a:cubicBezTo>
                      <a:pt x="24" y="54"/>
                      <a:pt x="22" y="57"/>
                      <a:pt x="23" y="59"/>
                    </a:cubicBezTo>
                    <a:cubicBezTo>
                      <a:pt x="24" y="60"/>
                      <a:pt x="27" y="59"/>
                      <a:pt x="27" y="61"/>
                    </a:cubicBezTo>
                    <a:cubicBezTo>
                      <a:pt x="25" y="63"/>
                      <a:pt x="20" y="63"/>
                      <a:pt x="19" y="66"/>
                    </a:cubicBezTo>
                    <a:cubicBezTo>
                      <a:pt x="19" y="70"/>
                      <a:pt x="19" y="76"/>
                      <a:pt x="19" y="80"/>
                    </a:cubicBezTo>
                    <a:cubicBezTo>
                      <a:pt x="19" y="82"/>
                      <a:pt x="22" y="82"/>
                      <a:pt x="22" y="83"/>
                    </a:cubicBezTo>
                    <a:cubicBezTo>
                      <a:pt x="23" y="84"/>
                      <a:pt x="22" y="87"/>
                      <a:pt x="22" y="88"/>
                    </a:cubicBezTo>
                    <a:cubicBezTo>
                      <a:pt x="22" y="90"/>
                      <a:pt x="23" y="91"/>
                      <a:pt x="24" y="91"/>
                    </a:cubicBezTo>
                    <a:cubicBezTo>
                      <a:pt x="25" y="93"/>
                      <a:pt x="28" y="93"/>
                      <a:pt x="30" y="94"/>
                    </a:cubicBezTo>
                    <a:cubicBezTo>
                      <a:pt x="31" y="95"/>
                      <a:pt x="29" y="97"/>
                      <a:pt x="30" y="98"/>
                    </a:cubicBezTo>
                    <a:cubicBezTo>
                      <a:pt x="31" y="99"/>
                      <a:pt x="32" y="101"/>
                      <a:pt x="34" y="101"/>
                    </a:cubicBezTo>
                    <a:cubicBezTo>
                      <a:pt x="35" y="102"/>
                      <a:pt x="37" y="103"/>
                      <a:pt x="38" y="102"/>
                    </a:cubicBezTo>
                    <a:cubicBezTo>
                      <a:pt x="39" y="101"/>
                      <a:pt x="37" y="99"/>
                      <a:pt x="37" y="98"/>
                    </a:cubicBezTo>
                    <a:cubicBezTo>
                      <a:pt x="38" y="96"/>
                      <a:pt x="40" y="95"/>
                      <a:pt x="42" y="94"/>
                    </a:cubicBezTo>
                    <a:cubicBezTo>
                      <a:pt x="43" y="94"/>
                      <a:pt x="44" y="96"/>
                      <a:pt x="45" y="96"/>
                    </a:cubicBezTo>
                    <a:cubicBezTo>
                      <a:pt x="46" y="95"/>
                      <a:pt x="45" y="92"/>
                      <a:pt x="47" y="91"/>
                    </a:cubicBezTo>
                    <a:cubicBezTo>
                      <a:pt x="48" y="91"/>
                      <a:pt x="49" y="92"/>
                      <a:pt x="51" y="91"/>
                    </a:cubicBezTo>
                    <a:cubicBezTo>
                      <a:pt x="52" y="91"/>
                      <a:pt x="52" y="89"/>
                      <a:pt x="53" y="89"/>
                    </a:cubicBezTo>
                    <a:cubicBezTo>
                      <a:pt x="55" y="89"/>
                      <a:pt x="56" y="90"/>
                      <a:pt x="57" y="90"/>
                    </a:cubicBezTo>
                    <a:cubicBezTo>
                      <a:pt x="59" y="91"/>
                      <a:pt x="61" y="90"/>
                      <a:pt x="63" y="9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39" name="Freeform 2548"/>
              <p:cNvSpPr>
                <a:spLocks noChangeAspect="1"/>
              </p:cNvSpPr>
              <p:nvPr/>
            </p:nvSpPr>
            <p:spPr bwMode="auto">
              <a:xfrm>
                <a:off x="3276523" y="2840662"/>
                <a:ext cx="69346" cy="57316"/>
              </a:xfrm>
              <a:custGeom>
                <a:avLst/>
                <a:gdLst>
                  <a:gd name="T0" fmla="*/ 50 w 51"/>
                  <a:gd name="T1" fmla="*/ 61 h 58"/>
                  <a:gd name="T2" fmla="*/ 47 w 51"/>
                  <a:gd name="T3" fmla="*/ 57 h 58"/>
                  <a:gd name="T4" fmla="*/ 45 w 51"/>
                  <a:gd name="T5" fmla="*/ 58 h 58"/>
                  <a:gd name="T6" fmla="*/ 40 w 51"/>
                  <a:gd name="T7" fmla="*/ 59 h 58"/>
                  <a:gd name="T8" fmla="*/ 34 w 51"/>
                  <a:gd name="T9" fmla="*/ 57 h 58"/>
                  <a:gd name="T10" fmla="*/ 29 w 51"/>
                  <a:gd name="T11" fmla="*/ 63 h 58"/>
                  <a:gd name="T12" fmla="*/ 34 w 51"/>
                  <a:gd name="T13" fmla="*/ 67 h 58"/>
                  <a:gd name="T14" fmla="*/ 29 w 51"/>
                  <a:gd name="T15" fmla="*/ 69 h 58"/>
                  <a:gd name="T16" fmla="*/ 23 w 51"/>
                  <a:gd name="T17" fmla="*/ 69 h 58"/>
                  <a:gd name="T18" fmla="*/ 19 w 51"/>
                  <a:gd name="T19" fmla="*/ 64 h 58"/>
                  <a:gd name="T20" fmla="*/ 16 w 51"/>
                  <a:gd name="T21" fmla="*/ 58 h 58"/>
                  <a:gd name="T22" fmla="*/ 13 w 51"/>
                  <a:gd name="T23" fmla="*/ 49 h 58"/>
                  <a:gd name="T24" fmla="*/ 11 w 51"/>
                  <a:gd name="T25" fmla="*/ 48 h 58"/>
                  <a:gd name="T26" fmla="*/ 11 w 51"/>
                  <a:gd name="T27" fmla="*/ 43 h 58"/>
                  <a:gd name="T28" fmla="*/ 7 w 51"/>
                  <a:gd name="T29" fmla="*/ 43 h 58"/>
                  <a:gd name="T30" fmla="*/ 0 w 51"/>
                  <a:gd name="T31" fmla="*/ 32 h 58"/>
                  <a:gd name="T32" fmla="*/ 2 w 51"/>
                  <a:gd name="T33" fmla="*/ 25 h 58"/>
                  <a:gd name="T34" fmla="*/ 4 w 51"/>
                  <a:gd name="T35" fmla="*/ 18 h 58"/>
                  <a:gd name="T36" fmla="*/ 10 w 51"/>
                  <a:gd name="T37" fmla="*/ 18 h 58"/>
                  <a:gd name="T38" fmla="*/ 12 w 51"/>
                  <a:gd name="T39" fmla="*/ 13 h 58"/>
                  <a:gd name="T40" fmla="*/ 11 w 51"/>
                  <a:gd name="T41" fmla="*/ 6 h 58"/>
                  <a:gd name="T42" fmla="*/ 15 w 51"/>
                  <a:gd name="T43" fmla="*/ 1 h 58"/>
                  <a:gd name="T44" fmla="*/ 24 w 51"/>
                  <a:gd name="T45" fmla="*/ 2 h 58"/>
                  <a:gd name="T46" fmla="*/ 32 w 51"/>
                  <a:gd name="T47" fmla="*/ 5 h 58"/>
                  <a:gd name="T48" fmla="*/ 38 w 51"/>
                  <a:gd name="T49" fmla="*/ 0 h 58"/>
                  <a:gd name="T50" fmla="*/ 43 w 51"/>
                  <a:gd name="T51" fmla="*/ 2 h 58"/>
                  <a:gd name="T52" fmla="*/ 47 w 51"/>
                  <a:gd name="T53" fmla="*/ 2 h 58"/>
                  <a:gd name="T54" fmla="*/ 53 w 51"/>
                  <a:gd name="T55" fmla="*/ 2 h 58"/>
                  <a:gd name="T56" fmla="*/ 58 w 51"/>
                  <a:gd name="T57" fmla="*/ 2 h 58"/>
                  <a:gd name="T58" fmla="*/ 62 w 51"/>
                  <a:gd name="T59" fmla="*/ 6 h 58"/>
                  <a:gd name="T60" fmla="*/ 60 w 51"/>
                  <a:gd name="T61" fmla="*/ 12 h 58"/>
                  <a:gd name="T62" fmla="*/ 53 w 51"/>
                  <a:gd name="T63" fmla="*/ 20 h 58"/>
                  <a:gd name="T64" fmla="*/ 57 w 51"/>
                  <a:gd name="T65" fmla="*/ 33 h 58"/>
                  <a:gd name="T66" fmla="*/ 61 w 51"/>
                  <a:gd name="T67" fmla="*/ 40 h 58"/>
                  <a:gd name="T68" fmla="*/ 57 w 51"/>
                  <a:gd name="T69" fmla="*/ 48 h 58"/>
                  <a:gd name="T70" fmla="*/ 56 w 51"/>
                  <a:gd name="T71" fmla="*/ 58 h 58"/>
                  <a:gd name="T72" fmla="*/ 50 w 51"/>
                  <a:gd name="T73" fmla="*/ 61 h 58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51"/>
                  <a:gd name="T112" fmla="*/ 0 h 58"/>
                  <a:gd name="T113" fmla="*/ 51 w 51"/>
                  <a:gd name="T114" fmla="*/ 58 h 58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51" h="58">
                    <a:moveTo>
                      <a:pt x="41" y="51"/>
                    </a:moveTo>
                    <a:cubicBezTo>
                      <a:pt x="41" y="50"/>
                      <a:pt x="41" y="48"/>
                      <a:pt x="39" y="48"/>
                    </a:cubicBezTo>
                    <a:cubicBezTo>
                      <a:pt x="39" y="47"/>
                      <a:pt x="38" y="49"/>
                      <a:pt x="37" y="49"/>
                    </a:cubicBezTo>
                    <a:cubicBezTo>
                      <a:pt x="36" y="49"/>
                      <a:pt x="34" y="50"/>
                      <a:pt x="33" y="50"/>
                    </a:cubicBezTo>
                    <a:cubicBezTo>
                      <a:pt x="31" y="50"/>
                      <a:pt x="30" y="48"/>
                      <a:pt x="28" y="48"/>
                    </a:cubicBezTo>
                    <a:cubicBezTo>
                      <a:pt x="26" y="49"/>
                      <a:pt x="24" y="51"/>
                      <a:pt x="24" y="53"/>
                    </a:cubicBezTo>
                    <a:cubicBezTo>
                      <a:pt x="24" y="55"/>
                      <a:pt x="28" y="54"/>
                      <a:pt x="28" y="56"/>
                    </a:cubicBezTo>
                    <a:cubicBezTo>
                      <a:pt x="28" y="57"/>
                      <a:pt x="26" y="58"/>
                      <a:pt x="24" y="58"/>
                    </a:cubicBezTo>
                    <a:cubicBezTo>
                      <a:pt x="23" y="58"/>
                      <a:pt x="20" y="58"/>
                      <a:pt x="19" y="58"/>
                    </a:cubicBezTo>
                    <a:cubicBezTo>
                      <a:pt x="18" y="57"/>
                      <a:pt x="16" y="55"/>
                      <a:pt x="16" y="54"/>
                    </a:cubicBezTo>
                    <a:cubicBezTo>
                      <a:pt x="15" y="52"/>
                      <a:pt x="14" y="51"/>
                      <a:pt x="13" y="49"/>
                    </a:cubicBezTo>
                    <a:cubicBezTo>
                      <a:pt x="12" y="46"/>
                      <a:pt x="10" y="43"/>
                      <a:pt x="11" y="41"/>
                    </a:cubicBezTo>
                    <a:cubicBezTo>
                      <a:pt x="11" y="40"/>
                      <a:pt x="9" y="41"/>
                      <a:pt x="9" y="40"/>
                    </a:cubicBezTo>
                    <a:cubicBezTo>
                      <a:pt x="8" y="39"/>
                      <a:pt x="10" y="37"/>
                      <a:pt x="9" y="36"/>
                    </a:cubicBezTo>
                    <a:cubicBezTo>
                      <a:pt x="8" y="35"/>
                      <a:pt x="7" y="37"/>
                      <a:pt x="6" y="36"/>
                    </a:cubicBezTo>
                    <a:cubicBezTo>
                      <a:pt x="4" y="33"/>
                      <a:pt x="1" y="30"/>
                      <a:pt x="0" y="27"/>
                    </a:cubicBezTo>
                    <a:cubicBezTo>
                      <a:pt x="0" y="25"/>
                      <a:pt x="2" y="23"/>
                      <a:pt x="2" y="21"/>
                    </a:cubicBezTo>
                    <a:cubicBezTo>
                      <a:pt x="3" y="19"/>
                      <a:pt x="2" y="17"/>
                      <a:pt x="3" y="15"/>
                    </a:cubicBezTo>
                    <a:cubicBezTo>
                      <a:pt x="4" y="14"/>
                      <a:pt x="6" y="15"/>
                      <a:pt x="8" y="15"/>
                    </a:cubicBezTo>
                    <a:cubicBezTo>
                      <a:pt x="9" y="14"/>
                      <a:pt x="10" y="13"/>
                      <a:pt x="10" y="11"/>
                    </a:cubicBezTo>
                    <a:cubicBezTo>
                      <a:pt x="10" y="9"/>
                      <a:pt x="9" y="7"/>
                      <a:pt x="9" y="5"/>
                    </a:cubicBezTo>
                    <a:cubicBezTo>
                      <a:pt x="9" y="4"/>
                      <a:pt x="11" y="3"/>
                      <a:pt x="12" y="1"/>
                    </a:cubicBezTo>
                    <a:cubicBezTo>
                      <a:pt x="15" y="2"/>
                      <a:pt x="17" y="1"/>
                      <a:pt x="20" y="2"/>
                    </a:cubicBezTo>
                    <a:cubicBezTo>
                      <a:pt x="22" y="2"/>
                      <a:pt x="24" y="4"/>
                      <a:pt x="26" y="4"/>
                    </a:cubicBezTo>
                    <a:cubicBezTo>
                      <a:pt x="28" y="4"/>
                      <a:pt x="29" y="1"/>
                      <a:pt x="31" y="0"/>
                    </a:cubicBezTo>
                    <a:cubicBezTo>
                      <a:pt x="32" y="0"/>
                      <a:pt x="34" y="1"/>
                      <a:pt x="35" y="2"/>
                    </a:cubicBezTo>
                    <a:cubicBezTo>
                      <a:pt x="36" y="2"/>
                      <a:pt x="38" y="2"/>
                      <a:pt x="39" y="2"/>
                    </a:cubicBezTo>
                    <a:cubicBezTo>
                      <a:pt x="41" y="3"/>
                      <a:pt x="42" y="3"/>
                      <a:pt x="44" y="2"/>
                    </a:cubicBezTo>
                    <a:cubicBezTo>
                      <a:pt x="45" y="2"/>
                      <a:pt x="46" y="1"/>
                      <a:pt x="48" y="2"/>
                    </a:cubicBezTo>
                    <a:cubicBezTo>
                      <a:pt x="49" y="2"/>
                      <a:pt x="50" y="4"/>
                      <a:pt x="51" y="5"/>
                    </a:cubicBezTo>
                    <a:cubicBezTo>
                      <a:pt x="51" y="6"/>
                      <a:pt x="49" y="9"/>
                      <a:pt x="49" y="10"/>
                    </a:cubicBezTo>
                    <a:cubicBezTo>
                      <a:pt x="47" y="12"/>
                      <a:pt x="45" y="14"/>
                      <a:pt x="44" y="17"/>
                    </a:cubicBezTo>
                    <a:cubicBezTo>
                      <a:pt x="44" y="21"/>
                      <a:pt x="46" y="24"/>
                      <a:pt x="47" y="28"/>
                    </a:cubicBezTo>
                    <a:cubicBezTo>
                      <a:pt x="48" y="30"/>
                      <a:pt x="50" y="32"/>
                      <a:pt x="50" y="34"/>
                    </a:cubicBezTo>
                    <a:cubicBezTo>
                      <a:pt x="50" y="36"/>
                      <a:pt x="48" y="38"/>
                      <a:pt x="47" y="40"/>
                    </a:cubicBezTo>
                    <a:cubicBezTo>
                      <a:pt x="46" y="43"/>
                      <a:pt x="47" y="46"/>
                      <a:pt x="46" y="49"/>
                    </a:cubicBezTo>
                    <a:cubicBezTo>
                      <a:pt x="45" y="50"/>
                      <a:pt x="43" y="50"/>
                      <a:pt x="41" y="5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40" name="Freeform 2549"/>
              <p:cNvSpPr>
                <a:spLocks noChangeAspect="1"/>
              </p:cNvSpPr>
              <p:nvPr/>
            </p:nvSpPr>
            <p:spPr bwMode="auto">
              <a:xfrm>
                <a:off x="3332447" y="2844816"/>
                <a:ext cx="55924" cy="51501"/>
              </a:xfrm>
              <a:custGeom>
                <a:avLst/>
                <a:gdLst>
                  <a:gd name="T0" fmla="*/ 50 w 42"/>
                  <a:gd name="T1" fmla="*/ 27 h 52"/>
                  <a:gd name="T2" fmla="*/ 46 w 42"/>
                  <a:gd name="T3" fmla="*/ 21 h 52"/>
                  <a:gd name="T4" fmla="*/ 42 w 42"/>
                  <a:gd name="T5" fmla="*/ 21 h 52"/>
                  <a:gd name="T6" fmla="*/ 33 w 42"/>
                  <a:gd name="T7" fmla="*/ 13 h 52"/>
                  <a:gd name="T8" fmla="*/ 30 w 42"/>
                  <a:gd name="T9" fmla="*/ 7 h 52"/>
                  <a:gd name="T10" fmla="*/ 23 w 42"/>
                  <a:gd name="T11" fmla="*/ 6 h 52"/>
                  <a:gd name="T12" fmla="*/ 17 w 42"/>
                  <a:gd name="T13" fmla="*/ 1 h 52"/>
                  <a:gd name="T14" fmla="*/ 12 w 42"/>
                  <a:gd name="T15" fmla="*/ 1 h 52"/>
                  <a:gd name="T16" fmla="*/ 10 w 42"/>
                  <a:gd name="T17" fmla="*/ 7 h 52"/>
                  <a:gd name="T18" fmla="*/ 4 w 42"/>
                  <a:gd name="T19" fmla="*/ 16 h 52"/>
                  <a:gd name="T20" fmla="*/ 7 w 42"/>
                  <a:gd name="T21" fmla="*/ 29 h 52"/>
                  <a:gd name="T22" fmla="*/ 11 w 42"/>
                  <a:gd name="T23" fmla="*/ 36 h 52"/>
                  <a:gd name="T24" fmla="*/ 7 w 42"/>
                  <a:gd name="T25" fmla="*/ 43 h 52"/>
                  <a:gd name="T26" fmla="*/ 6 w 42"/>
                  <a:gd name="T27" fmla="*/ 54 h 52"/>
                  <a:gd name="T28" fmla="*/ 0 w 42"/>
                  <a:gd name="T29" fmla="*/ 56 h 52"/>
                  <a:gd name="T30" fmla="*/ 6 w 42"/>
                  <a:gd name="T31" fmla="*/ 61 h 52"/>
                  <a:gd name="T32" fmla="*/ 12 w 42"/>
                  <a:gd name="T33" fmla="*/ 61 h 52"/>
                  <a:gd name="T34" fmla="*/ 15 w 42"/>
                  <a:gd name="T35" fmla="*/ 58 h 52"/>
                  <a:gd name="T36" fmla="*/ 20 w 42"/>
                  <a:gd name="T37" fmla="*/ 58 h 52"/>
                  <a:gd name="T38" fmla="*/ 23 w 42"/>
                  <a:gd name="T39" fmla="*/ 61 h 52"/>
                  <a:gd name="T40" fmla="*/ 30 w 42"/>
                  <a:gd name="T41" fmla="*/ 61 h 52"/>
                  <a:gd name="T42" fmla="*/ 33 w 42"/>
                  <a:gd name="T43" fmla="*/ 54 h 52"/>
                  <a:gd name="T44" fmla="*/ 36 w 42"/>
                  <a:gd name="T45" fmla="*/ 42 h 52"/>
                  <a:gd name="T46" fmla="*/ 42 w 42"/>
                  <a:gd name="T47" fmla="*/ 33 h 52"/>
                  <a:gd name="T48" fmla="*/ 50 w 42"/>
                  <a:gd name="T49" fmla="*/ 27 h 52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42"/>
                  <a:gd name="T76" fmla="*/ 0 h 52"/>
                  <a:gd name="T77" fmla="*/ 42 w 42"/>
                  <a:gd name="T78" fmla="*/ 52 h 52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42" h="52">
                    <a:moveTo>
                      <a:pt x="42" y="23"/>
                    </a:moveTo>
                    <a:cubicBezTo>
                      <a:pt x="41" y="22"/>
                      <a:pt x="40" y="19"/>
                      <a:pt x="39" y="18"/>
                    </a:cubicBezTo>
                    <a:cubicBezTo>
                      <a:pt x="38" y="17"/>
                      <a:pt x="36" y="19"/>
                      <a:pt x="35" y="18"/>
                    </a:cubicBezTo>
                    <a:cubicBezTo>
                      <a:pt x="32" y="16"/>
                      <a:pt x="30" y="13"/>
                      <a:pt x="28" y="11"/>
                    </a:cubicBezTo>
                    <a:cubicBezTo>
                      <a:pt x="27" y="9"/>
                      <a:pt x="27" y="6"/>
                      <a:pt x="25" y="6"/>
                    </a:cubicBezTo>
                    <a:cubicBezTo>
                      <a:pt x="23" y="6"/>
                      <a:pt x="21" y="6"/>
                      <a:pt x="19" y="5"/>
                    </a:cubicBezTo>
                    <a:cubicBezTo>
                      <a:pt x="17" y="4"/>
                      <a:pt x="16" y="1"/>
                      <a:pt x="14" y="1"/>
                    </a:cubicBezTo>
                    <a:cubicBezTo>
                      <a:pt x="13" y="0"/>
                      <a:pt x="12" y="1"/>
                      <a:pt x="10" y="1"/>
                    </a:cubicBezTo>
                    <a:cubicBezTo>
                      <a:pt x="10" y="2"/>
                      <a:pt x="8" y="5"/>
                      <a:pt x="8" y="6"/>
                    </a:cubicBezTo>
                    <a:cubicBezTo>
                      <a:pt x="6" y="8"/>
                      <a:pt x="4" y="10"/>
                      <a:pt x="3" y="13"/>
                    </a:cubicBezTo>
                    <a:cubicBezTo>
                      <a:pt x="3" y="17"/>
                      <a:pt x="5" y="20"/>
                      <a:pt x="6" y="24"/>
                    </a:cubicBezTo>
                    <a:cubicBezTo>
                      <a:pt x="7" y="26"/>
                      <a:pt x="9" y="28"/>
                      <a:pt x="9" y="30"/>
                    </a:cubicBezTo>
                    <a:cubicBezTo>
                      <a:pt x="9" y="32"/>
                      <a:pt x="7" y="34"/>
                      <a:pt x="6" y="36"/>
                    </a:cubicBezTo>
                    <a:cubicBezTo>
                      <a:pt x="5" y="39"/>
                      <a:pt x="6" y="42"/>
                      <a:pt x="5" y="45"/>
                    </a:cubicBezTo>
                    <a:cubicBezTo>
                      <a:pt x="4" y="46"/>
                      <a:pt x="2" y="46"/>
                      <a:pt x="0" y="47"/>
                    </a:cubicBezTo>
                    <a:cubicBezTo>
                      <a:pt x="2" y="49"/>
                      <a:pt x="3" y="50"/>
                      <a:pt x="5" y="51"/>
                    </a:cubicBezTo>
                    <a:cubicBezTo>
                      <a:pt x="7" y="52"/>
                      <a:pt x="9" y="52"/>
                      <a:pt x="10" y="51"/>
                    </a:cubicBezTo>
                    <a:cubicBezTo>
                      <a:pt x="11" y="51"/>
                      <a:pt x="12" y="49"/>
                      <a:pt x="13" y="49"/>
                    </a:cubicBezTo>
                    <a:cubicBezTo>
                      <a:pt x="15" y="48"/>
                      <a:pt x="16" y="48"/>
                      <a:pt x="17" y="49"/>
                    </a:cubicBezTo>
                    <a:cubicBezTo>
                      <a:pt x="18" y="49"/>
                      <a:pt x="18" y="51"/>
                      <a:pt x="19" y="51"/>
                    </a:cubicBezTo>
                    <a:cubicBezTo>
                      <a:pt x="20" y="52"/>
                      <a:pt x="23" y="52"/>
                      <a:pt x="25" y="51"/>
                    </a:cubicBezTo>
                    <a:cubicBezTo>
                      <a:pt x="27" y="50"/>
                      <a:pt x="28" y="47"/>
                      <a:pt x="28" y="45"/>
                    </a:cubicBezTo>
                    <a:cubicBezTo>
                      <a:pt x="29" y="42"/>
                      <a:pt x="29" y="39"/>
                      <a:pt x="30" y="35"/>
                    </a:cubicBezTo>
                    <a:cubicBezTo>
                      <a:pt x="31" y="33"/>
                      <a:pt x="33" y="30"/>
                      <a:pt x="35" y="28"/>
                    </a:cubicBezTo>
                    <a:cubicBezTo>
                      <a:pt x="37" y="26"/>
                      <a:pt x="39" y="25"/>
                      <a:pt x="42" y="2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41" name="Freeform 3157"/>
              <p:cNvSpPr>
                <a:spLocks noChangeAspect="1"/>
              </p:cNvSpPr>
              <p:nvPr/>
            </p:nvSpPr>
            <p:spPr bwMode="auto">
              <a:xfrm>
                <a:off x="3025981" y="2650440"/>
                <a:ext cx="6712" cy="3322"/>
              </a:xfrm>
              <a:custGeom>
                <a:avLst/>
                <a:gdLst>
                  <a:gd name="T0" fmla="*/ 5 w 5"/>
                  <a:gd name="T1" fmla="*/ 2 h 4"/>
                  <a:gd name="T2" fmla="*/ 6 w 5"/>
                  <a:gd name="T3" fmla="*/ 4 h 4"/>
                  <a:gd name="T4" fmla="*/ 2 w 5"/>
                  <a:gd name="T5" fmla="*/ 3 h 4"/>
                  <a:gd name="T6" fmla="*/ 1 w 5"/>
                  <a:gd name="T7" fmla="*/ 0 h 4"/>
                  <a:gd name="T8" fmla="*/ 5 w 5"/>
                  <a:gd name="T9" fmla="*/ 2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4"/>
                  <a:gd name="T17" fmla="*/ 5 w 5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4">
                    <a:moveTo>
                      <a:pt x="4" y="2"/>
                    </a:moveTo>
                    <a:cubicBezTo>
                      <a:pt x="4" y="2"/>
                      <a:pt x="5" y="3"/>
                      <a:pt x="5" y="4"/>
                    </a:cubicBezTo>
                    <a:cubicBezTo>
                      <a:pt x="4" y="4"/>
                      <a:pt x="3" y="3"/>
                      <a:pt x="2" y="3"/>
                    </a:cubicBezTo>
                    <a:cubicBezTo>
                      <a:pt x="1" y="2"/>
                      <a:pt x="0" y="1"/>
                      <a:pt x="1" y="0"/>
                    </a:cubicBezTo>
                    <a:cubicBezTo>
                      <a:pt x="2" y="0"/>
                      <a:pt x="3" y="1"/>
                      <a:pt x="4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42" name="Freeform 3161"/>
              <p:cNvSpPr>
                <a:spLocks noChangeAspect="1"/>
              </p:cNvSpPr>
              <p:nvPr/>
            </p:nvSpPr>
            <p:spPr bwMode="auto">
              <a:xfrm>
                <a:off x="2363835" y="2491782"/>
                <a:ext cx="7830" cy="5815"/>
              </a:xfrm>
              <a:custGeom>
                <a:avLst/>
                <a:gdLst>
                  <a:gd name="T0" fmla="*/ 5 w 6"/>
                  <a:gd name="T1" fmla="*/ 4 h 6"/>
                  <a:gd name="T2" fmla="*/ 6 w 6"/>
                  <a:gd name="T3" fmla="*/ 7 h 6"/>
                  <a:gd name="T4" fmla="*/ 2 w 6"/>
                  <a:gd name="T5" fmla="*/ 5 h 6"/>
                  <a:gd name="T6" fmla="*/ 1 w 6"/>
                  <a:gd name="T7" fmla="*/ 0 h 6"/>
                  <a:gd name="T8" fmla="*/ 5 w 6"/>
                  <a:gd name="T9" fmla="*/ 4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6"/>
                  <a:gd name="T17" fmla="*/ 6 w 6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6">
                    <a:moveTo>
                      <a:pt x="4" y="3"/>
                    </a:moveTo>
                    <a:cubicBezTo>
                      <a:pt x="5" y="4"/>
                      <a:pt x="6" y="6"/>
                      <a:pt x="5" y="6"/>
                    </a:cubicBezTo>
                    <a:cubicBezTo>
                      <a:pt x="4" y="6"/>
                      <a:pt x="3" y="5"/>
                      <a:pt x="2" y="4"/>
                    </a:cubicBezTo>
                    <a:cubicBezTo>
                      <a:pt x="2" y="2"/>
                      <a:pt x="0" y="0"/>
                      <a:pt x="1" y="0"/>
                    </a:cubicBezTo>
                    <a:cubicBezTo>
                      <a:pt x="2" y="0"/>
                      <a:pt x="3" y="2"/>
                      <a:pt x="4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43" name="Freeform 3162"/>
              <p:cNvSpPr>
                <a:spLocks noChangeAspect="1"/>
              </p:cNvSpPr>
              <p:nvPr/>
            </p:nvSpPr>
            <p:spPr bwMode="auto">
              <a:xfrm>
                <a:off x="2335871" y="2507566"/>
                <a:ext cx="1118" cy="4984"/>
              </a:xfrm>
              <a:custGeom>
                <a:avLst/>
                <a:gdLst>
                  <a:gd name="T0" fmla="*/ 1 w 1"/>
                  <a:gd name="T1" fmla="*/ 4 h 5"/>
                  <a:gd name="T2" fmla="*/ 1 w 1"/>
                  <a:gd name="T3" fmla="*/ 6 h 5"/>
                  <a:gd name="T4" fmla="*/ 0 w 1"/>
                  <a:gd name="T5" fmla="*/ 4 h 5"/>
                  <a:gd name="T6" fmla="*/ 1 w 1"/>
                  <a:gd name="T7" fmla="*/ 1 h 5"/>
                  <a:gd name="T8" fmla="*/ 1 w 1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5"/>
                  <a:gd name="T17" fmla="*/ 1 w 1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5">
                    <a:moveTo>
                      <a:pt x="1" y="3"/>
                    </a:moveTo>
                    <a:cubicBezTo>
                      <a:pt x="1" y="4"/>
                      <a:pt x="1" y="5"/>
                      <a:pt x="1" y="5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2"/>
                      <a:pt x="0" y="0"/>
                      <a:pt x="1" y="1"/>
                    </a:cubicBezTo>
                    <a:cubicBezTo>
                      <a:pt x="1" y="1"/>
                      <a:pt x="1" y="2"/>
                      <a:pt x="1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44" name="Freeform 3163"/>
              <p:cNvSpPr>
                <a:spLocks noChangeAspect="1"/>
              </p:cNvSpPr>
              <p:nvPr/>
            </p:nvSpPr>
            <p:spPr bwMode="auto">
              <a:xfrm>
                <a:off x="2284421" y="2497598"/>
                <a:ext cx="2237" cy="4984"/>
              </a:xfrm>
              <a:custGeom>
                <a:avLst/>
                <a:gdLst>
                  <a:gd name="T0" fmla="*/ 2 w 1"/>
                  <a:gd name="T1" fmla="*/ 4 h 5"/>
                  <a:gd name="T2" fmla="*/ 0 w 1"/>
                  <a:gd name="T3" fmla="*/ 6 h 5"/>
                  <a:gd name="T4" fmla="*/ 0 w 1"/>
                  <a:gd name="T5" fmla="*/ 4 h 5"/>
                  <a:gd name="T6" fmla="*/ 2 w 1"/>
                  <a:gd name="T7" fmla="*/ 0 h 5"/>
                  <a:gd name="T8" fmla="*/ 2 w 1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5"/>
                  <a:gd name="T17" fmla="*/ 1 w 1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5">
                    <a:moveTo>
                      <a:pt x="1" y="3"/>
                    </a:moveTo>
                    <a:cubicBezTo>
                      <a:pt x="1" y="4"/>
                      <a:pt x="1" y="5"/>
                      <a:pt x="0" y="5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2"/>
                      <a:pt x="0" y="0"/>
                      <a:pt x="1" y="0"/>
                    </a:cubicBezTo>
                    <a:cubicBezTo>
                      <a:pt x="1" y="1"/>
                      <a:pt x="1" y="2"/>
                      <a:pt x="1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45" name="Freeform 3164"/>
              <p:cNvSpPr>
                <a:spLocks noChangeAspect="1"/>
              </p:cNvSpPr>
              <p:nvPr/>
            </p:nvSpPr>
            <p:spPr bwMode="auto">
              <a:xfrm>
                <a:off x="2287777" y="2447758"/>
                <a:ext cx="5593" cy="4984"/>
              </a:xfrm>
              <a:custGeom>
                <a:avLst/>
                <a:gdLst>
                  <a:gd name="T0" fmla="*/ 3 w 4"/>
                  <a:gd name="T1" fmla="*/ 4 h 5"/>
                  <a:gd name="T2" fmla="*/ 0 w 4"/>
                  <a:gd name="T3" fmla="*/ 5 h 5"/>
                  <a:gd name="T4" fmla="*/ 1 w 4"/>
                  <a:gd name="T5" fmla="*/ 2 h 5"/>
                  <a:gd name="T6" fmla="*/ 4 w 4"/>
                  <a:gd name="T7" fmla="*/ 1 h 5"/>
                  <a:gd name="T8" fmla="*/ 3 w 4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5"/>
                  <a:gd name="T17" fmla="*/ 4 w 4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5">
                    <a:moveTo>
                      <a:pt x="2" y="3"/>
                    </a:moveTo>
                    <a:cubicBezTo>
                      <a:pt x="1" y="4"/>
                      <a:pt x="0" y="5"/>
                      <a:pt x="0" y="4"/>
                    </a:cubicBezTo>
                    <a:cubicBezTo>
                      <a:pt x="0" y="4"/>
                      <a:pt x="0" y="3"/>
                      <a:pt x="1" y="2"/>
                    </a:cubicBezTo>
                    <a:cubicBezTo>
                      <a:pt x="1" y="2"/>
                      <a:pt x="3" y="0"/>
                      <a:pt x="3" y="1"/>
                    </a:cubicBezTo>
                    <a:cubicBezTo>
                      <a:pt x="4" y="2"/>
                      <a:pt x="2" y="3"/>
                      <a:pt x="2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46" name="Freeform 3165"/>
              <p:cNvSpPr>
                <a:spLocks noChangeAspect="1"/>
              </p:cNvSpPr>
              <p:nvPr/>
            </p:nvSpPr>
            <p:spPr bwMode="auto">
              <a:xfrm>
                <a:off x="1613326" y="2618044"/>
                <a:ext cx="6712" cy="2493"/>
              </a:xfrm>
              <a:custGeom>
                <a:avLst/>
                <a:gdLst>
                  <a:gd name="T0" fmla="*/ 2 w 5"/>
                  <a:gd name="T1" fmla="*/ 3 h 2"/>
                  <a:gd name="T2" fmla="*/ 1 w 5"/>
                  <a:gd name="T3" fmla="*/ 2 h 2"/>
                  <a:gd name="T4" fmla="*/ 4 w 5"/>
                  <a:gd name="T5" fmla="*/ 0 h 2"/>
                  <a:gd name="T6" fmla="*/ 6 w 5"/>
                  <a:gd name="T7" fmla="*/ 2 h 2"/>
                  <a:gd name="T8" fmla="*/ 2 w 5"/>
                  <a:gd name="T9" fmla="*/ 3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2"/>
                  <a:gd name="T17" fmla="*/ 5 w 5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2">
                    <a:moveTo>
                      <a:pt x="2" y="2"/>
                    </a:moveTo>
                    <a:cubicBezTo>
                      <a:pt x="2" y="2"/>
                      <a:pt x="0" y="1"/>
                      <a:pt x="1" y="1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4" y="0"/>
                      <a:pt x="5" y="0"/>
                      <a:pt x="5" y="1"/>
                    </a:cubicBezTo>
                    <a:cubicBezTo>
                      <a:pt x="5" y="2"/>
                      <a:pt x="3" y="2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47" name="Freeform 3189"/>
              <p:cNvSpPr>
                <a:spLocks noChangeAspect="1"/>
              </p:cNvSpPr>
              <p:nvPr/>
            </p:nvSpPr>
            <p:spPr bwMode="auto">
              <a:xfrm>
                <a:off x="2983478" y="2582326"/>
                <a:ext cx="4474" cy="4154"/>
              </a:xfrm>
              <a:custGeom>
                <a:avLst/>
                <a:gdLst>
                  <a:gd name="T0" fmla="*/ 3 w 4"/>
                  <a:gd name="T1" fmla="*/ 3 h 4"/>
                  <a:gd name="T2" fmla="*/ 4 w 4"/>
                  <a:gd name="T3" fmla="*/ 5 h 4"/>
                  <a:gd name="T4" fmla="*/ 1 w 4"/>
                  <a:gd name="T5" fmla="*/ 4 h 4"/>
                  <a:gd name="T6" fmla="*/ 0 w 4"/>
                  <a:gd name="T7" fmla="*/ 1 h 4"/>
                  <a:gd name="T8" fmla="*/ 3 w 4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3" y="2"/>
                    </a:moveTo>
                    <a:cubicBezTo>
                      <a:pt x="3" y="3"/>
                      <a:pt x="4" y="4"/>
                      <a:pt x="4" y="4"/>
                    </a:cubicBezTo>
                    <a:cubicBezTo>
                      <a:pt x="3" y="4"/>
                      <a:pt x="2" y="4"/>
                      <a:pt x="1" y="3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1" y="0"/>
                      <a:pt x="2" y="2"/>
                      <a:pt x="3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48" name="Freeform 3190"/>
              <p:cNvSpPr>
                <a:spLocks noChangeAspect="1"/>
              </p:cNvSpPr>
              <p:nvPr/>
            </p:nvSpPr>
            <p:spPr bwMode="auto">
              <a:xfrm>
                <a:off x="2987952" y="2567373"/>
                <a:ext cx="8948" cy="5815"/>
              </a:xfrm>
              <a:custGeom>
                <a:avLst/>
                <a:gdLst>
                  <a:gd name="T0" fmla="*/ 5 w 6"/>
                  <a:gd name="T1" fmla="*/ 4 h 6"/>
                  <a:gd name="T2" fmla="*/ 8 w 6"/>
                  <a:gd name="T3" fmla="*/ 7 h 6"/>
                  <a:gd name="T4" fmla="*/ 4 w 6"/>
                  <a:gd name="T5" fmla="*/ 5 h 6"/>
                  <a:gd name="T6" fmla="*/ 1 w 6"/>
                  <a:gd name="T7" fmla="*/ 0 h 6"/>
                  <a:gd name="T8" fmla="*/ 5 w 6"/>
                  <a:gd name="T9" fmla="*/ 4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6"/>
                  <a:gd name="T17" fmla="*/ 6 w 6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6">
                    <a:moveTo>
                      <a:pt x="4" y="3"/>
                    </a:moveTo>
                    <a:cubicBezTo>
                      <a:pt x="5" y="4"/>
                      <a:pt x="6" y="6"/>
                      <a:pt x="6" y="6"/>
                    </a:cubicBezTo>
                    <a:cubicBezTo>
                      <a:pt x="5" y="6"/>
                      <a:pt x="4" y="5"/>
                      <a:pt x="3" y="4"/>
                    </a:cubicBezTo>
                    <a:cubicBezTo>
                      <a:pt x="2" y="3"/>
                      <a:pt x="0" y="0"/>
                      <a:pt x="1" y="0"/>
                    </a:cubicBezTo>
                    <a:cubicBezTo>
                      <a:pt x="2" y="0"/>
                      <a:pt x="3" y="2"/>
                      <a:pt x="4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49" name="Freeform 3191"/>
              <p:cNvSpPr>
                <a:spLocks noChangeAspect="1"/>
              </p:cNvSpPr>
              <p:nvPr/>
            </p:nvSpPr>
            <p:spPr bwMode="auto">
              <a:xfrm>
                <a:off x="2996900" y="2586479"/>
                <a:ext cx="7830" cy="5815"/>
              </a:xfrm>
              <a:custGeom>
                <a:avLst/>
                <a:gdLst>
                  <a:gd name="T0" fmla="*/ 5 w 6"/>
                  <a:gd name="T1" fmla="*/ 4 h 6"/>
                  <a:gd name="T2" fmla="*/ 6 w 6"/>
                  <a:gd name="T3" fmla="*/ 7 h 6"/>
                  <a:gd name="T4" fmla="*/ 2 w 6"/>
                  <a:gd name="T5" fmla="*/ 4 h 6"/>
                  <a:gd name="T6" fmla="*/ 1 w 6"/>
                  <a:gd name="T7" fmla="*/ 0 h 6"/>
                  <a:gd name="T8" fmla="*/ 5 w 6"/>
                  <a:gd name="T9" fmla="*/ 4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6"/>
                  <a:gd name="T17" fmla="*/ 6 w 6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6">
                    <a:moveTo>
                      <a:pt x="4" y="3"/>
                    </a:moveTo>
                    <a:cubicBezTo>
                      <a:pt x="5" y="4"/>
                      <a:pt x="6" y="6"/>
                      <a:pt x="5" y="6"/>
                    </a:cubicBezTo>
                    <a:cubicBezTo>
                      <a:pt x="4" y="6"/>
                      <a:pt x="3" y="5"/>
                      <a:pt x="2" y="3"/>
                    </a:cubicBezTo>
                    <a:cubicBezTo>
                      <a:pt x="1" y="2"/>
                      <a:pt x="0" y="0"/>
                      <a:pt x="1" y="0"/>
                    </a:cubicBezTo>
                    <a:cubicBezTo>
                      <a:pt x="1" y="0"/>
                      <a:pt x="3" y="2"/>
                      <a:pt x="4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50" name="Freeform 3192"/>
              <p:cNvSpPr>
                <a:spLocks noChangeAspect="1"/>
              </p:cNvSpPr>
              <p:nvPr/>
            </p:nvSpPr>
            <p:spPr bwMode="auto">
              <a:xfrm>
                <a:off x="2885051" y="2647117"/>
                <a:ext cx="6712" cy="1661"/>
              </a:xfrm>
              <a:custGeom>
                <a:avLst/>
                <a:gdLst>
                  <a:gd name="T0" fmla="*/ 4 w 5"/>
                  <a:gd name="T1" fmla="*/ 0 h 2"/>
                  <a:gd name="T2" fmla="*/ 6 w 5"/>
                  <a:gd name="T3" fmla="*/ 1 h 2"/>
                  <a:gd name="T4" fmla="*/ 2 w 5"/>
                  <a:gd name="T5" fmla="*/ 2 h 2"/>
                  <a:gd name="T6" fmla="*/ 0 w 5"/>
                  <a:gd name="T7" fmla="*/ 0 h 2"/>
                  <a:gd name="T8" fmla="*/ 4 w 5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2"/>
                  <a:gd name="T17" fmla="*/ 5 w 5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2">
                    <a:moveTo>
                      <a:pt x="3" y="0"/>
                    </a:moveTo>
                    <a:cubicBezTo>
                      <a:pt x="4" y="0"/>
                      <a:pt x="5" y="1"/>
                      <a:pt x="5" y="1"/>
                    </a:cubicBezTo>
                    <a:cubicBezTo>
                      <a:pt x="4" y="2"/>
                      <a:pt x="3" y="2"/>
                      <a:pt x="2" y="2"/>
                    </a:cubicBezTo>
                    <a:cubicBezTo>
                      <a:pt x="1" y="1"/>
                      <a:pt x="0" y="1"/>
                      <a:pt x="0" y="0"/>
                    </a:cubicBezTo>
                    <a:cubicBezTo>
                      <a:pt x="0" y="0"/>
                      <a:pt x="2" y="0"/>
                      <a:pt x="3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51" name="Freeform 3193"/>
              <p:cNvSpPr>
                <a:spLocks noChangeAspect="1"/>
              </p:cNvSpPr>
              <p:nvPr/>
            </p:nvSpPr>
            <p:spPr bwMode="auto">
              <a:xfrm>
                <a:off x="2797809" y="2687820"/>
                <a:ext cx="6712" cy="3322"/>
              </a:xfrm>
              <a:custGeom>
                <a:avLst/>
                <a:gdLst>
                  <a:gd name="T0" fmla="*/ 4 w 5"/>
                  <a:gd name="T1" fmla="*/ 1 h 3"/>
                  <a:gd name="T2" fmla="*/ 6 w 5"/>
                  <a:gd name="T3" fmla="*/ 1 h 3"/>
                  <a:gd name="T4" fmla="*/ 4 w 5"/>
                  <a:gd name="T5" fmla="*/ 3 h 3"/>
                  <a:gd name="T6" fmla="*/ 0 w 5"/>
                  <a:gd name="T7" fmla="*/ 4 h 3"/>
                  <a:gd name="T8" fmla="*/ 4 w 5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3"/>
                  <a:gd name="T17" fmla="*/ 5 w 5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3">
                    <a:moveTo>
                      <a:pt x="3" y="1"/>
                    </a:moveTo>
                    <a:cubicBezTo>
                      <a:pt x="3" y="1"/>
                      <a:pt x="4" y="0"/>
                      <a:pt x="5" y="1"/>
                    </a:cubicBezTo>
                    <a:cubicBezTo>
                      <a:pt x="5" y="1"/>
                      <a:pt x="4" y="2"/>
                      <a:pt x="3" y="2"/>
                    </a:cubicBezTo>
                    <a:cubicBezTo>
                      <a:pt x="2" y="3"/>
                      <a:pt x="1" y="3"/>
                      <a:pt x="0" y="3"/>
                    </a:cubicBezTo>
                    <a:cubicBezTo>
                      <a:pt x="0" y="2"/>
                      <a:pt x="2" y="1"/>
                      <a:pt x="3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52" name="Freeform 3194"/>
              <p:cNvSpPr>
                <a:spLocks noChangeAspect="1"/>
              </p:cNvSpPr>
              <p:nvPr/>
            </p:nvSpPr>
            <p:spPr bwMode="auto">
              <a:xfrm>
                <a:off x="2796689" y="2630504"/>
                <a:ext cx="5593" cy="2493"/>
              </a:xfrm>
              <a:custGeom>
                <a:avLst/>
                <a:gdLst>
                  <a:gd name="T0" fmla="*/ 3 w 4"/>
                  <a:gd name="T1" fmla="*/ 1 h 3"/>
                  <a:gd name="T2" fmla="*/ 5 w 4"/>
                  <a:gd name="T3" fmla="*/ 0 h 3"/>
                  <a:gd name="T4" fmla="*/ 3 w 4"/>
                  <a:gd name="T5" fmla="*/ 2 h 3"/>
                  <a:gd name="T6" fmla="*/ 0 w 4"/>
                  <a:gd name="T7" fmla="*/ 3 h 3"/>
                  <a:gd name="T8" fmla="*/ 3 w 4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2" y="1"/>
                    </a:moveTo>
                    <a:cubicBezTo>
                      <a:pt x="2" y="0"/>
                      <a:pt x="3" y="0"/>
                      <a:pt x="4" y="0"/>
                    </a:cubicBezTo>
                    <a:cubicBezTo>
                      <a:pt x="4" y="1"/>
                      <a:pt x="3" y="2"/>
                      <a:pt x="2" y="2"/>
                    </a:cubicBezTo>
                    <a:cubicBezTo>
                      <a:pt x="2" y="3"/>
                      <a:pt x="0" y="3"/>
                      <a:pt x="0" y="3"/>
                    </a:cubicBezTo>
                    <a:cubicBezTo>
                      <a:pt x="0" y="2"/>
                      <a:pt x="1" y="1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53" name="Freeform 3195"/>
              <p:cNvSpPr>
                <a:spLocks noChangeAspect="1"/>
              </p:cNvSpPr>
              <p:nvPr/>
            </p:nvSpPr>
            <p:spPr bwMode="auto">
              <a:xfrm>
                <a:off x="2777676" y="2671207"/>
                <a:ext cx="4474" cy="4154"/>
              </a:xfrm>
              <a:custGeom>
                <a:avLst/>
                <a:gdLst>
                  <a:gd name="T0" fmla="*/ 3 w 3"/>
                  <a:gd name="T1" fmla="*/ 1 h 4"/>
                  <a:gd name="T2" fmla="*/ 4 w 3"/>
                  <a:gd name="T3" fmla="*/ 1 h 4"/>
                  <a:gd name="T4" fmla="*/ 3 w 3"/>
                  <a:gd name="T5" fmla="*/ 3 h 4"/>
                  <a:gd name="T6" fmla="*/ 1 w 3"/>
                  <a:gd name="T7" fmla="*/ 4 h 4"/>
                  <a:gd name="T8" fmla="*/ 3 w 3"/>
                  <a:gd name="T9" fmla="*/ 1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4"/>
                  <a:gd name="T17" fmla="*/ 3 w 3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4">
                    <a:moveTo>
                      <a:pt x="2" y="1"/>
                    </a:moveTo>
                    <a:cubicBezTo>
                      <a:pt x="2" y="1"/>
                      <a:pt x="3" y="0"/>
                      <a:pt x="3" y="1"/>
                    </a:cubicBezTo>
                    <a:cubicBezTo>
                      <a:pt x="3" y="1"/>
                      <a:pt x="3" y="2"/>
                      <a:pt x="2" y="2"/>
                    </a:cubicBezTo>
                    <a:cubicBezTo>
                      <a:pt x="2" y="3"/>
                      <a:pt x="1" y="4"/>
                      <a:pt x="1" y="3"/>
                    </a:cubicBezTo>
                    <a:cubicBezTo>
                      <a:pt x="0" y="3"/>
                      <a:pt x="1" y="2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54" name="Freeform 3196"/>
              <p:cNvSpPr>
                <a:spLocks noChangeAspect="1"/>
              </p:cNvSpPr>
              <p:nvPr/>
            </p:nvSpPr>
            <p:spPr bwMode="auto">
              <a:xfrm>
                <a:off x="3030454" y="2598939"/>
                <a:ext cx="10067" cy="2493"/>
              </a:xfrm>
              <a:custGeom>
                <a:avLst/>
                <a:gdLst>
                  <a:gd name="T0" fmla="*/ 6 w 8"/>
                  <a:gd name="T1" fmla="*/ 2 h 2"/>
                  <a:gd name="T2" fmla="*/ 9 w 8"/>
                  <a:gd name="T3" fmla="*/ 3 h 2"/>
                  <a:gd name="T4" fmla="*/ 5 w 8"/>
                  <a:gd name="T5" fmla="*/ 3 h 2"/>
                  <a:gd name="T6" fmla="*/ 0 w 8"/>
                  <a:gd name="T7" fmla="*/ 2 h 2"/>
                  <a:gd name="T8" fmla="*/ 6 w 8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2"/>
                  <a:gd name="T17" fmla="*/ 8 w 8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2">
                    <a:moveTo>
                      <a:pt x="5" y="1"/>
                    </a:moveTo>
                    <a:cubicBezTo>
                      <a:pt x="6" y="1"/>
                      <a:pt x="8" y="1"/>
                      <a:pt x="8" y="2"/>
                    </a:cubicBezTo>
                    <a:cubicBezTo>
                      <a:pt x="7" y="2"/>
                      <a:pt x="5" y="2"/>
                      <a:pt x="4" y="2"/>
                    </a:cubicBezTo>
                    <a:cubicBezTo>
                      <a:pt x="3" y="2"/>
                      <a:pt x="0" y="2"/>
                      <a:pt x="0" y="1"/>
                    </a:cubicBezTo>
                    <a:cubicBezTo>
                      <a:pt x="1" y="0"/>
                      <a:pt x="4" y="0"/>
                      <a:pt x="5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55" name="Freeform 3197"/>
              <p:cNvSpPr>
                <a:spLocks noChangeAspect="1"/>
              </p:cNvSpPr>
              <p:nvPr/>
            </p:nvSpPr>
            <p:spPr bwMode="auto">
              <a:xfrm>
                <a:off x="3012559" y="2598108"/>
                <a:ext cx="6712" cy="7476"/>
              </a:xfrm>
              <a:custGeom>
                <a:avLst/>
                <a:gdLst>
                  <a:gd name="T0" fmla="*/ 4 w 5"/>
                  <a:gd name="T1" fmla="*/ 3 h 7"/>
                  <a:gd name="T2" fmla="*/ 6 w 5"/>
                  <a:gd name="T3" fmla="*/ 0 h 7"/>
                  <a:gd name="T4" fmla="*/ 4 w 5"/>
                  <a:gd name="T5" fmla="*/ 4 h 7"/>
                  <a:gd name="T6" fmla="*/ 0 w 5"/>
                  <a:gd name="T7" fmla="*/ 8 h 7"/>
                  <a:gd name="T8" fmla="*/ 4 w 5"/>
                  <a:gd name="T9" fmla="*/ 3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7"/>
                  <a:gd name="T17" fmla="*/ 5 w 5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7">
                    <a:moveTo>
                      <a:pt x="3" y="2"/>
                    </a:moveTo>
                    <a:cubicBezTo>
                      <a:pt x="4" y="1"/>
                      <a:pt x="5" y="0"/>
                      <a:pt x="5" y="0"/>
                    </a:cubicBezTo>
                    <a:cubicBezTo>
                      <a:pt x="5" y="1"/>
                      <a:pt x="4" y="2"/>
                      <a:pt x="3" y="3"/>
                    </a:cubicBezTo>
                    <a:cubicBezTo>
                      <a:pt x="3" y="5"/>
                      <a:pt x="1" y="7"/>
                      <a:pt x="0" y="6"/>
                    </a:cubicBezTo>
                    <a:cubicBezTo>
                      <a:pt x="0" y="5"/>
                      <a:pt x="2" y="3"/>
                      <a:pt x="3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56" name="Freeform 3198"/>
              <p:cNvSpPr>
                <a:spLocks noChangeAspect="1"/>
              </p:cNvSpPr>
              <p:nvPr/>
            </p:nvSpPr>
            <p:spPr bwMode="auto">
              <a:xfrm>
                <a:off x="3228427" y="2713571"/>
                <a:ext cx="5593" cy="4984"/>
              </a:xfrm>
              <a:custGeom>
                <a:avLst/>
                <a:gdLst>
                  <a:gd name="T0" fmla="*/ 4 w 4"/>
                  <a:gd name="T1" fmla="*/ 4 h 5"/>
                  <a:gd name="T2" fmla="*/ 5 w 4"/>
                  <a:gd name="T3" fmla="*/ 6 h 5"/>
                  <a:gd name="T4" fmla="*/ 3 w 4"/>
                  <a:gd name="T5" fmla="*/ 4 h 5"/>
                  <a:gd name="T6" fmla="*/ 1 w 4"/>
                  <a:gd name="T7" fmla="*/ 0 h 5"/>
                  <a:gd name="T8" fmla="*/ 4 w 4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5"/>
                  <a:gd name="T17" fmla="*/ 4 w 4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5">
                    <a:moveTo>
                      <a:pt x="3" y="3"/>
                    </a:moveTo>
                    <a:cubicBezTo>
                      <a:pt x="4" y="4"/>
                      <a:pt x="4" y="5"/>
                      <a:pt x="4" y="5"/>
                    </a:cubicBezTo>
                    <a:cubicBezTo>
                      <a:pt x="3" y="5"/>
                      <a:pt x="2" y="4"/>
                      <a:pt x="2" y="3"/>
                    </a:cubicBezTo>
                    <a:cubicBezTo>
                      <a:pt x="1" y="2"/>
                      <a:pt x="0" y="1"/>
                      <a:pt x="1" y="0"/>
                    </a:cubicBezTo>
                    <a:cubicBezTo>
                      <a:pt x="2" y="0"/>
                      <a:pt x="3" y="2"/>
                      <a:pt x="3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57" name="Freeform 3199"/>
              <p:cNvSpPr>
                <a:spLocks noChangeAspect="1"/>
              </p:cNvSpPr>
              <p:nvPr/>
            </p:nvSpPr>
            <p:spPr bwMode="auto">
              <a:xfrm>
                <a:off x="3218362" y="2690312"/>
                <a:ext cx="1118" cy="5815"/>
              </a:xfrm>
              <a:custGeom>
                <a:avLst/>
                <a:gdLst>
                  <a:gd name="T0" fmla="*/ 1 w 1"/>
                  <a:gd name="T1" fmla="*/ 5 h 6"/>
                  <a:gd name="T2" fmla="*/ 0 w 1"/>
                  <a:gd name="T3" fmla="*/ 7 h 6"/>
                  <a:gd name="T4" fmla="*/ 0 w 1"/>
                  <a:gd name="T5" fmla="*/ 4 h 6"/>
                  <a:gd name="T6" fmla="*/ 0 w 1"/>
                  <a:gd name="T7" fmla="*/ 0 h 6"/>
                  <a:gd name="T8" fmla="*/ 1 w 1"/>
                  <a:gd name="T9" fmla="*/ 5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6"/>
                  <a:gd name="T17" fmla="*/ 1 w 1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6">
                    <a:moveTo>
                      <a:pt x="1" y="4"/>
                    </a:moveTo>
                    <a:cubicBezTo>
                      <a:pt x="1" y="5"/>
                      <a:pt x="1" y="6"/>
                      <a:pt x="0" y="6"/>
                    </a:cubicBezTo>
                    <a:cubicBezTo>
                      <a:pt x="0" y="6"/>
                      <a:pt x="0" y="4"/>
                      <a:pt x="0" y="3"/>
                    </a:cubicBezTo>
                    <a:cubicBezTo>
                      <a:pt x="0" y="2"/>
                      <a:pt x="0" y="0"/>
                      <a:pt x="0" y="0"/>
                    </a:cubicBezTo>
                    <a:cubicBezTo>
                      <a:pt x="1" y="1"/>
                      <a:pt x="1" y="3"/>
                      <a:pt x="1" y="4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58" name="Freeform 3200"/>
              <p:cNvSpPr>
                <a:spLocks noChangeAspect="1"/>
              </p:cNvSpPr>
              <p:nvPr/>
            </p:nvSpPr>
            <p:spPr bwMode="auto">
              <a:xfrm>
                <a:off x="3229547" y="2723539"/>
                <a:ext cx="2237" cy="4984"/>
              </a:xfrm>
              <a:custGeom>
                <a:avLst/>
                <a:gdLst>
                  <a:gd name="T0" fmla="*/ 2 w 1"/>
                  <a:gd name="T1" fmla="*/ 4 h 5"/>
                  <a:gd name="T2" fmla="*/ 0 w 1"/>
                  <a:gd name="T3" fmla="*/ 6 h 5"/>
                  <a:gd name="T4" fmla="*/ 0 w 1"/>
                  <a:gd name="T5" fmla="*/ 4 h 5"/>
                  <a:gd name="T6" fmla="*/ 2 w 1"/>
                  <a:gd name="T7" fmla="*/ 0 h 5"/>
                  <a:gd name="T8" fmla="*/ 2 w 1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5"/>
                  <a:gd name="T17" fmla="*/ 1 w 1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5">
                    <a:moveTo>
                      <a:pt x="1" y="3"/>
                    </a:moveTo>
                    <a:cubicBezTo>
                      <a:pt x="1" y="4"/>
                      <a:pt x="1" y="5"/>
                      <a:pt x="0" y="5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2"/>
                      <a:pt x="0" y="0"/>
                      <a:pt x="1" y="0"/>
                    </a:cubicBezTo>
                    <a:cubicBezTo>
                      <a:pt x="1" y="0"/>
                      <a:pt x="1" y="2"/>
                      <a:pt x="1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59" name="Freeform 3201"/>
              <p:cNvSpPr>
                <a:spLocks noChangeAspect="1"/>
              </p:cNvSpPr>
              <p:nvPr/>
            </p:nvSpPr>
            <p:spPr bwMode="auto">
              <a:xfrm>
                <a:off x="3088617" y="2750951"/>
                <a:ext cx="8948" cy="2493"/>
              </a:xfrm>
              <a:custGeom>
                <a:avLst/>
                <a:gdLst>
                  <a:gd name="T0" fmla="*/ 5 w 6"/>
                  <a:gd name="T1" fmla="*/ 1 h 3"/>
                  <a:gd name="T2" fmla="*/ 8 w 6"/>
                  <a:gd name="T3" fmla="*/ 3 h 3"/>
                  <a:gd name="T4" fmla="*/ 4 w 6"/>
                  <a:gd name="T5" fmla="*/ 3 h 3"/>
                  <a:gd name="T6" fmla="*/ 0 w 6"/>
                  <a:gd name="T7" fmla="*/ 1 h 3"/>
                  <a:gd name="T8" fmla="*/ 5 w 6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3"/>
                  <a:gd name="T17" fmla="*/ 6 w 6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3">
                    <a:moveTo>
                      <a:pt x="4" y="1"/>
                    </a:moveTo>
                    <a:cubicBezTo>
                      <a:pt x="5" y="2"/>
                      <a:pt x="6" y="2"/>
                      <a:pt x="6" y="3"/>
                    </a:cubicBezTo>
                    <a:cubicBezTo>
                      <a:pt x="5" y="3"/>
                      <a:pt x="4" y="3"/>
                      <a:pt x="3" y="3"/>
                    </a:cubicBezTo>
                    <a:cubicBezTo>
                      <a:pt x="2" y="2"/>
                      <a:pt x="0" y="1"/>
                      <a:pt x="0" y="1"/>
                    </a:cubicBezTo>
                    <a:cubicBezTo>
                      <a:pt x="1" y="0"/>
                      <a:pt x="3" y="1"/>
                      <a:pt x="4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60" name="Freeform 3202"/>
              <p:cNvSpPr>
                <a:spLocks noChangeAspect="1"/>
              </p:cNvSpPr>
              <p:nvPr/>
            </p:nvSpPr>
            <p:spPr bwMode="auto">
              <a:xfrm>
                <a:off x="3395083" y="2929545"/>
                <a:ext cx="5593" cy="4984"/>
              </a:xfrm>
              <a:custGeom>
                <a:avLst/>
                <a:gdLst>
                  <a:gd name="T0" fmla="*/ 3 w 4"/>
                  <a:gd name="T1" fmla="*/ 5 h 5"/>
                  <a:gd name="T2" fmla="*/ 1 w 4"/>
                  <a:gd name="T3" fmla="*/ 6 h 5"/>
                  <a:gd name="T4" fmla="*/ 1 w 4"/>
                  <a:gd name="T5" fmla="*/ 4 h 5"/>
                  <a:gd name="T6" fmla="*/ 5 w 4"/>
                  <a:gd name="T7" fmla="*/ 1 h 5"/>
                  <a:gd name="T8" fmla="*/ 3 w 4"/>
                  <a:gd name="T9" fmla="*/ 5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5"/>
                  <a:gd name="T17" fmla="*/ 4 w 4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5">
                    <a:moveTo>
                      <a:pt x="2" y="4"/>
                    </a:moveTo>
                    <a:cubicBezTo>
                      <a:pt x="2" y="4"/>
                      <a:pt x="1" y="5"/>
                      <a:pt x="1" y="5"/>
                    </a:cubicBezTo>
                    <a:cubicBezTo>
                      <a:pt x="0" y="4"/>
                      <a:pt x="1" y="3"/>
                      <a:pt x="1" y="3"/>
                    </a:cubicBezTo>
                    <a:cubicBezTo>
                      <a:pt x="2" y="2"/>
                      <a:pt x="3" y="0"/>
                      <a:pt x="4" y="1"/>
                    </a:cubicBezTo>
                    <a:cubicBezTo>
                      <a:pt x="4" y="2"/>
                      <a:pt x="3" y="3"/>
                      <a:pt x="2" y="4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61" name="Freeform 3203"/>
              <p:cNvSpPr>
                <a:spLocks noChangeAspect="1"/>
              </p:cNvSpPr>
              <p:nvPr/>
            </p:nvSpPr>
            <p:spPr bwMode="auto">
              <a:xfrm>
                <a:off x="3393964" y="2926221"/>
                <a:ext cx="6712" cy="5815"/>
              </a:xfrm>
              <a:custGeom>
                <a:avLst/>
                <a:gdLst>
                  <a:gd name="T0" fmla="*/ 4 w 5"/>
                  <a:gd name="T1" fmla="*/ 5 h 6"/>
                  <a:gd name="T2" fmla="*/ 1 w 5"/>
                  <a:gd name="T3" fmla="*/ 6 h 6"/>
                  <a:gd name="T4" fmla="*/ 2 w 5"/>
                  <a:gd name="T5" fmla="*/ 4 h 6"/>
                  <a:gd name="T6" fmla="*/ 5 w 5"/>
                  <a:gd name="T7" fmla="*/ 1 h 6"/>
                  <a:gd name="T8" fmla="*/ 4 w 5"/>
                  <a:gd name="T9" fmla="*/ 5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6"/>
                  <a:gd name="T17" fmla="*/ 5 w 5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6">
                    <a:moveTo>
                      <a:pt x="3" y="4"/>
                    </a:moveTo>
                    <a:cubicBezTo>
                      <a:pt x="2" y="5"/>
                      <a:pt x="1" y="6"/>
                      <a:pt x="1" y="5"/>
                    </a:cubicBezTo>
                    <a:cubicBezTo>
                      <a:pt x="0" y="4"/>
                      <a:pt x="1" y="3"/>
                      <a:pt x="2" y="3"/>
                    </a:cubicBezTo>
                    <a:cubicBezTo>
                      <a:pt x="2" y="2"/>
                      <a:pt x="4" y="0"/>
                      <a:pt x="4" y="1"/>
                    </a:cubicBezTo>
                    <a:cubicBezTo>
                      <a:pt x="5" y="2"/>
                      <a:pt x="4" y="3"/>
                      <a:pt x="3" y="4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62" name="Freeform 3204"/>
              <p:cNvSpPr>
                <a:spLocks noChangeAspect="1"/>
              </p:cNvSpPr>
              <p:nvPr/>
            </p:nvSpPr>
            <p:spPr bwMode="auto">
              <a:xfrm>
                <a:off x="3405149" y="2892995"/>
                <a:ext cx="3356" cy="4154"/>
              </a:xfrm>
              <a:custGeom>
                <a:avLst/>
                <a:gdLst>
                  <a:gd name="T0" fmla="*/ 3 w 3"/>
                  <a:gd name="T1" fmla="*/ 3 h 4"/>
                  <a:gd name="T2" fmla="*/ 3 w 3"/>
                  <a:gd name="T3" fmla="*/ 5 h 4"/>
                  <a:gd name="T4" fmla="*/ 1 w 3"/>
                  <a:gd name="T5" fmla="*/ 4 h 4"/>
                  <a:gd name="T6" fmla="*/ 0 w 3"/>
                  <a:gd name="T7" fmla="*/ 0 h 4"/>
                  <a:gd name="T8" fmla="*/ 3 w 3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4"/>
                  <a:gd name="T17" fmla="*/ 3 w 3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4">
                    <a:moveTo>
                      <a:pt x="3" y="2"/>
                    </a:moveTo>
                    <a:cubicBezTo>
                      <a:pt x="3" y="3"/>
                      <a:pt x="3" y="4"/>
                      <a:pt x="3" y="4"/>
                    </a:cubicBezTo>
                    <a:cubicBezTo>
                      <a:pt x="2" y="4"/>
                      <a:pt x="1" y="3"/>
                      <a:pt x="1" y="3"/>
                    </a:cubicBezTo>
                    <a:cubicBezTo>
                      <a:pt x="1" y="2"/>
                      <a:pt x="0" y="0"/>
                      <a:pt x="0" y="0"/>
                    </a:cubicBezTo>
                    <a:cubicBezTo>
                      <a:pt x="1" y="0"/>
                      <a:pt x="2" y="1"/>
                      <a:pt x="3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63" name="Freeform 3205"/>
              <p:cNvSpPr>
                <a:spLocks noChangeAspect="1"/>
              </p:cNvSpPr>
              <p:nvPr/>
            </p:nvSpPr>
            <p:spPr bwMode="auto">
              <a:xfrm>
                <a:off x="2739647" y="2935359"/>
                <a:ext cx="5593" cy="4154"/>
              </a:xfrm>
              <a:custGeom>
                <a:avLst/>
                <a:gdLst>
                  <a:gd name="T0" fmla="*/ 3 w 4"/>
                  <a:gd name="T1" fmla="*/ 4 h 4"/>
                  <a:gd name="T2" fmla="*/ 0 w 4"/>
                  <a:gd name="T3" fmla="*/ 4 h 4"/>
                  <a:gd name="T4" fmla="*/ 1 w 4"/>
                  <a:gd name="T5" fmla="*/ 3 h 4"/>
                  <a:gd name="T6" fmla="*/ 5 w 4"/>
                  <a:gd name="T7" fmla="*/ 1 h 4"/>
                  <a:gd name="T8" fmla="*/ 3 w 4"/>
                  <a:gd name="T9" fmla="*/ 4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2" y="3"/>
                    </a:moveTo>
                    <a:cubicBezTo>
                      <a:pt x="1" y="3"/>
                      <a:pt x="0" y="4"/>
                      <a:pt x="0" y="3"/>
                    </a:cubicBezTo>
                    <a:cubicBezTo>
                      <a:pt x="0" y="3"/>
                      <a:pt x="1" y="2"/>
                      <a:pt x="1" y="2"/>
                    </a:cubicBezTo>
                    <a:cubicBezTo>
                      <a:pt x="2" y="1"/>
                      <a:pt x="4" y="0"/>
                      <a:pt x="4" y="1"/>
                    </a:cubicBezTo>
                    <a:cubicBezTo>
                      <a:pt x="4" y="2"/>
                      <a:pt x="3" y="3"/>
                      <a:pt x="2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64" name="Freeform 3237"/>
              <p:cNvSpPr>
                <a:spLocks noChangeAspect="1"/>
              </p:cNvSpPr>
              <p:nvPr/>
            </p:nvSpPr>
            <p:spPr bwMode="auto">
              <a:xfrm>
                <a:off x="2381730" y="2497598"/>
                <a:ext cx="2237" cy="4984"/>
              </a:xfrm>
              <a:custGeom>
                <a:avLst/>
                <a:gdLst>
                  <a:gd name="T0" fmla="*/ 2 w 2"/>
                  <a:gd name="T1" fmla="*/ 4 h 5"/>
                  <a:gd name="T2" fmla="*/ 1 w 2"/>
                  <a:gd name="T3" fmla="*/ 6 h 5"/>
                  <a:gd name="T4" fmla="*/ 0 w 2"/>
                  <a:gd name="T5" fmla="*/ 4 h 5"/>
                  <a:gd name="T6" fmla="*/ 1 w 2"/>
                  <a:gd name="T7" fmla="*/ 0 h 5"/>
                  <a:gd name="T8" fmla="*/ 2 w 2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5"/>
                  <a:gd name="T17" fmla="*/ 2 w 2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5">
                    <a:moveTo>
                      <a:pt x="2" y="3"/>
                    </a:moveTo>
                    <a:cubicBezTo>
                      <a:pt x="2" y="4"/>
                      <a:pt x="1" y="5"/>
                      <a:pt x="1" y="5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2"/>
                      <a:pt x="0" y="0"/>
                      <a:pt x="1" y="0"/>
                    </a:cubicBezTo>
                    <a:cubicBezTo>
                      <a:pt x="2" y="1"/>
                      <a:pt x="2" y="2"/>
                      <a:pt x="2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65" name="Freeform 3257"/>
              <p:cNvSpPr>
                <a:spLocks noChangeAspect="1"/>
              </p:cNvSpPr>
              <p:nvPr/>
            </p:nvSpPr>
            <p:spPr bwMode="auto">
              <a:xfrm>
                <a:off x="2954398" y="2578172"/>
                <a:ext cx="3356" cy="4984"/>
              </a:xfrm>
              <a:custGeom>
                <a:avLst/>
                <a:gdLst>
                  <a:gd name="T0" fmla="*/ 3 w 2"/>
                  <a:gd name="T1" fmla="*/ 4 h 5"/>
                  <a:gd name="T2" fmla="*/ 2 w 2"/>
                  <a:gd name="T3" fmla="*/ 6 h 5"/>
                  <a:gd name="T4" fmla="*/ 0 w 2"/>
                  <a:gd name="T5" fmla="*/ 2 h 5"/>
                  <a:gd name="T6" fmla="*/ 2 w 2"/>
                  <a:gd name="T7" fmla="*/ 0 h 5"/>
                  <a:gd name="T8" fmla="*/ 3 w 2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5"/>
                  <a:gd name="T17" fmla="*/ 2 w 2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5">
                    <a:moveTo>
                      <a:pt x="2" y="3"/>
                    </a:moveTo>
                    <a:cubicBezTo>
                      <a:pt x="2" y="4"/>
                      <a:pt x="2" y="5"/>
                      <a:pt x="1" y="5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2"/>
                      <a:pt x="2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66" name="Freeform 3258"/>
              <p:cNvSpPr>
                <a:spLocks noChangeAspect="1"/>
              </p:cNvSpPr>
              <p:nvPr/>
            </p:nvSpPr>
            <p:spPr bwMode="auto">
              <a:xfrm>
                <a:off x="3010322" y="2595616"/>
                <a:ext cx="4474" cy="1661"/>
              </a:xfrm>
              <a:custGeom>
                <a:avLst/>
                <a:gdLst>
                  <a:gd name="T0" fmla="*/ 2 w 4"/>
                  <a:gd name="T1" fmla="*/ 2 h 2"/>
                  <a:gd name="T2" fmla="*/ 0 w 4"/>
                  <a:gd name="T3" fmla="*/ 1 h 2"/>
                  <a:gd name="T4" fmla="*/ 2 w 4"/>
                  <a:gd name="T5" fmla="*/ 0 h 2"/>
                  <a:gd name="T6" fmla="*/ 4 w 4"/>
                  <a:gd name="T7" fmla="*/ 1 h 2"/>
                  <a:gd name="T8" fmla="*/ 2 w 4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2"/>
                  <a:gd name="T17" fmla="*/ 4 w 4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2">
                    <a:moveTo>
                      <a:pt x="2" y="2"/>
                    </a:moveTo>
                    <a:cubicBezTo>
                      <a:pt x="1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2" y="0"/>
                    </a:cubicBezTo>
                    <a:cubicBezTo>
                      <a:pt x="2" y="0"/>
                      <a:pt x="4" y="0"/>
                      <a:pt x="4" y="1"/>
                    </a:cubicBezTo>
                    <a:cubicBezTo>
                      <a:pt x="4" y="2"/>
                      <a:pt x="2" y="2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67" name="Freeform 3259"/>
              <p:cNvSpPr>
                <a:spLocks noChangeAspect="1"/>
              </p:cNvSpPr>
              <p:nvPr/>
            </p:nvSpPr>
            <p:spPr bwMode="auto">
              <a:xfrm>
                <a:off x="3220598" y="2687820"/>
                <a:ext cx="4474" cy="4154"/>
              </a:xfrm>
              <a:custGeom>
                <a:avLst/>
                <a:gdLst>
                  <a:gd name="T0" fmla="*/ 4 w 3"/>
                  <a:gd name="T1" fmla="*/ 3 h 4"/>
                  <a:gd name="T2" fmla="*/ 4 w 3"/>
                  <a:gd name="T3" fmla="*/ 4 h 4"/>
                  <a:gd name="T4" fmla="*/ 1 w 3"/>
                  <a:gd name="T5" fmla="*/ 4 h 4"/>
                  <a:gd name="T6" fmla="*/ 1 w 3"/>
                  <a:gd name="T7" fmla="*/ 1 h 4"/>
                  <a:gd name="T8" fmla="*/ 4 w 3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4"/>
                  <a:gd name="T17" fmla="*/ 3 w 3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4">
                    <a:moveTo>
                      <a:pt x="3" y="2"/>
                    </a:moveTo>
                    <a:cubicBezTo>
                      <a:pt x="3" y="2"/>
                      <a:pt x="3" y="3"/>
                      <a:pt x="3" y="3"/>
                    </a:cubicBezTo>
                    <a:cubicBezTo>
                      <a:pt x="2" y="4"/>
                      <a:pt x="2" y="3"/>
                      <a:pt x="1" y="3"/>
                    </a:cubicBezTo>
                    <a:cubicBezTo>
                      <a:pt x="1" y="3"/>
                      <a:pt x="0" y="2"/>
                      <a:pt x="1" y="1"/>
                    </a:cubicBezTo>
                    <a:cubicBezTo>
                      <a:pt x="1" y="0"/>
                      <a:pt x="2" y="1"/>
                      <a:pt x="3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68" name="Freeform 3260"/>
              <p:cNvSpPr>
                <a:spLocks noChangeAspect="1"/>
              </p:cNvSpPr>
              <p:nvPr/>
            </p:nvSpPr>
            <p:spPr bwMode="auto">
              <a:xfrm>
                <a:off x="3219479" y="2702772"/>
                <a:ext cx="3356" cy="4154"/>
              </a:xfrm>
              <a:custGeom>
                <a:avLst/>
                <a:gdLst>
                  <a:gd name="T0" fmla="*/ 3 w 3"/>
                  <a:gd name="T1" fmla="*/ 3 h 4"/>
                  <a:gd name="T2" fmla="*/ 2 w 3"/>
                  <a:gd name="T3" fmla="*/ 5 h 4"/>
                  <a:gd name="T4" fmla="*/ 0 w 3"/>
                  <a:gd name="T5" fmla="*/ 3 h 4"/>
                  <a:gd name="T6" fmla="*/ 1 w 3"/>
                  <a:gd name="T7" fmla="*/ 0 h 4"/>
                  <a:gd name="T8" fmla="*/ 3 w 3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4"/>
                  <a:gd name="T17" fmla="*/ 3 w 3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4">
                    <a:moveTo>
                      <a:pt x="3" y="2"/>
                    </a:moveTo>
                    <a:cubicBezTo>
                      <a:pt x="3" y="3"/>
                      <a:pt x="3" y="4"/>
                      <a:pt x="2" y="4"/>
                    </a:cubicBezTo>
                    <a:cubicBezTo>
                      <a:pt x="1" y="4"/>
                      <a:pt x="1" y="3"/>
                      <a:pt x="0" y="2"/>
                    </a:cubicBezTo>
                    <a:cubicBezTo>
                      <a:pt x="0" y="2"/>
                      <a:pt x="0" y="0"/>
                      <a:pt x="1" y="0"/>
                    </a:cubicBezTo>
                    <a:cubicBezTo>
                      <a:pt x="2" y="0"/>
                      <a:pt x="2" y="1"/>
                      <a:pt x="3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69" name="Freeform 3261"/>
              <p:cNvSpPr>
                <a:spLocks noChangeAspect="1"/>
              </p:cNvSpPr>
              <p:nvPr/>
            </p:nvSpPr>
            <p:spPr bwMode="auto">
              <a:xfrm>
                <a:off x="3074075" y="2746798"/>
                <a:ext cx="6712" cy="1661"/>
              </a:xfrm>
              <a:custGeom>
                <a:avLst/>
                <a:gdLst>
                  <a:gd name="T0" fmla="*/ 5 w 5"/>
                  <a:gd name="T1" fmla="*/ 2 h 2"/>
                  <a:gd name="T2" fmla="*/ 2 w 5"/>
                  <a:gd name="T3" fmla="*/ 2 h 2"/>
                  <a:gd name="T4" fmla="*/ 1 w 5"/>
                  <a:gd name="T5" fmla="*/ 1 h 2"/>
                  <a:gd name="T6" fmla="*/ 4 w 5"/>
                  <a:gd name="T7" fmla="*/ 0 h 2"/>
                  <a:gd name="T8" fmla="*/ 5 w 5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2"/>
                  <a:gd name="T17" fmla="*/ 5 w 5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2">
                    <a:moveTo>
                      <a:pt x="4" y="2"/>
                    </a:moveTo>
                    <a:cubicBezTo>
                      <a:pt x="4" y="2"/>
                      <a:pt x="3" y="2"/>
                      <a:pt x="2" y="2"/>
                    </a:cubicBezTo>
                    <a:cubicBezTo>
                      <a:pt x="1" y="2"/>
                      <a:pt x="0" y="1"/>
                      <a:pt x="1" y="1"/>
                    </a:cubicBezTo>
                    <a:cubicBezTo>
                      <a:pt x="1" y="0"/>
                      <a:pt x="1" y="0"/>
                      <a:pt x="3" y="0"/>
                    </a:cubicBezTo>
                    <a:cubicBezTo>
                      <a:pt x="5" y="0"/>
                      <a:pt x="4" y="1"/>
                      <a:pt x="4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70" name="Freeform 3262"/>
              <p:cNvSpPr>
                <a:spLocks noChangeAspect="1"/>
              </p:cNvSpPr>
              <p:nvPr/>
            </p:nvSpPr>
            <p:spPr bwMode="auto">
              <a:xfrm>
                <a:off x="3105394" y="2751781"/>
                <a:ext cx="3356" cy="3322"/>
              </a:xfrm>
              <a:custGeom>
                <a:avLst/>
                <a:gdLst>
                  <a:gd name="T0" fmla="*/ 3 w 3"/>
                  <a:gd name="T1" fmla="*/ 3 h 3"/>
                  <a:gd name="T2" fmla="*/ 1 w 3"/>
                  <a:gd name="T3" fmla="*/ 4 h 3"/>
                  <a:gd name="T4" fmla="*/ 0 w 3"/>
                  <a:gd name="T5" fmla="*/ 1 h 3"/>
                  <a:gd name="T6" fmla="*/ 2 w 3"/>
                  <a:gd name="T7" fmla="*/ 1 h 3"/>
                  <a:gd name="T8" fmla="*/ 3 w 3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3" y="2"/>
                    </a:moveTo>
                    <a:cubicBezTo>
                      <a:pt x="3" y="3"/>
                      <a:pt x="2" y="3"/>
                      <a:pt x="1" y="3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2" y="1"/>
                    </a:cubicBezTo>
                    <a:cubicBezTo>
                      <a:pt x="3" y="1"/>
                      <a:pt x="3" y="2"/>
                      <a:pt x="3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71" name="Freeform 3263"/>
              <p:cNvSpPr>
                <a:spLocks noChangeAspect="1"/>
              </p:cNvSpPr>
              <p:nvPr/>
            </p:nvSpPr>
            <p:spPr bwMode="auto">
              <a:xfrm>
                <a:off x="3418571" y="2925391"/>
                <a:ext cx="6712" cy="2493"/>
              </a:xfrm>
              <a:custGeom>
                <a:avLst/>
                <a:gdLst>
                  <a:gd name="T0" fmla="*/ 2 w 5"/>
                  <a:gd name="T1" fmla="*/ 3 h 3"/>
                  <a:gd name="T2" fmla="*/ 0 w 5"/>
                  <a:gd name="T3" fmla="*/ 2 h 3"/>
                  <a:gd name="T4" fmla="*/ 2 w 5"/>
                  <a:gd name="T5" fmla="*/ 0 h 3"/>
                  <a:gd name="T6" fmla="*/ 6 w 5"/>
                  <a:gd name="T7" fmla="*/ 1 h 3"/>
                  <a:gd name="T8" fmla="*/ 2 w 5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3"/>
                  <a:gd name="T17" fmla="*/ 5 w 5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3">
                    <a:moveTo>
                      <a:pt x="2" y="3"/>
                    </a:moveTo>
                    <a:cubicBezTo>
                      <a:pt x="2" y="3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3" y="0"/>
                      <a:pt x="5" y="0"/>
                      <a:pt x="5" y="1"/>
                    </a:cubicBezTo>
                    <a:cubicBezTo>
                      <a:pt x="5" y="2"/>
                      <a:pt x="3" y="3"/>
                      <a:pt x="2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72" name="Freeform 3264"/>
              <p:cNvSpPr>
                <a:spLocks noChangeAspect="1"/>
              </p:cNvSpPr>
              <p:nvPr/>
            </p:nvSpPr>
            <p:spPr bwMode="auto">
              <a:xfrm>
                <a:off x="2723988" y="2932036"/>
                <a:ext cx="4474" cy="3322"/>
              </a:xfrm>
              <a:custGeom>
                <a:avLst/>
                <a:gdLst>
                  <a:gd name="T0" fmla="*/ 4 w 3"/>
                  <a:gd name="T1" fmla="*/ 3 h 3"/>
                  <a:gd name="T2" fmla="*/ 1 w 3"/>
                  <a:gd name="T3" fmla="*/ 4 h 3"/>
                  <a:gd name="T4" fmla="*/ 0 w 3"/>
                  <a:gd name="T5" fmla="*/ 3 h 3"/>
                  <a:gd name="T6" fmla="*/ 3 w 3"/>
                  <a:gd name="T7" fmla="*/ 0 h 3"/>
                  <a:gd name="T8" fmla="*/ 4 w 3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3" y="2"/>
                    </a:moveTo>
                    <a:cubicBezTo>
                      <a:pt x="3" y="2"/>
                      <a:pt x="3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2" y="0"/>
                    </a:cubicBezTo>
                    <a:cubicBezTo>
                      <a:pt x="3" y="0"/>
                      <a:pt x="3" y="1"/>
                      <a:pt x="3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73" name="Freeform 3281"/>
              <p:cNvSpPr>
                <a:spLocks noChangeAspect="1"/>
              </p:cNvSpPr>
              <p:nvPr/>
            </p:nvSpPr>
            <p:spPr bwMode="auto">
              <a:xfrm>
                <a:off x="1565232" y="2606415"/>
                <a:ext cx="2237" cy="2493"/>
              </a:xfrm>
              <a:custGeom>
                <a:avLst/>
                <a:gdLst>
                  <a:gd name="T0" fmla="*/ 1 w 2"/>
                  <a:gd name="T1" fmla="*/ 2 h 3"/>
                  <a:gd name="T2" fmla="*/ 0 w 2"/>
                  <a:gd name="T3" fmla="*/ 3 h 3"/>
                  <a:gd name="T4" fmla="*/ 0 w 2"/>
                  <a:gd name="T5" fmla="*/ 1 h 3"/>
                  <a:gd name="T6" fmla="*/ 1 w 2"/>
                  <a:gd name="T7" fmla="*/ 1 h 3"/>
                  <a:gd name="T8" fmla="*/ 1 w 2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2"/>
                    </a:moveTo>
                    <a:cubicBezTo>
                      <a:pt x="1" y="3"/>
                      <a:pt x="1" y="3"/>
                      <a:pt x="0" y="3"/>
                    </a:cubicBezTo>
                    <a:cubicBezTo>
                      <a:pt x="0" y="3"/>
                      <a:pt x="0" y="2"/>
                      <a:pt x="0" y="1"/>
                    </a:cubicBezTo>
                    <a:cubicBezTo>
                      <a:pt x="0" y="1"/>
                      <a:pt x="1" y="0"/>
                      <a:pt x="1" y="1"/>
                    </a:cubicBezTo>
                    <a:cubicBezTo>
                      <a:pt x="2" y="1"/>
                      <a:pt x="2" y="2"/>
                      <a:pt x="1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74" name="Freeform 3282"/>
              <p:cNvSpPr>
                <a:spLocks noChangeAspect="1"/>
              </p:cNvSpPr>
              <p:nvPr/>
            </p:nvSpPr>
            <p:spPr bwMode="auto">
              <a:xfrm>
                <a:off x="1614445" y="2623028"/>
                <a:ext cx="4474" cy="2493"/>
              </a:xfrm>
              <a:custGeom>
                <a:avLst/>
                <a:gdLst>
                  <a:gd name="T0" fmla="*/ 3 w 3"/>
                  <a:gd name="T1" fmla="*/ 2 h 2"/>
                  <a:gd name="T2" fmla="*/ 3 w 3"/>
                  <a:gd name="T3" fmla="*/ 3 h 2"/>
                  <a:gd name="T4" fmla="*/ 1 w 3"/>
                  <a:gd name="T5" fmla="*/ 3 h 2"/>
                  <a:gd name="T6" fmla="*/ 0 w 3"/>
                  <a:gd name="T7" fmla="*/ 0 h 2"/>
                  <a:gd name="T8" fmla="*/ 3 w 3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1"/>
                    </a:moveTo>
                    <a:cubicBezTo>
                      <a:pt x="2" y="1"/>
                      <a:pt x="3" y="2"/>
                      <a:pt x="2" y="2"/>
                    </a:cubicBezTo>
                    <a:cubicBezTo>
                      <a:pt x="2" y="2"/>
                      <a:pt x="1" y="2"/>
                      <a:pt x="1" y="2"/>
                    </a:cubicBezTo>
                    <a:cubicBezTo>
                      <a:pt x="1" y="1"/>
                      <a:pt x="0" y="1"/>
                      <a:pt x="0" y="0"/>
                    </a:cubicBezTo>
                    <a:cubicBezTo>
                      <a:pt x="1" y="0"/>
                      <a:pt x="2" y="0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75" name="Oval 3348"/>
              <p:cNvSpPr>
                <a:spLocks noChangeAspect="1" noChangeArrowheads="1"/>
              </p:cNvSpPr>
              <p:nvPr/>
            </p:nvSpPr>
            <p:spPr bwMode="auto">
              <a:xfrm>
                <a:off x="3182570" y="2448588"/>
                <a:ext cx="2237" cy="2493"/>
              </a:xfrm>
              <a:prstGeom prst="ellipse">
                <a:avLst/>
              </a:pr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76" name="Oval 3349"/>
              <p:cNvSpPr>
                <a:spLocks noChangeAspect="1" noChangeArrowheads="1"/>
              </p:cNvSpPr>
              <p:nvPr/>
            </p:nvSpPr>
            <p:spPr bwMode="auto">
              <a:xfrm>
                <a:off x="3010322" y="2573188"/>
                <a:ext cx="1118" cy="3322"/>
              </a:xfrm>
              <a:prstGeom prst="ellipse">
                <a:avLst/>
              </a:pr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77" name="Freeform 3350"/>
              <p:cNvSpPr>
                <a:spLocks noChangeAspect="1"/>
              </p:cNvSpPr>
              <p:nvPr/>
            </p:nvSpPr>
            <p:spPr bwMode="auto">
              <a:xfrm>
                <a:off x="2886169" y="2613060"/>
                <a:ext cx="4474" cy="2493"/>
              </a:xfrm>
              <a:custGeom>
                <a:avLst/>
                <a:gdLst>
                  <a:gd name="T0" fmla="*/ 3 w 3"/>
                  <a:gd name="T1" fmla="*/ 3 h 2"/>
                  <a:gd name="T2" fmla="*/ 1 w 3"/>
                  <a:gd name="T3" fmla="*/ 3 h 2"/>
                  <a:gd name="T4" fmla="*/ 1 w 3"/>
                  <a:gd name="T5" fmla="*/ 0 h 2"/>
                  <a:gd name="T6" fmla="*/ 4 w 3"/>
                  <a:gd name="T7" fmla="*/ 0 h 2"/>
                  <a:gd name="T8" fmla="*/ 3 w 3"/>
                  <a:gd name="T9" fmla="*/ 3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2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3" y="1"/>
                      <a:pt x="2" y="1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78" name="Freeform 3351"/>
              <p:cNvSpPr>
                <a:spLocks noChangeAspect="1"/>
              </p:cNvSpPr>
              <p:nvPr/>
            </p:nvSpPr>
            <p:spPr bwMode="auto">
              <a:xfrm>
                <a:off x="2937620" y="2598108"/>
                <a:ext cx="3356" cy="2493"/>
              </a:xfrm>
              <a:custGeom>
                <a:avLst/>
                <a:gdLst>
                  <a:gd name="T0" fmla="*/ 2 w 3"/>
                  <a:gd name="T1" fmla="*/ 3 h 2"/>
                  <a:gd name="T2" fmla="*/ 0 w 3"/>
                  <a:gd name="T3" fmla="*/ 2 h 2"/>
                  <a:gd name="T4" fmla="*/ 1 w 3"/>
                  <a:gd name="T5" fmla="*/ 0 h 2"/>
                  <a:gd name="T6" fmla="*/ 3 w 3"/>
                  <a:gd name="T7" fmla="*/ 2 h 2"/>
                  <a:gd name="T8" fmla="*/ 2 w 3"/>
                  <a:gd name="T9" fmla="*/ 3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2"/>
                    </a:moveTo>
                    <a:cubicBezTo>
                      <a:pt x="1" y="2"/>
                      <a:pt x="0" y="2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3" y="2"/>
                      <a:pt x="2" y="2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79" name="Freeform 3352"/>
              <p:cNvSpPr>
                <a:spLocks noChangeAspect="1"/>
              </p:cNvSpPr>
              <p:nvPr/>
            </p:nvSpPr>
            <p:spPr bwMode="auto">
              <a:xfrm>
                <a:off x="2810111" y="2686990"/>
                <a:ext cx="3356" cy="1661"/>
              </a:xfrm>
              <a:custGeom>
                <a:avLst/>
                <a:gdLst>
                  <a:gd name="T0" fmla="*/ 2 w 3"/>
                  <a:gd name="T1" fmla="*/ 2 h 2"/>
                  <a:gd name="T2" fmla="*/ 0 w 3"/>
                  <a:gd name="T3" fmla="*/ 2 h 2"/>
                  <a:gd name="T4" fmla="*/ 1 w 3"/>
                  <a:gd name="T5" fmla="*/ 0 h 2"/>
                  <a:gd name="T6" fmla="*/ 3 w 3"/>
                  <a:gd name="T7" fmla="*/ 1 h 2"/>
                  <a:gd name="T8" fmla="*/ 2 w 3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2"/>
                    </a:moveTo>
                    <a:cubicBezTo>
                      <a:pt x="1" y="2"/>
                      <a:pt x="1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2" y="0"/>
                      <a:pt x="3" y="1"/>
                    </a:cubicBezTo>
                    <a:cubicBezTo>
                      <a:pt x="3" y="1"/>
                      <a:pt x="2" y="2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80" name="Freeform 3353"/>
              <p:cNvSpPr>
                <a:spLocks noChangeAspect="1"/>
              </p:cNvSpPr>
              <p:nvPr/>
            </p:nvSpPr>
            <p:spPr bwMode="auto">
              <a:xfrm>
                <a:off x="3031573" y="2613891"/>
                <a:ext cx="3356" cy="2493"/>
              </a:xfrm>
              <a:custGeom>
                <a:avLst/>
                <a:gdLst>
                  <a:gd name="T0" fmla="*/ 2 w 3"/>
                  <a:gd name="T1" fmla="*/ 3 h 2"/>
                  <a:gd name="T2" fmla="*/ 1 w 3"/>
                  <a:gd name="T3" fmla="*/ 3 h 2"/>
                  <a:gd name="T4" fmla="*/ 1 w 3"/>
                  <a:gd name="T5" fmla="*/ 2 h 2"/>
                  <a:gd name="T6" fmla="*/ 2 w 3"/>
                  <a:gd name="T7" fmla="*/ 0 h 2"/>
                  <a:gd name="T8" fmla="*/ 2 w 3"/>
                  <a:gd name="T9" fmla="*/ 3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2"/>
                    </a:moveTo>
                    <a:cubicBezTo>
                      <a:pt x="2" y="2"/>
                      <a:pt x="1" y="2"/>
                      <a:pt x="1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cubicBezTo>
                      <a:pt x="3" y="0"/>
                      <a:pt x="2" y="1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81" name="Freeform 3354"/>
              <p:cNvSpPr>
                <a:spLocks noChangeAspect="1"/>
              </p:cNvSpPr>
              <p:nvPr/>
            </p:nvSpPr>
            <p:spPr bwMode="auto">
              <a:xfrm>
                <a:off x="3018151" y="2595616"/>
                <a:ext cx="2237" cy="2493"/>
              </a:xfrm>
              <a:custGeom>
                <a:avLst/>
                <a:gdLst>
                  <a:gd name="T0" fmla="*/ 2 w 2"/>
                  <a:gd name="T1" fmla="*/ 2 h 3"/>
                  <a:gd name="T2" fmla="*/ 1 w 2"/>
                  <a:gd name="T3" fmla="*/ 3 h 3"/>
                  <a:gd name="T4" fmla="*/ 0 w 2"/>
                  <a:gd name="T5" fmla="*/ 1 h 3"/>
                  <a:gd name="T6" fmla="*/ 1 w 2"/>
                  <a:gd name="T7" fmla="*/ 0 h 3"/>
                  <a:gd name="T8" fmla="*/ 2 w 2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2" y="3"/>
                      <a:pt x="1" y="3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2" y="1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82" name="Freeform 3355"/>
              <p:cNvSpPr>
                <a:spLocks noChangeAspect="1"/>
              </p:cNvSpPr>
              <p:nvPr/>
            </p:nvSpPr>
            <p:spPr bwMode="auto">
              <a:xfrm>
                <a:off x="3055061" y="2610569"/>
                <a:ext cx="4474" cy="1661"/>
              </a:xfrm>
              <a:custGeom>
                <a:avLst/>
                <a:gdLst>
                  <a:gd name="T0" fmla="*/ 3 w 3"/>
                  <a:gd name="T1" fmla="*/ 1 h 2"/>
                  <a:gd name="T2" fmla="*/ 3 w 3"/>
                  <a:gd name="T3" fmla="*/ 1 h 2"/>
                  <a:gd name="T4" fmla="*/ 1 w 3"/>
                  <a:gd name="T5" fmla="*/ 2 h 2"/>
                  <a:gd name="T6" fmla="*/ 0 w 3"/>
                  <a:gd name="T7" fmla="*/ 1 h 2"/>
                  <a:gd name="T8" fmla="*/ 3 w 3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1"/>
                    </a:moveTo>
                    <a:cubicBezTo>
                      <a:pt x="2" y="1"/>
                      <a:pt x="3" y="1"/>
                      <a:pt x="2" y="1"/>
                    </a:cubicBezTo>
                    <a:cubicBezTo>
                      <a:pt x="2" y="2"/>
                      <a:pt x="2" y="2"/>
                      <a:pt x="1" y="2"/>
                    </a:cubicBezTo>
                    <a:cubicBezTo>
                      <a:pt x="1" y="2"/>
                      <a:pt x="0" y="2"/>
                      <a:pt x="0" y="1"/>
                    </a:cubicBezTo>
                    <a:cubicBezTo>
                      <a:pt x="0" y="0"/>
                      <a:pt x="1" y="0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83" name="Freeform 3356"/>
              <p:cNvSpPr>
                <a:spLocks noChangeAspect="1"/>
              </p:cNvSpPr>
              <p:nvPr/>
            </p:nvSpPr>
            <p:spPr bwMode="auto">
              <a:xfrm>
                <a:off x="3044995" y="2610569"/>
                <a:ext cx="2237" cy="831"/>
              </a:xfrm>
              <a:custGeom>
                <a:avLst/>
                <a:gdLst>
                  <a:gd name="T0" fmla="*/ 1 w 2"/>
                  <a:gd name="T1" fmla="*/ 0 h 1"/>
                  <a:gd name="T2" fmla="*/ 2 w 2"/>
                  <a:gd name="T3" fmla="*/ 0 h 1"/>
                  <a:gd name="T4" fmla="*/ 1 w 2"/>
                  <a:gd name="T5" fmla="*/ 1 h 1"/>
                  <a:gd name="T6" fmla="*/ 0 w 2"/>
                  <a:gd name="T7" fmla="*/ 1 h 1"/>
                  <a:gd name="T8" fmla="*/ 1 w 2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1"/>
                  <a:gd name="T17" fmla="*/ 2 w 2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1">
                    <a:moveTo>
                      <a:pt x="1" y="0"/>
                    </a:moveTo>
                    <a:cubicBezTo>
                      <a:pt x="1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1" y="1"/>
                    </a:cubicBezTo>
                    <a:cubicBezTo>
                      <a:pt x="1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84" name="Oval 3357"/>
              <p:cNvSpPr>
                <a:spLocks noChangeAspect="1" noChangeArrowheads="1"/>
              </p:cNvSpPr>
              <p:nvPr/>
            </p:nvSpPr>
            <p:spPr bwMode="auto">
              <a:xfrm>
                <a:off x="3165791" y="2668715"/>
                <a:ext cx="2237" cy="1661"/>
              </a:xfrm>
              <a:prstGeom prst="ellipse">
                <a:avLst/>
              </a:pr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85" name="Freeform 3358"/>
              <p:cNvSpPr>
                <a:spLocks noChangeAspect="1"/>
              </p:cNvSpPr>
              <p:nvPr/>
            </p:nvSpPr>
            <p:spPr bwMode="auto">
              <a:xfrm>
                <a:off x="3193755" y="2663731"/>
                <a:ext cx="4474" cy="3322"/>
              </a:xfrm>
              <a:custGeom>
                <a:avLst/>
                <a:gdLst>
                  <a:gd name="T0" fmla="*/ 1 w 3"/>
                  <a:gd name="T1" fmla="*/ 4 h 3"/>
                  <a:gd name="T2" fmla="*/ 0 w 3"/>
                  <a:gd name="T3" fmla="*/ 4 h 3"/>
                  <a:gd name="T4" fmla="*/ 1 w 3"/>
                  <a:gd name="T5" fmla="*/ 1 h 3"/>
                  <a:gd name="T6" fmla="*/ 3 w 3"/>
                  <a:gd name="T7" fmla="*/ 1 h 3"/>
                  <a:gd name="T8" fmla="*/ 1 w 3"/>
                  <a:gd name="T9" fmla="*/ 4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1" y="3"/>
                    </a:moveTo>
                    <a:cubicBezTo>
                      <a:pt x="1" y="3"/>
                      <a:pt x="1" y="3"/>
                      <a:pt x="0" y="3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1"/>
                      <a:pt x="2" y="0"/>
                      <a:pt x="2" y="1"/>
                    </a:cubicBezTo>
                    <a:cubicBezTo>
                      <a:pt x="3" y="2"/>
                      <a:pt x="2" y="2"/>
                      <a:pt x="1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86" name="Freeform 3359"/>
              <p:cNvSpPr>
                <a:spLocks noChangeAspect="1"/>
              </p:cNvSpPr>
              <p:nvPr/>
            </p:nvSpPr>
            <p:spPr bwMode="auto">
              <a:xfrm>
                <a:off x="3216124" y="2680344"/>
                <a:ext cx="3356" cy="1661"/>
              </a:xfrm>
              <a:custGeom>
                <a:avLst/>
                <a:gdLst>
                  <a:gd name="T0" fmla="*/ 2 w 2"/>
                  <a:gd name="T1" fmla="*/ 1 h 2"/>
                  <a:gd name="T2" fmla="*/ 0 w 2"/>
                  <a:gd name="T3" fmla="*/ 1 h 2"/>
                  <a:gd name="T4" fmla="*/ 2 w 2"/>
                  <a:gd name="T5" fmla="*/ 0 h 2"/>
                  <a:gd name="T6" fmla="*/ 3 w 2"/>
                  <a:gd name="T7" fmla="*/ 1 h 2"/>
                  <a:gd name="T8" fmla="*/ 2 w 2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1" y="1"/>
                    </a:moveTo>
                    <a:cubicBezTo>
                      <a:pt x="1" y="2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1" y="0"/>
                      <a:pt x="2" y="0"/>
                      <a:pt x="2" y="1"/>
                    </a:cubicBezTo>
                    <a:cubicBezTo>
                      <a:pt x="2" y="1"/>
                      <a:pt x="1" y="1"/>
                      <a:pt x="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87" name="Freeform 3360"/>
              <p:cNvSpPr>
                <a:spLocks noChangeAspect="1"/>
              </p:cNvSpPr>
              <p:nvPr/>
            </p:nvSpPr>
            <p:spPr bwMode="auto">
              <a:xfrm>
                <a:off x="3216124" y="2671207"/>
                <a:ext cx="3356" cy="1661"/>
              </a:xfrm>
              <a:custGeom>
                <a:avLst/>
                <a:gdLst>
                  <a:gd name="T0" fmla="*/ 3 w 2"/>
                  <a:gd name="T1" fmla="*/ 1 h 2"/>
                  <a:gd name="T2" fmla="*/ 3 w 2"/>
                  <a:gd name="T3" fmla="*/ 2 h 2"/>
                  <a:gd name="T4" fmla="*/ 2 w 2"/>
                  <a:gd name="T5" fmla="*/ 1 h 2"/>
                  <a:gd name="T6" fmla="*/ 2 w 2"/>
                  <a:gd name="T7" fmla="*/ 0 h 2"/>
                  <a:gd name="T8" fmla="*/ 3 w 2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2" y="1"/>
                    </a:moveTo>
                    <a:cubicBezTo>
                      <a:pt x="2" y="1"/>
                      <a:pt x="2" y="2"/>
                      <a:pt x="2" y="2"/>
                    </a:cubicBezTo>
                    <a:cubicBezTo>
                      <a:pt x="1" y="2"/>
                      <a:pt x="1" y="2"/>
                      <a:pt x="1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88" name="Freeform 3361"/>
              <p:cNvSpPr>
                <a:spLocks noChangeAspect="1"/>
              </p:cNvSpPr>
              <p:nvPr/>
            </p:nvSpPr>
            <p:spPr bwMode="auto">
              <a:xfrm>
                <a:off x="3168029" y="2756766"/>
                <a:ext cx="3356" cy="1661"/>
              </a:xfrm>
              <a:custGeom>
                <a:avLst/>
                <a:gdLst>
                  <a:gd name="T0" fmla="*/ 3 w 2"/>
                  <a:gd name="T1" fmla="*/ 1 h 2"/>
                  <a:gd name="T2" fmla="*/ 2 w 2"/>
                  <a:gd name="T3" fmla="*/ 2 h 2"/>
                  <a:gd name="T4" fmla="*/ 0 w 2"/>
                  <a:gd name="T5" fmla="*/ 1 h 2"/>
                  <a:gd name="T6" fmla="*/ 2 w 2"/>
                  <a:gd name="T7" fmla="*/ 0 h 2"/>
                  <a:gd name="T8" fmla="*/ 3 w 2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2" y="1"/>
                    </a:moveTo>
                    <a:cubicBezTo>
                      <a:pt x="2" y="2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89" name="Freeform 3362"/>
              <p:cNvSpPr>
                <a:spLocks noChangeAspect="1"/>
              </p:cNvSpPr>
              <p:nvPr/>
            </p:nvSpPr>
            <p:spPr bwMode="auto">
              <a:xfrm>
                <a:off x="3219479" y="2746798"/>
                <a:ext cx="1118" cy="3322"/>
              </a:xfrm>
              <a:custGeom>
                <a:avLst/>
                <a:gdLst>
                  <a:gd name="T0" fmla="*/ 1 w 1"/>
                  <a:gd name="T1" fmla="*/ 3 h 3"/>
                  <a:gd name="T2" fmla="*/ 1 w 1"/>
                  <a:gd name="T3" fmla="*/ 4 h 3"/>
                  <a:gd name="T4" fmla="*/ 0 w 1"/>
                  <a:gd name="T5" fmla="*/ 1 h 3"/>
                  <a:gd name="T6" fmla="*/ 1 w 1"/>
                  <a:gd name="T7" fmla="*/ 0 h 3"/>
                  <a:gd name="T8" fmla="*/ 1 w 1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3"/>
                  <a:gd name="T17" fmla="*/ 1 w 1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3">
                    <a:moveTo>
                      <a:pt x="1" y="2"/>
                    </a:moveTo>
                    <a:cubicBezTo>
                      <a:pt x="1" y="2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1" y="1"/>
                      <a:pt x="1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90" name="Freeform 3363"/>
              <p:cNvSpPr>
                <a:spLocks noChangeAspect="1"/>
              </p:cNvSpPr>
              <p:nvPr/>
            </p:nvSpPr>
            <p:spPr bwMode="auto">
              <a:xfrm>
                <a:off x="3225072" y="2735169"/>
                <a:ext cx="1118" cy="2493"/>
              </a:xfrm>
              <a:custGeom>
                <a:avLst/>
                <a:gdLst>
                  <a:gd name="T0" fmla="*/ 1 w 1"/>
                  <a:gd name="T1" fmla="*/ 2 h 3"/>
                  <a:gd name="T2" fmla="*/ 0 w 1"/>
                  <a:gd name="T3" fmla="*/ 3 h 3"/>
                  <a:gd name="T4" fmla="*/ 0 w 1"/>
                  <a:gd name="T5" fmla="*/ 2 h 3"/>
                  <a:gd name="T6" fmla="*/ 1 w 1"/>
                  <a:gd name="T7" fmla="*/ 1 h 3"/>
                  <a:gd name="T8" fmla="*/ 1 w 1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3"/>
                  <a:gd name="T17" fmla="*/ 1 w 1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3">
                    <a:moveTo>
                      <a:pt x="1" y="2"/>
                    </a:moveTo>
                    <a:cubicBezTo>
                      <a:pt x="1" y="3"/>
                      <a:pt x="1" y="3"/>
                      <a:pt x="0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1"/>
                    </a:cubicBezTo>
                    <a:cubicBezTo>
                      <a:pt x="1" y="1"/>
                      <a:pt x="1" y="2"/>
                      <a:pt x="1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91" name="Freeform 3364"/>
              <p:cNvSpPr>
                <a:spLocks noChangeAspect="1"/>
              </p:cNvSpPr>
              <p:nvPr/>
            </p:nvSpPr>
            <p:spPr bwMode="auto">
              <a:xfrm>
                <a:off x="3216124" y="2751781"/>
                <a:ext cx="3356" cy="3322"/>
              </a:xfrm>
              <a:custGeom>
                <a:avLst/>
                <a:gdLst>
                  <a:gd name="T0" fmla="*/ 2 w 2"/>
                  <a:gd name="T1" fmla="*/ 3 h 3"/>
                  <a:gd name="T2" fmla="*/ 2 w 2"/>
                  <a:gd name="T3" fmla="*/ 4 h 3"/>
                  <a:gd name="T4" fmla="*/ 0 w 2"/>
                  <a:gd name="T5" fmla="*/ 1 h 3"/>
                  <a:gd name="T6" fmla="*/ 2 w 2"/>
                  <a:gd name="T7" fmla="*/ 0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2"/>
                    </a:moveTo>
                    <a:cubicBezTo>
                      <a:pt x="1" y="2"/>
                      <a:pt x="1" y="3"/>
                      <a:pt x="1" y="3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1" y="1"/>
                      <a:pt x="1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92" name="Freeform 3365"/>
              <p:cNvSpPr>
                <a:spLocks noChangeAspect="1"/>
              </p:cNvSpPr>
              <p:nvPr/>
            </p:nvSpPr>
            <p:spPr bwMode="auto">
              <a:xfrm>
                <a:off x="3231784" y="2763410"/>
                <a:ext cx="3356" cy="3322"/>
              </a:xfrm>
              <a:custGeom>
                <a:avLst/>
                <a:gdLst>
                  <a:gd name="T0" fmla="*/ 2 w 3"/>
                  <a:gd name="T1" fmla="*/ 3 h 3"/>
                  <a:gd name="T2" fmla="*/ 0 w 3"/>
                  <a:gd name="T3" fmla="*/ 3 h 3"/>
                  <a:gd name="T4" fmla="*/ 1 w 3"/>
                  <a:gd name="T5" fmla="*/ 1 h 3"/>
                  <a:gd name="T6" fmla="*/ 2 w 3"/>
                  <a:gd name="T7" fmla="*/ 1 h 3"/>
                  <a:gd name="T8" fmla="*/ 2 w 3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2"/>
                    </a:moveTo>
                    <a:cubicBezTo>
                      <a:pt x="1" y="2"/>
                      <a:pt x="1" y="3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1"/>
                      <a:pt x="2" y="0"/>
                      <a:pt x="2" y="1"/>
                    </a:cubicBezTo>
                    <a:cubicBezTo>
                      <a:pt x="3" y="1"/>
                      <a:pt x="2" y="2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93" name="Freeform 3366"/>
              <p:cNvSpPr>
                <a:spLocks noChangeAspect="1"/>
              </p:cNvSpPr>
              <p:nvPr/>
            </p:nvSpPr>
            <p:spPr bwMode="auto">
              <a:xfrm>
                <a:off x="3408505" y="2916253"/>
                <a:ext cx="4474" cy="3322"/>
              </a:xfrm>
              <a:custGeom>
                <a:avLst/>
                <a:gdLst>
                  <a:gd name="T0" fmla="*/ 3 w 3"/>
                  <a:gd name="T1" fmla="*/ 3 h 3"/>
                  <a:gd name="T2" fmla="*/ 1 w 3"/>
                  <a:gd name="T3" fmla="*/ 3 h 3"/>
                  <a:gd name="T4" fmla="*/ 1 w 3"/>
                  <a:gd name="T5" fmla="*/ 1 h 3"/>
                  <a:gd name="T6" fmla="*/ 3 w 3"/>
                  <a:gd name="T7" fmla="*/ 0 h 3"/>
                  <a:gd name="T8" fmla="*/ 3 w 3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2"/>
                    </a:moveTo>
                    <a:cubicBezTo>
                      <a:pt x="2" y="2"/>
                      <a:pt x="1" y="3"/>
                      <a:pt x="1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1" y="0"/>
                      <a:pt x="2" y="0"/>
                    </a:cubicBezTo>
                    <a:cubicBezTo>
                      <a:pt x="3" y="0"/>
                      <a:pt x="2" y="1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94" name="Freeform 3367"/>
              <p:cNvSpPr>
                <a:spLocks noChangeAspect="1"/>
              </p:cNvSpPr>
              <p:nvPr/>
            </p:nvSpPr>
            <p:spPr bwMode="auto">
              <a:xfrm>
                <a:off x="2703855" y="2930374"/>
                <a:ext cx="2237" cy="2493"/>
              </a:xfrm>
              <a:custGeom>
                <a:avLst/>
                <a:gdLst>
                  <a:gd name="T0" fmla="*/ 1 w 2"/>
                  <a:gd name="T1" fmla="*/ 2 h 3"/>
                  <a:gd name="T2" fmla="*/ 0 w 2"/>
                  <a:gd name="T3" fmla="*/ 2 h 3"/>
                  <a:gd name="T4" fmla="*/ 0 w 2"/>
                  <a:gd name="T5" fmla="*/ 1 h 3"/>
                  <a:gd name="T6" fmla="*/ 1 w 2"/>
                  <a:gd name="T7" fmla="*/ 0 h 3"/>
                  <a:gd name="T8" fmla="*/ 1 w 2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2"/>
                    </a:moveTo>
                    <a:cubicBezTo>
                      <a:pt x="1" y="2"/>
                      <a:pt x="1" y="3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" y="1"/>
                      <a:pt x="2" y="1"/>
                      <a:pt x="1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95" name="Freeform 3368"/>
              <p:cNvSpPr>
                <a:spLocks noChangeAspect="1"/>
              </p:cNvSpPr>
              <p:nvPr/>
            </p:nvSpPr>
            <p:spPr bwMode="auto">
              <a:xfrm>
                <a:off x="2718395" y="2927052"/>
                <a:ext cx="3356" cy="3322"/>
              </a:xfrm>
              <a:custGeom>
                <a:avLst/>
                <a:gdLst>
                  <a:gd name="T0" fmla="*/ 3 w 2"/>
                  <a:gd name="T1" fmla="*/ 1 h 3"/>
                  <a:gd name="T2" fmla="*/ 3 w 2"/>
                  <a:gd name="T3" fmla="*/ 4 h 3"/>
                  <a:gd name="T4" fmla="*/ 2 w 2"/>
                  <a:gd name="T5" fmla="*/ 3 h 3"/>
                  <a:gd name="T6" fmla="*/ 0 w 2"/>
                  <a:gd name="T7" fmla="*/ 1 h 3"/>
                  <a:gd name="T8" fmla="*/ 3 w 2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1"/>
                    </a:moveTo>
                    <a:cubicBezTo>
                      <a:pt x="2" y="2"/>
                      <a:pt x="2" y="2"/>
                      <a:pt x="2" y="3"/>
                    </a:cubicBezTo>
                    <a:cubicBezTo>
                      <a:pt x="1" y="3"/>
                      <a:pt x="1" y="3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1" y="0"/>
                      <a:pt x="1" y="1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96" name="Freeform 3369"/>
              <p:cNvSpPr>
                <a:spLocks noChangeAspect="1"/>
              </p:cNvSpPr>
              <p:nvPr/>
            </p:nvSpPr>
            <p:spPr bwMode="auto">
              <a:xfrm>
                <a:off x="2897354" y="2966093"/>
                <a:ext cx="2237" cy="1661"/>
              </a:xfrm>
              <a:custGeom>
                <a:avLst/>
                <a:gdLst>
                  <a:gd name="T0" fmla="*/ 1 w 2"/>
                  <a:gd name="T1" fmla="*/ 2 h 2"/>
                  <a:gd name="T2" fmla="*/ 0 w 2"/>
                  <a:gd name="T3" fmla="*/ 2 h 2"/>
                  <a:gd name="T4" fmla="*/ 1 w 2"/>
                  <a:gd name="T5" fmla="*/ 0 h 2"/>
                  <a:gd name="T6" fmla="*/ 2 w 2"/>
                  <a:gd name="T7" fmla="*/ 1 h 2"/>
                  <a:gd name="T8" fmla="*/ 1 w 2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1" y="2"/>
                    </a:moveTo>
                    <a:cubicBezTo>
                      <a:pt x="1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2" y="0"/>
                      <a:pt x="2" y="1"/>
                    </a:cubicBezTo>
                    <a:cubicBezTo>
                      <a:pt x="2" y="2"/>
                      <a:pt x="2" y="2"/>
                      <a:pt x="1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97" name="Freeform 3370"/>
              <p:cNvSpPr>
                <a:spLocks noChangeAspect="1"/>
              </p:cNvSpPr>
              <p:nvPr/>
            </p:nvSpPr>
            <p:spPr bwMode="auto">
              <a:xfrm>
                <a:off x="2900709" y="2964432"/>
                <a:ext cx="4474" cy="1661"/>
              </a:xfrm>
              <a:custGeom>
                <a:avLst/>
                <a:gdLst>
                  <a:gd name="T0" fmla="*/ 1 w 3"/>
                  <a:gd name="T1" fmla="*/ 2 h 2"/>
                  <a:gd name="T2" fmla="*/ 0 w 3"/>
                  <a:gd name="T3" fmla="*/ 1 h 2"/>
                  <a:gd name="T4" fmla="*/ 1 w 3"/>
                  <a:gd name="T5" fmla="*/ 0 h 2"/>
                  <a:gd name="T6" fmla="*/ 3 w 3"/>
                  <a:gd name="T7" fmla="*/ 1 h 2"/>
                  <a:gd name="T8" fmla="*/ 1 w 3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1" y="2"/>
                    </a:moveTo>
                    <a:cubicBezTo>
                      <a:pt x="0" y="2"/>
                      <a:pt x="0" y="2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" y="0"/>
                      <a:pt x="3" y="0"/>
                      <a:pt x="2" y="1"/>
                    </a:cubicBezTo>
                    <a:cubicBezTo>
                      <a:pt x="2" y="2"/>
                      <a:pt x="1" y="2"/>
                      <a:pt x="1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98" name="Freeform 3505"/>
              <p:cNvSpPr>
                <a:spLocks noChangeAspect="1"/>
              </p:cNvSpPr>
              <p:nvPr/>
            </p:nvSpPr>
            <p:spPr bwMode="auto">
              <a:xfrm>
                <a:off x="2704973" y="2922899"/>
                <a:ext cx="13422" cy="19105"/>
              </a:xfrm>
              <a:custGeom>
                <a:avLst/>
                <a:gdLst>
                  <a:gd name="T0" fmla="*/ 0 w 10"/>
                  <a:gd name="T1" fmla="*/ 2 h 19"/>
                  <a:gd name="T2" fmla="*/ 2 w 10"/>
                  <a:gd name="T3" fmla="*/ 0 h 19"/>
                  <a:gd name="T4" fmla="*/ 11 w 10"/>
                  <a:gd name="T5" fmla="*/ 11 h 19"/>
                  <a:gd name="T6" fmla="*/ 12 w 10"/>
                  <a:gd name="T7" fmla="*/ 17 h 19"/>
                  <a:gd name="T8" fmla="*/ 8 w 10"/>
                  <a:gd name="T9" fmla="*/ 22 h 19"/>
                  <a:gd name="T10" fmla="*/ 4 w 10"/>
                  <a:gd name="T11" fmla="*/ 19 h 19"/>
                  <a:gd name="T12" fmla="*/ 2 w 10"/>
                  <a:gd name="T13" fmla="*/ 17 h 19"/>
                  <a:gd name="T14" fmla="*/ 6 w 10"/>
                  <a:gd name="T15" fmla="*/ 13 h 19"/>
                  <a:gd name="T16" fmla="*/ 4 w 10"/>
                  <a:gd name="T17" fmla="*/ 7 h 19"/>
                  <a:gd name="T18" fmla="*/ 0 w 10"/>
                  <a:gd name="T19" fmla="*/ 2 h 1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0"/>
                  <a:gd name="T31" fmla="*/ 0 h 19"/>
                  <a:gd name="T32" fmla="*/ 10 w 10"/>
                  <a:gd name="T33" fmla="*/ 19 h 19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0" h="19">
                    <a:moveTo>
                      <a:pt x="0" y="2"/>
                    </a:moveTo>
                    <a:cubicBezTo>
                      <a:pt x="0" y="1"/>
                      <a:pt x="1" y="0"/>
                      <a:pt x="2" y="0"/>
                    </a:cubicBezTo>
                    <a:cubicBezTo>
                      <a:pt x="5" y="3"/>
                      <a:pt x="7" y="6"/>
                      <a:pt x="9" y="9"/>
                    </a:cubicBezTo>
                    <a:cubicBezTo>
                      <a:pt x="10" y="11"/>
                      <a:pt x="10" y="12"/>
                      <a:pt x="10" y="14"/>
                    </a:cubicBezTo>
                    <a:cubicBezTo>
                      <a:pt x="10" y="15"/>
                      <a:pt x="9" y="17"/>
                      <a:pt x="7" y="18"/>
                    </a:cubicBezTo>
                    <a:cubicBezTo>
                      <a:pt x="6" y="19"/>
                      <a:pt x="4" y="18"/>
                      <a:pt x="3" y="16"/>
                    </a:cubicBezTo>
                    <a:cubicBezTo>
                      <a:pt x="2" y="16"/>
                      <a:pt x="2" y="15"/>
                      <a:pt x="2" y="14"/>
                    </a:cubicBezTo>
                    <a:cubicBezTo>
                      <a:pt x="3" y="13"/>
                      <a:pt x="5" y="12"/>
                      <a:pt x="5" y="11"/>
                    </a:cubicBezTo>
                    <a:cubicBezTo>
                      <a:pt x="5" y="9"/>
                      <a:pt x="4" y="8"/>
                      <a:pt x="3" y="6"/>
                    </a:cubicBezTo>
                    <a:cubicBezTo>
                      <a:pt x="2" y="5"/>
                      <a:pt x="0" y="4"/>
                      <a:pt x="0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299" name="Freeform 3506"/>
              <p:cNvSpPr>
                <a:spLocks noChangeAspect="1"/>
              </p:cNvSpPr>
              <p:nvPr/>
            </p:nvSpPr>
            <p:spPr bwMode="auto">
              <a:xfrm>
                <a:off x="3382779" y="2934528"/>
                <a:ext cx="10067" cy="11629"/>
              </a:xfrm>
              <a:custGeom>
                <a:avLst/>
                <a:gdLst>
                  <a:gd name="T0" fmla="*/ 0 w 7"/>
                  <a:gd name="T1" fmla="*/ 14 h 12"/>
                  <a:gd name="T2" fmla="*/ 1 w 7"/>
                  <a:gd name="T3" fmla="*/ 14 h 12"/>
                  <a:gd name="T4" fmla="*/ 6 w 7"/>
                  <a:gd name="T5" fmla="*/ 8 h 12"/>
                  <a:gd name="T6" fmla="*/ 9 w 7"/>
                  <a:gd name="T7" fmla="*/ 1 h 12"/>
                  <a:gd name="T8" fmla="*/ 5 w 7"/>
                  <a:gd name="T9" fmla="*/ 4 h 12"/>
                  <a:gd name="T10" fmla="*/ 4 w 7"/>
                  <a:gd name="T11" fmla="*/ 9 h 12"/>
                  <a:gd name="T12" fmla="*/ 0 w 7"/>
                  <a:gd name="T13" fmla="*/ 14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"/>
                  <a:gd name="T22" fmla="*/ 0 h 12"/>
                  <a:gd name="T23" fmla="*/ 7 w 7"/>
                  <a:gd name="T24" fmla="*/ 12 h 1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" h="12">
                    <a:moveTo>
                      <a:pt x="0" y="12"/>
                    </a:moveTo>
                    <a:cubicBezTo>
                      <a:pt x="0" y="12"/>
                      <a:pt x="1" y="12"/>
                      <a:pt x="1" y="12"/>
                    </a:cubicBezTo>
                    <a:cubicBezTo>
                      <a:pt x="3" y="11"/>
                      <a:pt x="4" y="9"/>
                      <a:pt x="5" y="7"/>
                    </a:cubicBezTo>
                    <a:cubicBezTo>
                      <a:pt x="6" y="5"/>
                      <a:pt x="7" y="3"/>
                      <a:pt x="7" y="1"/>
                    </a:cubicBezTo>
                    <a:cubicBezTo>
                      <a:pt x="7" y="0"/>
                      <a:pt x="5" y="2"/>
                      <a:pt x="4" y="3"/>
                    </a:cubicBezTo>
                    <a:cubicBezTo>
                      <a:pt x="3" y="5"/>
                      <a:pt x="3" y="6"/>
                      <a:pt x="3" y="8"/>
                    </a:cubicBezTo>
                    <a:cubicBezTo>
                      <a:pt x="2" y="9"/>
                      <a:pt x="0" y="10"/>
                      <a:pt x="0" y="1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00" name="Freeform 3507"/>
              <p:cNvSpPr>
                <a:spLocks noChangeAspect="1"/>
              </p:cNvSpPr>
              <p:nvPr/>
            </p:nvSpPr>
            <p:spPr bwMode="auto">
              <a:xfrm>
                <a:off x="3407386" y="2921238"/>
                <a:ext cx="11185" cy="4984"/>
              </a:xfrm>
              <a:custGeom>
                <a:avLst/>
                <a:gdLst>
                  <a:gd name="T0" fmla="*/ 1 w 8"/>
                  <a:gd name="T1" fmla="*/ 1 h 5"/>
                  <a:gd name="T2" fmla="*/ 1 w 8"/>
                  <a:gd name="T3" fmla="*/ 5 h 5"/>
                  <a:gd name="T4" fmla="*/ 7 w 8"/>
                  <a:gd name="T5" fmla="*/ 5 h 5"/>
                  <a:gd name="T6" fmla="*/ 10 w 8"/>
                  <a:gd name="T7" fmla="*/ 1 h 5"/>
                  <a:gd name="T8" fmla="*/ 6 w 8"/>
                  <a:gd name="T9" fmla="*/ 1 h 5"/>
                  <a:gd name="T10" fmla="*/ 1 w 8"/>
                  <a:gd name="T11" fmla="*/ 1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5"/>
                  <a:gd name="T20" fmla="*/ 8 w 8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5">
                    <a:moveTo>
                      <a:pt x="1" y="1"/>
                    </a:moveTo>
                    <a:cubicBezTo>
                      <a:pt x="0" y="2"/>
                      <a:pt x="0" y="4"/>
                      <a:pt x="1" y="4"/>
                    </a:cubicBezTo>
                    <a:cubicBezTo>
                      <a:pt x="2" y="5"/>
                      <a:pt x="4" y="5"/>
                      <a:pt x="6" y="4"/>
                    </a:cubicBezTo>
                    <a:cubicBezTo>
                      <a:pt x="7" y="4"/>
                      <a:pt x="8" y="2"/>
                      <a:pt x="8" y="1"/>
                    </a:cubicBezTo>
                    <a:cubicBezTo>
                      <a:pt x="7" y="0"/>
                      <a:pt x="6" y="1"/>
                      <a:pt x="5" y="1"/>
                    </a:cubicBezTo>
                    <a:cubicBezTo>
                      <a:pt x="4" y="1"/>
                      <a:pt x="2" y="0"/>
                      <a:pt x="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01" name="Freeform 3508"/>
              <p:cNvSpPr>
                <a:spLocks noChangeAspect="1"/>
              </p:cNvSpPr>
              <p:nvPr/>
            </p:nvSpPr>
            <p:spPr bwMode="auto">
              <a:xfrm>
                <a:off x="3401794" y="2922067"/>
                <a:ext cx="5593" cy="4984"/>
              </a:xfrm>
              <a:custGeom>
                <a:avLst/>
                <a:gdLst>
                  <a:gd name="T0" fmla="*/ 0 w 4"/>
                  <a:gd name="T1" fmla="*/ 2 h 5"/>
                  <a:gd name="T2" fmla="*/ 3 w 4"/>
                  <a:gd name="T3" fmla="*/ 5 h 5"/>
                  <a:gd name="T4" fmla="*/ 4 w 4"/>
                  <a:gd name="T5" fmla="*/ 0 h 5"/>
                  <a:gd name="T6" fmla="*/ 0 w 4"/>
                  <a:gd name="T7" fmla="*/ 2 h 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"/>
                  <a:gd name="T13" fmla="*/ 0 h 5"/>
                  <a:gd name="T14" fmla="*/ 4 w 4"/>
                  <a:gd name="T15" fmla="*/ 5 h 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" h="5">
                    <a:moveTo>
                      <a:pt x="0" y="2"/>
                    </a:moveTo>
                    <a:cubicBezTo>
                      <a:pt x="0" y="3"/>
                      <a:pt x="1" y="5"/>
                      <a:pt x="2" y="4"/>
                    </a:cubicBezTo>
                    <a:cubicBezTo>
                      <a:pt x="3" y="4"/>
                      <a:pt x="4" y="1"/>
                      <a:pt x="3" y="0"/>
                    </a:cubicBezTo>
                    <a:cubicBezTo>
                      <a:pt x="2" y="0"/>
                      <a:pt x="0" y="1"/>
                      <a:pt x="0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02" name="Freeform 3509"/>
              <p:cNvSpPr>
                <a:spLocks noChangeAspect="1"/>
              </p:cNvSpPr>
              <p:nvPr/>
            </p:nvSpPr>
            <p:spPr bwMode="auto">
              <a:xfrm>
                <a:off x="3168029" y="2767564"/>
                <a:ext cx="13422" cy="4984"/>
              </a:xfrm>
              <a:custGeom>
                <a:avLst/>
                <a:gdLst>
                  <a:gd name="T0" fmla="*/ 4 w 10"/>
                  <a:gd name="T1" fmla="*/ 1 h 5"/>
                  <a:gd name="T2" fmla="*/ 1 w 10"/>
                  <a:gd name="T3" fmla="*/ 5 h 5"/>
                  <a:gd name="T4" fmla="*/ 10 w 10"/>
                  <a:gd name="T5" fmla="*/ 5 h 5"/>
                  <a:gd name="T6" fmla="*/ 11 w 10"/>
                  <a:gd name="T7" fmla="*/ 1 h 5"/>
                  <a:gd name="T8" fmla="*/ 6 w 10"/>
                  <a:gd name="T9" fmla="*/ 1 h 5"/>
                  <a:gd name="T10" fmla="*/ 4 w 10"/>
                  <a:gd name="T11" fmla="*/ 1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"/>
                  <a:gd name="T19" fmla="*/ 0 h 5"/>
                  <a:gd name="T20" fmla="*/ 10 w 10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" h="5">
                    <a:moveTo>
                      <a:pt x="3" y="1"/>
                    </a:moveTo>
                    <a:cubicBezTo>
                      <a:pt x="2" y="1"/>
                      <a:pt x="0" y="3"/>
                      <a:pt x="1" y="4"/>
                    </a:cubicBezTo>
                    <a:cubicBezTo>
                      <a:pt x="3" y="5"/>
                      <a:pt x="6" y="5"/>
                      <a:pt x="8" y="4"/>
                    </a:cubicBezTo>
                    <a:cubicBezTo>
                      <a:pt x="9" y="4"/>
                      <a:pt x="10" y="2"/>
                      <a:pt x="9" y="1"/>
                    </a:cubicBezTo>
                    <a:cubicBezTo>
                      <a:pt x="8" y="0"/>
                      <a:pt x="7" y="1"/>
                      <a:pt x="5" y="1"/>
                    </a:cubicBezTo>
                    <a:cubicBezTo>
                      <a:pt x="4" y="1"/>
                      <a:pt x="3" y="0"/>
                      <a:pt x="3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03" name="Freeform 3510"/>
              <p:cNvSpPr>
                <a:spLocks noChangeAspect="1"/>
              </p:cNvSpPr>
              <p:nvPr/>
            </p:nvSpPr>
            <p:spPr bwMode="auto">
              <a:xfrm>
                <a:off x="3212768" y="2772548"/>
                <a:ext cx="14540" cy="10799"/>
              </a:xfrm>
              <a:custGeom>
                <a:avLst/>
                <a:gdLst>
                  <a:gd name="T0" fmla="*/ 6 w 11"/>
                  <a:gd name="T1" fmla="*/ 1 h 11"/>
                  <a:gd name="T2" fmla="*/ 5 w 11"/>
                  <a:gd name="T3" fmla="*/ 5 h 11"/>
                  <a:gd name="T4" fmla="*/ 6 w 11"/>
                  <a:gd name="T5" fmla="*/ 8 h 11"/>
                  <a:gd name="T6" fmla="*/ 0 w 11"/>
                  <a:gd name="T7" fmla="*/ 11 h 11"/>
                  <a:gd name="T8" fmla="*/ 1 w 11"/>
                  <a:gd name="T9" fmla="*/ 12 h 11"/>
                  <a:gd name="T10" fmla="*/ 11 w 11"/>
                  <a:gd name="T11" fmla="*/ 11 h 11"/>
                  <a:gd name="T12" fmla="*/ 13 w 11"/>
                  <a:gd name="T13" fmla="*/ 9 h 11"/>
                  <a:gd name="T14" fmla="*/ 13 w 11"/>
                  <a:gd name="T15" fmla="*/ 2 h 11"/>
                  <a:gd name="T16" fmla="*/ 13 w 11"/>
                  <a:gd name="T17" fmla="*/ 0 h 11"/>
                  <a:gd name="T18" fmla="*/ 6 w 11"/>
                  <a:gd name="T19" fmla="*/ 1 h 1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1"/>
                  <a:gd name="T31" fmla="*/ 0 h 11"/>
                  <a:gd name="T32" fmla="*/ 11 w 11"/>
                  <a:gd name="T33" fmla="*/ 11 h 1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1" h="11">
                    <a:moveTo>
                      <a:pt x="5" y="1"/>
                    </a:moveTo>
                    <a:cubicBezTo>
                      <a:pt x="4" y="1"/>
                      <a:pt x="4" y="3"/>
                      <a:pt x="4" y="4"/>
                    </a:cubicBezTo>
                    <a:cubicBezTo>
                      <a:pt x="5" y="5"/>
                      <a:pt x="6" y="7"/>
                      <a:pt x="5" y="7"/>
                    </a:cubicBezTo>
                    <a:cubicBezTo>
                      <a:pt x="4" y="9"/>
                      <a:pt x="2" y="8"/>
                      <a:pt x="0" y="9"/>
                    </a:cubicBezTo>
                    <a:cubicBezTo>
                      <a:pt x="0" y="9"/>
                      <a:pt x="0" y="10"/>
                      <a:pt x="1" y="10"/>
                    </a:cubicBezTo>
                    <a:cubicBezTo>
                      <a:pt x="3" y="11"/>
                      <a:pt x="6" y="10"/>
                      <a:pt x="9" y="9"/>
                    </a:cubicBezTo>
                    <a:cubicBezTo>
                      <a:pt x="9" y="9"/>
                      <a:pt x="11" y="9"/>
                      <a:pt x="11" y="8"/>
                    </a:cubicBezTo>
                    <a:cubicBezTo>
                      <a:pt x="11" y="6"/>
                      <a:pt x="11" y="4"/>
                      <a:pt x="11" y="2"/>
                    </a:cubicBezTo>
                    <a:cubicBezTo>
                      <a:pt x="11" y="2"/>
                      <a:pt x="11" y="1"/>
                      <a:pt x="11" y="0"/>
                    </a:cubicBezTo>
                    <a:cubicBezTo>
                      <a:pt x="9" y="0"/>
                      <a:pt x="6" y="0"/>
                      <a:pt x="5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04" name="Freeform 3511"/>
              <p:cNvSpPr>
                <a:spLocks noChangeAspect="1"/>
              </p:cNvSpPr>
              <p:nvPr/>
            </p:nvSpPr>
            <p:spPr bwMode="auto">
              <a:xfrm>
                <a:off x="3127762" y="2656254"/>
                <a:ext cx="32437" cy="9137"/>
              </a:xfrm>
              <a:custGeom>
                <a:avLst/>
                <a:gdLst>
                  <a:gd name="T0" fmla="*/ 1 w 24"/>
                  <a:gd name="T1" fmla="*/ 1 h 9"/>
                  <a:gd name="T2" fmla="*/ 0 w 24"/>
                  <a:gd name="T3" fmla="*/ 5 h 9"/>
                  <a:gd name="T4" fmla="*/ 2 w 24"/>
                  <a:gd name="T5" fmla="*/ 10 h 9"/>
                  <a:gd name="T6" fmla="*/ 12 w 24"/>
                  <a:gd name="T7" fmla="*/ 10 h 9"/>
                  <a:gd name="T8" fmla="*/ 22 w 24"/>
                  <a:gd name="T9" fmla="*/ 10 h 9"/>
                  <a:gd name="T10" fmla="*/ 28 w 24"/>
                  <a:gd name="T11" fmla="*/ 4 h 9"/>
                  <a:gd name="T12" fmla="*/ 19 w 24"/>
                  <a:gd name="T13" fmla="*/ 2 h 9"/>
                  <a:gd name="T14" fmla="*/ 8 w 24"/>
                  <a:gd name="T15" fmla="*/ 1 h 9"/>
                  <a:gd name="T16" fmla="*/ 1 w 24"/>
                  <a:gd name="T17" fmla="*/ 1 h 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4"/>
                  <a:gd name="T28" fmla="*/ 0 h 9"/>
                  <a:gd name="T29" fmla="*/ 24 w 24"/>
                  <a:gd name="T30" fmla="*/ 9 h 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4" h="9">
                    <a:moveTo>
                      <a:pt x="1" y="1"/>
                    </a:moveTo>
                    <a:cubicBezTo>
                      <a:pt x="0" y="1"/>
                      <a:pt x="0" y="3"/>
                      <a:pt x="0" y="4"/>
                    </a:cubicBezTo>
                    <a:cubicBezTo>
                      <a:pt x="0" y="6"/>
                      <a:pt x="1" y="8"/>
                      <a:pt x="2" y="8"/>
                    </a:cubicBezTo>
                    <a:cubicBezTo>
                      <a:pt x="5" y="9"/>
                      <a:pt x="7" y="8"/>
                      <a:pt x="10" y="8"/>
                    </a:cubicBezTo>
                    <a:cubicBezTo>
                      <a:pt x="13" y="8"/>
                      <a:pt x="16" y="9"/>
                      <a:pt x="18" y="8"/>
                    </a:cubicBezTo>
                    <a:cubicBezTo>
                      <a:pt x="20" y="7"/>
                      <a:pt x="24" y="5"/>
                      <a:pt x="23" y="3"/>
                    </a:cubicBezTo>
                    <a:cubicBezTo>
                      <a:pt x="22" y="1"/>
                      <a:pt x="18" y="2"/>
                      <a:pt x="16" y="2"/>
                    </a:cubicBezTo>
                    <a:cubicBezTo>
                      <a:pt x="13" y="1"/>
                      <a:pt x="10" y="1"/>
                      <a:pt x="7" y="1"/>
                    </a:cubicBezTo>
                    <a:cubicBezTo>
                      <a:pt x="5" y="0"/>
                      <a:pt x="3" y="0"/>
                      <a:pt x="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05" name="Freeform 3512"/>
              <p:cNvSpPr>
                <a:spLocks noChangeAspect="1"/>
              </p:cNvSpPr>
              <p:nvPr/>
            </p:nvSpPr>
            <p:spPr bwMode="auto">
              <a:xfrm>
                <a:off x="3019269" y="2618044"/>
                <a:ext cx="14540" cy="7476"/>
              </a:xfrm>
              <a:custGeom>
                <a:avLst/>
                <a:gdLst>
                  <a:gd name="T0" fmla="*/ 8 w 11"/>
                  <a:gd name="T1" fmla="*/ 4 h 7"/>
                  <a:gd name="T2" fmla="*/ 12 w 11"/>
                  <a:gd name="T3" fmla="*/ 0 h 7"/>
                  <a:gd name="T4" fmla="*/ 12 w 11"/>
                  <a:gd name="T5" fmla="*/ 4 h 7"/>
                  <a:gd name="T6" fmla="*/ 9 w 11"/>
                  <a:gd name="T7" fmla="*/ 8 h 7"/>
                  <a:gd name="T8" fmla="*/ 2 w 11"/>
                  <a:gd name="T9" fmla="*/ 8 h 7"/>
                  <a:gd name="T10" fmla="*/ 0 w 11"/>
                  <a:gd name="T11" fmla="*/ 6 h 7"/>
                  <a:gd name="T12" fmla="*/ 4 w 11"/>
                  <a:gd name="T13" fmla="*/ 3 h 7"/>
                  <a:gd name="T14" fmla="*/ 8 w 11"/>
                  <a:gd name="T15" fmla="*/ 4 h 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1"/>
                  <a:gd name="T25" fmla="*/ 0 h 7"/>
                  <a:gd name="T26" fmla="*/ 11 w 11"/>
                  <a:gd name="T27" fmla="*/ 7 h 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1" h="7">
                    <a:moveTo>
                      <a:pt x="7" y="3"/>
                    </a:moveTo>
                    <a:cubicBezTo>
                      <a:pt x="8" y="2"/>
                      <a:pt x="9" y="0"/>
                      <a:pt x="10" y="0"/>
                    </a:cubicBezTo>
                    <a:cubicBezTo>
                      <a:pt x="11" y="0"/>
                      <a:pt x="10" y="2"/>
                      <a:pt x="10" y="3"/>
                    </a:cubicBezTo>
                    <a:cubicBezTo>
                      <a:pt x="9" y="4"/>
                      <a:pt x="9" y="6"/>
                      <a:pt x="8" y="6"/>
                    </a:cubicBezTo>
                    <a:cubicBezTo>
                      <a:pt x="6" y="7"/>
                      <a:pt x="4" y="7"/>
                      <a:pt x="2" y="6"/>
                    </a:cubicBezTo>
                    <a:cubicBezTo>
                      <a:pt x="1" y="6"/>
                      <a:pt x="0" y="5"/>
                      <a:pt x="0" y="5"/>
                    </a:cubicBezTo>
                    <a:cubicBezTo>
                      <a:pt x="1" y="3"/>
                      <a:pt x="2" y="2"/>
                      <a:pt x="3" y="2"/>
                    </a:cubicBezTo>
                    <a:cubicBezTo>
                      <a:pt x="5" y="2"/>
                      <a:pt x="6" y="3"/>
                      <a:pt x="7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06" name="Freeform 3513"/>
              <p:cNvSpPr>
                <a:spLocks noChangeAspect="1"/>
              </p:cNvSpPr>
              <p:nvPr/>
            </p:nvSpPr>
            <p:spPr bwMode="auto">
              <a:xfrm>
                <a:off x="3003611" y="2637980"/>
                <a:ext cx="51451" cy="25751"/>
              </a:xfrm>
              <a:custGeom>
                <a:avLst/>
                <a:gdLst>
                  <a:gd name="T0" fmla="*/ 44 w 39"/>
                  <a:gd name="T1" fmla="*/ 31 h 26"/>
                  <a:gd name="T2" fmla="*/ 45 w 39"/>
                  <a:gd name="T3" fmla="*/ 29 h 26"/>
                  <a:gd name="T4" fmla="*/ 39 w 39"/>
                  <a:gd name="T5" fmla="*/ 23 h 26"/>
                  <a:gd name="T6" fmla="*/ 44 w 39"/>
                  <a:gd name="T7" fmla="*/ 18 h 26"/>
                  <a:gd name="T8" fmla="*/ 42 w 39"/>
                  <a:gd name="T9" fmla="*/ 14 h 26"/>
                  <a:gd name="T10" fmla="*/ 45 w 39"/>
                  <a:gd name="T11" fmla="*/ 11 h 26"/>
                  <a:gd name="T12" fmla="*/ 44 w 39"/>
                  <a:gd name="T13" fmla="*/ 2 h 26"/>
                  <a:gd name="T14" fmla="*/ 37 w 39"/>
                  <a:gd name="T15" fmla="*/ 4 h 26"/>
                  <a:gd name="T16" fmla="*/ 32 w 39"/>
                  <a:gd name="T17" fmla="*/ 1 h 26"/>
                  <a:gd name="T18" fmla="*/ 21 w 39"/>
                  <a:gd name="T19" fmla="*/ 1 h 26"/>
                  <a:gd name="T20" fmla="*/ 18 w 39"/>
                  <a:gd name="T21" fmla="*/ 6 h 26"/>
                  <a:gd name="T22" fmla="*/ 19 w 39"/>
                  <a:gd name="T23" fmla="*/ 8 h 26"/>
                  <a:gd name="T24" fmla="*/ 26 w 39"/>
                  <a:gd name="T25" fmla="*/ 8 h 26"/>
                  <a:gd name="T26" fmla="*/ 27 w 39"/>
                  <a:gd name="T27" fmla="*/ 17 h 26"/>
                  <a:gd name="T28" fmla="*/ 34 w 39"/>
                  <a:gd name="T29" fmla="*/ 23 h 26"/>
                  <a:gd name="T30" fmla="*/ 28 w 39"/>
                  <a:gd name="T31" fmla="*/ 23 h 26"/>
                  <a:gd name="T32" fmla="*/ 11 w 39"/>
                  <a:gd name="T33" fmla="*/ 21 h 26"/>
                  <a:gd name="T34" fmla="*/ 5 w 39"/>
                  <a:gd name="T35" fmla="*/ 20 h 26"/>
                  <a:gd name="T36" fmla="*/ 0 w 39"/>
                  <a:gd name="T37" fmla="*/ 24 h 26"/>
                  <a:gd name="T38" fmla="*/ 5 w 39"/>
                  <a:gd name="T39" fmla="*/ 27 h 26"/>
                  <a:gd name="T40" fmla="*/ 12 w 39"/>
                  <a:gd name="T41" fmla="*/ 30 h 26"/>
                  <a:gd name="T42" fmla="*/ 22 w 39"/>
                  <a:gd name="T43" fmla="*/ 27 h 26"/>
                  <a:gd name="T44" fmla="*/ 29 w 39"/>
                  <a:gd name="T45" fmla="*/ 29 h 26"/>
                  <a:gd name="T46" fmla="*/ 37 w 39"/>
                  <a:gd name="T47" fmla="*/ 27 h 26"/>
                  <a:gd name="T48" fmla="*/ 44 w 39"/>
                  <a:gd name="T49" fmla="*/ 31 h 2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39"/>
                  <a:gd name="T76" fmla="*/ 0 h 26"/>
                  <a:gd name="T77" fmla="*/ 39 w 39"/>
                  <a:gd name="T78" fmla="*/ 26 h 2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39" h="26">
                    <a:moveTo>
                      <a:pt x="37" y="26"/>
                    </a:moveTo>
                    <a:cubicBezTo>
                      <a:pt x="37" y="26"/>
                      <a:pt x="38" y="25"/>
                      <a:pt x="38" y="24"/>
                    </a:cubicBezTo>
                    <a:cubicBezTo>
                      <a:pt x="37" y="22"/>
                      <a:pt x="34" y="21"/>
                      <a:pt x="33" y="19"/>
                    </a:cubicBezTo>
                    <a:cubicBezTo>
                      <a:pt x="33" y="18"/>
                      <a:pt x="36" y="17"/>
                      <a:pt x="37" y="15"/>
                    </a:cubicBezTo>
                    <a:cubicBezTo>
                      <a:pt x="37" y="14"/>
                      <a:pt x="36" y="13"/>
                      <a:pt x="36" y="12"/>
                    </a:cubicBezTo>
                    <a:cubicBezTo>
                      <a:pt x="37" y="11"/>
                      <a:pt x="38" y="11"/>
                      <a:pt x="38" y="9"/>
                    </a:cubicBezTo>
                    <a:cubicBezTo>
                      <a:pt x="39" y="7"/>
                      <a:pt x="38" y="5"/>
                      <a:pt x="37" y="2"/>
                    </a:cubicBezTo>
                    <a:cubicBezTo>
                      <a:pt x="35" y="3"/>
                      <a:pt x="33" y="4"/>
                      <a:pt x="31" y="3"/>
                    </a:cubicBezTo>
                    <a:cubicBezTo>
                      <a:pt x="30" y="3"/>
                      <a:pt x="29" y="1"/>
                      <a:pt x="27" y="1"/>
                    </a:cubicBezTo>
                    <a:cubicBezTo>
                      <a:pt x="24" y="0"/>
                      <a:pt x="21" y="0"/>
                      <a:pt x="18" y="1"/>
                    </a:cubicBezTo>
                    <a:cubicBezTo>
                      <a:pt x="17" y="2"/>
                      <a:pt x="15" y="4"/>
                      <a:pt x="15" y="5"/>
                    </a:cubicBezTo>
                    <a:cubicBezTo>
                      <a:pt x="14" y="6"/>
                      <a:pt x="16" y="7"/>
                      <a:pt x="16" y="7"/>
                    </a:cubicBezTo>
                    <a:cubicBezTo>
                      <a:pt x="18" y="7"/>
                      <a:pt x="20" y="6"/>
                      <a:pt x="22" y="7"/>
                    </a:cubicBezTo>
                    <a:cubicBezTo>
                      <a:pt x="23" y="9"/>
                      <a:pt x="22" y="12"/>
                      <a:pt x="23" y="14"/>
                    </a:cubicBezTo>
                    <a:cubicBezTo>
                      <a:pt x="25" y="16"/>
                      <a:pt x="29" y="16"/>
                      <a:pt x="29" y="19"/>
                    </a:cubicBezTo>
                    <a:cubicBezTo>
                      <a:pt x="29" y="20"/>
                      <a:pt x="25" y="19"/>
                      <a:pt x="24" y="19"/>
                    </a:cubicBezTo>
                    <a:cubicBezTo>
                      <a:pt x="19" y="19"/>
                      <a:pt x="14" y="19"/>
                      <a:pt x="9" y="18"/>
                    </a:cubicBezTo>
                    <a:cubicBezTo>
                      <a:pt x="7" y="18"/>
                      <a:pt x="6" y="16"/>
                      <a:pt x="4" y="17"/>
                    </a:cubicBezTo>
                    <a:cubicBezTo>
                      <a:pt x="2" y="17"/>
                      <a:pt x="0" y="19"/>
                      <a:pt x="0" y="20"/>
                    </a:cubicBezTo>
                    <a:cubicBezTo>
                      <a:pt x="0" y="22"/>
                      <a:pt x="3" y="23"/>
                      <a:pt x="4" y="23"/>
                    </a:cubicBezTo>
                    <a:cubicBezTo>
                      <a:pt x="6" y="24"/>
                      <a:pt x="8" y="25"/>
                      <a:pt x="10" y="25"/>
                    </a:cubicBezTo>
                    <a:cubicBezTo>
                      <a:pt x="13" y="25"/>
                      <a:pt x="16" y="24"/>
                      <a:pt x="19" y="23"/>
                    </a:cubicBezTo>
                    <a:cubicBezTo>
                      <a:pt x="21" y="23"/>
                      <a:pt x="23" y="24"/>
                      <a:pt x="25" y="24"/>
                    </a:cubicBezTo>
                    <a:cubicBezTo>
                      <a:pt x="27" y="24"/>
                      <a:pt x="29" y="22"/>
                      <a:pt x="31" y="23"/>
                    </a:cubicBezTo>
                    <a:cubicBezTo>
                      <a:pt x="33" y="24"/>
                      <a:pt x="34" y="25"/>
                      <a:pt x="37" y="26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07" name="Freeform 3514"/>
              <p:cNvSpPr>
                <a:spLocks noChangeAspect="1"/>
              </p:cNvSpPr>
              <p:nvPr/>
            </p:nvSpPr>
            <p:spPr bwMode="auto">
              <a:xfrm>
                <a:off x="2936501" y="2657916"/>
                <a:ext cx="38029" cy="12461"/>
              </a:xfrm>
              <a:custGeom>
                <a:avLst/>
                <a:gdLst>
                  <a:gd name="T0" fmla="*/ 22 w 29"/>
                  <a:gd name="T1" fmla="*/ 1 h 12"/>
                  <a:gd name="T2" fmla="*/ 33 w 29"/>
                  <a:gd name="T3" fmla="*/ 9 h 12"/>
                  <a:gd name="T4" fmla="*/ 33 w 29"/>
                  <a:gd name="T5" fmla="*/ 13 h 12"/>
                  <a:gd name="T6" fmla="*/ 23 w 29"/>
                  <a:gd name="T7" fmla="*/ 11 h 12"/>
                  <a:gd name="T8" fmla="*/ 19 w 29"/>
                  <a:gd name="T9" fmla="*/ 15 h 12"/>
                  <a:gd name="T10" fmla="*/ 7 w 29"/>
                  <a:gd name="T11" fmla="*/ 9 h 12"/>
                  <a:gd name="T12" fmla="*/ 0 w 29"/>
                  <a:gd name="T13" fmla="*/ 5 h 12"/>
                  <a:gd name="T14" fmla="*/ 5 w 29"/>
                  <a:gd name="T15" fmla="*/ 0 h 12"/>
                  <a:gd name="T16" fmla="*/ 18 w 29"/>
                  <a:gd name="T17" fmla="*/ 1 h 12"/>
                  <a:gd name="T18" fmla="*/ 22 w 29"/>
                  <a:gd name="T19" fmla="*/ 1 h 1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9"/>
                  <a:gd name="T31" fmla="*/ 0 h 12"/>
                  <a:gd name="T32" fmla="*/ 29 w 29"/>
                  <a:gd name="T33" fmla="*/ 12 h 12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9" h="12">
                    <a:moveTo>
                      <a:pt x="19" y="1"/>
                    </a:moveTo>
                    <a:cubicBezTo>
                      <a:pt x="22" y="2"/>
                      <a:pt x="25" y="4"/>
                      <a:pt x="28" y="7"/>
                    </a:cubicBezTo>
                    <a:cubicBezTo>
                      <a:pt x="29" y="7"/>
                      <a:pt x="29" y="10"/>
                      <a:pt x="28" y="10"/>
                    </a:cubicBezTo>
                    <a:cubicBezTo>
                      <a:pt x="25" y="11"/>
                      <a:pt x="22" y="8"/>
                      <a:pt x="20" y="9"/>
                    </a:cubicBezTo>
                    <a:cubicBezTo>
                      <a:pt x="18" y="9"/>
                      <a:pt x="18" y="12"/>
                      <a:pt x="16" y="12"/>
                    </a:cubicBezTo>
                    <a:cubicBezTo>
                      <a:pt x="12" y="11"/>
                      <a:pt x="9" y="8"/>
                      <a:pt x="6" y="7"/>
                    </a:cubicBezTo>
                    <a:cubicBezTo>
                      <a:pt x="4" y="6"/>
                      <a:pt x="1" y="6"/>
                      <a:pt x="0" y="4"/>
                    </a:cubicBezTo>
                    <a:cubicBezTo>
                      <a:pt x="0" y="2"/>
                      <a:pt x="3" y="1"/>
                      <a:pt x="4" y="0"/>
                    </a:cubicBezTo>
                    <a:cubicBezTo>
                      <a:pt x="8" y="0"/>
                      <a:pt x="12" y="1"/>
                      <a:pt x="15" y="1"/>
                    </a:cubicBezTo>
                    <a:cubicBezTo>
                      <a:pt x="17" y="1"/>
                      <a:pt x="18" y="0"/>
                      <a:pt x="19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08" name="Freeform 3515"/>
              <p:cNvSpPr>
                <a:spLocks noChangeAspect="1"/>
              </p:cNvSpPr>
              <p:nvPr/>
            </p:nvSpPr>
            <p:spPr bwMode="auto">
              <a:xfrm>
                <a:off x="2833600" y="2588971"/>
                <a:ext cx="180077" cy="52333"/>
              </a:xfrm>
              <a:custGeom>
                <a:avLst/>
                <a:gdLst>
                  <a:gd name="T0" fmla="*/ 155 w 134"/>
                  <a:gd name="T1" fmla="*/ 52 h 52"/>
                  <a:gd name="T2" fmla="*/ 160 w 134"/>
                  <a:gd name="T3" fmla="*/ 55 h 52"/>
                  <a:gd name="T4" fmla="*/ 150 w 134"/>
                  <a:gd name="T5" fmla="*/ 58 h 52"/>
                  <a:gd name="T6" fmla="*/ 138 w 134"/>
                  <a:gd name="T7" fmla="*/ 62 h 52"/>
                  <a:gd name="T8" fmla="*/ 120 w 134"/>
                  <a:gd name="T9" fmla="*/ 61 h 52"/>
                  <a:gd name="T10" fmla="*/ 115 w 134"/>
                  <a:gd name="T11" fmla="*/ 63 h 52"/>
                  <a:gd name="T12" fmla="*/ 105 w 134"/>
                  <a:gd name="T13" fmla="*/ 62 h 52"/>
                  <a:gd name="T14" fmla="*/ 106 w 134"/>
                  <a:gd name="T15" fmla="*/ 59 h 52"/>
                  <a:gd name="T16" fmla="*/ 114 w 134"/>
                  <a:gd name="T17" fmla="*/ 52 h 52"/>
                  <a:gd name="T18" fmla="*/ 112 w 134"/>
                  <a:gd name="T19" fmla="*/ 48 h 52"/>
                  <a:gd name="T20" fmla="*/ 101 w 134"/>
                  <a:gd name="T21" fmla="*/ 47 h 52"/>
                  <a:gd name="T22" fmla="*/ 94 w 134"/>
                  <a:gd name="T23" fmla="*/ 41 h 52"/>
                  <a:gd name="T24" fmla="*/ 93 w 134"/>
                  <a:gd name="T25" fmla="*/ 30 h 52"/>
                  <a:gd name="T26" fmla="*/ 83 w 134"/>
                  <a:gd name="T27" fmla="*/ 30 h 52"/>
                  <a:gd name="T28" fmla="*/ 71 w 134"/>
                  <a:gd name="T29" fmla="*/ 27 h 52"/>
                  <a:gd name="T30" fmla="*/ 66 w 134"/>
                  <a:gd name="T31" fmla="*/ 21 h 52"/>
                  <a:gd name="T32" fmla="*/ 58 w 134"/>
                  <a:gd name="T33" fmla="*/ 22 h 52"/>
                  <a:gd name="T34" fmla="*/ 50 w 134"/>
                  <a:gd name="T35" fmla="*/ 19 h 52"/>
                  <a:gd name="T36" fmla="*/ 41 w 134"/>
                  <a:gd name="T37" fmla="*/ 18 h 52"/>
                  <a:gd name="T38" fmla="*/ 43 w 134"/>
                  <a:gd name="T39" fmla="*/ 16 h 52"/>
                  <a:gd name="T40" fmla="*/ 47 w 134"/>
                  <a:gd name="T41" fmla="*/ 13 h 52"/>
                  <a:gd name="T42" fmla="*/ 36 w 134"/>
                  <a:gd name="T43" fmla="*/ 10 h 52"/>
                  <a:gd name="T44" fmla="*/ 24 w 134"/>
                  <a:gd name="T45" fmla="*/ 15 h 52"/>
                  <a:gd name="T46" fmla="*/ 14 w 134"/>
                  <a:gd name="T47" fmla="*/ 21 h 52"/>
                  <a:gd name="T48" fmla="*/ 7 w 134"/>
                  <a:gd name="T49" fmla="*/ 27 h 52"/>
                  <a:gd name="T50" fmla="*/ 0 w 134"/>
                  <a:gd name="T51" fmla="*/ 24 h 52"/>
                  <a:gd name="T52" fmla="*/ 6 w 134"/>
                  <a:gd name="T53" fmla="*/ 21 h 52"/>
                  <a:gd name="T54" fmla="*/ 10 w 134"/>
                  <a:gd name="T55" fmla="*/ 12 h 52"/>
                  <a:gd name="T56" fmla="*/ 24 w 134"/>
                  <a:gd name="T57" fmla="*/ 5 h 52"/>
                  <a:gd name="T58" fmla="*/ 41 w 134"/>
                  <a:gd name="T59" fmla="*/ 0 h 52"/>
                  <a:gd name="T60" fmla="*/ 55 w 134"/>
                  <a:gd name="T61" fmla="*/ 2 h 52"/>
                  <a:gd name="T62" fmla="*/ 65 w 134"/>
                  <a:gd name="T63" fmla="*/ 4 h 52"/>
                  <a:gd name="T64" fmla="*/ 68 w 134"/>
                  <a:gd name="T65" fmla="*/ 6 h 52"/>
                  <a:gd name="T66" fmla="*/ 76 w 134"/>
                  <a:gd name="T67" fmla="*/ 7 h 52"/>
                  <a:gd name="T68" fmla="*/ 82 w 134"/>
                  <a:gd name="T69" fmla="*/ 16 h 52"/>
                  <a:gd name="T70" fmla="*/ 96 w 134"/>
                  <a:gd name="T71" fmla="*/ 17 h 52"/>
                  <a:gd name="T72" fmla="*/ 102 w 134"/>
                  <a:gd name="T73" fmla="*/ 25 h 52"/>
                  <a:gd name="T74" fmla="*/ 105 w 134"/>
                  <a:gd name="T75" fmla="*/ 24 h 52"/>
                  <a:gd name="T76" fmla="*/ 99 w 134"/>
                  <a:gd name="T77" fmla="*/ 17 h 52"/>
                  <a:gd name="T78" fmla="*/ 101 w 134"/>
                  <a:gd name="T79" fmla="*/ 16 h 52"/>
                  <a:gd name="T80" fmla="*/ 109 w 134"/>
                  <a:gd name="T81" fmla="*/ 24 h 52"/>
                  <a:gd name="T82" fmla="*/ 109 w 134"/>
                  <a:gd name="T83" fmla="*/ 28 h 52"/>
                  <a:gd name="T84" fmla="*/ 117 w 134"/>
                  <a:gd name="T85" fmla="*/ 29 h 52"/>
                  <a:gd name="T86" fmla="*/ 127 w 134"/>
                  <a:gd name="T87" fmla="*/ 35 h 52"/>
                  <a:gd name="T88" fmla="*/ 131 w 134"/>
                  <a:gd name="T89" fmla="*/ 40 h 52"/>
                  <a:gd name="T90" fmla="*/ 139 w 134"/>
                  <a:gd name="T91" fmla="*/ 41 h 52"/>
                  <a:gd name="T92" fmla="*/ 135 w 134"/>
                  <a:gd name="T93" fmla="*/ 47 h 52"/>
                  <a:gd name="T94" fmla="*/ 145 w 134"/>
                  <a:gd name="T95" fmla="*/ 46 h 52"/>
                  <a:gd name="T96" fmla="*/ 154 w 134"/>
                  <a:gd name="T97" fmla="*/ 48 h 52"/>
                  <a:gd name="T98" fmla="*/ 155 w 134"/>
                  <a:gd name="T99" fmla="*/ 52 h 52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34"/>
                  <a:gd name="T151" fmla="*/ 0 h 52"/>
                  <a:gd name="T152" fmla="*/ 134 w 134"/>
                  <a:gd name="T153" fmla="*/ 52 h 52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34" h="52">
                    <a:moveTo>
                      <a:pt x="129" y="43"/>
                    </a:moveTo>
                    <a:cubicBezTo>
                      <a:pt x="130" y="44"/>
                      <a:pt x="134" y="44"/>
                      <a:pt x="133" y="45"/>
                    </a:cubicBezTo>
                    <a:cubicBezTo>
                      <a:pt x="131" y="47"/>
                      <a:pt x="127" y="47"/>
                      <a:pt x="125" y="48"/>
                    </a:cubicBezTo>
                    <a:cubicBezTo>
                      <a:pt x="122" y="49"/>
                      <a:pt x="119" y="51"/>
                      <a:pt x="115" y="51"/>
                    </a:cubicBezTo>
                    <a:cubicBezTo>
                      <a:pt x="110" y="51"/>
                      <a:pt x="105" y="50"/>
                      <a:pt x="100" y="50"/>
                    </a:cubicBezTo>
                    <a:cubicBezTo>
                      <a:pt x="99" y="50"/>
                      <a:pt x="97" y="52"/>
                      <a:pt x="96" y="52"/>
                    </a:cubicBezTo>
                    <a:cubicBezTo>
                      <a:pt x="93" y="52"/>
                      <a:pt x="90" y="52"/>
                      <a:pt x="87" y="51"/>
                    </a:cubicBezTo>
                    <a:cubicBezTo>
                      <a:pt x="87" y="51"/>
                      <a:pt x="88" y="50"/>
                      <a:pt x="88" y="49"/>
                    </a:cubicBezTo>
                    <a:cubicBezTo>
                      <a:pt x="90" y="47"/>
                      <a:pt x="94" y="46"/>
                      <a:pt x="95" y="43"/>
                    </a:cubicBezTo>
                    <a:cubicBezTo>
                      <a:pt x="95" y="42"/>
                      <a:pt x="94" y="41"/>
                      <a:pt x="93" y="40"/>
                    </a:cubicBezTo>
                    <a:cubicBezTo>
                      <a:pt x="90" y="39"/>
                      <a:pt x="87" y="40"/>
                      <a:pt x="84" y="39"/>
                    </a:cubicBezTo>
                    <a:cubicBezTo>
                      <a:pt x="82" y="38"/>
                      <a:pt x="79" y="36"/>
                      <a:pt x="78" y="34"/>
                    </a:cubicBezTo>
                    <a:cubicBezTo>
                      <a:pt x="77" y="31"/>
                      <a:pt x="79" y="28"/>
                      <a:pt x="77" y="25"/>
                    </a:cubicBezTo>
                    <a:cubicBezTo>
                      <a:pt x="76" y="23"/>
                      <a:pt x="72" y="25"/>
                      <a:pt x="69" y="25"/>
                    </a:cubicBezTo>
                    <a:cubicBezTo>
                      <a:pt x="66" y="24"/>
                      <a:pt x="62" y="24"/>
                      <a:pt x="59" y="22"/>
                    </a:cubicBezTo>
                    <a:cubicBezTo>
                      <a:pt x="57" y="21"/>
                      <a:pt x="57" y="18"/>
                      <a:pt x="55" y="17"/>
                    </a:cubicBezTo>
                    <a:cubicBezTo>
                      <a:pt x="53" y="17"/>
                      <a:pt x="50" y="18"/>
                      <a:pt x="48" y="18"/>
                    </a:cubicBezTo>
                    <a:cubicBezTo>
                      <a:pt x="46" y="18"/>
                      <a:pt x="44" y="16"/>
                      <a:pt x="42" y="16"/>
                    </a:cubicBezTo>
                    <a:cubicBezTo>
                      <a:pt x="40" y="15"/>
                      <a:pt x="36" y="16"/>
                      <a:pt x="34" y="15"/>
                    </a:cubicBezTo>
                    <a:cubicBezTo>
                      <a:pt x="33" y="15"/>
                      <a:pt x="35" y="14"/>
                      <a:pt x="36" y="13"/>
                    </a:cubicBezTo>
                    <a:cubicBezTo>
                      <a:pt x="37" y="12"/>
                      <a:pt x="40" y="12"/>
                      <a:pt x="39" y="11"/>
                    </a:cubicBezTo>
                    <a:cubicBezTo>
                      <a:pt x="37" y="9"/>
                      <a:pt x="33" y="8"/>
                      <a:pt x="30" y="8"/>
                    </a:cubicBezTo>
                    <a:cubicBezTo>
                      <a:pt x="27" y="9"/>
                      <a:pt x="24" y="11"/>
                      <a:pt x="20" y="12"/>
                    </a:cubicBezTo>
                    <a:cubicBezTo>
                      <a:pt x="17" y="14"/>
                      <a:pt x="14" y="15"/>
                      <a:pt x="12" y="17"/>
                    </a:cubicBezTo>
                    <a:cubicBezTo>
                      <a:pt x="9" y="18"/>
                      <a:pt x="8" y="22"/>
                      <a:pt x="6" y="22"/>
                    </a:cubicBezTo>
                    <a:cubicBezTo>
                      <a:pt x="4" y="23"/>
                      <a:pt x="1" y="22"/>
                      <a:pt x="0" y="20"/>
                    </a:cubicBezTo>
                    <a:cubicBezTo>
                      <a:pt x="0" y="19"/>
                      <a:pt x="4" y="19"/>
                      <a:pt x="5" y="17"/>
                    </a:cubicBezTo>
                    <a:cubicBezTo>
                      <a:pt x="6" y="15"/>
                      <a:pt x="6" y="11"/>
                      <a:pt x="8" y="10"/>
                    </a:cubicBezTo>
                    <a:cubicBezTo>
                      <a:pt x="12" y="7"/>
                      <a:pt x="16" y="6"/>
                      <a:pt x="20" y="4"/>
                    </a:cubicBezTo>
                    <a:cubicBezTo>
                      <a:pt x="24" y="3"/>
                      <a:pt x="29" y="1"/>
                      <a:pt x="34" y="0"/>
                    </a:cubicBezTo>
                    <a:cubicBezTo>
                      <a:pt x="38" y="0"/>
                      <a:pt x="42" y="1"/>
                      <a:pt x="46" y="2"/>
                    </a:cubicBezTo>
                    <a:cubicBezTo>
                      <a:pt x="48" y="2"/>
                      <a:pt x="51" y="2"/>
                      <a:pt x="54" y="3"/>
                    </a:cubicBezTo>
                    <a:cubicBezTo>
                      <a:pt x="55" y="3"/>
                      <a:pt x="56" y="4"/>
                      <a:pt x="57" y="5"/>
                    </a:cubicBezTo>
                    <a:cubicBezTo>
                      <a:pt x="59" y="5"/>
                      <a:pt x="61" y="4"/>
                      <a:pt x="63" y="6"/>
                    </a:cubicBezTo>
                    <a:cubicBezTo>
                      <a:pt x="66" y="7"/>
                      <a:pt x="65" y="12"/>
                      <a:pt x="68" y="13"/>
                    </a:cubicBezTo>
                    <a:cubicBezTo>
                      <a:pt x="72" y="15"/>
                      <a:pt x="76" y="13"/>
                      <a:pt x="80" y="14"/>
                    </a:cubicBezTo>
                    <a:cubicBezTo>
                      <a:pt x="82" y="15"/>
                      <a:pt x="83" y="19"/>
                      <a:pt x="85" y="21"/>
                    </a:cubicBezTo>
                    <a:cubicBezTo>
                      <a:pt x="86" y="21"/>
                      <a:pt x="88" y="20"/>
                      <a:pt x="87" y="20"/>
                    </a:cubicBezTo>
                    <a:cubicBezTo>
                      <a:pt x="86" y="17"/>
                      <a:pt x="83" y="16"/>
                      <a:pt x="82" y="14"/>
                    </a:cubicBezTo>
                    <a:cubicBezTo>
                      <a:pt x="82" y="13"/>
                      <a:pt x="83" y="12"/>
                      <a:pt x="84" y="13"/>
                    </a:cubicBezTo>
                    <a:cubicBezTo>
                      <a:pt x="86" y="15"/>
                      <a:pt x="89" y="17"/>
                      <a:pt x="91" y="20"/>
                    </a:cubicBezTo>
                    <a:cubicBezTo>
                      <a:pt x="92" y="21"/>
                      <a:pt x="90" y="22"/>
                      <a:pt x="91" y="23"/>
                    </a:cubicBezTo>
                    <a:cubicBezTo>
                      <a:pt x="92" y="24"/>
                      <a:pt x="95" y="23"/>
                      <a:pt x="97" y="24"/>
                    </a:cubicBezTo>
                    <a:cubicBezTo>
                      <a:pt x="100" y="25"/>
                      <a:pt x="103" y="27"/>
                      <a:pt x="106" y="29"/>
                    </a:cubicBezTo>
                    <a:cubicBezTo>
                      <a:pt x="107" y="30"/>
                      <a:pt x="108" y="32"/>
                      <a:pt x="109" y="33"/>
                    </a:cubicBezTo>
                    <a:cubicBezTo>
                      <a:pt x="111" y="34"/>
                      <a:pt x="115" y="32"/>
                      <a:pt x="116" y="34"/>
                    </a:cubicBezTo>
                    <a:cubicBezTo>
                      <a:pt x="117" y="36"/>
                      <a:pt x="110" y="38"/>
                      <a:pt x="112" y="39"/>
                    </a:cubicBezTo>
                    <a:cubicBezTo>
                      <a:pt x="115" y="41"/>
                      <a:pt x="118" y="38"/>
                      <a:pt x="121" y="38"/>
                    </a:cubicBezTo>
                    <a:cubicBezTo>
                      <a:pt x="124" y="38"/>
                      <a:pt x="126" y="39"/>
                      <a:pt x="128" y="40"/>
                    </a:cubicBezTo>
                    <a:cubicBezTo>
                      <a:pt x="128" y="41"/>
                      <a:pt x="128" y="43"/>
                      <a:pt x="129" y="4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09" name="Freeform 3516"/>
              <p:cNvSpPr>
                <a:spLocks noChangeAspect="1"/>
              </p:cNvSpPr>
              <p:nvPr/>
            </p:nvSpPr>
            <p:spPr bwMode="auto">
              <a:xfrm>
                <a:off x="2860444" y="2610569"/>
                <a:ext cx="12303" cy="7476"/>
              </a:xfrm>
              <a:custGeom>
                <a:avLst/>
                <a:gdLst>
                  <a:gd name="T0" fmla="*/ 6 w 9"/>
                  <a:gd name="T1" fmla="*/ 0 h 8"/>
                  <a:gd name="T2" fmla="*/ 10 w 9"/>
                  <a:gd name="T3" fmla="*/ 7 h 8"/>
                  <a:gd name="T4" fmla="*/ 1 w 9"/>
                  <a:gd name="T5" fmla="*/ 8 h 8"/>
                  <a:gd name="T6" fmla="*/ 2 w 9"/>
                  <a:gd name="T7" fmla="*/ 5 h 8"/>
                  <a:gd name="T8" fmla="*/ 1 w 9"/>
                  <a:gd name="T9" fmla="*/ 1 h 8"/>
                  <a:gd name="T10" fmla="*/ 6 w 9"/>
                  <a:gd name="T11" fmla="*/ 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9"/>
                  <a:gd name="T19" fmla="*/ 0 h 8"/>
                  <a:gd name="T20" fmla="*/ 9 w 9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9" h="8">
                    <a:moveTo>
                      <a:pt x="5" y="0"/>
                    </a:moveTo>
                    <a:cubicBezTo>
                      <a:pt x="6" y="2"/>
                      <a:pt x="9" y="4"/>
                      <a:pt x="8" y="6"/>
                    </a:cubicBezTo>
                    <a:cubicBezTo>
                      <a:pt x="7" y="8"/>
                      <a:pt x="3" y="8"/>
                      <a:pt x="1" y="7"/>
                    </a:cubicBezTo>
                    <a:cubicBezTo>
                      <a:pt x="0" y="7"/>
                      <a:pt x="2" y="5"/>
                      <a:pt x="2" y="4"/>
                    </a:cubicBezTo>
                    <a:cubicBezTo>
                      <a:pt x="2" y="3"/>
                      <a:pt x="1" y="2"/>
                      <a:pt x="1" y="1"/>
                    </a:cubicBezTo>
                    <a:cubicBezTo>
                      <a:pt x="2" y="0"/>
                      <a:pt x="4" y="0"/>
                      <a:pt x="5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10" name="Freeform 3517"/>
              <p:cNvSpPr>
                <a:spLocks noChangeAspect="1"/>
              </p:cNvSpPr>
              <p:nvPr/>
            </p:nvSpPr>
            <p:spPr bwMode="auto">
              <a:xfrm>
                <a:off x="2946568" y="2561558"/>
                <a:ext cx="10067" cy="11629"/>
              </a:xfrm>
              <a:custGeom>
                <a:avLst/>
                <a:gdLst>
                  <a:gd name="T0" fmla="*/ 6 w 7"/>
                  <a:gd name="T1" fmla="*/ 1 h 12"/>
                  <a:gd name="T2" fmla="*/ 4 w 7"/>
                  <a:gd name="T3" fmla="*/ 1 h 12"/>
                  <a:gd name="T4" fmla="*/ 0 w 7"/>
                  <a:gd name="T5" fmla="*/ 9 h 12"/>
                  <a:gd name="T6" fmla="*/ 4 w 7"/>
                  <a:gd name="T7" fmla="*/ 13 h 12"/>
                  <a:gd name="T8" fmla="*/ 9 w 7"/>
                  <a:gd name="T9" fmla="*/ 11 h 12"/>
                  <a:gd name="T10" fmla="*/ 6 w 7"/>
                  <a:gd name="T11" fmla="*/ 1 h 1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12"/>
                  <a:gd name="T20" fmla="*/ 7 w 7"/>
                  <a:gd name="T21" fmla="*/ 12 h 1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12">
                    <a:moveTo>
                      <a:pt x="5" y="1"/>
                    </a:moveTo>
                    <a:cubicBezTo>
                      <a:pt x="5" y="0"/>
                      <a:pt x="3" y="0"/>
                      <a:pt x="3" y="1"/>
                    </a:cubicBezTo>
                    <a:cubicBezTo>
                      <a:pt x="1" y="3"/>
                      <a:pt x="0" y="5"/>
                      <a:pt x="0" y="8"/>
                    </a:cubicBezTo>
                    <a:cubicBezTo>
                      <a:pt x="0" y="9"/>
                      <a:pt x="1" y="11"/>
                      <a:pt x="3" y="11"/>
                    </a:cubicBezTo>
                    <a:cubicBezTo>
                      <a:pt x="5" y="12"/>
                      <a:pt x="6" y="10"/>
                      <a:pt x="7" y="9"/>
                    </a:cubicBezTo>
                    <a:cubicBezTo>
                      <a:pt x="7" y="6"/>
                      <a:pt x="7" y="3"/>
                      <a:pt x="5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11" name="Freeform 3518"/>
              <p:cNvSpPr>
                <a:spLocks noChangeAspect="1"/>
              </p:cNvSpPr>
              <p:nvPr/>
            </p:nvSpPr>
            <p:spPr bwMode="auto">
              <a:xfrm>
                <a:off x="2936501" y="2536639"/>
                <a:ext cx="22370" cy="4154"/>
              </a:xfrm>
              <a:custGeom>
                <a:avLst/>
                <a:gdLst>
                  <a:gd name="T0" fmla="*/ 18 w 17"/>
                  <a:gd name="T1" fmla="*/ 0 h 4"/>
                  <a:gd name="T2" fmla="*/ 19 w 17"/>
                  <a:gd name="T3" fmla="*/ 3 h 4"/>
                  <a:gd name="T4" fmla="*/ 13 w 17"/>
                  <a:gd name="T5" fmla="*/ 3 h 4"/>
                  <a:gd name="T6" fmla="*/ 5 w 17"/>
                  <a:gd name="T7" fmla="*/ 5 h 4"/>
                  <a:gd name="T8" fmla="*/ 1 w 17"/>
                  <a:gd name="T9" fmla="*/ 1 h 4"/>
                  <a:gd name="T10" fmla="*/ 7 w 17"/>
                  <a:gd name="T11" fmla="*/ 1 h 4"/>
                  <a:gd name="T12" fmla="*/ 14 w 17"/>
                  <a:gd name="T13" fmla="*/ 0 h 4"/>
                  <a:gd name="T14" fmla="*/ 18 w 17"/>
                  <a:gd name="T15" fmla="*/ 0 h 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7"/>
                  <a:gd name="T25" fmla="*/ 0 h 4"/>
                  <a:gd name="T26" fmla="*/ 17 w 17"/>
                  <a:gd name="T27" fmla="*/ 4 h 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7" h="4">
                    <a:moveTo>
                      <a:pt x="15" y="0"/>
                    </a:moveTo>
                    <a:cubicBezTo>
                      <a:pt x="16" y="1"/>
                      <a:pt x="17" y="2"/>
                      <a:pt x="16" y="2"/>
                    </a:cubicBezTo>
                    <a:cubicBezTo>
                      <a:pt x="15" y="3"/>
                      <a:pt x="13" y="2"/>
                      <a:pt x="11" y="2"/>
                    </a:cubicBezTo>
                    <a:cubicBezTo>
                      <a:pt x="9" y="2"/>
                      <a:pt x="7" y="4"/>
                      <a:pt x="4" y="4"/>
                    </a:cubicBezTo>
                    <a:cubicBezTo>
                      <a:pt x="3" y="4"/>
                      <a:pt x="0" y="2"/>
                      <a:pt x="1" y="1"/>
                    </a:cubicBezTo>
                    <a:cubicBezTo>
                      <a:pt x="2" y="0"/>
                      <a:pt x="4" y="1"/>
                      <a:pt x="6" y="1"/>
                    </a:cubicBezTo>
                    <a:cubicBezTo>
                      <a:pt x="8" y="1"/>
                      <a:pt x="10" y="0"/>
                      <a:pt x="12" y="0"/>
                    </a:cubicBezTo>
                    <a:cubicBezTo>
                      <a:pt x="13" y="0"/>
                      <a:pt x="14" y="0"/>
                      <a:pt x="15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12" name="Freeform 3519"/>
              <p:cNvSpPr>
                <a:spLocks noChangeAspect="1"/>
              </p:cNvSpPr>
              <p:nvPr/>
            </p:nvSpPr>
            <p:spPr bwMode="auto">
              <a:xfrm>
                <a:off x="2961108" y="2533317"/>
                <a:ext cx="10067" cy="19105"/>
              </a:xfrm>
              <a:custGeom>
                <a:avLst/>
                <a:gdLst>
                  <a:gd name="T0" fmla="*/ 1 w 7"/>
                  <a:gd name="T1" fmla="*/ 1 h 19"/>
                  <a:gd name="T2" fmla="*/ 3 w 7"/>
                  <a:gd name="T3" fmla="*/ 6 h 19"/>
                  <a:gd name="T4" fmla="*/ 6 w 7"/>
                  <a:gd name="T5" fmla="*/ 7 h 19"/>
                  <a:gd name="T6" fmla="*/ 4 w 7"/>
                  <a:gd name="T7" fmla="*/ 16 h 19"/>
                  <a:gd name="T8" fmla="*/ 1 w 7"/>
                  <a:gd name="T9" fmla="*/ 19 h 19"/>
                  <a:gd name="T10" fmla="*/ 4 w 7"/>
                  <a:gd name="T11" fmla="*/ 22 h 19"/>
                  <a:gd name="T12" fmla="*/ 5 w 7"/>
                  <a:gd name="T13" fmla="*/ 18 h 19"/>
                  <a:gd name="T14" fmla="*/ 9 w 7"/>
                  <a:gd name="T15" fmla="*/ 8 h 19"/>
                  <a:gd name="T16" fmla="*/ 9 w 7"/>
                  <a:gd name="T17" fmla="*/ 6 h 19"/>
                  <a:gd name="T18" fmla="*/ 5 w 7"/>
                  <a:gd name="T19" fmla="*/ 4 h 19"/>
                  <a:gd name="T20" fmla="*/ 1 w 7"/>
                  <a:gd name="T21" fmla="*/ 1 h 1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7"/>
                  <a:gd name="T34" fmla="*/ 0 h 19"/>
                  <a:gd name="T35" fmla="*/ 7 w 7"/>
                  <a:gd name="T36" fmla="*/ 19 h 19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7" h="19">
                    <a:moveTo>
                      <a:pt x="1" y="1"/>
                    </a:moveTo>
                    <a:cubicBezTo>
                      <a:pt x="0" y="2"/>
                      <a:pt x="1" y="4"/>
                      <a:pt x="2" y="5"/>
                    </a:cubicBezTo>
                    <a:cubicBezTo>
                      <a:pt x="3" y="6"/>
                      <a:pt x="5" y="5"/>
                      <a:pt x="5" y="6"/>
                    </a:cubicBezTo>
                    <a:cubicBezTo>
                      <a:pt x="6" y="9"/>
                      <a:pt x="4" y="11"/>
                      <a:pt x="3" y="13"/>
                    </a:cubicBezTo>
                    <a:cubicBezTo>
                      <a:pt x="3" y="14"/>
                      <a:pt x="1" y="15"/>
                      <a:pt x="1" y="16"/>
                    </a:cubicBezTo>
                    <a:cubicBezTo>
                      <a:pt x="1" y="17"/>
                      <a:pt x="2" y="19"/>
                      <a:pt x="3" y="18"/>
                    </a:cubicBezTo>
                    <a:cubicBezTo>
                      <a:pt x="4" y="18"/>
                      <a:pt x="4" y="16"/>
                      <a:pt x="4" y="15"/>
                    </a:cubicBezTo>
                    <a:cubicBezTo>
                      <a:pt x="5" y="12"/>
                      <a:pt x="6" y="10"/>
                      <a:pt x="7" y="7"/>
                    </a:cubicBezTo>
                    <a:cubicBezTo>
                      <a:pt x="7" y="6"/>
                      <a:pt x="7" y="6"/>
                      <a:pt x="7" y="5"/>
                    </a:cubicBezTo>
                    <a:cubicBezTo>
                      <a:pt x="6" y="4"/>
                      <a:pt x="5" y="4"/>
                      <a:pt x="4" y="3"/>
                    </a:cubicBezTo>
                    <a:cubicBezTo>
                      <a:pt x="3" y="2"/>
                      <a:pt x="2" y="0"/>
                      <a:pt x="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13" name="Freeform 3520"/>
              <p:cNvSpPr>
                <a:spLocks noChangeAspect="1"/>
              </p:cNvSpPr>
              <p:nvPr/>
            </p:nvSpPr>
            <p:spPr bwMode="auto">
              <a:xfrm>
                <a:off x="2973412" y="2557405"/>
                <a:ext cx="10067" cy="11629"/>
              </a:xfrm>
              <a:custGeom>
                <a:avLst/>
                <a:gdLst>
                  <a:gd name="T0" fmla="*/ 0 w 7"/>
                  <a:gd name="T1" fmla="*/ 1 h 12"/>
                  <a:gd name="T2" fmla="*/ 6 w 7"/>
                  <a:gd name="T3" fmla="*/ 6 h 12"/>
                  <a:gd name="T4" fmla="*/ 8 w 7"/>
                  <a:gd name="T5" fmla="*/ 13 h 12"/>
                  <a:gd name="T6" fmla="*/ 9 w 7"/>
                  <a:gd name="T7" fmla="*/ 12 h 12"/>
                  <a:gd name="T8" fmla="*/ 8 w 7"/>
                  <a:gd name="T9" fmla="*/ 5 h 12"/>
                  <a:gd name="T10" fmla="*/ 4 w 7"/>
                  <a:gd name="T11" fmla="*/ 0 h 12"/>
                  <a:gd name="T12" fmla="*/ 0 w 7"/>
                  <a:gd name="T13" fmla="*/ 1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"/>
                  <a:gd name="T22" fmla="*/ 0 h 12"/>
                  <a:gd name="T23" fmla="*/ 7 w 7"/>
                  <a:gd name="T24" fmla="*/ 12 h 1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" h="12">
                    <a:moveTo>
                      <a:pt x="0" y="1"/>
                    </a:moveTo>
                    <a:cubicBezTo>
                      <a:pt x="1" y="3"/>
                      <a:pt x="4" y="3"/>
                      <a:pt x="5" y="5"/>
                    </a:cubicBezTo>
                    <a:cubicBezTo>
                      <a:pt x="6" y="7"/>
                      <a:pt x="5" y="9"/>
                      <a:pt x="6" y="11"/>
                    </a:cubicBezTo>
                    <a:cubicBezTo>
                      <a:pt x="6" y="12"/>
                      <a:pt x="7" y="11"/>
                      <a:pt x="7" y="10"/>
                    </a:cubicBezTo>
                    <a:cubicBezTo>
                      <a:pt x="7" y="8"/>
                      <a:pt x="7" y="6"/>
                      <a:pt x="6" y="4"/>
                    </a:cubicBezTo>
                    <a:cubicBezTo>
                      <a:pt x="6" y="2"/>
                      <a:pt x="4" y="1"/>
                      <a:pt x="3" y="0"/>
                    </a:cubicBezTo>
                    <a:cubicBezTo>
                      <a:pt x="2" y="0"/>
                      <a:pt x="0" y="0"/>
                      <a:pt x="0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grpSp>
            <p:nvGrpSpPr>
              <p:cNvPr id="1314" name="Gruppo 2548"/>
              <p:cNvGrpSpPr/>
              <p:nvPr/>
            </p:nvGrpSpPr>
            <p:grpSpPr>
              <a:xfrm>
                <a:off x="3220598" y="1448466"/>
                <a:ext cx="870186" cy="530796"/>
                <a:chOff x="5519198" y="2857496"/>
                <a:chExt cx="650474" cy="534259"/>
              </a:xfrm>
              <a:noFill/>
            </p:grpSpPr>
            <p:sp>
              <p:nvSpPr>
                <p:cNvPr id="1909" name="Freeform 3155"/>
                <p:cNvSpPr>
                  <a:spLocks noChangeAspect="1"/>
                </p:cNvSpPr>
                <p:nvPr/>
              </p:nvSpPr>
              <p:spPr bwMode="auto">
                <a:xfrm>
                  <a:off x="6104458" y="3002975"/>
                  <a:ext cx="5017" cy="7525"/>
                </a:xfrm>
                <a:custGeom>
                  <a:avLst/>
                  <a:gdLst>
                    <a:gd name="T0" fmla="*/ 4 w 5"/>
                    <a:gd name="T1" fmla="*/ 6 h 7"/>
                    <a:gd name="T2" fmla="*/ 1 w 5"/>
                    <a:gd name="T3" fmla="*/ 9 h 7"/>
                    <a:gd name="T4" fmla="*/ 1 w 5"/>
                    <a:gd name="T5" fmla="*/ 4 h 7"/>
                    <a:gd name="T6" fmla="*/ 5 w 5"/>
                    <a:gd name="T7" fmla="*/ 1 h 7"/>
                    <a:gd name="T8" fmla="*/ 4 w 5"/>
                    <a:gd name="T9" fmla="*/ 6 h 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"/>
                    <a:gd name="T16" fmla="*/ 0 h 7"/>
                    <a:gd name="T17" fmla="*/ 5 w 5"/>
                    <a:gd name="T18" fmla="*/ 7 h 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" h="7">
                      <a:moveTo>
                        <a:pt x="3" y="5"/>
                      </a:moveTo>
                      <a:cubicBezTo>
                        <a:pt x="3" y="6"/>
                        <a:pt x="1" y="7"/>
                        <a:pt x="1" y="7"/>
                      </a:cubicBezTo>
                      <a:cubicBezTo>
                        <a:pt x="0" y="6"/>
                        <a:pt x="0" y="4"/>
                        <a:pt x="1" y="3"/>
                      </a:cubicBezTo>
                      <a:cubicBezTo>
                        <a:pt x="2" y="2"/>
                        <a:pt x="3" y="0"/>
                        <a:pt x="4" y="1"/>
                      </a:cubicBezTo>
                      <a:cubicBezTo>
                        <a:pt x="5" y="2"/>
                        <a:pt x="4" y="4"/>
                        <a:pt x="3" y="5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10" name="Freeform 3156"/>
                <p:cNvSpPr>
                  <a:spLocks noChangeAspect="1"/>
                </p:cNvSpPr>
                <p:nvPr/>
              </p:nvSpPr>
              <p:spPr bwMode="auto">
                <a:xfrm>
                  <a:off x="6076866" y="2895956"/>
                  <a:ext cx="10033" cy="9197"/>
                </a:xfrm>
                <a:custGeom>
                  <a:avLst/>
                  <a:gdLst>
                    <a:gd name="T0" fmla="*/ 8 w 10"/>
                    <a:gd name="T1" fmla="*/ 5 h 9"/>
                    <a:gd name="T2" fmla="*/ 12 w 10"/>
                    <a:gd name="T3" fmla="*/ 11 h 9"/>
                    <a:gd name="T4" fmla="*/ 5 w 10"/>
                    <a:gd name="T5" fmla="*/ 7 h 9"/>
                    <a:gd name="T6" fmla="*/ 1 w 10"/>
                    <a:gd name="T7" fmla="*/ 0 h 9"/>
                    <a:gd name="T8" fmla="*/ 8 w 10"/>
                    <a:gd name="T9" fmla="*/ 5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0"/>
                    <a:gd name="T16" fmla="*/ 0 h 9"/>
                    <a:gd name="T17" fmla="*/ 10 w 10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0" h="9">
                      <a:moveTo>
                        <a:pt x="7" y="4"/>
                      </a:moveTo>
                      <a:cubicBezTo>
                        <a:pt x="8" y="5"/>
                        <a:pt x="10" y="8"/>
                        <a:pt x="10" y="9"/>
                      </a:cubicBezTo>
                      <a:cubicBezTo>
                        <a:pt x="9" y="9"/>
                        <a:pt x="5" y="7"/>
                        <a:pt x="4" y="6"/>
                      </a:cubicBezTo>
                      <a:cubicBezTo>
                        <a:pt x="2" y="4"/>
                        <a:pt x="0" y="0"/>
                        <a:pt x="1" y="0"/>
                      </a:cubicBezTo>
                      <a:cubicBezTo>
                        <a:pt x="2" y="0"/>
                        <a:pt x="5" y="3"/>
                        <a:pt x="7" y="4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11" name="Freeform 3179"/>
                <p:cNvSpPr>
                  <a:spLocks noChangeAspect="1"/>
                </p:cNvSpPr>
                <p:nvPr/>
              </p:nvSpPr>
              <p:spPr bwMode="auto">
                <a:xfrm>
                  <a:off x="6091080" y="2895120"/>
                  <a:ext cx="8361" cy="6689"/>
                </a:xfrm>
                <a:custGeom>
                  <a:avLst/>
                  <a:gdLst>
                    <a:gd name="T0" fmla="*/ 6 w 8"/>
                    <a:gd name="T1" fmla="*/ 5 h 7"/>
                    <a:gd name="T2" fmla="*/ 9 w 8"/>
                    <a:gd name="T3" fmla="*/ 8 h 7"/>
                    <a:gd name="T4" fmla="*/ 5 w 8"/>
                    <a:gd name="T5" fmla="*/ 6 h 7"/>
                    <a:gd name="T6" fmla="*/ 1 w 8"/>
                    <a:gd name="T7" fmla="*/ 0 h 7"/>
                    <a:gd name="T8" fmla="*/ 6 w 8"/>
                    <a:gd name="T9" fmla="*/ 5 h 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7"/>
                    <a:gd name="T17" fmla="*/ 8 w 8"/>
                    <a:gd name="T18" fmla="*/ 7 h 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7">
                      <a:moveTo>
                        <a:pt x="5" y="4"/>
                      </a:moveTo>
                      <a:cubicBezTo>
                        <a:pt x="6" y="5"/>
                        <a:pt x="8" y="7"/>
                        <a:pt x="7" y="7"/>
                      </a:cubicBezTo>
                      <a:cubicBezTo>
                        <a:pt x="7" y="7"/>
                        <a:pt x="5" y="6"/>
                        <a:pt x="4" y="5"/>
                      </a:cubicBezTo>
                      <a:cubicBezTo>
                        <a:pt x="2" y="3"/>
                        <a:pt x="0" y="1"/>
                        <a:pt x="1" y="0"/>
                      </a:cubicBezTo>
                      <a:cubicBezTo>
                        <a:pt x="1" y="0"/>
                        <a:pt x="4" y="3"/>
                        <a:pt x="5" y="4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12" name="Freeform 3180"/>
                <p:cNvSpPr>
                  <a:spLocks noChangeAspect="1"/>
                </p:cNvSpPr>
                <p:nvPr/>
              </p:nvSpPr>
              <p:spPr bwMode="auto">
                <a:xfrm>
                  <a:off x="6095260" y="2905153"/>
                  <a:ext cx="5853" cy="5017"/>
                </a:xfrm>
                <a:custGeom>
                  <a:avLst/>
                  <a:gdLst>
                    <a:gd name="T0" fmla="*/ 5 w 6"/>
                    <a:gd name="T1" fmla="*/ 2 h 5"/>
                    <a:gd name="T2" fmla="*/ 6 w 6"/>
                    <a:gd name="T3" fmla="*/ 6 h 5"/>
                    <a:gd name="T4" fmla="*/ 2 w 6"/>
                    <a:gd name="T5" fmla="*/ 4 h 5"/>
                    <a:gd name="T6" fmla="*/ 1 w 6"/>
                    <a:gd name="T7" fmla="*/ 0 h 5"/>
                    <a:gd name="T8" fmla="*/ 5 w 6"/>
                    <a:gd name="T9" fmla="*/ 2 h 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"/>
                    <a:gd name="T16" fmla="*/ 0 h 5"/>
                    <a:gd name="T17" fmla="*/ 6 w 6"/>
                    <a:gd name="T18" fmla="*/ 5 h 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" h="5">
                      <a:moveTo>
                        <a:pt x="4" y="2"/>
                      </a:moveTo>
                      <a:cubicBezTo>
                        <a:pt x="4" y="3"/>
                        <a:pt x="6" y="5"/>
                        <a:pt x="5" y="5"/>
                      </a:cubicBezTo>
                      <a:cubicBezTo>
                        <a:pt x="5" y="5"/>
                        <a:pt x="3" y="4"/>
                        <a:pt x="2" y="3"/>
                      </a:cubicBezTo>
                      <a:cubicBezTo>
                        <a:pt x="1" y="1"/>
                        <a:pt x="0" y="0"/>
                        <a:pt x="1" y="0"/>
                      </a:cubicBezTo>
                      <a:cubicBezTo>
                        <a:pt x="1" y="0"/>
                        <a:pt x="2" y="1"/>
                        <a:pt x="4" y="2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13" name="Freeform 3181"/>
                <p:cNvSpPr>
                  <a:spLocks noChangeAspect="1"/>
                </p:cNvSpPr>
                <p:nvPr/>
              </p:nvSpPr>
              <p:spPr bwMode="auto">
                <a:xfrm>
                  <a:off x="5785909" y="2886759"/>
                  <a:ext cx="4181" cy="3344"/>
                </a:xfrm>
                <a:custGeom>
                  <a:avLst/>
                  <a:gdLst>
                    <a:gd name="T0" fmla="*/ 4 w 4"/>
                    <a:gd name="T1" fmla="*/ 3 h 3"/>
                    <a:gd name="T2" fmla="*/ 5 w 4"/>
                    <a:gd name="T3" fmla="*/ 4 h 3"/>
                    <a:gd name="T4" fmla="*/ 3 w 4"/>
                    <a:gd name="T5" fmla="*/ 3 h 3"/>
                    <a:gd name="T6" fmla="*/ 0 w 4"/>
                    <a:gd name="T7" fmla="*/ 0 h 3"/>
                    <a:gd name="T8" fmla="*/ 4 w 4"/>
                    <a:gd name="T9" fmla="*/ 3 h 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3"/>
                    <a:gd name="T17" fmla="*/ 4 w 4"/>
                    <a:gd name="T18" fmla="*/ 3 h 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3">
                      <a:moveTo>
                        <a:pt x="3" y="2"/>
                      </a:moveTo>
                      <a:cubicBezTo>
                        <a:pt x="3" y="2"/>
                        <a:pt x="4" y="3"/>
                        <a:pt x="4" y="3"/>
                      </a:cubicBezTo>
                      <a:cubicBezTo>
                        <a:pt x="3" y="3"/>
                        <a:pt x="2" y="3"/>
                        <a:pt x="2" y="2"/>
                      </a:cubicBezTo>
                      <a:cubicBezTo>
                        <a:pt x="1" y="2"/>
                        <a:pt x="0" y="1"/>
                        <a:pt x="0" y="0"/>
                      </a:cubicBezTo>
                      <a:cubicBezTo>
                        <a:pt x="1" y="0"/>
                        <a:pt x="2" y="1"/>
                        <a:pt x="3" y="2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14" name="Freeform 3182"/>
                <p:cNvSpPr>
                  <a:spLocks noChangeAspect="1"/>
                </p:cNvSpPr>
                <p:nvPr/>
              </p:nvSpPr>
              <p:spPr bwMode="auto">
                <a:xfrm>
                  <a:off x="5797614" y="2877562"/>
                  <a:ext cx="7525" cy="5853"/>
                </a:xfrm>
                <a:custGeom>
                  <a:avLst/>
                  <a:gdLst>
                    <a:gd name="T0" fmla="*/ 7 w 8"/>
                    <a:gd name="T1" fmla="*/ 4 h 6"/>
                    <a:gd name="T2" fmla="*/ 9 w 8"/>
                    <a:gd name="T3" fmla="*/ 7 h 6"/>
                    <a:gd name="T4" fmla="*/ 5 w 8"/>
                    <a:gd name="T5" fmla="*/ 5 h 6"/>
                    <a:gd name="T6" fmla="*/ 1 w 8"/>
                    <a:gd name="T7" fmla="*/ 1 h 6"/>
                    <a:gd name="T8" fmla="*/ 7 w 8"/>
                    <a:gd name="T9" fmla="*/ 4 h 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6"/>
                    <a:gd name="T17" fmla="*/ 8 w 8"/>
                    <a:gd name="T18" fmla="*/ 6 h 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6">
                      <a:moveTo>
                        <a:pt x="6" y="3"/>
                      </a:moveTo>
                      <a:cubicBezTo>
                        <a:pt x="7" y="3"/>
                        <a:pt x="8" y="5"/>
                        <a:pt x="8" y="6"/>
                      </a:cubicBezTo>
                      <a:cubicBezTo>
                        <a:pt x="7" y="6"/>
                        <a:pt x="5" y="5"/>
                        <a:pt x="4" y="4"/>
                      </a:cubicBezTo>
                      <a:cubicBezTo>
                        <a:pt x="2" y="4"/>
                        <a:pt x="0" y="1"/>
                        <a:pt x="1" y="1"/>
                      </a:cubicBezTo>
                      <a:cubicBezTo>
                        <a:pt x="2" y="0"/>
                        <a:pt x="4" y="2"/>
                        <a:pt x="6" y="3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15" name="Freeform 3183"/>
                <p:cNvSpPr>
                  <a:spLocks noChangeAspect="1"/>
                </p:cNvSpPr>
                <p:nvPr/>
              </p:nvSpPr>
              <p:spPr bwMode="auto">
                <a:xfrm>
                  <a:off x="5865337" y="2866693"/>
                  <a:ext cx="15050" cy="5853"/>
                </a:xfrm>
                <a:custGeom>
                  <a:avLst/>
                  <a:gdLst>
                    <a:gd name="T0" fmla="*/ 11 w 15"/>
                    <a:gd name="T1" fmla="*/ 4 h 6"/>
                    <a:gd name="T2" fmla="*/ 17 w 15"/>
                    <a:gd name="T3" fmla="*/ 6 h 6"/>
                    <a:gd name="T4" fmla="*/ 10 w 15"/>
                    <a:gd name="T5" fmla="*/ 6 h 6"/>
                    <a:gd name="T6" fmla="*/ 1 w 15"/>
                    <a:gd name="T7" fmla="*/ 2 h 6"/>
                    <a:gd name="T8" fmla="*/ 11 w 15"/>
                    <a:gd name="T9" fmla="*/ 4 h 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5"/>
                    <a:gd name="T16" fmla="*/ 0 h 6"/>
                    <a:gd name="T17" fmla="*/ 15 w 15"/>
                    <a:gd name="T18" fmla="*/ 6 h 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5" h="6">
                      <a:moveTo>
                        <a:pt x="9" y="3"/>
                      </a:moveTo>
                      <a:cubicBezTo>
                        <a:pt x="11" y="3"/>
                        <a:pt x="15" y="4"/>
                        <a:pt x="14" y="5"/>
                      </a:cubicBezTo>
                      <a:cubicBezTo>
                        <a:pt x="14" y="6"/>
                        <a:pt x="10" y="5"/>
                        <a:pt x="8" y="5"/>
                      </a:cubicBezTo>
                      <a:cubicBezTo>
                        <a:pt x="5" y="4"/>
                        <a:pt x="0" y="3"/>
                        <a:pt x="1" y="2"/>
                      </a:cubicBezTo>
                      <a:cubicBezTo>
                        <a:pt x="2" y="0"/>
                        <a:pt x="7" y="2"/>
                        <a:pt x="9" y="3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16" name="Freeform 3242"/>
                <p:cNvSpPr>
                  <a:spLocks noChangeAspect="1"/>
                </p:cNvSpPr>
                <p:nvPr/>
              </p:nvSpPr>
              <p:spPr bwMode="auto">
                <a:xfrm>
                  <a:off x="6090244" y="3079059"/>
                  <a:ext cx="4181" cy="3344"/>
                </a:xfrm>
                <a:custGeom>
                  <a:avLst/>
                  <a:gdLst>
                    <a:gd name="T0" fmla="*/ 4 w 4"/>
                    <a:gd name="T1" fmla="*/ 3 h 3"/>
                    <a:gd name="T2" fmla="*/ 3 w 4"/>
                    <a:gd name="T3" fmla="*/ 4 h 3"/>
                    <a:gd name="T4" fmla="*/ 1 w 4"/>
                    <a:gd name="T5" fmla="*/ 3 h 3"/>
                    <a:gd name="T6" fmla="*/ 3 w 4"/>
                    <a:gd name="T7" fmla="*/ 0 h 3"/>
                    <a:gd name="T8" fmla="*/ 4 w 4"/>
                    <a:gd name="T9" fmla="*/ 3 h 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3"/>
                    <a:gd name="T17" fmla="*/ 4 w 4"/>
                    <a:gd name="T18" fmla="*/ 3 h 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3">
                      <a:moveTo>
                        <a:pt x="3" y="2"/>
                      </a:moveTo>
                      <a:cubicBezTo>
                        <a:pt x="3" y="3"/>
                        <a:pt x="3" y="3"/>
                        <a:pt x="2" y="3"/>
                      </a:cubicBezTo>
                      <a:cubicBezTo>
                        <a:pt x="1" y="3"/>
                        <a:pt x="0" y="2"/>
                        <a:pt x="1" y="2"/>
                      </a:cubicBezTo>
                      <a:cubicBezTo>
                        <a:pt x="1" y="1"/>
                        <a:pt x="1" y="0"/>
                        <a:pt x="2" y="0"/>
                      </a:cubicBezTo>
                      <a:cubicBezTo>
                        <a:pt x="4" y="0"/>
                        <a:pt x="3" y="1"/>
                        <a:pt x="3" y="2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17" name="Freeform 3243"/>
                <p:cNvSpPr>
                  <a:spLocks noChangeAspect="1"/>
                </p:cNvSpPr>
                <p:nvPr/>
              </p:nvSpPr>
              <p:spPr bwMode="auto">
                <a:xfrm>
                  <a:off x="6106966" y="2971204"/>
                  <a:ext cx="5017" cy="5853"/>
                </a:xfrm>
                <a:custGeom>
                  <a:avLst/>
                  <a:gdLst>
                    <a:gd name="T0" fmla="*/ 4 w 5"/>
                    <a:gd name="T1" fmla="*/ 5 h 6"/>
                    <a:gd name="T2" fmla="*/ 1 w 5"/>
                    <a:gd name="T3" fmla="*/ 6 h 6"/>
                    <a:gd name="T4" fmla="*/ 1 w 5"/>
                    <a:gd name="T5" fmla="*/ 4 h 6"/>
                    <a:gd name="T6" fmla="*/ 4 w 5"/>
                    <a:gd name="T7" fmla="*/ 1 h 6"/>
                    <a:gd name="T8" fmla="*/ 4 w 5"/>
                    <a:gd name="T9" fmla="*/ 5 h 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"/>
                    <a:gd name="T16" fmla="*/ 0 h 6"/>
                    <a:gd name="T17" fmla="*/ 5 w 5"/>
                    <a:gd name="T18" fmla="*/ 6 h 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" h="6">
                      <a:moveTo>
                        <a:pt x="3" y="4"/>
                      </a:moveTo>
                      <a:cubicBezTo>
                        <a:pt x="3" y="5"/>
                        <a:pt x="2" y="6"/>
                        <a:pt x="1" y="5"/>
                      </a:cubicBezTo>
                      <a:cubicBezTo>
                        <a:pt x="0" y="5"/>
                        <a:pt x="1" y="4"/>
                        <a:pt x="1" y="3"/>
                      </a:cubicBezTo>
                      <a:cubicBezTo>
                        <a:pt x="1" y="2"/>
                        <a:pt x="2" y="0"/>
                        <a:pt x="3" y="1"/>
                      </a:cubicBezTo>
                      <a:cubicBezTo>
                        <a:pt x="5" y="2"/>
                        <a:pt x="4" y="3"/>
                        <a:pt x="3" y="4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18" name="Freeform 3244"/>
                <p:cNvSpPr>
                  <a:spLocks noChangeAspect="1"/>
                </p:cNvSpPr>
                <p:nvPr/>
              </p:nvSpPr>
              <p:spPr bwMode="auto">
                <a:xfrm>
                  <a:off x="6088572" y="2946121"/>
                  <a:ext cx="5017" cy="5017"/>
                </a:xfrm>
                <a:custGeom>
                  <a:avLst/>
                  <a:gdLst>
                    <a:gd name="T0" fmla="*/ 4 w 5"/>
                    <a:gd name="T1" fmla="*/ 5 h 5"/>
                    <a:gd name="T2" fmla="*/ 1 w 5"/>
                    <a:gd name="T3" fmla="*/ 5 h 5"/>
                    <a:gd name="T4" fmla="*/ 2 w 5"/>
                    <a:gd name="T5" fmla="*/ 2 h 5"/>
                    <a:gd name="T6" fmla="*/ 6 w 5"/>
                    <a:gd name="T7" fmla="*/ 1 h 5"/>
                    <a:gd name="T8" fmla="*/ 4 w 5"/>
                    <a:gd name="T9" fmla="*/ 5 h 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"/>
                    <a:gd name="T16" fmla="*/ 0 h 5"/>
                    <a:gd name="T17" fmla="*/ 5 w 5"/>
                    <a:gd name="T18" fmla="*/ 5 h 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" h="5">
                      <a:moveTo>
                        <a:pt x="3" y="4"/>
                      </a:moveTo>
                      <a:cubicBezTo>
                        <a:pt x="2" y="4"/>
                        <a:pt x="1" y="5"/>
                        <a:pt x="1" y="4"/>
                      </a:cubicBezTo>
                      <a:cubicBezTo>
                        <a:pt x="0" y="3"/>
                        <a:pt x="1" y="2"/>
                        <a:pt x="2" y="2"/>
                      </a:cubicBezTo>
                      <a:cubicBezTo>
                        <a:pt x="3" y="1"/>
                        <a:pt x="5" y="0"/>
                        <a:pt x="5" y="1"/>
                      </a:cubicBezTo>
                      <a:cubicBezTo>
                        <a:pt x="5" y="2"/>
                        <a:pt x="4" y="3"/>
                        <a:pt x="3" y="4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19" name="Freeform 3245"/>
                <p:cNvSpPr>
                  <a:spLocks noChangeAspect="1"/>
                </p:cNvSpPr>
                <p:nvPr/>
              </p:nvSpPr>
              <p:spPr bwMode="auto">
                <a:xfrm>
                  <a:off x="5874534" y="2865021"/>
                  <a:ext cx="4181" cy="2509"/>
                </a:xfrm>
                <a:custGeom>
                  <a:avLst/>
                  <a:gdLst>
                    <a:gd name="T0" fmla="*/ 4 w 4"/>
                    <a:gd name="T1" fmla="*/ 1 h 3"/>
                    <a:gd name="T2" fmla="*/ 5 w 4"/>
                    <a:gd name="T3" fmla="*/ 3 h 3"/>
                    <a:gd name="T4" fmla="*/ 3 w 4"/>
                    <a:gd name="T5" fmla="*/ 3 h 3"/>
                    <a:gd name="T6" fmla="*/ 1 w 4"/>
                    <a:gd name="T7" fmla="*/ 1 h 3"/>
                    <a:gd name="T8" fmla="*/ 4 w 4"/>
                    <a:gd name="T9" fmla="*/ 1 h 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3"/>
                    <a:gd name="T17" fmla="*/ 4 w 4"/>
                    <a:gd name="T18" fmla="*/ 3 h 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3">
                      <a:moveTo>
                        <a:pt x="3" y="1"/>
                      </a:moveTo>
                      <a:cubicBezTo>
                        <a:pt x="3" y="1"/>
                        <a:pt x="4" y="2"/>
                        <a:pt x="4" y="3"/>
                      </a:cubicBezTo>
                      <a:cubicBezTo>
                        <a:pt x="3" y="3"/>
                        <a:pt x="2" y="3"/>
                        <a:pt x="2" y="3"/>
                      </a:cubicBezTo>
                      <a:cubicBezTo>
                        <a:pt x="1" y="2"/>
                        <a:pt x="0" y="1"/>
                        <a:pt x="1" y="1"/>
                      </a:cubicBezTo>
                      <a:cubicBezTo>
                        <a:pt x="2" y="0"/>
                        <a:pt x="3" y="1"/>
                        <a:pt x="3" y="1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20" name="Freeform 3246"/>
                <p:cNvSpPr>
                  <a:spLocks noChangeAspect="1"/>
                </p:cNvSpPr>
                <p:nvPr/>
              </p:nvSpPr>
              <p:spPr bwMode="auto">
                <a:xfrm>
                  <a:off x="5773368" y="2880071"/>
                  <a:ext cx="2509" cy="2509"/>
                </a:xfrm>
                <a:custGeom>
                  <a:avLst/>
                  <a:gdLst>
                    <a:gd name="T0" fmla="*/ 2 w 3"/>
                    <a:gd name="T1" fmla="*/ 1 h 3"/>
                    <a:gd name="T2" fmla="*/ 3 w 3"/>
                    <a:gd name="T3" fmla="*/ 2 h 3"/>
                    <a:gd name="T4" fmla="*/ 1 w 3"/>
                    <a:gd name="T5" fmla="*/ 3 h 3"/>
                    <a:gd name="T6" fmla="*/ 0 w 3"/>
                    <a:gd name="T7" fmla="*/ 1 h 3"/>
                    <a:gd name="T8" fmla="*/ 2 w 3"/>
                    <a:gd name="T9" fmla="*/ 1 h 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3"/>
                    <a:gd name="T17" fmla="*/ 3 w 3"/>
                    <a:gd name="T18" fmla="*/ 3 h 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3">
                      <a:moveTo>
                        <a:pt x="2" y="1"/>
                      </a:moveTo>
                      <a:cubicBezTo>
                        <a:pt x="2" y="1"/>
                        <a:pt x="3" y="1"/>
                        <a:pt x="3" y="2"/>
                      </a:cubicBezTo>
                      <a:cubicBezTo>
                        <a:pt x="3" y="3"/>
                        <a:pt x="2" y="3"/>
                        <a:pt x="1" y="3"/>
                      </a:cubicBezTo>
                      <a:cubicBezTo>
                        <a:pt x="1" y="3"/>
                        <a:pt x="0" y="2"/>
                        <a:pt x="0" y="1"/>
                      </a:cubicBezTo>
                      <a:cubicBezTo>
                        <a:pt x="0" y="0"/>
                        <a:pt x="1" y="1"/>
                        <a:pt x="2" y="1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21" name="Freeform 3247"/>
                <p:cNvSpPr>
                  <a:spLocks noChangeAspect="1"/>
                </p:cNvSpPr>
                <p:nvPr/>
              </p:nvSpPr>
              <p:spPr bwMode="auto">
                <a:xfrm>
                  <a:off x="5703137" y="3153470"/>
                  <a:ext cx="4181" cy="6689"/>
                </a:xfrm>
                <a:custGeom>
                  <a:avLst/>
                  <a:gdLst>
                    <a:gd name="T0" fmla="*/ 4 w 4"/>
                    <a:gd name="T1" fmla="*/ 5 h 6"/>
                    <a:gd name="T2" fmla="*/ 3 w 4"/>
                    <a:gd name="T3" fmla="*/ 8 h 6"/>
                    <a:gd name="T4" fmla="*/ 0 w 4"/>
                    <a:gd name="T5" fmla="*/ 4 h 6"/>
                    <a:gd name="T6" fmla="*/ 3 w 4"/>
                    <a:gd name="T7" fmla="*/ 0 h 6"/>
                    <a:gd name="T8" fmla="*/ 4 w 4"/>
                    <a:gd name="T9" fmla="*/ 5 h 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6"/>
                    <a:gd name="T17" fmla="*/ 4 w 4"/>
                    <a:gd name="T18" fmla="*/ 6 h 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6">
                      <a:moveTo>
                        <a:pt x="3" y="4"/>
                      </a:moveTo>
                      <a:cubicBezTo>
                        <a:pt x="3" y="5"/>
                        <a:pt x="3" y="6"/>
                        <a:pt x="2" y="6"/>
                      </a:cubicBezTo>
                      <a:cubicBezTo>
                        <a:pt x="0" y="6"/>
                        <a:pt x="0" y="4"/>
                        <a:pt x="0" y="3"/>
                      </a:cubicBezTo>
                      <a:cubicBezTo>
                        <a:pt x="0" y="2"/>
                        <a:pt x="0" y="0"/>
                        <a:pt x="2" y="0"/>
                      </a:cubicBezTo>
                      <a:cubicBezTo>
                        <a:pt x="4" y="1"/>
                        <a:pt x="3" y="3"/>
                        <a:pt x="3" y="4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22" name="Freeform 3248"/>
                <p:cNvSpPr>
                  <a:spLocks noChangeAspect="1"/>
                </p:cNvSpPr>
                <p:nvPr/>
              </p:nvSpPr>
              <p:spPr bwMode="auto">
                <a:xfrm>
                  <a:off x="5725711" y="3186914"/>
                  <a:ext cx="4181" cy="5853"/>
                </a:xfrm>
                <a:custGeom>
                  <a:avLst/>
                  <a:gdLst>
                    <a:gd name="T0" fmla="*/ 5 w 4"/>
                    <a:gd name="T1" fmla="*/ 4 h 6"/>
                    <a:gd name="T2" fmla="*/ 3 w 4"/>
                    <a:gd name="T3" fmla="*/ 6 h 6"/>
                    <a:gd name="T4" fmla="*/ 1 w 4"/>
                    <a:gd name="T5" fmla="*/ 4 h 6"/>
                    <a:gd name="T6" fmla="*/ 3 w 4"/>
                    <a:gd name="T7" fmla="*/ 0 h 6"/>
                    <a:gd name="T8" fmla="*/ 5 w 4"/>
                    <a:gd name="T9" fmla="*/ 4 h 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6"/>
                    <a:gd name="T17" fmla="*/ 4 w 4"/>
                    <a:gd name="T18" fmla="*/ 6 h 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6">
                      <a:moveTo>
                        <a:pt x="4" y="3"/>
                      </a:moveTo>
                      <a:cubicBezTo>
                        <a:pt x="4" y="4"/>
                        <a:pt x="3" y="6"/>
                        <a:pt x="2" y="5"/>
                      </a:cubicBezTo>
                      <a:cubicBezTo>
                        <a:pt x="1" y="5"/>
                        <a:pt x="0" y="4"/>
                        <a:pt x="1" y="3"/>
                      </a:cubicBezTo>
                      <a:cubicBezTo>
                        <a:pt x="1" y="2"/>
                        <a:pt x="1" y="0"/>
                        <a:pt x="2" y="0"/>
                      </a:cubicBezTo>
                      <a:cubicBezTo>
                        <a:pt x="4" y="0"/>
                        <a:pt x="4" y="2"/>
                        <a:pt x="4" y="3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23" name="Freeform 3249"/>
                <p:cNvSpPr>
                  <a:spLocks noChangeAspect="1"/>
                </p:cNvSpPr>
                <p:nvPr/>
              </p:nvSpPr>
              <p:spPr bwMode="auto">
                <a:xfrm>
                  <a:off x="5708989" y="3152634"/>
                  <a:ext cx="6689" cy="5017"/>
                </a:xfrm>
                <a:custGeom>
                  <a:avLst/>
                  <a:gdLst>
                    <a:gd name="T0" fmla="*/ 6 w 7"/>
                    <a:gd name="T1" fmla="*/ 1 h 5"/>
                    <a:gd name="T2" fmla="*/ 7 w 7"/>
                    <a:gd name="T3" fmla="*/ 4 h 5"/>
                    <a:gd name="T4" fmla="*/ 3 w 7"/>
                    <a:gd name="T5" fmla="*/ 5 h 5"/>
                    <a:gd name="T6" fmla="*/ 1 w 7"/>
                    <a:gd name="T7" fmla="*/ 2 h 5"/>
                    <a:gd name="T8" fmla="*/ 6 w 7"/>
                    <a:gd name="T9" fmla="*/ 1 h 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5"/>
                    <a:gd name="T17" fmla="*/ 7 w 7"/>
                    <a:gd name="T18" fmla="*/ 5 h 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5">
                      <a:moveTo>
                        <a:pt x="5" y="1"/>
                      </a:moveTo>
                      <a:cubicBezTo>
                        <a:pt x="5" y="1"/>
                        <a:pt x="7" y="2"/>
                        <a:pt x="6" y="3"/>
                      </a:cubicBezTo>
                      <a:cubicBezTo>
                        <a:pt x="6" y="5"/>
                        <a:pt x="4" y="5"/>
                        <a:pt x="3" y="4"/>
                      </a:cubicBezTo>
                      <a:cubicBezTo>
                        <a:pt x="2" y="4"/>
                        <a:pt x="0" y="3"/>
                        <a:pt x="1" y="2"/>
                      </a:cubicBezTo>
                      <a:cubicBezTo>
                        <a:pt x="1" y="0"/>
                        <a:pt x="3" y="1"/>
                        <a:pt x="5" y="1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24" name="Freeform 3250"/>
                <p:cNvSpPr>
                  <a:spLocks noChangeAspect="1"/>
                </p:cNvSpPr>
                <p:nvPr/>
              </p:nvSpPr>
              <p:spPr bwMode="auto">
                <a:xfrm>
                  <a:off x="5683906" y="3120027"/>
                  <a:ext cx="5853" cy="5853"/>
                </a:xfrm>
                <a:custGeom>
                  <a:avLst/>
                  <a:gdLst>
                    <a:gd name="T0" fmla="*/ 4 w 6"/>
                    <a:gd name="T1" fmla="*/ 1 h 6"/>
                    <a:gd name="T2" fmla="*/ 6 w 6"/>
                    <a:gd name="T3" fmla="*/ 1 h 6"/>
                    <a:gd name="T4" fmla="*/ 6 w 6"/>
                    <a:gd name="T5" fmla="*/ 5 h 6"/>
                    <a:gd name="T6" fmla="*/ 1 w 6"/>
                    <a:gd name="T7" fmla="*/ 6 h 6"/>
                    <a:gd name="T8" fmla="*/ 4 w 6"/>
                    <a:gd name="T9" fmla="*/ 1 h 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"/>
                    <a:gd name="T16" fmla="*/ 0 h 6"/>
                    <a:gd name="T17" fmla="*/ 6 w 6"/>
                    <a:gd name="T18" fmla="*/ 6 h 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" h="6">
                      <a:moveTo>
                        <a:pt x="3" y="1"/>
                      </a:moveTo>
                      <a:cubicBezTo>
                        <a:pt x="3" y="0"/>
                        <a:pt x="4" y="0"/>
                        <a:pt x="5" y="1"/>
                      </a:cubicBezTo>
                      <a:cubicBezTo>
                        <a:pt x="6" y="2"/>
                        <a:pt x="5" y="3"/>
                        <a:pt x="5" y="4"/>
                      </a:cubicBezTo>
                      <a:cubicBezTo>
                        <a:pt x="4" y="5"/>
                        <a:pt x="2" y="6"/>
                        <a:pt x="1" y="5"/>
                      </a:cubicBezTo>
                      <a:cubicBezTo>
                        <a:pt x="0" y="3"/>
                        <a:pt x="2" y="2"/>
                        <a:pt x="3" y="1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25" name="Freeform 3256"/>
                <p:cNvSpPr>
                  <a:spLocks noChangeAspect="1"/>
                </p:cNvSpPr>
                <p:nvPr/>
              </p:nvSpPr>
              <p:spPr bwMode="auto">
                <a:xfrm>
                  <a:off x="5550969" y="3335737"/>
                  <a:ext cx="6689" cy="5017"/>
                </a:xfrm>
                <a:custGeom>
                  <a:avLst/>
                  <a:gdLst>
                    <a:gd name="T0" fmla="*/ 4 w 6"/>
                    <a:gd name="T1" fmla="*/ 6 h 5"/>
                    <a:gd name="T2" fmla="*/ 0 w 6"/>
                    <a:gd name="T3" fmla="*/ 5 h 5"/>
                    <a:gd name="T4" fmla="*/ 3 w 6"/>
                    <a:gd name="T5" fmla="*/ 1 h 5"/>
                    <a:gd name="T6" fmla="*/ 8 w 6"/>
                    <a:gd name="T7" fmla="*/ 2 h 5"/>
                    <a:gd name="T8" fmla="*/ 4 w 6"/>
                    <a:gd name="T9" fmla="*/ 6 h 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"/>
                    <a:gd name="T16" fmla="*/ 0 h 5"/>
                    <a:gd name="T17" fmla="*/ 6 w 6"/>
                    <a:gd name="T18" fmla="*/ 5 h 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" h="5">
                      <a:moveTo>
                        <a:pt x="3" y="5"/>
                      </a:moveTo>
                      <a:cubicBezTo>
                        <a:pt x="2" y="5"/>
                        <a:pt x="1" y="5"/>
                        <a:pt x="0" y="4"/>
                      </a:cubicBezTo>
                      <a:cubicBezTo>
                        <a:pt x="0" y="3"/>
                        <a:pt x="1" y="2"/>
                        <a:pt x="2" y="1"/>
                      </a:cubicBezTo>
                      <a:cubicBezTo>
                        <a:pt x="3" y="1"/>
                        <a:pt x="5" y="0"/>
                        <a:pt x="6" y="2"/>
                      </a:cubicBezTo>
                      <a:cubicBezTo>
                        <a:pt x="6" y="3"/>
                        <a:pt x="4" y="4"/>
                        <a:pt x="3" y="5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26" name="Freeform 3296"/>
                <p:cNvSpPr>
                  <a:spLocks noChangeAspect="1"/>
                </p:cNvSpPr>
                <p:nvPr/>
              </p:nvSpPr>
              <p:spPr bwMode="auto">
                <a:xfrm>
                  <a:off x="5866173" y="3273867"/>
                  <a:ext cx="5017" cy="4181"/>
                </a:xfrm>
                <a:custGeom>
                  <a:avLst/>
                  <a:gdLst>
                    <a:gd name="T0" fmla="*/ 5 w 5"/>
                    <a:gd name="T1" fmla="*/ 3 h 4"/>
                    <a:gd name="T2" fmla="*/ 5 w 5"/>
                    <a:gd name="T3" fmla="*/ 5 h 4"/>
                    <a:gd name="T4" fmla="*/ 2 w 5"/>
                    <a:gd name="T5" fmla="*/ 4 h 4"/>
                    <a:gd name="T6" fmla="*/ 1 w 5"/>
                    <a:gd name="T7" fmla="*/ 0 h 4"/>
                    <a:gd name="T8" fmla="*/ 5 w 5"/>
                    <a:gd name="T9" fmla="*/ 3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"/>
                    <a:gd name="T16" fmla="*/ 0 h 4"/>
                    <a:gd name="T17" fmla="*/ 5 w 5"/>
                    <a:gd name="T18" fmla="*/ 4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" h="4">
                      <a:moveTo>
                        <a:pt x="4" y="2"/>
                      </a:moveTo>
                      <a:cubicBezTo>
                        <a:pt x="4" y="2"/>
                        <a:pt x="5" y="3"/>
                        <a:pt x="4" y="4"/>
                      </a:cubicBezTo>
                      <a:cubicBezTo>
                        <a:pt x="3" y="4"/>
                        <a:pt x="2" y="4"/>
                        <a:pt x="2" y="3"/>
                      </a:cubicBezTo>
                      <a:cubicBezTo>
                        <a:pt x="1" y="2"/>
                        <a:pt x="0" y="1"/>
                        <a:pt x="1" y="0"/>
                      </a:cubicBezTo>
                      <a:cubicBezTo>
                        <a:pt x="2" y="0"/>
                        <a:pt x="3" y="1"/>
                        <a:pt x="4" y="2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27" name="Freeform 3297"/>
                <p:cNvSpPr>
                  <a:spLocks noChangeAspect="1"/>
                </p:cNvSpPr>
                <p:nvPr/>
              </p:nvSpPr>
              <p:spPr bwMode="auto">
                <a:xfrm>
                  <a:off x="6076866" y="3038927"/>
                  <a:ext cx="3344" cy="2509"/>
                </a:xfrm>
                <a:custGeom>
                  <a:avLst/>
                  <a:gdLst>
                    <a:gd name="T0" fmla="*/ 1 w 3"/>
                    <a:gd name="T1" fmla="*/ 3 h 2"/>
                    <a:gd name="T2" fmla="*/ 0 w 3"/>
                    <a:gd name="T3" fmla="*/ 2 h 2"/>
                    <a:gd name="T4" fmla="*/ 3 w 3"/>
                    <a:gd name="T5" fmla="*/ 0 h 2"/>
                    <a:gd name="T6" fmla="*/ 4 w 3"/>
                    <a:gd name="T7" fmla="*/ 2 h 2"/>
                    <a:gd name="T8" fmla="*/ 1 w 3"/>
                    <a:gd name="T9" fmla="*/ 3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2"/>
                    <a:gd name="T17" fmla="*/ 3 w 3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2">
                      <a:moveTo>
                        <a:pt x="1" y="2"/>
                      </a:moveTo>
                      <a:cubicBezTo>
                        <a:pt x="1" y="2"/>
                        <a:pt x="0" y="1"/>
                        <a:pt x="0" y="1"/>
                      </a:cubicBezTo>
                      <a:cubicBezTo>
                        <a:pt x="1" y="0"/>
                        <a:pt x="1" y="0"/>
                        <a:pt x="2" y="0"/>
                      </a:cubicBezTo>
                      <a:cubicBezTo>
                        <a:pt x="2" y="0"/>
                        <a:pt x="3" y="1"/>
                        <a:pt x="3" y="1"/>
                      </a:cubicBezTo>
                      <a:cubicBezTo>
                        <a:pt x="3" y="2"/>
                        <a:pt x="2" y="2"/>
                        <a:pt x="1" y="2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28" name="Freeform 3298"/>
                <p:cNvSpPr>
                  <a:spLocks noChangeAspect="1"/>
                </p:cNvSpPr>
                <p:nvPr/>
              </p:nvSpPr>
              <p:spPr bwMode="auto">
                <a:xfrm>
                  <a:off x="6071850" y="3036418"/>
                  <a:ext cx="3344" cy="1672"/>
                </a:xfrm>
                <a:custGeom>
                  <a:avLst/>
                  <a:gdLst>
                    <a:gd name="T0" fmla="*/ 1 w 3"/>
                    <a:gd name="T1" fmla="*/ 2 h 2"/>
                    <a:gd name="T2" fmla="*/ 0 w 3"/>
                    <a:gd name="T3" fmla="*/ 1 h 2"/>
                    <a:gd name="T4" fmla="*/ 3 w 3"/>
                    <a:gd name="T5" fmla="*/ 0 h 2"/>
                    <a:gd name="T6" fmla="*/ 4 w 3"/>
                    <a:gd name="T7" fmla="*/ 1 h 2"/>
                    <a:gd name="T8" fmla="*/ 1 w 3"/>
                    <a:gd name="T9" fmla="*/ 2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2"/>
                    <a:gd name="T17" fmla="*/ 3 w 3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2">
                      <a:moveTo>
                        <a:pt x="1" y="2"/>
                      </a:moveTo>
                      <a:cubicBezTo>
                        <a:pt x="1" y="1"/>
                        <a:pt x="0" y="1"/>
                        <a:pt x="0" y="1"/>
                      </a:cubicBezTo>
                      <a:cubicBezTo>
                        <a:pt x="0" y="0"/>
                        <a:pt x="1" y="0"/>
                        <a:pt x="2" y="0"/>
                      </a:cubicBezTo>
                      <a:cubicBezTo>
                        <a:pt x="2" y="0"/>
                        <a:pt x="3" y="0"/>
                        <a:pt x="3" y="1"/>
                      </a:cubicBezTo>
                      <a:cubicBezTo>
                        <a:pt x="3" y="2"/>
                        <a:pt x="2" y="2"/>
                        <a:pt x="1" y="2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29" name="Freeform 3299"/>
                <p:cNvSpPr>
                  <a:spLocks noChangeAspect="1"/>
                </p:cNvSpPr>
                <p:nvPr/>
              </p:nvSpPr>
              <p:spPr bwMode="auto">
                <a:xfrm>
                  <a:off x="6066833" y="3033910"/>
                  <a:ext cx="3344" cy="2509"/>
                </a:xfrm>
                <a:custGeom>
                  <a:avLst/>
                  <a:gdLst>
                    <a:gd name="T0" fmla="*/ 1 w 3"/>
                    <a:gd name="T1" fmla="*/ 3 h 2"/>
                    <a:gd name="T2" fmla="*/ 0 w 3"/>
                    <a:gd name="T3" fmla="*/ 2 h 2"/>
                    <a:gd name="T4" fmla="*/ 1 w 3"/>
                    <a:gd name="T5" fmla="*/ 0 h 2"/>
                    <a:gd name="T6" fmla="*/ 3 w 3"/>
                    <a:gd name="T7" fmla="*/ 3 h 2"/>
                    <a:gd name="T8" fmla="*/ 1 w 3"/>
                    <a:gd name="T9" fmla="*/ 3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2"/>
                    <a:gd name="T17" fmla="*/ 3 w 3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2">
                      <a:moveTo>
                        <a:pt x="1" y="2"/>
                      </a:moveTo>
                      <a:cubicBezTo>
                        <a:pt x="0" y="2"/>
                        <a:pt x="0" y="2"/>
                        <a:pt x="0" y="1"/>
                      </a:cubicBezTo>
                      <a:cubicBezTo>
                        <a:pt x="0" y="0"/>
                        <a:pt x="1" y="0"/>
                        <a:pt x="1" y="0"/>
                      </a:cubicBezTo>
                      <a:cubicBezTo>
                        <a:pt x="2" y="1"/>
                        <a:pt x="3" y="1"/>
                        <a:pt x="2" y="2"/>
                      </a:cubicBezTo>
                      <a:cubicBezTo>
                        <a:pt x="2" y="2"/>
                        <a:pt x="1" y="2"/>
                        <a:pt x="1" y="2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30" name="Freeform 3300"/>
                <p:cNvSpPr>
                  <a:spLocks noChangeAspect="1"/>
                </p:cNvSpPr>
                <p:nvPr/>
              </p:nvSpPr>
              <p:spPr bwMode="auto">
                <a:xfrm>
                  <a:off x="6096097" y="3078223"/>
                  <a:ext cx="2509" cy="2509"/>
                </a:xfrm>
                <a:custGeom>
                  <a:avLst/>
                  <a:gdLst>
                    <a:gd name="T0" fmla="*/ 2 w 2"/>
                    <a:gd name="T1" fmla="*/ 2 h 2"/>
                    <a:gd name="T2" fmla="*/ 0 w 2"/>
                    <a:gd name="T3" fmla="*/ 3 h 2"/>
                    <a:gd name="T4" fmla="*/ 0 w 2"/>
                    <a:gd name="T5" fmla="*/ 2 h 2"/>
                    <a:gd name="T6" fmla="*/ 2 w 2"/>
                    <a:gd name="T7" fmla="*/ 0 h 2"/>
                    <a:gd name="T8" fmla="*/ 2 w 2"/>
                    <a:gd name="T9" fmla="*/ 2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"/>
                    <a:gd name="T16" fmla="*/ 0 h 2"/>
                    <a:gd name="T17" fmla="*/ 2 w 2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" h="2">
                      <a:moveTo>
                        <a:pt x="1" y="1"/>
                      </a:moveTo>
                      <a:cubicBezTo>
                        <a:pt x="1" y="2"/>
                        <a:pt x="1" y="2"/>
                        <a:pt x="0" y="2"/>
                      </a:cubicBezTo>
                      <a:cubicBezTo>
                        <a:pt x="0" y="2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  <a:cubicBezTo>
                        <a:pt x="2" y="0"/>
                        <a:pt x="1" y="1"/>
                        <a:pt x="1" y="1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31" name="Freeform 3301"/>
                <p:cNvSpPr>
                  <a:spLocks noChangeAspect="1"/>
                </p:cNvSpPr>
                <p:nvPr/>
              </p:nvSpPr>
              <p:spPr bwMode="auto">
                <a:xfrm>
                  <a:off x="6086064" y="2991270"/>
                  <a:ext cx="836" cy="1672"/>
                </a:xfrm>
                <a:custGeom>
                  <a:avLst/>
                  <a:gdLst>
                    <a:gd name="T0" fmla="*/ 1 w 1"/>
                    <a:gd name="T1" fmla="*/ 1 h 2"/>
                    <a:gd name="T2" fmla="*/ 0 w 1"/>
                    <a:gd name="T3" fmla="*/ 2 h 2"/>
                    <a:gd name="T4" fmla="*/ 0 w 1"/>
                    <a:gd name="T5" fmla="*/ 1 h 2"/>
                    <a:gd name="T6" fmla="*/ 1 w 1"/>
                    <a:gd name="T7" fmla="*/ 0 h 2"/>
                    <a:gd name="T8" fmla="*/ 1 w 1"/>
                    <a:gd name="T9" fmla="*/ 1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"/>
                    <a:gd name="T16" fmla="*/ 0 h 2"/>
                    <a:gd name="T17" fmla="*/ 1 w 1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" h="2">
                      <a:moveTo>
                        <a:pt x="1" y="1"/>
                      </a:moveTo>
                      <a:cubicBezTo>
                        <a:pt x="1" y="2"/>
                        <a:pt x="1" y="2"/>
                        <a:pt x="0" y="2"/>
                      </a:cubicBezTo>
                      <a:cubicBezTo>
                        <a:pt x="0" y="2"/>
                        <a:pt x="0" y="2"/>
                        <a:pt x="0" y="1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32" name="Freeform 3302"/>
                <p:cNvSpPr>
                  <a:spLocks noChangeAspect="1"/>
                </p:cNvSpPr>
                <p:nvPr/>
              </p:nvSpPr>
              <p:spPr bwMode="auto">
                <a:xfrm>
                  <a:off x="6089408" y="2990434"/>
                  <a:ext cx="1672" cy="2509"/>
                </a:xfrm>
                <a:custGeom>
                  <a:avLst/>
                  <a:gdLst>
                    <a:gd name="T0" fmla="*/ 2 w 2"/>
                    <a:gd name="T1" fmla="*/ 1 h 3"/>
                    <a:gd name="T2" fmla="*/ 2 w 2"/>
                    <a:gd name="T3" fmla="*/ 3 h 3"/>
                    <a:gd name="T4" fmla="*/ 1 w 2"/>
                    <a:gd name="T5" fmla="*/ 2 h 3"/>
                    <a:gd name="T6" fmla="*/ 1 w 2"/>
                    <a:gd name="T7" fmla="*/ 0 h 3"/>
                    <a:gd name="T8" fmla="*/ 2 w 2"/>
                    <a:gd name="T9" fmla="*/ 1 h 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"/>
                    <a:gd name="T16" fmla="*/ 0 h 3"/>
                    <a:gd name="T17" fmla="*/ 2 w 2"/>
                    <a:gd name="T18" fmla="*/ 3 h 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" h="3">
                      <a:moveTo>
                        <a:pt x="2" y="1"/>
                      </a:moveTo>
                      <a:cubicBezTo>
                        <a:pt x="2" y="2"/>
                        <a:pt x="2" y="3"/>
                        <a:pt x="2" y="3"/>
                      </a:cubicBezTo>
                      <a:cubicBezTo>
                        <a:pt x="1" y="3"/>
                        <a:pt x="1" y="2"/>
                        <a:pt x="1" y="2"/>
                      </a:cubicBezTo>
                      <a:cubicBezTo>
                        <a:pt x="1" y="1"/>
                        <a:pt x="0" y="0"/>
                        <a:pt x="1" y="0"/>
                      </a:cubicBezTo>
                      <a:cubicBezTo>
                        <a:pt x="2" y="0"/>
                        <a:pt x="2" y="1"/>
                        <a:pt x="2" y="1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33" name="Freeform 3303"/>
                <p:cNvSpPr>
                  <a:spLocks noChangeAspect="1"/>
                </p:cNvSpPr>
                <p:nvPr/>
              </p:nvSpPr>
              <p:spPr bwMode="auto">
                <a:xfrm>
                  <a:off x="6093588" y="2997958"/>
                  <a:ext cx="2509" cy="3344"/>
                </a:xfrm>
                <a:custGeom>
                  <a:avLst/>
                  <a:gdLst>
                    <a:gd name="T0" fmla="*/ 2 w 3"/>
                    <a:gd name="T1" fmla="*/ 3 h 3"/>
                    <a:gd name="T2" fmla="*/ 1 w 3"/>
                    <a:gd name="T3" fmla="*/ 4 h 3"/>
                    <a:gd name="T4" fmla="*/ 1 w 3"/>
                    <a:gd name="T5" fmla="*/ 1 h 3"/>
                    <a:gd name="T6" fmla="*/ 2 w 3"/>
                    <a:gd name="T7" fmla="*/ 1 h 3"/>
                    <a:gd name="T8" fmla="*/ 2 w 3"/>
                    <a:gd name="T9" fmla="*/ 3 h 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3"/>
                    <a:gd name="T17" fmla="*/ 3 w 3"/>
                    <a:gd name="T18" fmla="*/ 3 h 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3">
                      <a:moveTo>
                        <a:pt x="2" y="2"/>
                      </a:moveTo>
                      <a:cubicBezTo>
                        <a:pt x="2" y="3"/>
                        <a:pt x="1" y="3"/>
                        <a:pt x="1" y="3"/>
                      </a:cubicBezTo>
                      <a:cubicBezTo>
                        <a:pt x="0" y="2"/>
                        <a:pt x="0" y="2"/>
                        <a:pt x="1" y="1"/>
                      </a:cubicBezTo>
                      <a:cubicBezTo>
                        <a:pt x="1" y="1"/>
                        <a:pt x="2" y="0"/>
                        <a:pt x="2" y="1"/>
                      </a:cubicBezTo>
                      <a:cubicBezTo>
                        <a:pt x="3" y="1"/>
                        <a:pt x="2" y="2"/>
                        <a:pt x="2" y="2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34" name="Freeform 3304"/>
                <p:cNvSpPr>
                  <a:spLocks noChangeAspect="1"/>
                </p:cNvSpPr>
                <p:nvPr/>
              </p:nvSpPr>
              <p:spPr bwMode="auto">
                <a:xfrm>
                  <a:off x="6078539" y="2996286"/>
                  <a:ext cx="2509" cy="836"/>
                </a:xfrm>
                <a:custGeom>
                  <a:avLst/>
                  <a:gdLst>
                    <a:gd name="T0" fmla="*/ 1 w 3"/>
                    <a:gd name="T1" fmla="*/ 1 h 1"/>
                    <a:gd name="T2" fmla="*/ 0 w 3"/>
                    <a:gd name="T3" fmla="*/ 1 h 1"/>
                    <a:gd name="T4" fmla="*/ 1 w 3"/>
                    <a:gd name="T5" fmla="*/ 0 h 1"/>
                    <a:gd name="T6" fmla="*/ 3 w 3"/>
                    <a:gd name="T7" fmla="*/ 0 h 1"/>
                    <a:gd name="T8" fmla="*/ 1 w 3"/>
                    <a:gd name="T9" fmla="*/ 1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1"/>
                    <a:gd name="T17" fmla="*/ 3 w 3"/>
                    <a:gd name="T18" fmla="*/ 1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1"/>
                      </a:cubicBezTo>
                      <a:cubicBezTo>
                        <a:pt x="0" y="0"/>
                        <a:pt x="1" y="0"/>
                        <a:pt x="1" y="0"/>
                      </a:cubicBez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3" y="1"/>
                        <a:pt x="2" y="1"/>
                        <a:pt x="1" y="1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35" name="Freeform 3305"/>
                <p:cNvSpPr>
                  <a:spLocks noChangeAspect="1"/>
                </p:cNvSpPr>
                <p:nvPr/>
              </p:nvSpPr>
              <p:spPr bwMode="auto">
                <a:xfrm>
                  <a:off x="6091916" y="2992106"/>
                  <a:ext cx="3344" cy="3344"/>
                </a:xfrm>
                <a:custGeom>
                  <a:avLst/>
                  <a:gdLst>
                    <a:gd name="T0" fmla="*/ 3 w 3"/>
                    <a:gd name="T1" fmla="*/ 4 h 3"/>
                    <a:gd name="T2" fmla="*/ 1 w 3"/>
                    <a:gd name="T3" fmla="*/ 4 h 3"/>
                    <a:gd name="T4" fmla="*/ 1 w 3"/>
                    <a:gd name="T5" fmla="*/ 3 h 3"/>
                    <a:gd name="T6" fmla="*/ 3 w 3"/>
                    <a:gd name="T7" fmla="*/ 1 h 3"/>
                    <a:gd name="T8" fmla="*/ 3 w 3"/>
                    <a:gd name="T9" fmla="*/ 4 h 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3"/>
                    <a:gd name="T17" fmla="*/ 3 w 3"/>
                    <a:gd name="T18" fmla="*/ 3 h 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3">
                      <a:moveTo>
                        <a:pt x="2" y="3"/>
                      </a:moveTo>
                      <a:cubicBezTo>
                        <a:pt x="2" y="3"/>
                        <a:pt x="1" y="3"/>
                        <a:pt x="1" y="3"/>
                      </a:cubicBezTo>
                      <a:cubicBezTo>
                        <a:pt x="0" y="2"/>
                        <a:pt x="1" y="2"/>
                        <a:pt x="1" y="2"/>
                      </a:cubicBezTo>
                      <a:cubicBezTo>
                        <a:pt x="1" y="1"/>
                        <a:pt x="2" y="0"/>
                        <a:pt x="2" y="1"/>
                      </a:cubicBezTo>
                      <a:cubicBezTo>
                        <a:pt x="3" y="2"/>
                        <a:pt x="2" y="2"/>
                        <a:pt x="2" y="3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36" name="Freeform 3306"/>
                <p:cNvSpPr>
                  <a:spLocks noChangeAspect="1"/>
                </p:cNvSpPr>
                <p:nvPr/>
              </p:nvSpPr>
              <p:spPr bwMode="auto">
                <a:xfrm>
                  <a:off x="6101113" y="2985417"/>
                  <a:ext cx="2509" cy="2509"/>
                </a:xfrm>
                <a:custGeom>
                  <a:avLst/>
                  <a:gdLst>
                    <a:gd name="T0" fmla="*/ 2 w 2"/>
                    <a:gd name="T1" fmla="*/ 2 h 3"/>
                    <a:gd name="T2" fmla="*/ 0 w 2"/>
                    <a:gd name="T3" fmla="*/ 3 h 3"/>
                    <a:gd name="T4" fmla="*/ 0 w 2"/>
                    <a:gd name="T5" fmla="*/ 1 h 3"/>
                    <a:gd name="T6" fmla="*/ 2 w 2"/>
                    <a:gd name="T7" fmla="*/ 0 h 3"/>
                    <a:gd name="T8" fmla="*/ 2 w 2"/>
                    <a:gd name="T9" fmla="*/ 2 h 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"/>
                    <a:gd name="T16" fmla="*/ 0 h 3"/>
                    <a:gd name="T17" fmla="*/ 2 w 2"/>
                    <a:gd name="T18" fmla="*/ 3 h 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" h="3">
                      <a:moveTo>
                        <a:pt x="1" y="2"/>
                      </a:moveTo>
                      <a:cubicBezTo>
                        <a:pt x="1" y="2"/>
                        <a:pt x="1" y="3"/>
                        <a:pt x="0" y="3"/>
                      </a:cubicBezTo>
                      <a:cubicBezTo>
                        <a:pt x="0" y="2"/>
                        <a:pt x="0" y="2"/>
                        <a:pt x="0" y="1"/>
                      </a:cubicBezTo>
                      <a:cubicBezTo>
                        <a:pt x="0" y="1"/>
                        <a:pt x="1" y="0"/>
                        <a:pt x="1" y="0"/>
                      </a:cubicBezTo>
                      <a:cubicBezTo>
                        <a:pt x="2" y="1"/>
                        <a:pt x="2" y="2"/>
                        <a:pt x="1" y="2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37" name="Freeform 3307"/>
                <p:cNvSpPr>
                  <a:spLocks noChangeAspect="1"/>
                </p:cNvSpPr>
                <p:nvPr/>
              </p:nvSpPr>
              <p:spPr bwMode="auto">
                <a:xfrm>
                  <a:off x="6090244" y="2978729"/>
                  <a:ext cx="3344" cy="4181"/>
                </a:xfrm>
                <a:custGeom>
                  <a:avLst/>
                  <a:gdLst>
                    <a:gd name="T0" fmla="*/ 3 w 3"/>
                    <a:gd name="T1" fmla="*/ 4 h 4"/>
                    <a:gd name="T2" fmla="*/ 1 w 3"/>
                    <a:gd name="T3" fmla="*/ 5 h 4"/>
                    <a:gd name="T4" fmla="*/ 0 w 3"/>
                    <a:gd name="T5" fmla="*/ 3 h 4"/>
                    <a:gd name="T6" fmla="*/ 3 w 3"/>
                    <a:gd name="T7" fmla="*/ 1 h 4"/>
                    <a:gd name="T8" fmla="*/ 3 w 3"/>
                    <a:gd name="T9" fmla="*/ 4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4"/>
                    <a:gd name="T17" fmla="*/ 3 w 3"/>
                    <a:gd name="T18" fmla="*/ 4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4">
                      <a:moveTo>
                        <a:pt x="2" y="3"/>
                      </a:moveTo>
                      <a:cubicBezTo>
                        <a:pt x="2" y="3"/>
                        <a:pt x="1" y="4"/>
                        <a:pt x="1" y="4"/>
                      </a:cubicBezTo>
                      <a:cubicBezTo>
                        <a:pt x="0" y="3"/>
                        <a:pt x="0" y="3"/>
                        <a:pt x="0" y="2"/>
                      </a:cubicBezTo>
                      <a:cubicBezTo>
                        <a:pt x="1" y="1"/>
                        <a:pt x="1" y="0"/>
                        <a:pt x="2" y="1"/>
                      </a:cubicBezTo>
                      <a:cubicBezTo>
                        <a:pt x="3" y="1"/>
                        <a:pt x="2" y="2"/>
                        <a:pt x="2" y="3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38" name="Freeform 3308"/>
                <p:cNvSpPr>
                  <a:spLocks noChangeAspect="1"/>
                </p:cNvSpPr>
                <p:nvPr/>
              </p:nvSpPr>
              <p:spPr bwMode="auto">
                <a:xfrm>
                  <a:off x="5682234" y="3095781"/>
                  <a:ext cx="2509" cy="1672"/>
                </a:xfrm>
                <a:custGeom>
                  <a:avLst/>
                  <a:gdLst>
                    <a:gd name="T0" fmla="*/ 2 w 3"/>
                    <a:gd name="T1" fmla="*/ 0 h 2"/>
                    <a:gd name="T2" fmla="*/ 3 w 3"/>
                    <a:gd name="T3" fmla="*/ 1 h 2"/>
                    <a:gd name="T4" fmla="*/ 1 w 3"/>
                    <a:gd name="T5" fmla="*/ 2 h 2"/>
                    <a:gd name="T6" fmla="*/ 0 w 3"/>
                    <a:gd name="T7" fmla="*/ 1 h 2"/>
                    <a:gd name="T8" fmla="*/ 2 w 3"/>
                    <a:gd name="T9" fmla="*/ 0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2"/>
                    <a:gd name="T17" fmla="*/ 3 w 3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2">
                      <a:moveTo>
                        <a:pt x="2" y="0"/>
                      </a:moveTo>
                      <a:cubicBezTo>
                        <a:pt x="2" y="1"/>
                        <a:pt x="3" y="1"/>
                        <a:pt x="3" y="1"/>
                      </a:cubicBezTo>
                      <a:cubicBezTo>
                        <a:pt x="2" y="2"/>
                        <a:pt x="2" y="2"/>
                        <a:pt x="1" y="2"/>
                      </a:cubicBezTo>
                      <a:cubicBezTo>
                        <a:pt x="1" y="2"/>
                        <a:pt x="0" y="1"/>
                        <a:pt x="0" y="1"/>
                      </a:cubicBezTo>
                      <a:cubicBezTo>
                        <a:pt x="1" y="0"/>
                        <a:pt x="2" y="0"/>
                        <a:pt x="2" y="0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39" name="Freeform 3331"/>
                <p:cNvSpPr>
                  <a:spLocks noChangeAspect="1"/>
                </p:cNvSpPr>
                <p:nvPr/>
              </p:nvSpPr>
              <p:spPr bwMode="auto">
                <a:xfrm>
                  <a:off x="5545116" y="3191094"/>
                  <a:ext cx="3344" cy="1672"/>
                </a:xfrm>
                <a:custGeom>
                  <a:avLst/>
                  <a:gdLst>
                    <a:gd name="T0" fmla="*/ 1 w 3"/>
                    <a:gd name="T1" fmla="*/ 2 h 2"/>
                    <a:gd name="T2" fmla="*/ 0 w 3"/>
                    <a:gd name="T3" fmla="*/ 1 h 2"/>
                    <a:gd name="T4" fmla="*/ 1 w 3"/>
                    <a:gd name="T5" fmla="*/ 0 h 2"/>
                    <a:gd name="T6" fmla="*/ 3 w 3"/>
                    <a:gd name="T7" fmla="*/ 0 h 2"/>
                    <a:gd name="T8" fmla="*/ 1 w 3"/>
                    <a:gd name="T9" fmla="*/ 2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2"/>
                    <a:gd name="T17" fmla="*/ 3 w 3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2">
                      <a:moveTo>
                        <a:pt x="1" y="2"/>
                      </a:moveTo>
                      <a:cubicBezTo>
                        <a:pt x="1" y="2"/>
                        <a:pt x="0" y="2"/>
                        <a:pt x="0" y="1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1" y="0"/>
                        <a:pt x="2" y="0"/>
                        <a:pt x="2" y="0"/>
                      </a:cubicBezTo>
                      <a:cubicBezTo>
                        <a:pt x="3" y="1"/>
                        <a:pt x="2" y="1"/>
                        <a:pt x="1" y="2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40" name="Freeform 3332"/>
                <p:cNvSpPr>
                  <a:spLocks noChangeAspect="1"/>
                </p:cNvSpPr>
                <p:nvPr/>
              </p:nvSpPr>
              <p:spPr bwMode="auto">
                <a:xfrm>
                  <a:off x="5540100" y="3188586"/>
                  <a:ext cx="3344" cy="3344"/>
                </a:xfrm>
                <a:custGeom>
                  <a:avLst/>
                  <a:gdLst>
                    <a:gd name="T0" fmla="*/ 3 w 3"/>
                    <a:gd name="T1" fmla="*/ 3 h 3"/>
                    <a:gd name="T2" fmla="*/ 1 w 3"/>
                    <a:gd name="T3" fmla="*/ 3 h 3"/>
                    <a:gd name="T4" fmla="*/ 1 w 3"/>
                    <a:gd name="T5" fmla="*/ 1 h 3"/>
                    <a:gd name="T6" fmla="*/ 4 w 3"/>
                    <a:gd name="T7" fmla="*/ 0 h 3"/>
                    <a:gd name="T8" fmla="*/ 3 w 3"/>
                    <a:gd name="T9" fmla="*/ 3 h 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3"/>
                    <a:gd name="T17" fmla="*/ 3 w 3"/>
                    <a:gd name="T18" fmla="*/ 3 h 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3">
                      <a:moveTo>
                        <a:pt x="2" y="2"/>
                      </a:moveTo>
                      <a:cubicBezTo>
                        <a:pt x="2" y="2"/>
                        <a:pt x="1" y="3"/>
                        <a:pt x="1" y="2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3" y="1"/>
                        <a:pt x="2" y="2"/>
                        <a:pt x="2" y="2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41" name="Freeform 3333"/>
                <p:cNvSpPr>
                  <a:spLocks noChangeAspect="1"/>
                </p:cNvSpPr>
                <p:nvPr/>
              </p:nvSpPr>
              <p:spPr bwMode="auto">
                <a:xfrm>
                  <a:off x="5561002" y="3311491"/>
                  <a:ext cx="2509" cy="2509"/>
                </a:xfrm>
                <a:custGeom>
                  <a:avLst/>
                  <a:gdLst>
                    <a:gd name="T0" fmla="*/ 3 w 2"/>
                    <a:gd name="T1" fmla="*/ 1 h 3"/>
                    <a:gd name="T2" fmla="*/ 3 w 2"/>
                    <a:gd name="T3" fmla="*/ 2 h 3"/>
                    <a:gd name="T4" fmla="*/ 0 w 2"/>
                    <a:gd name="T5" fmla="*/ 2 h 3"/>
                    <a:gd name="T6" fmla="*/ 2 w 2"/>
                    <a:gd name="T7" fmla="*/ 0 h 3"/>
                    <a:gd name="T8" fmla="*/ 3 w 2"/>
                    <a:gd name="T9" fmla="*/ 1 h 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"/>
                    <a:gd name="T16" fmla="*/ 0 h 3"/>
                    <a:gd name="T17" fmla="*/ 2 w 2"/>
                    <a:gd name="T18" fmla="*/ 3 h 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" h="3">
                      <a:moveTo>
                        <a:pt x="2" y="1"/>
                      </a:move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1" y="3"/>
                        <a:pt x="1" y="2"/>
                        <a:pt x="0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1" y="0"/>
                        <a:pt x="2" y="1"/>
                        <a:pt x="2" y="1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42" name="Freeform 3334"/>
                <p:cNvSpPr>
                  <a:spLocks noChangeAspect="1"/>
                </p:cNvSpPr>
                <p:nvPr/>
              </p:nvSpPr>
              <p:spPr bwMode="auto">
                <a:xfrm>
                  <a:off x="5557658" y="3303130"/>
                  <a:ext cx="2509" cy="3344"/>
                </a:xfrm>
                <a:custGeom>
                  <a:avLst/>
                  <a:gdLst>
                    <a:gd name="T0" fmla="*/ 2 w 3"/>
                    <a:gd name="T1" fmla="*/ 1 h 3"/>
                    <a:gd name="T2" fmla="*/ 2 w 3"/>
                    <a:gd name="T3" fmla="*/ 3 h 3"/>
                    <a:gd name="T4" fmla="*/ 1 w 3"/>
                    <a:gd name="T5" fmla="*/ 3 h 3"/>
                    <a:gd name="T6" fmla="*/ 1 w 3"/>
                    <a:gd name="T7" fmla="*/ 0 h 3"/>
                    <a:gd name="T8" fmla="*/ 2 w 3"/>
                    <a:gd name="T9" fmla="*/ 1 h 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3"/>
                    <a:gd name="T17" fmla="*/ 3 w 3"/>
                    <a:gd name="T18" fmla="*/ 3 h 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3">
                      <a:moveTo>
                        <a:pt x="2" y="1"/>
                      </a:moveTo>
                      <a:cubicBezTo>
                        <a:pt x="3" y="2"/>
                        <a:pt x="3" y="2"/>
                        <a:pt x="2" y="2"/>
                      </a:cubicBezTo>
                      <a:cubicBezTo>
                        <a:pt x="2" y="3"/>
                        <a:pt x="1" y="2"/>
                        <a:pt x="1" y="2"/>
                      </a:cubicBezTo>
                      <a:cubicBezTo>
                        <a:pt x="1" y="1"/>
                        <a:pt x="0" y="0"/>
                        <a:pt x="1" y="0"/>
                      </a:cubicBezTo>
                      <a:cubicBezTo>
                        <a:pt x="2" y="0"/>
                        <a:pt x="2" y="1"/>
                        <a:pt x="2" y="1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43" name="Freeform 3335"/>
                <p:cNvSpPr>
                  <a:spLocks noChangeAspect="1"/>
                </p:cNvSpPr>
                <p:nvPr/>
              </p:nvSpPr>
              <p:spPr bwMode="auto">
                <a:xfrm>
                  <a:off x="5529231" y="3325704"/>
                  <a:ext cx="1672" cy="2509"/>
                </a:xfrm>
                <a:custGeom>
                  <a:avLst/>
                  <a:gdLst>
                    <a:gd name="T0" fmla="*/ 2 w 2"/>
                    <a:gd name="T1" fmla="*/ 1 h 3"/>
                    <a:gd name="T2" fmla="*/ 2 w 2"/>
                    <a:gd name="T3" fmla="*/ 2 h 3"/>
                    <a:gd name="T4" fmla="*/ 1 w 2"/>
                    <a:gd name="T5" fmla="*/ 2 h 3"/>
                    <a:gd name="T6" fmla="*/ 1 w 2"/>
                    <a:gd name="T7" fmla="*/ 0 h 3"/>
                    <a:gd name="T8" fmla="*/ 2 w 2"/>
                    <a:gd name="T9" fmla="*/ 1 h 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"/>
                    <a:gd name="T16" fmla="*/ 0 h 3"/>
                    <a:gd name="T17" fmla="*/ 2 w 2"/>
                    <a:gd name="T18" fmla="*/ 3 h 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" h="3">
                      <a:moveTo>
                        <a:pt x="2" y="1"/>
                      </a:move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1" y="3"/>
                        <a:pt x="1" y="2"/>
                        <a:pt x="1" y="2"/>
                      </a:cubicBezTo>
                      <a:cubicBezTo>
                        <a:pt x="1" y="1"/>
                        <a:pt x="0" y="0"/>
                        <a:pt x="1" y="0"/>
                      </a:cubicBezTo>
                      <a:cubicBezTo>
                        <a:pt x="2" y="0"/>
                        <a:pt x="2" y="1"/>
                        <a:pt x="2" y="1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44" name="Freeform 3336"/>
                <p:cNvSpPr>
                  <a:spLocks noChangeAspect="1"/>
                </p:cNvSpPr>
                <p:nvPr/>
              </p:nvSpPr>
              <p:spPr bwMode="auto">
                <a:xfrm>
                  <a:off x="5550969" y="3293933"/>
                  <a:ext cx="3344" cy="3344"/>
                </a:xfrm>
                <a:custGeom>
                  <a:avLst/>
                  <a:gdLst>
                    <a:gd name="T0" fmla="*/ 3 w 3"/>
                    <a:gd name="T1" fmla="*/ 4 h 3"/>
                    <a:gd name="T2" fmla="*/ 0 w 3"/>
                    <a:gd name="T3" fmla="*/ 4 h 3"/>
                    <a:gd name="T4" fmla="*/ 1 w 3"/>
                    <a:gd name="T5" fmla="*/ 1 h 3"/>
                    <a:gd name="T6" fmla="*/ 3 w 3"/>
                    <a:gd name="T7" fmla="*/ 1 h 3"/>
                    <a:gd name="T8" fmla="*/ 3 w 3"/>
                    <a:gd name="T9" fmla="*/ 4 h 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3"/>
                    <a:gd name="T17" fmla="*/ 3 w 3"/>
                    <a:gd name="T18" fmla="*/ 3 h 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3">
                      <a:moveTo>
                        <a:pt x="2" y="3"/>
                      </a:moveTo>
                      <a:cubicBezTo>
                        <a:pt x="1" y="3"/>
                        <a:pt x="1" y="3"/>
                        <a:pt x="0" y="3"/>
                      </a:cubicBezTo>
                      <a:cubicBezTo>
                        <a:pt x="0" y="2"/>
                        <a:pt x="1" y="1"/>
                        <a:pt x="1" y="1"/>
                      </a:cubicBezTo>
                      <a:cubicBezTo>
                        <a:pt x="1" y="1"/>
                        <a:pt x="2" y="0"/>
                        <a:pt x="2" y="1"/>
                      </a:cubicBezTo>
                      <a:cubicBezTo>
                        <a:pt x="3" y="2"/>
                        <a:pt x="2" y="2"/>
                        <a:pt x="2" y="3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45" name="Freeform 3337"/>
                <p:cNvSpPr>
                  <a:spLocks noChangeAspect="1"/>
                </p:cNvSpPr>
                <p:nvPr/>
              </p:nvSpPr>
              <p:spPr bwMode="auto">
                <a:xfrm>
                  <a:off x="5587757" y="3242095"/>
                  <a:ext cx="3344" cy="3344"/>
                </a:xfrm>
                <a:custGeom>
                  <a:avLst/>
                  <a:gdLst>
                    <a:gd name="T0" fmla="*/ 3 w 4"/>
                    <a:gd name="T1" fmla="*/ 4 h 3"/>
                    <a:gd name="T2" fmla="*/ 1 w 4"/>
                    <a:gd name="T3" fmla="*/ 4 h 3"/>
                    <a:gd name="T4" fmla="*/ 2 w 4"/>
                    <a:gd name="T5" fmla="*/ 1 h 3"/>
                    <a:gd name="T6" fmla="*/ 4 w 4"/>
                    <a:gd name="T7" fmla="*/ 0 h 3"/>
                    <a:gd name="T8" fmla="*/ 3 w 4"/>
                    <a:gd name="T9" fmla="*/ 4 h 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3"/>
                    <a:gd name="T17" fmla="*/ 4 w 4"/>
                    <a:gd name="T18" fmla="*/ 3 h 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3">
                      <a:moveTo>
                        <a:pt x="3" y="3"/>
                      </a:moveTo>
                      <a:cubicBezTo>
                        <a:pt x="2" y="3"/>
                        <a:pt x="1" y="3"/>
                        <a:pt x="1" y="3"/>
                      </a:cubicBezTo>
                      <a:cubicBezTo>
                        <a:pt x="0" y="2"/>
                        <a:pt x="1" y="1"/>
                        <a:pt x="2" y="1"/>
                      </a:cubicBezTo>
                      <a:cubicBezTo>
                        <a:pt x="2" y="0"/>
                        <a:pt x="3" y="0"/>
                        <a:pt x="4" y="0"/>
                      </a:cubicBezTo>
                      <a:cubicBezTo>
                        <a:pt x="4" y="1"/>
                        <a:pt x="3" y="2"/>
                        <a:pt x="3" y="3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46" name="Freeform 3340"/>
                <p:cNvSpPr>
                  <a:spLocks noChangeAspect="1"/>
                </p:cNvSpPr>
                <p:nvPr/>
              </p:nvSpPr>
              <p:spPr bwMode="auto">
                <a:xfrm>
                  <a:off x="5547625" y="3371689"/>
                  <a:ext cx="1672" cy="1672"/>
                </a:xfrm>
                <a:custGeom>
                  <a:avLst/>
                  <a:gdLst>
                    <a:gd name="T0" fmla="*/ 2 w 2"/>
                    <a:gd name="T1" fmla="*/ 1 h 2"/>
                    <a:gd name="T2" fmla="*/ 2 w 2"/>
                    <a:gd name="T3" fmla="*/ 2 h 2"/>
                    <a:gd name="T4" fmla="*/ 1 w 2"/>
                    <a:gd name="T5" fmla="*/ 2 h 2"/>
                    <a:gd name="T6" fmla="*/ 1 w 2"/>
                    <a:gd name="T7" fmla="*/ 0 h 2"/>
                    <a:gd name="T8" fmla="*/ 2 w 2"/>
                    <a:gd name="T9" fmla="*/ 1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"/>
                    <a:gd name="T16" fmla="*/ 0 h 2"/>
                    <a:gd name="T17" fmla="*/ 2 w 2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" h="2">
                      <a:moveTo>
                        <a:pt x="2" y="1"/>
                      </a:moveTo>
                      <a:cubicBezTo>
                        <a:pt x="2" y="1"/>
                        <a:pt x="2" y="2"/>
                        <a:pt x="2" y="2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0" y="1"/>
                        <a:pt x="0" y="0"/>
                        <a:pt x="1" y="0"/>
                      </a:cubicBezTo>
                      <a:cubicBezTo>
                        <a:pt x="1" y="0"/>
                        <a:pt x="2" y="1"/>
                        <a:pt x="2" y="1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47" name="Freeform 3342"/>
                <p:cNvSpPr>
                  <a:spLocks noChangeAspect="1"/>
                </p:cNvSpPr>
                <p:nvPr/>
              </p:nvSpPr>
              <p:spPr bwMode="auto">
                <a:xfrm>
                  <a:off x="5547625" y="3349114"/>
                  <a:ext cx="1672" cy="3344"/>
                </a:xfrm>
                <a:custGeom>
                  <a:avLst/>
                  <a:gdLst>
                    <a:gd name="T0" fmla="*/ 2 w 2"/>
                    <a:gd name="T1" fmla="*/ 1 h 3"/>
                    <a:gd name="T2" fmla="*/ 2 w 2"/>
                    <a:gd name="T3" fmla="*/ 3 h 3"/>
                    <a:gd name="T4" fmla="*/ 1 w 2"/>
                    <a:gd name="T5" fmla="*/ 3 h 3"/>
                    <a:gd name="T6" fmla="*/ 0 w 2"/>
                    <a:gd name="T7" fmla="*/ 1 h 3"/>
                    <a:gd name="T8" fmla="*/ 2 w 2"/>
                    <a:gd name="T9" fmla="*/ 1 h 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"/>
                    <a:gd name="T16" fmla="*/ 0 h 3"/>
                    <a:gd name="T17" fmla="*/ 2 w 2"/>
                    <a:gd name="T18" fmla="*/ 3 h 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" h="3">
                      <a:moveTo>
                        <a:pt x="2" y="1"/>
                      </a:move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3"/>
                        <a:pt x="1" y="3"/>
                        <a:pt x="1" y="2"/>
                      </a:cubicBezTo>
                      <a:cubicBezTo>
                        <a:pt x="0" y="2"/>
                        <a:pt x="0" y="1"/>
                        <a:pt x="0" y="1"/>
                      </a:cubicBezTo>
                      <a:cubicBezTo>
                        <a:pt x="1" y="0"/>
                        <a:pt x="1" y="1"/>
                        <a:pt x="2" y="1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48" name="Freeform 3536"/>
                <p:cNvSpPr>
                  <a:spLocks noChangeAspect="1"/>
                </p:cNvSpPr>
                <p:nvPr/>
              </p:nvSpPr>
              <p:spPr bwMode="auto">
                <a:xfrm>
                  <a:off x="5544280" y="3353295"/>
                  <a:ext cx="5853" cy="9197"/>
                </a:xfrm>
                <a:custGeom>
                  <a:avLst/>
                  <a:gdLst>
                    <a:gd name="T0" fmla="*/ 0 w 6"/>
                    <a:gd name="T1" fmla="*/ 2 h 9"/>
                    <a:gd name="T2" fmla="*/ 4 w 6"/>
                    <a:gd name="T3" fmla="*/ 10 h 9"/>
                    <a:gd name="T4" fmla="*/ 7 w 6"/>
                    <a:gd name="T5" fmla="*/ 7 h 9"/>
                    <a:gd name="T6" fmla="*/ 7 w 6"/>
                    <a:gd name="T7" fmla="*/ 4 h 9"/>
                    <a:gd name="T8" fmla="*/ 5 w 6"/>
                    <a:gd name="T9" fmla="*/ 1 h 9"/>
                    <a:gd name="T10" fmla="*/ 1 w 6"/>
                    <a:gd name="T11" fmla="*/ 1 h 9"/>
                    <a:gd name="T12" fmla="*/ 0 w 6"/>
                    <a:gd name="T13" fmla="*/ 2 h 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"/>
                    <a:gd name="T22" fmla="*/ 0 h 9"/>
                    <a:gd name="T23" fmla="*/ 6 w 6"/>
                    <a:gd name="T24" fmla="*/ 9 h 9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" h="9">
                      <a:moveTo>
                        <a:pt x="0" y="2"/>
                      </a:moveTo>
                      <a:cubicBezTo>
                        <a:pt x="0" y="4"/>
                        <a:pt x="1" y="7"/>
                        <a:pt x="3" y="8"/>
                      </a:cubicBezTo>
                      <a:cubicBezTo>
                        <a:pt x="4" y="9"/>
                        <a:pt x="5" y="7"/>
                        <a:pt x="6" y="6"/>
                      </a:cubicBezTo>
                      <a:cubicBezTo>
                        <a:pt x="6" y="5"/>
                        <a:pt x="6" y="4"/>
                        <a:pt x="6" y="3"/>
                      </a:cubicBezTo>
                      <a:cubicBezTo>
                        <a:pt x="6" y="2"/>
                        <a:pt x="5" y="1"/>
                        <a:pt x="4" y="1"/>
                      </a:cubicBezTo>
                      <a:cubicBezTo>
                        <a:pt x="3" y="0"/>
                        <a:pt x="2" y="0"/>
                        <a:pt x="1" y="1"/>
                      </a:cubicBezTo>
                      <a:cubicBezTo>
                        <a:pt x="1" y="1"/>
                        <a:pt x="0" y="1"/>
                        <a:pt x="0" y="2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49" name="Freeform 3601"/>
                <p:cNvSpPr>
                  <a:spLocks noChangeAspect="1"/>
                </p:cNvSpPr>
                <p:nvPr/>
              </p:nvSpPr>
              <p:spPr bwMode="auto">
                <a:xfrm>
                  <a:off x="5522542" y="2857496"/>
                  <a:ext cx="647130" cy="534259"/>
                </a:xfrm>
                <a:custGeom>
                  <a:avLst/>
                  <a:gdLst>
                    <a:gd name="T0" fmla="*/ 702 w 645"/>
                    <a:gd name="T1" fmla="*/ 88 h 532"/>
                    <a:gd name="T2" fmla="*/ 726 w 645"/>
                    <a:gd name="T3" fmla="*/ 98 h 532"/>
                    <a:gd name="T4" fmla="*/ 685 w 645"/>
                    <a:gd name="T5" fmla="*/ 112 h 532"/>
                    <a:gd name="T6" fmla="*/ 683 w 645"/>
                    <a:gd name="T7" fmla="*/ 136 h 532"/>
                    <a:gd name="T8" fmla="*/ 661 w 645"/>
                    <a:gd name="T9" fmla="*/ 174 h 532"/>
                    <a:gd name="T10" fmla="*/ 684 w 645"/>
                    <a:gd name="T11" fmla="*/ 193 h 532"/>
                    <a:gd name="T12" fmla="*/ 665 w 645"/>
                    <a:gd name="T13" fmla="*/ 207 h 532"/>
                    <a:gd name="T14" fmla="*/ 671 w 645"/>
                    <a:gd name="T15" fmla="*/ 223 h 532"/>
                    <a:gd name="T16" fmla="*/ 674 w 645"/>
                    <a:gd name="T17" fmla="*/ 251 h 532"/>
                    <a:gd name="T18" fmla="*/ 646 w 645"/>
                    <a:gd name="T19" fmla="*/ 256 h 532"/>
                    <a:gd name="T20" fmla="*/ 678 w 645"/>
                    <a:gd name="T21" fmla="*/ 274 h 532"/>
                    <a:gd name="T22" fmla="*/ 641 w 645"/>
                    <a:gd name="T23" fmla="*/ 291 h 532"/>
                    <a:gd name="T24" fmla="*/ 637 w 645"/>
                    <a:gd name="T25" fmla="*/ 303 h 532"/>
                    <a:gd name="T26" fmla="*/ 598 w 645"/>
                    <a:gd name="T27" fmla="*/ 297 h 532"/>
                    <a:gd name="T28" fmla="*/ 594 w 645"/>
                    <a:gd name="T29" fmla="*/ 310 h 532"/>
                    <a:gd name="T30" fmla="*/ 599 w 645"/>
                    <a:gd name="T31" fmla="*/ 324 h 532"/>
                    <a:gd name="T32" fmla="*/ 629 w 645"/>
                    <a:gd name="T33" fmla="*/ 340 h 532"/>
                    <a:gd name="T34" fmla="*/ 640 w 645"/>
                    <a:gd name="T35" fmla="*/ 362 h 532"/>
                    <a:gd name="T36" fmla="*/ 622 w 645"/>
                    <a:gd name="T37" fmla="*/ 376 h 532"/>
                    <a:gd name="T38" fmla="*/ 554 w 645"/>
                    <a:gd name="T39" fmla="*/ 336 h 532"/>
                    <a:gd name="T40" fmla="*/ 584 w 645"/>
                    <a:gd name="T41" fmla="*/ 359 h 532"/>
                    <a:gd name="T42" fmla="*/ 540 w 645"/>
                    <a:gd name="T43" fmla="*/ 380 h 532"/>
                    <a:gd name="T44" fmla="*/ 580 w 645"/>
                    <a:gd name="T45" fmla="*/ 383 h 532"/>
                    <a:gd name="T46" fmla="*/ 598 w 645"/>
                    <a:gd name="T47" fmla="*/ 405 h 532"/>
                    <a:gd name="T48" fmla="*/ 487 w 645"/>
                    <a:gd name="T49" fmla="*/ 429 h 532"/>
                    <a:gd name="T50" fmla="*/ 434 w 645"/>
                    <a:gd name="T51" fmla="*/ 492 h 532"/>
                    <a:gd name="T52" fmla="*/ 406 w 645"/>
                    <a:gd name="T53" fmla="*/ 500 h 532"/>
                    <a:gd name="T54" fmla="*/ 377 w 645"/>
                    <a:gd name="T55" fmla="*/ 531 h 532"/>
                    <a:gd name="T56" fmla="*/ 344 w 645"/>
                    <a:gd name="T57" fmla="*/ 590 h 532"/>
                    <a:gd name="T58" fmla="*/ 299 w 645"/>
                    <a:gd name="T59" fmla="*/ 614 h 532"/>
                    <a:gd name="T60" fmla="*/ 238 w 645"/>
                    <a:gd name="T61" fmla="*/ 565 h 532"/>
                    <a:gd name="T62" fmla="*/ 210 w 645"/>
                    <a:gd name="T63" fmla="*/ 494 h 532"/>
                    <a:gd name="T64" fmla="*/ 208 w 645"/>
                    <a:gd name="T65" fmla="*/ 437 h 532"/>
                    <a:gd name="T66" fmla="*/ 253 w 645"/>
                    <a:gd name="T67" fmla="*/ 392 h 532"/>
                    <a:gd name="T68" fmla="*/ 222 w 645"/>
                    <a:gd name="T69" fmla="*/ 370 h 532"/>
                    <a:gd name="T70" fmla="*/ 217 w 645"/>
                    <a:gd name="T71" fmla="*/ 352 h 532"/>
                    <a:gd name="T72" fmla="*/ 193 w 645"/>
                    <a:gd name="T73" fmla="*/ 270 h 532"/>
                    <a:gd name="T74" fmla="*/ 85 w 645"/>
                    <a:gd name="T75" fmla="*/ 221 h 532"/>
                    <a:gd name="T76" fmla="*/ 50 w 645"/>
                    <a:gd name="T77" fmla="*/ 211 h 532"/>
                    <a:gd name="T78" fmla="*/ 34 w 645"/>
                    <a:gd name="T79" fmla="*/ 195 h 532"/>
                    <a:gd name="T80" fmla="*/ 65 w 645"/>
                    <a:gd name="T81" fmla="*/ 181 h 532"/>
                    <a:gd name="T82" fmla="*/ 37 w 645"/>
                    <a:gd name="T83" fmla="*/ 148 h 532"/>
                    <a:gd name="T84" fmla="*/ 122 w 645"/>
                    <a:gd name="T85" fmla="*/ 106 h 532"/>
                    <a:gd name="T86" fmla="*/ 132 w 645"/>
                    <a:gd name="T87" fmla="*/ 79 h 532"/>
                    <a:gd name="T88" fmla="*/ 254 w 645"/>
                    <a:gd name="T89" fmla="*/ 43 h 532"/>
                    <a:gd name="T90" fmla="*/ 300 w 645"/>
                    <a:gd name="T91" fmla="*/ 55 h 532"/>
                    <a:gd name="T92" fmla="*/ 362 w 645"/>
                    <a:gd name="T93" fmla="*/ 61 h 532"/>
                    <a:gd name="T94" fmla="*/ 388 w 645"/>
                    <a:gd name="T95" fmla="*/ 32 h 532"/>
                    <a:gd name="T96" fmla="*/ 407 w 645"/>
                    <a:gd name="T97" fmla="*/ 20 h 532"/>
                    <a:gd name="T98" fmla="*/ 458 w 645"/>
                    <a:gd name="T99" fmla="*/ 11 h 532"/>
                    <a:gd name="T100" fmla="*/ 592 w 645"/>
                    <a:gd name="T101" fmla="*/ 7 h 532"/>
                    <a:gd name="T102" fmla="*/ 522 w 645"/>
                    <a:gd name="T103" fmla="*/ 25 h 532"/>
                    <a:gd name="T104" fmla="*/ 655 w 645"/>
                    <a:gd name="T105" fmla="*/ 30 h 532"/>
                    <a:gd name="T106" fmla="*/ 508 w 645"/>
                    <a:gd name="T107" fmla="*/ 55 h 532"/>
                    <a:gd name="T108" fmla="*/ 622 w 645"/>
                    <a:gd name="T109" fmla="*/ 52 h 532"/>
                    <a:gd name="T110" fmla="*/ 634 w 645"/>
                    <a:gd name="T111" fmla="*/ 85 h 532"/>
                    <a:gd name="T112" fmla="*/ 701 w 645"/>
                    <a:gd name="T113" fmla="*/ 66 h 532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645"/>
                    <a:gd name="T172" fmla="*/ 0 h 532"/>
                    <a:gd name="T173" fmla="*/ 645 w 645"/>
                    <a:gd name="T174" fmla="*/ 532 h 532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645" h="532">
                      <a:moveTo>
                        <a:pt x="645" y="54"/>
                      </a:moveTo>
                      <a:cubicBezTo>
                        <a:pt x="638" y="61"/>
                        <a:pt x="627" y="60"/>
                        <a:pt x="618" y="65"/>
                      </a:cubicBezTo>
                      <a:cubicBezTo>
                        <a:pt x="616" y="66"/>
                        <a:pt x="619" y="70"/>
                        <a:pt x="616" y="70"/>
                      </a:cubicBezTo>
                      <a:cubicBezTo>
                        <a:pt x="610" y="72"/>
                        <a:pt x="605" y="74"/>
                        <a:pt x="601" y="75"/>
                      </a:cubicBezTo>
                      <a:cubicBezTo>
                        <a:pt x="596" y="76"/>
                        <a:pt x="590" y="73"/>
                        <a:pt x="585" y="73"/>
                      </a:cubicBezTo>
                      <a:cubicBezTo>
                        <a:pt x="579" y="80"/>
                        <a:pt x="567" y="73"/>
                        <a:pt x="558" y="76"/>
                      </a:cubicBezTo>
                      <a:cubicBezTo>
                        <a:pt x="556" y="76"/>
                        <a:pt x="556" y="80"/>
                        <a:pt x="558" y="80"/>
                      </a:cubicBezTo>
                      <a:cubicBezTo>
                        <a:pt x="563" y="78"/>
                        <a:pt x="569" y="81"/>
                        <a:pt x="574" y="80"/>
                      </a:cubicBezTo>
                      <a:cubicBezTo>
                        <a:pt x="579" y="80"/>
                        <a:pt x="583" y="78"/>
                        <a:pt x="588" y="78"/>
                      </a:cubicBezTo>
                      <a:cubicBezTo>
                        <a:pt x="594" y="78"/>
                        <a:pt x="601" y="79"/>
                        <a:pt x="605" y="82"/>
                      </a:cubicBezTo>
                      <a:cubicBezTo>
                        <a:pt x="601" y="86"/>
                        <a:pt x="594" y="87"/>
                        <a:pt x="589" y="88"/>
                      </a:cubicBezTo>
                      <a:cubicBezTo>
                        <a:pt x="584" y="89"/>
                        <a:pt x="579" y="88"/>
                        <a:pt x="574" y="88"/>
                      </a:cubicBezTo>
                      <a:cubicBezTo>
                        <a:pt x="571" y="88"/>
                        <a:pt x="566" y="86"/>
                        <a:pt x="563" y="88"/>
                      </a:cubicBezTo>
                      <a:cubicBezTo>
                        <a:pt x="560" y="90"/>
                        <a:pt x="555" y="95"/>
                        <a:pt x="558" y="97"/>
                      </a:cubicBezTo>
                      <a:cubicBezTo>
                        <a:pt x="562" y="99"/>
                        <a:pt x="566" y="93"/>
                        <a:pt x="571" y="93"/>
                      </a:cubicBezTo>
                      <a:cubicBezTo>
                        <a:pt x="576" y="92"/>
                        <a:pt x="583" y="89"/>
                        <a:pt x="586" y="92"/>
                      </a:cubicBezTo>
                      <a:cubicBezTo>
                        <a:pt x="589" y="94"/>
                        <a:pt x="583" y="99"/>
                        <a:pt x="580" y="100"/>
                      </a:cubicBezTo>
                      <a:cubicBezTo>
                        <a:pt x="578" y="101"/>
                        <a:pt x="574" y="98"/>
                        <a:pt x="571" y="99"/>
                      </a:cubicBezTo>
                      <a:cubicBezTo>
                        <a:pt x="568" y="101"/>
                        <a:pt x="566" y="105"/>
                        <a:pt x="565" y="109"/>
                      </a:cubicBezTo>
                      <a:cubicBezTo>
                        <a:pt x="565" y="111"/>
                        <a:pt x="570" y="111"/>
                        <a:pt x="569" y="113"/>
                      </a:cubicBezTo>
                      <a:cubicBezTo>
                        <a:pt x="567" y="117"/>
                        <a:pt x="564" y="120"/>
                        <a:pt x="560" y="122"/>
                      </a:cubicBezTo>
                      <a:cubicBezTo>
                        <a:pt x="558" y="123"/>
                        <a:pt x="554" y="119"/>
                        <a:pt x="553" y="121"/>
                      </a:cubicBezTo>
                      <a:cubicBezTo>
                        <a:pt x="550" y="126"/>
                        <a:pt x="549" y="132"/>
                        <a:pt x="547" y="137"/>
                      </a:cubicBezTo>
                      <a:cubicBezTo>
                        <a:pt x="546" y="141"/>
                        <a:pt x="542" y="144"/>
                        <a:pt x="542" y="148"/>
                      </a:cubicBezTo>
                      <a:cubicBezTo>
                        <a:pt x="542" y="151"/>
                        <a:pt x="548" y="145"/>
                        <a:pt x="551" y="145"/>
                      </a:cubicBezTo>
                      <a:cubicBezTo>
                        <a:pt x="557" y="145"/>
                        <a:pt x="562" y="147"/>
                        <a:pt x="568" y="150"/>
                      </a:cubicBezTo>
                      <a:cubicBezTo>
                        <a:pt x="569" y="151"/>
                        <a:pt x="570" y="154"/>
                        <a:pt x="568" y="154"/>
                      </a:cubicBezTo>
                      <a:cubicBezTo>
                        <a:pt x="563" y="154"/>
                        <a:pt x="558" y="149"/>
                        <a:pt x="553" y="150"/>
                      </a:cubicBezTo>
                      <a:cubicBezTo>
                        <a:pt x="551" y="150"/>
                        <a:pt x="552" y="155"/>
                        <a:pt x="554" y="156"/>
                      </a:cubicBezTo>
                      <a:cubicBezTo>
                        <a:pt x="559" y="159"/>
                        <a:pt x="564" y="160"/>
                        <a:pt x="570" y="161"/>
                      </a:cubicBezTo>
                      <a:cubicBezTo>
                        <a:pt x="572" y="162"/>
                        <a:pt x="574" y="158"/>
                        <a:pt x="576" y="160"/>
                      </a:cubicBezTo>
                      <a:cubicBezTo>
                        <a:pt x="578" y="163"/>
                        <a:pt x="580" y="170"/>
                        <a:pt x="577" y="171"/>
                      </a:cubicBezTo>
                      <a:cubicBezTo>
                        <a:pt x="570" y="172"/>
                        <a:pt x="564" y="170"/>
                        <a:pt x="557" y="169"/>
                      </a:cubicBezTo>
                      <a:cubicBezTo>
                        <a:pt x="553" y="169"/>
                        <a:pt x="542" y="167"/>
                        <a:pt x="539" y="168"/>
                      </a:cubicBezTo>
                      <a:cubicBezTo>
                        <a:pt x="537" y="169"/>
                        <a:pt x="551" y="170"/>
                        <a:pt x="554" y="172"/>
                      </a:cubicBezTo>
                      <a:cubicBezTo>
                        <a:pt x="555" y="173"/>
                        <a:pt x="545" y="174"/>
                        <a:pt x="542" y="175"/>
                      </a:cubicBezTo>
                      <a:cubicBezTo>
                        <a:pt x="539" y="175"/>
                        <a:pt x="540" y="172"/>
                        <a:pt x="537" y="172"/>
                      </a:cubicBezTo>
                      <a:cubicBezTo>
                        <a:pt x="534" y="172"/>
                        <a:pt x="530" y="173"/>
                        <a:pt x="531" y="175"/>
                      </a:cubicBezTo>
                      <a:cubicBezTo>
                        <a:pt x="532" y="179"/>
                        <a:pt x="541" y="180"/>
                        <a:pt x="541" y="184"/>
                      </a:cubicBezTo>
                      <a:cubicBezTo>
                        <a:pt x="547" y="186"/>
                        <a:pt x="554" y="184"/>
                        <a:pt x="559" y="186"/>
                      </a:cubicBezTo>
                      <a:cubicBezTo>
                        <a:pt x="561" y="187"/>
                        <a:pt x="559" y="190"/>
                        <a:pt x="557" y="191"/>
                      </a:cubicBezTo>
                      <a:cubicBezTo>
                        <a:pt x="551" y="191"/>
                        <a:pt x="546" y="189"/>
                        <a:pt x="540" y="190"/>
                      </a:cubicBezTo>
                      <a:cubicBezTo>
                        <a:pt x="539" y="191"/>
                        <a:pt x="539" y="193"/>
                        <a:pt x="540" y="194"/>
                      </a:cubicBezTo>
                      <a:cubicBezTo>
                        <a:pt x="546" y="196"/>
                        <a:pt x="556" y="192"/>
                        <a:pt x="561" y="196"/>
                      </a:cubicBezTo>
                      <a:cubicBezTo>
                        <a:pt x="564" y="198"/>
                        <a:pt x="564" y="206"/>
                        <a:pt x="562" y="209"/>
                      </a:cubicBezTo>
                      <a:cubicBezTo>
                        <a:pt x="559" y="212"/>
                        <a:pt x="555" y="207"/>
                        <a:pt x="551" y="205"/>
                      </a:cubicBezTo>
                      <a:cubicBezTo>
                        <a:pt x="546" y="203"/>
                        <a:pt x="542" y="199"/>
                        <a:pt x="536" y="198"/>
                      </a:cubicBezTo>
                      <a:cubicBezTo>
                        <a:pt x="534" y="198"/>
                        <a:pt x="531" y="201"/>
                        <a:pt x="532" y="202"/>
                      </a:cubicBezTo>
                      <a:cubicBezTo>
                        <a:pt x="537" y="206"/>
                        <a:pt x="547" y="204"/>
                        <a:pt x="550" y="210"/>
                      </a:cubicBezTo>
                      <a:cubicBezTo>
                        <a:pt x="552" y="214"/>
                        <a:pt x="539" y="209"/>
                        <a:pt x="538" y="213"/>
                      </a:cubicBezTo>
                      <a:cubicBezTo>
                        <a:pt x="537" y="217"/>
                        <a:pt x="546" y="211"/>
                        <a:pt x="549" y="213"/>
                      </a:cubicBezTo>
                      <a:cubicBezTo>
                        <a:pt x="551" y="214"/>
                        <a:pt x="549" y="217"/>
                        <a:pt x="549" y="219"/>
                      </a:cubicBezTo>
                      <a:cubicBezTo>
                        <a:pt x="548" y="220"/>
                        <a:pt x="545" y="222"/>
                        <a:pt x="546" y="222"/>
                      </a:cubicBezTo>
                      <a:cubicBezTo>
                        <a:pt x="551" y="224"/>
                        <a:pt x="557" y="222"/>
                        <a:pt x="562" y="224"/>
                      </a:cubicBezTo>
                      <a:cubicBezTo>
                        <a:pt x="563" y="224"/>
                        <a:pt x="565" y="227"/>
                        <a:pt x="565" y="228"/>
                      </a:cubicBezTo>
                      <a:cubicBezTo>
                        <a:pt x="564" y="230"/>
                        <a:pt x="561" y="231"/>
                        <a:pt x="559" y="231"/>
                      </a:cubicBezTo>
                      <a:cubicBezTo>
                        <a:pt x="554" y="230"/>
                        <a:pt x="550" y="227"/>
                        <a:pt x="546" y="226"/>
                      </a:cubicBezTo>
                      <a:cubicBezTo>
                        <a:pt x="543" y="225"/>
                        <a:pt x="539" y="226"/>
                        <a:pt x="536" y="225"/>
                      </a:cubicBezTo>
                      <a:cubicBezTo>
                        <a:pt x="534" y="225"/>
                        <a:pt x="533" y="228"/>
                        <a:pt x="533" y="230"/>
                      </a:cubicBezTo>
                      <a:cubicBezTo>
                        <a:pt x="532" y="234"/>
                        <a:pt x="531" y="239"/>
                        <a:pt x="534" y="242"/>
                      </a:cubicBezTo>
                      <a:cubicBezTo>
                        <a:pt x="536" y="244"/>
                        <a:pt x="534" y="235"/>
                        <a:pt x="537" y="235"/>
                      </a:cubicBezTo>
                      <a:cubicBezTo>
                        <a:pt x="542" y="235"/>
                        <a:pt x="544" y="239"/>
                        <a:pt x="551" y="240"/>
                      </a:cubicBezTo>
                      <a:cubicBezTo>
                        <a:pt x="552" y="242"/>
                        <a:pt x="549" y="246"/>
                        <a:pt x="549" y="248"/>
                      </a:cubicBezTo>
                      <a:cubicBezTo>
                        <a:pt x="545" y="250"/>
                        <a:pt x="541" y="248"/>
                        <a:pt x="537" y="249"/>
                      </a:cubicBezTo>
                      <a:cubicBezTo>
                        <a:pt x="535" y="250"/>
                        <a:pt x="533" y="253"/>
                        <a:pt x="531" y="252"/>
                      </a:cubicBezTo>
                      <a:cubicBezTo>
                        <a:pt x="524" y="252"/>
                        <a:pt x="516" y="249"/>
                        <a:pt x="510" y="246"/>
                      </a:cubicBezTo>
                      <a:cubicBezTo>
                        <a:pt x="508" y="245"/>
                        <a:pt x="510" y="241"/>
                        <a:pt x="507" y="241"/>
                      </a:cubicBezTo>
                      <a:cubicBezTo>
                        <a:pt x="505" y="241"/>
                        <a:pt x="505" y="247"/>
                        <a:pt x="503" y="246"/>
                      </a:cubicBezTo>
                      <a:cubicBezTo>
                        <a:pt x="499" y="246"/>
                        <a:pt x="498" y="238"/>
                        <a:pt x="494" y="238"/>
                      </a:cubicBezTo>
                      <a:cubicBezTo>
                        <a:pt x="492" y="241"/>
                        <a:pt x="497" y="244"/>
                        <a:pt x="498" y="247"/>
                      </a:cubicBezTo>
                      <a:cubicBezTo>
                        <a:pt x="498" y="248"/>
                        <a:pt x="493" y="250"/>
                        <a:pt x="490" y="253"/>
                      </a:cubicBezTo>
                      <a:cubicBezTo>
                        <a:pt x="485" y="256"/>
                        <a:pt x="478" y="246"/>
                        <a:pt x="473" y="249"/>
                      </a:cubicBezTo>
                      <a:cubicBezTo>
                        <a:pt x="470" y="251"/>
                        <a:pt x="478" y="252"/>
                        <a:pt x="484" y="254"/>
                      </a:cubicBezTo>
                      <a:cubicBezTo>
                        <a:pt x="480" y="255"/>
                        <a:pt x="474" y="253"/>
                        <a:pt x="472" y="256"/>
                      </a:cubicBezTo>
                      <a:cubicBezTo>
                        <a:pt x="478" y="257"/>
                        <a:pt x="490" y="256"/>
                        <a:pt x="495" y="258"/>
                      </a:cubicBezTo>
                      <a:cubicBezTo>
                        <a:pt x="497" y="258"/>
                        <a:pt x="495" y="260"/>
                        <a:pt x="494" y="261"/>
                      </a:cubicBezTo>
                      <a:cubicBezTo>
                        <a:pt x="488" y="262"/>
                        <a:pt x="478" y="259"/>
                        <a:pt x="472" y="261"/>
                      </a:cubicBezTo>
                      <a:cubicBezTo>
                        <a:pt x="474" y="264"/>
                        <a:pt x="478" y="263"/>
                        <a:pt x="480" y="264"/>
                      </a:cubicBezTo>
                      <a:cubicBezTo>
                        <a:pt x="483" y="264"/>
                        <a:pt x="480" y="268"/>
                        <a:pt x="491" y="264"/>
                      </a:cubicBezTo>
                      <a:cubicBezTo>
                        <a:pt x="495" y="265"/>
                        <a:pt x="501" y="266"/>
                        <a:pt x="499" y="270"/>
                      </a:cubicBezTo>
                      <a:cubicBezTo>
                        <a:pt x="496" y="274"/>
                        <a:pt x="489" y="270"/>
                        <a:pt x="484" y="271"/>
                      </a:cubicBezTo>
                      <a:cubicBezTo>
                        <a:pt x="483" y="274"/>
                        <a:pt x="490" y="272"/>
                        <a:pt x="491" y="274"/>
                      </a:cubicBezTo>
                      <a:cubicBezTo>
                        <a:pt x="492" y="275"/>
                        <a:pt x="488" y="278"/>
                        <a:pt x="490" y="278"/>
                      </a:cubicBezTo>
                      <a:cubicBezTo>
                        <a:pt x="493" y="279"/>
                        <a:pt x="496" y="273"/>
                        <a:pt x="498" y="273"/>
                      </a:cubicBezTo>
                      <a:cubicBezTo>
                        <a:pt x="508" y="275"/>
                        <a:pt x="516" y="278"/>
                        <a:pt x="524" y="283"/>
                      </a:cubicBezTo>
                      <a:cubicBezTo>
                        <a:pt x="526" y="284"/>
                        <a:pt x="519" y="286"/>
                        <a:pt x="518" y="289"/>
                      </a:cubicBezTo>
                      <a:cubicBezTo>
                        <a:pt x="519" y="292"/>
                        <a:pt x="529" y="286"/>
                        <a:pt x="530" y="288"/>
                      </a:cubicBezTo>
                      <a:cubicBezTo>
                        <a:pt x="532" y="291"/>
                        <a:pt x="523" y="296"/>
                        <a:pt x="525" y="299"/>
                      </a:cubicBezTo>
                      <a:cubicBezTo>
                        <a:pt x="527" y="301"/>
                        <a:pt x="530" y="294"/>
                        <a:pt x="533" y="295"/>
                      </a:cubicBezTo>
                      <a:cubicBezTo>
                        <a:pt x="535" y="295"/>
                        <a:pt x="534" y="299"/>
                        <a:pt x="533" y="301"/>
                      </a:cubicBezTo>
                      <a:cubicBezTo>
                        <a:pt x="532" y="302"/>
                        <a:pt x="527" y="299"/>
                        <a:pt x="528" y="301"/>
                      </a:cubicBezTo>
                      <a:cubicBezTo>
                        <a:pt x="528" y="305"/>
                        <a:pt x="535" y="307"/>
                        <a:pt x="534" y="311"/>
                      </a:cubicBezTo>
                      <a:cubicBezTo>
                        <a:pt x="534" y="313"/>
                        <a:pt x="529" y="314"/>
                        <a:pt x="526" y="313"/>
                      </a:cubicBezTo>
                      <a:cubicBezTo>
                        <a:pt x="523" y="312"/>
                        <a:pt x="525" y="305"/>
                        <a:pt x="522" y="305"/>
                      </a:cubicBezTo>
                      <a:cubicBezTo>
                        <a:pt x="519" y="305"/>
                        <a:pt x="521" y="312"/>
                        <a:pt x="518" y="313"/>
                      </a:cubicBezTo>
                      <a:cubicBezTo>
                        <a:pt x="514" y="314"/>
                        <a:pt x="509" y="312"/>
                        <a:pt x="506" y="309"/>
                      </a:cubicBezTo>
                      <a:cubicBezTo>
                        <a:pt x="502" y="305"/>
                        <a:pt x="503" y="298"/>
                        <a:pt x="499" y="294"/>
                      </a:cubicBezTo>
                      <a:cubicBezTo>
                        <a:pt x="497" y="292"/>
                        <a:pt x="494" y="294"/>
                        <a:pt x="491" y="293"/>
                      </a:cubicBezTo>
                      <a:cubicBezTo>
                        <a:pt x="486" y="292"/>
                        <a:pt x="479" y="289"/>
                        <a:pt x="474" y="287"/>
                      </a:cubicBezTo>
                      <a:cubicBezTo>
                        <a:pt x="470" y="285"/>
                        <a:pt x="467" y="280"/>
                        <a:pt x="462" y="280"/>
                      </a:cubicBezTo>
                      <a:cubicBezTo>
                        <a:pt x="460" y="280"/>
                        <a:pt x="466" y="285"/>
                        <a:pt x="465" y="286"/>
                      </a:cubicBezTo>
                      <a:cubicBezTo>
                        <a:pt x="464" y="288"/>
                        <a:pt x="460" y="288"/>
                        <a:pt x="461" y="289"/>
                      </a:cubicBezTo>
                      <a:cubicBezTo>
                        <a:pt x="464" y="291"/>
                        <a:pt x="468" y="292"/>
                        <a:pt x="472" y="293"/>
                      </a:cubicBezTo>
                      <a:cubicBezTo>
                        <a:pt x="477" y="294"/>
                        <a:pt x="481" y="293"/>
                        <a:pt x="485" y="294"/>
                      </a:cubicBezTo>
                      <a:cubicBezTo>
                        <a:pt x="487" y="295"/>
                        <a:pt x="488" y="298"/>
                        <a:pt x="487" y="299"/>
                      </a:cubicBezTo>
                      <a:cubicBezTo>
                        <a:pt x="482" y="301"/>
                        <a:pt x="474" y="303"/>
                        <a:pt x="469" y="303"/>
                      </a:cubicBezTo>
                      <a:cubicBezTo>
                        <a:pt x="467" y="303"/>
                        <a:pt x="468" y="299"/>
                        <a:pt x="466" y="299"/>
                      </a:cubicBezTo>
                      <a:cubicBezTo>
                        <a:pt x="463" y="300"/>
                        <a:pt x="459" y="302"/>
                        <a:pt x="458" y="305"/>
                      </a:cubicBezTo>
                      <a:cubicBezTo>
                        <a:pt x="464" y="306"/>
                        <a:pt x="461" y="309"/>
                        <a:pt x="460" y="311"/>
                      </a:cubicBezTo>
                      <a:cubicBezTo>
                        <a:pt x="458" y="314"/>
                        <a:pt x="447" y="314"/>
                        <a:pt x="450" y="316"/>
                      </a:cubicBezTo>
                      <a:cubicBezTo>
                        <a:pt x="455" y="316"/>
                        <a:pt x="462" y="316"/>
                        <a:pt x="468" y="316"/>
                      </a:cubicBezTo>
                      <a:cubicBezTo>
                        <a:pt x="469" y="316"/>
                        <a:pt x="479" y="316"/>
                        <a:pt x="478" y="317"/>
                      </a:cubicBezTo>
                      <a:cubicBezTo>
                        <a:pt x="474" y="319"/>
                        <a:pt x="458" y="318"/>
                        <a:pt x="456" y="323"/>
                      </a:cubicBezTo>
                      <a:cubicBezTo>
                        <a:pt x="460" y="324"/>
                        <a:pt x="466" y="324"/>
                        <a:pt x="468" y="325"/>
                      </a:cubicBezTo>
                      <a:cubicBezTo>
                        <a:pt x="471" y="321"/>
                        <a:pt x="478" y="320"/>
                        <a:pt x="483" y="319"/>
                      </a:cubicBezTo>
                      <a:cubicBezTo>
                        <a:pt x="488" y="318"/>
                        <a:pt x="493" y="318"/>
                        <a:pt x="497" y="318"/>
                      </a:cubicBezTo>
                      <a:cubicBezTo>
                        <a:pt x="505" y="319"/>
                        <a:pt x="513" y="321"/>
                        <a:pt x="521" y="322"/>
                      </a:cubicBezTo>
                      <a:cubicBezTo>
                        <a:pt x="523" y="323"/>
                        <a:pt x="529" y="320"/>
                        <a:pt x="527" y="323"/>
                      </a:cubicBezTo>
                      <a:cubicBezTo>
                        <a:pt x="521" y="328"/>
                        <a:pt x="515" y="327"/>
                        <a:pt x="508" y="330"/>
                      </a:cubicBezTo>
                      <a:cubicBezTo>
                        <a:pt x="508" y="335"/>
                        <a:pt x="501" y="334"/>
                        <a:pt x="498" y="337"/>
                      </a:cubicBezTo>
                      <a:cubicBezTo>
                        <a:pt x="493" y="342"/>
                        <a:pt x="488" y="348"/>
                        <a:pt x="481" y="351"/>
                      </a:cubicBezTo>
                      <a:cubicBezTo>
                        <a:pt x="472" y="355"/>
                        <a:pt x="461" y="355"/>
                        <a:pt x="451" y="357"/>
                      </a:cubicBezTo>
                      <a:cubicBezTo>
                        <a:pt x="444" y="359"/>
                        <a:pt x="437" y="362"/>
                        <a:pt x="430" y="363"/>
                      </a:cubicBezTo>
                      <a:cubicBezTo>
                        <a:pt x="426" y="364"/>
                        <a:pt x="422" y="364"/>
                        <a:pt x="418" y="363"/>
                      </a:cubicBezTo>
                      <a:cubicBezTo>
                        <a:pt x="414" y="362"/>
                        <a:pt x="410" y="356"/>
                        <a:pt x="406" y="357"/>
                      </a:cubicBezTo>
                      <a:cubicBezTo>
                        <a:pt x="403" y="358"/>
                        <a:pt x="413" y="363"/>
                        <a:pt x="411" y="366"/>
                      </a:cubicBezTo>
                      <a:cubicBezTo>
                        <a:pt x="409" y="370"/>
                        <a:pt x="400" y="369"/>
                        <a:pt x="397" y="373"/>
                      </a:cubicBezTo>
                      <a:cubicBezTo>
                        <a:pt x="391" y="379"/>
                        <a:pt x="391" y="389"/>
                        <a:pt x="386" y="395"/>
                      </a:cubicBezTo>
                      <a:cubicBezTo>
                        <a:pt x="382" y="400"/>
                        <a:pt x="375" y="400"/>
                        <a:pt x="370" y="403"/>
                      </a:cubicBezTo>
                      <a:cubicBezTo>
                        <a:pt x="367" y="405"/>
                        <a:pt x="366" y="411"/>
                        <a:pt x="362" y="410"/>
                      </a:cubicBezTo>
                      <a:cubicBezTo>
                        <a:pt x="358" y="409"/>
                        <a:pt x="348" y="413"/>
                        <a:pt x="344" y="410"/>
                      </a:cubicBezTo>
                      <a:cubicBezTo>
                        <a:pt x="342" y="408"/>
                        <a:pt x="354" y="404"/>
                        <a:pt x="352" y="402"/>
                      </a:cubicBezTo>
                      <a:cubicBezTo>
                        <a:pt x="349" y="399"/>
                        <a:pt x="344" y="400"/>
                        <a:pt x="341" y="402"/>
                      </a:cubicBezTo>
                      <a:cubicBezTo>
                        <a:pt x="338" y="404"/>
                        <a:pt x="339" y="408"/>
                        <a:pt x="338" y="411"/>
                      </a:cubicBezTo>
                      <a:cubicBezTo>
                        <a:pt x="338" y="413"/>
                        <a:pt x="339" y="415"/>
                        <a:pt x="338" y="416"/>
                      </a:cubicBezTo>
                      <a:cubicBezTo>
                        <a:pt x="335" y="417"/>
                        <a:pt x="330" y="415"/>
                        <a:pt x="327" y="416"/>
                      </a:cubicBezTo>
                      <a:cubicBezTo>
                        <a:pt x="323" y="416"/>
                        <a:pt x="318" y="416"/>
                        <a:pt x="316" y="419"/>
                      </a:cubicBezTo>
                      <a:cubicBezTo>
                        <a:pt x="315" y="421"/>
                        <a:pt x="321" y="424"/>
                        <a:pt x="319" y="425"/>
                      </a:cubicBezTo>
                      <a:cubicBezTo>
                        <a:pt x="316" y="428"/>
                        <a:pt x="308" y="423"/>
                        <a:pt x="307" y="427"/>
                      </a:cubicBezTo>
                      <a:cubicBezTo>
                        <a:pt x="305" y="432"/>
                        <a:pt x="316" y="437"/>
                        <a:pt x="314" y="442"/>
                      </a:cubicBezTo>
                      <a:cubicBezTo>
                        <a:pt x="313" y="446"/>
                        <a:pt x="303" y="438"/>
                        <a:pt x="302" y="442"/>
                      </a:cubicBezTo>
                      <a:cubicBezTo>
                        <a:pt x="300" y="447"/>
                        <a:pt x="310" y="450"/>
                        <a:pt x="309" y="456"/>
                      </a:cubicBezTo>
                      <a:cubicBezTo>
                        <a:pt x="309" y="460"/>
                        <a:pt x="302" y="459"/>
                        <a:pt x="299" y="462"/>
                      </a:cubicBezTo>
                      <a:cubicBezTo>
                        <a:pt x="295" y="466"/>
                        <a:pt x="292" y="470"/>
                        <a:pt x="290" y="474"/>
                      </a:cubicBezTo>
                      <a:cubicBezTo>
                        <a:pt x="288" y="480"/>
                        <a:pt x="289" y="486"/>
                        <a:pt x="287" y="491"/>
                      </a:cubicBezTo>
                      <a:cubicBezTo>
                        <a:pt x="285" y="496"/>
                        <a:pt x="280" y="499"/>
                        <a:pt x="278" y="503"/>
                      </a:cubicBezTo>
                      <a:cubicBezTo>
                        <a:pt x="276" y="507"/>
                        <a:pt x="275" y="512"/>
                        <a:pt x="274" y="517"/>
                      </a:cubicBezTo>
                      <a:cubicBezTo>
                        <a:pt x="273" y="521"/>
                        <a:pt x="275" y="527"/>
                        <a:pt x="271" y="530"/>
                      </a:cubicBezTo>
                      <a:cubicBezTo>
                        <a:pt x="266" y="532"/>
                        <a:pt x="259" y="531"/>
                        <a:pt x="254" y="527"/>
                      </a:cubicBezTo>
                      <a:cubicBezTo>
                        <a:pt x="250" y="524"/>
                        <a:pt x="252" y="516"/>
                        <a:pt x="249" y="511"/>
                      </a:cubicBezTo>
                      <a:cubicBezTo>
                        <a:pt x="247" y="509"/>
                        <a:pt x="244" y="511"/>
                        <a:pt x="241" y="511"/>
                      </a:cubicBezTo>
                      <a:cubicBezTo>
                        <a:pt x="235" y="511"/>
                        <a:pt x="227" y="515"/>
                        <a:pt x="221" y="512"/>
                      </a:cubicBezTo>
                      <a:cubicBezTo>
                        <a:pt x="216" y="510"/>
                        <a:pt x="214" y="504"/>
                        <a:pt x="211" y="499"/>
                      </a:cubicBezTo>
                      <a:cubicBezTo>
                        <a:pt x="206" y="493"/>
                        <a:pt x="200" y="488"/>
                        <a:pt x="197" y="481"/>
                      </a:cubicBezTo>
                      <a:cubicBezTo>
                        <a:pt x="195" y="478"/>
                        <a:pt x="199" y="474"/>
                        <a:pt x="198" y="470"/>
                      </a:cubicBezTo>
                      <a:cubicBezTo>
                        <a:pt x="197" y="467"/>
                        <a:pt x="193" y="466"/>
                        <a:pt x="192" y="463"/>
                      </a:cubicBezTo>
                      <a:cubicBezTo>
                        <a:pt x="189" y="460"/>
                        <a:pt x="189" y="456"/>
                        <a:pt x="187" y="452"/>
                      </a:cubicBezTo>
                      <a:cubicBezTo>
                        <a:pt x="185" y="447"/>
                        <a:pt x="182" y="442"/>
                        <a:pt x="181" y="437"/>
                      </a:cubicBezTo>
                      <a:cubicBezTo>
                        <a:pt x="180" y="431"/>
                        <a:pt x="184" y="426"/>
                        <a:pt x="182" y="421"/>
                      </a:cubicBezTo>
                      <a:cubicBezTo>
                        <a:pt x="182" y="417"/>
                        <a:pt x="177" y="415"/>
                        <a:pt x="175" y="411"/>
                      </a:cubicBezTo>
                      <a:cubicBezTo>
                        <a:pt x="173" y="408"/>
                        <a:pt x="171" y="404"/>
                        <a:pt x="172" y="400"/>
                      </a:cubicBezTo>
                      <a:cubicBezTo>
                        <a:pt x="173" y="396"/>
                        <a:pt x="180" y="394"/>
                        <a:pt x="179" y="390"/>
                      </a:cubicBezTo>
                      <a:cubicBezTo>
                        <a:pt x="179" y="386"/>
                        <a:pt x="172" y="388"/>
                        <a:pt x="170" y="385"/>
                      </a:cubicBezTo>
                      <a:cubicBezTo>
                        <a:pt x="169" y="382"/>
                        <a:pt x="170" y="379"/>
                        <a:pt x="170" y="376"/>
                      </a:cubicBezTo>
                      <a:cubicBezTo>
                        <a:pt x="171" y="372"/>
                        <a:pt x="170" y="367"/>
                        <a:pt x="173" y="364"/>
                      </a:cubicBezTo>
                      <a:cubicBezTo>
                        <a:pt x="175" y="362"/>
                        <a:pt x="181" y="365"/>
                        <a:pt x="184" y="363"/>
                      </a:cubicBezTo>
                      <a:cubicBezTo>
                        <a:pt x="186" y="361"/>
                        <a:pt x="184" y="356"/>
                        <a:pt x="187" y="354"/>
                      </a:cubicBezTo>
                      <a:cubicBezTo>
                        <a:pt x="192" y="352"/>
                        <a:pt x="198" y="357"/>
                        <a:pt x="202" y="354"/>
                      </a:cubicBezTo>
                      <a:cubicBezTo>
                        <a:pt x="206" y="351"/>
                        <a:pt x="206" y="344"/>
                        <a:pt x="207" y="339"/>
                      </a:cubicBezTo>
                      <a:cubicBezTo>
                        <a:pt x="209" y="335"/>
                        <a:pt x="212" y="330"/>
                        <a:pt x="211" y="326"/>
                      </a:cubicBezTo>
                      <a:cubicBezTo>
                        <a:pt x="211" y="324"/>
                        <a:pt x="208" y="323"/>
                        <a:pt x="206" y="323"/>
                      </a:cubicBezTo>
                      <a:cubicBezTo>
                        <a:pt x="202" y="322"/>
                        <a:pt x="198" y="323"/>
                        <a:pt x="195" y="322"/>
                      </a:cubicBezTo>
                      <a:cubicBezTo>
                        <a:pt x="188" y="321"/>
                        <a:pt x="182" y="319"/>
                        <a:pt x="176" y="317"/>
                      </a:cubicBezTo>
                      <a:cubicBezTo>
                        <a:pt x="174" y="315"/>
                        <a:pt x="168" y="312"/>
                        <a:pt x="170" y="310"/>
                      </a:cubicBezTo>
                      <a:cubicBezTo>
                        <a:pt x="174" y="306"/>
                        <a:pt x="180" y="308"/>
                        <a:pt x="185" y="308"/>
                      </a:cubicBezTo>
                      <a:cubicBezTo>
                        <a:pt x="195" y="310"/>
                        <a:pt x="204" y="320"/>
                        <a:pt x="213" y="317"/>
                      </a:cubicBezTo>
                      <a:cubicBezTo>
                        <a:pt x="219" y="315"/>
                        <a:pt x="208" y="306"/>
                        <a:pt x="204" y="302"/>
                      </a:cubicBezTo>
                      <a:cubicBezTo>
                        <a:pt x="201" y="298"/>
                        <a:pt x="196" y="296"/>
                        <a:pt x="193" y="293"/>
                      </a:cubicBezTo>
                      <a:cubicBezTo>
                        <a:pt x="190" y="291"/>
                        <a:pt x="190" y="285"/>
                        <a:pt x="186" y="285"/>
                      </a:cubicBezTo>
                      <a:cubicBezTo>
                        <a:pt x="183" y="285"/>
                        <a:pt x="184" y="292"/>
                        <a:pt x="181" y="293"/>
                      </a:cubicBezTo>
                      <a:cubicBezTo>
                        <a:pt x="174" y="293"/>
                        <a:pt x="166" y="292"/>
                        <a:pt x="161" y="287"/>
                      </a:cubicBezTo>
                      <a:cubicBezTo>
                        <a:pt x="158" y="284"/>
                        <a:pt x="162" y="279"/>
                        <a:pt x="164" y="275"/>
                      </a:cubicBezTo>
                      <a:cubicBezTo>
                        <a:pt x="165" y="271"/>
                        <a:pt x="171" y="268"/>
                        <a:pt x="171" y="264"/>
                      </a:cubicBezTo>
                      <a:cubicBezTo>
                        <a:pt x="172" y="258"/>
                        <a:pt x="169" y="253"/>
                        <a:pt x="167" y="247"/>
                      </a:cubicBezTo>
                      <a:cubicBezTo>
                        <a:pt x="165" y="240"/>
                        <a:pt x="164" y="232"/>
                        <a:pt x="161" y="225"/>
                      </a:cubicBezTo>
                      <a:cubicBezTo>
                        <a:pt x="156" y="217"/>
                        <a:pt x="148" y="212"/>
                        <a:pt x="142" y="204"/>
                      </a:cubicBezTo>
                      <a:cubicBezTo>
                        <a:pt x="141" y="202"/>
                        <a:pt x="142" y="198"/>
                        <a:pt x="139" y="197"/>
                      </a:cubicBezTo>
                      <a:cubicBezTo>
                        <a:pt x="133" y="193"/>
                        <a:pt x="125" y="191"/>
                        <a:pt x="118" y="189"/>
                      </a:cubicBezTo>
                      <a:cubicBezTo>
                        <a:pt x="110" y="187"/>
                        <a:pt x="102" y="184"/>
                        <a:pt x="93" y="183"/>
                      </a:cubicBezTo>
                      <a:cubicBezTo>
                        <a:pt x="86" y="182"/>
                        <a:pt x="79" y="183"/>
                        <a:pt x="71" y="184"/>
                      </a:cubicBezTo>
                      <a:cubicBezTo>
                        <a:pt x="67" y="184"/>
                        <a:pt x="61" y="183"/>
                        <a:pt x="57" y="185"/>
                      </a:cubicBezTo>
                      <a:cubicBezTo>
                        <a:pt x="55" y="186"/>
                        <a:pt x="58" y="191"/>
                        <a:pt x="56" y="191"/>
                      </a:cubicBezTo>
                      <a:cubicBezTo>
                        <a:pt x="49" y="193"/>
                        <a:pt x="41" y="192"/>
                        <a:pt x="34" y="189"/>
                      </a:cubicBezTo>
                      <a:cubicBezTo>
                        <a:pt x="31" y="188"/>
                        <a:pt x="28" y="184"/>
                        <a:pt x="29" y="182"/>
                      </a:cubicBezTo>
                      <a:cubicBezTo>
                        <a:pt x="32" y="178"/>
                        <a:pt x="43" y="181"/>
                        <a:pt x="42" y="176"/>
                      </a:cubicBezTo>
                      <a:cubicBezTo>
                        <a:pt x="41" y="171"/>
                        <a:pt x="32" y="175"/>
                        <a:pt x="28" y="173"/>
                      </a:cubicBezTo>
                      <a:cubicBezTo>
                        <a:pt x="26" y="172"/>
                        <a:pt x="27" y="168"/>
                        <a:pt x="25" y="168"/>
                      </a:cubicBezTo>
                      <a:cubicBezTo>
                        <a:pt x="22" y="168"/>
                        <a:pt x="20" y="175"/>
                        <a:pt x="17" y="174"/>
                      </a:cubicBezTo>
                      <a:cubicBezTo>
                        <a:pt x="14" y="173"/>
                        <a:pt x="11" y="168"/>
                        <a:pt x="13" y="166"/>
                      </a:cubicBezTo>
                      <a:cubicBezTo>
                        <a:pt x="17" y="162"/>
                        <a:pt x="23" y="162"/>
                        <a:pt x="28" y="162"/>
                      </a:cubicBezTo>
                      <a:cubicBezTo>
                        <a:pt x="34" y="161"/>
                        <a:pt x="40" y="163"/>
                        <a:pt x="47" y="163"/>
                      </a:cubicBezTo>
                      <a:cubicBezTo>
                        <a:pt x="54" y="164"/>
                        <a:pt x="62" y="167"/>
                        <a:pt x="68" y="163"/>
                      </a:cubicBezTo>
                      <a:cubicBezTo>
                        <a:pt x="71" y="162"/>
                        <a:pt x="63" y="158"/>
                        <a:pt x="64" y="155"/>
                      </a:cubicBezTo>
                      <a:cubicBezTo>
                        <a:pt x="65" y="151"/>
                        <a:pt x="77" y="149"/>
                        <a:pt x="74" y="148"/>
                      </a:cubicBezTo>
                      <a:cubicBezTo>
                        <a:pt x="68" y="145"/>
                        <a:pt x="61" y="150"/>
                        <a:pt x="54" y="151"/>
                      </a:cubicBezTo>
                      <a:cubicBezTo>
                        <a:pt x="49" y="151"/>
                        <a:pt x="43" y="152"/>
                        <a:pt x="37" y="151"/>
                      </a:cubicBezTo>
                      <a:cubicBezTo>
                        <a:pt x="31" y="151"/>
                        <a:pt x="24" y="150"/>
                        <a:pt x="18" y="148"/>
                      </a:cubicBezTo>
                      <a:cubicBezTo>
                        <a:pt x="12" y="147"/>
                        <a:pt x="6" y="145"/>
                        <a:pt x="2" y="140"/>
                      </a:cubicBezTo>
                      <a:cubicBezTo>
                        <a:pt x="0" y="138"/>
                        <a:pt x="0" y="132"/>
                        <a:pt x="3" y="131"/>
                      </a:cubicBezTo>
                      <a:cubicBezTo>
                        <a:pt x="11" y="126"/>
                        <a:pt x="22" y="125"/>
                        <a:pt x="31" y="123"/>
                      </a:cubicBezTo>
                      <a:cubicBezTo>
                        <a:pt x="36" y="121"/>
                        <a:pt x="41" y="119"/>
                        <a:pt x="47" y="118"/>
                      </a:cubicBezTo>
                      <a:cubicBezTo>
                        <a:pt x="56" y="117"/>
                        <a:pt x="66" y="119"/>
                        <a:pt x="75" y="116"/>
                      </a:cubicBezTo>
                      <a:cubicBezTo>
                        <a:pt x="81" y="114"/>
                        <a:pt x="86" y="110"/>
                        <a:pt x="90" y="105"/>
                      </a:cubicBezTo>
                      <a:cubicBezTo>
                        <a:pt x="92" y="103"/>
                        <a:pt x="89" y="100"/>
                        <a:pt x="90" y="98"/>
                      </a:cubicBezTo>
                      <a:cubicBezTo>
                        <a:pt x="93" y="94"/>
                        <a:pt x="104" y="92"/>
                        <a:pt x="102" y="88"/>
                      </a:cubicBezTo>
                      <a:cubicBezTo>
                        <a:pt x="99" y="83"/>
                        <a:pt x="92" y="90"/>
                        <a:pt x="87" y="91"/>
                      </a:cubicBezTo>
                      <a:cubicBezTo>
                        <a:pt x="83" y="91"/>
                        <a:pt x="80" y="91"/>
                        <a:pt x="77" y="91"/>
                      </a:cubicBezTo>
                      <a:cubicBezTo>
                        <a:pt x="74" y="91"/>
                        <a:pt x="66" y="91"/>
                        <a:pt x="68" y="89"/>
                      </a:cubicBezTo>
                      <a:cubicBezTo>
                        <a:pt x="73" y="82"/>
                        <a:pt x="82" y="80"/>
                        <a:pt x="89" y="77"/>
                      </a:cubicBezTo>
                      <a:cubicBezTo>
                        <a:pt x="96" y="73"/>
                        <a:pt x="102" y="68"/>
                        <a:pt x="110" y="66"/>
                      </a:cubicBezTo>
                      <a:cubicBezTo>
                        <a:pt x="115" y="64"/>
                        <a:pt x="122" y="68"/>
                        <a:pt x="127" y="65"/>
                      </a:cubicBezTo>
                      <a:cubicBezTo>
                        <a:pt x="134" y="62"/>
                        <a:pt x="138" y="54"/>
                        <a:pt x="145" y="50"/>
                      </a:cubicBezTo>
                      <a:cubicBezTo>
                        <a:pt x="153" y="46"/>
                        <a:pt x="163" y="44"/>
                        <a:pt x="172" y="41"/>
                      </a:cubicBezTo>
                      <a:cubicBezTo>
                        <a:pt x="181" y="39"/>
                        <a:pt x="189" y="36"/>
                        <a:pt x="198" y="35"/>
                      </a:cubicBezTo>
                      <a:cubicBezTo>
                        <a:pt x="203" y="34"/>
                        <a:pt x="209" y="32"/>
                        <a:pt x="212" y="36"/>
                      </a:cubicBezTo>
                      <a:cubicBezTo>
                        <a:pt x="215" y="40"/>
                        <a:pt x="208" y="48"/>
                        <a:pt x="213" y="51"/>
                      </a:cubicBezTo>
                      <a:cubicBezTo>
                        <a:pt x="216" y="53"/>
                        <a:pt x="217" y="42"/>
                        <a:pt x="221" y="42"/>
                      </a:cubicBezTo>
                      <a:cubicBezTo>
                        <a:pt x="229" y="42"/>
                        <a:pt x="234" y="50"/>
                        <a:pt x="241" y="52"/>
                      </a:cubicBezTo>
                      <a:cubicBezTo>
                        <a:pt x="243" y="52"/>
                        <a:pt x="238" y="47"/>
                        <a:pt x="240" y="46"/>
                      </a:cubicBezTo>
                      <a:cubicBezTo>
                        <a:pt x="243" y="44"/>
                        <a:pt x="250" y="50"/>
                        <a:pt x="250" y="46"/>
                      </a:cubicBezTo>
                      <a:cubicBezTo>
                        <a:pt x="250" y="40"/>
                        <a:pt x="238" y="38"/>
                        <a:pt x="240" y="32"/>
                      </a:cubicBezTo>
                      <a:cubicBezTo>
                        <a:pt x="241" y="27"/>
                        <a:pt x="250" y="32"/>
                        <a:pt x="255" y="33"/>
                      </a:cubicBezTo>
                      <a:cubicBezTo>
                        <a:pt x="264" y="35"/>
                        <a:pt x="274" y="36"/>
                        <a:pt x="282" y="40"/>
                      </a:cubicBezTo>
                      <a:cubicBezTo>
                        <a:pt x="286" y="42"/>
                        <a:pt x="287" y="48"/>
                        <a:pt x="291" y="49"/>
                      </a:cubicBezTo>
                      <a:cubicBezTo>
                        <a:pt x="294" y="51"/>
                        <a:pt x="299" y="53"/>
                        <a:pt x="302" y="51"/>
                      </a:cubicBezTo>
                      <a:cubicBezTo>
                        <a:pt x="304" y="50"/>
                        <a:pt x="300" y="45"/>
                        <a:pt x="300" y="43"/>
                      </a:cubicBezTo>
                      <a:cubicBezTo>
                        <a:pt x="301" y="40"/>
                        <a:pt x="301" y="37"/>
                        <a:pt x="303" y="37"/>
                      </a:cubicBezTo>
                      <a:cubicBezTo>
                        <a:pt x="306" y="35"/>
                        <a:pt x="319" y="40"/>
                        <a:pt x="317" y="37"/>
                      </a:cubicBezTo>
                      <a:cubicBezTo>
                        <a:pt x="312" y="32"/>
                        <a:pt x="292" y="32"/>
                        <a:pt x="296" y="27"/>
                      </a:cubicBezTo>
                      <a:cubicBezTo>
                        <a:pt x="303" y="26"/>
                        <a:pt x="314" y="27"/>
                        <a:pt x="323" y="27"/>
                      </a:cubicBezTo>
                      <a:cubicBezTo>
                        <a:pt x="328" y="26"/>
                        <a:pt x="344" y="26"/>
                        <a:pt x="339" y="25"/>
                      </a:cubicBezTo>
                      <a:cubicBezTo>
                        <a:pt x="330" y="23"/>
                        <a:pt x="320" y="26"/>
                        <a:pt x="312" y="24"/>
                      </a:cubicBezTo>
                      <a:cubicBezTo>
                        <a:pt x="306" y="22"/>
                        <a:pt x="291" y="20"/>
                        <a:pt x="293" y="14"/>
                      </a:cubicBezTo>
                      <a:cubicBezTo>
                        <a:pt x="301" y="12"/>
                        <a:pt x="313" y="17"/>
                        <a:pt x="319" y="11"/>
                      </a:cubicBezTo>
                      <a:cubicBezTo>
                        <a:pt x="327" y="11"/>
                        <a:pt x="331" y="16"/>
                        <a:pt x="339" y="17"/>
                      </a:cubicBezTo>
                      <a:cubicBezTo>
                        <a:pt x="345" y="18"/>
                        <a:pt x="351" y="18"/>
                        <a:pt x="358" y="18"/>
                      </a:cubicBezTo>
                      <a:cubicBezTo>
                        <a:pt x="362" y="17"/>
                        <a:pt x="369" y="18"/>
                        <a:pt x="370" y="14"/>
                      </a:cubicBezTo>
                      <a:cubicBezTo>
                        <a:pt x="372" y="11"/>
                        <a:pt x="359" y="15"/>
                        <a:pt x="361" y="12"/>
                      </a:cubicBezTo>
                      <a:cubicBezTo>
                        <a:pt x="364" y="7"/>
                        <a:pt x="368" y="6"/>
                        <a:pt x="373" y="6"/>
                      </a:cubicBezTo>
                      <a:cubicBezTo>
                        <a:pt x="376" y="5"/>
                        <a:pt x="380" y="9"/>
                        <a:pt x="382" y="9"/>
                      </a:cubicBezTo>
                      <a:cubicBezTo>
                        <a:pt x="385" y="8"/>
                        <a:pt x="378" y="4"/>
                        <a:pt x="381" y="3"/>
                      </a:cubicBezTo>
                      <a:cubicBezTo>
                        <a:pt x="388" y="1"/>
                        <a:pt x="403" y="2"/>
                        <a:pt x="410" y="2"/>
                      </a:cubicBezTo>
                      <a:cubicBezTo>
                        <a:pt x="416" y="2"/>
                        <a:pt x="422" y="2"/>
                        <a:pt x="429" y="2"/>
                      </a:cubicBezTo>
                      <a:cubicBezTo>
                        <a:pt x="440" y="2"/>
                        <a:pt x="451" y="0"/>
                        <a:pt x="463" y="1"/>
                      </a:cubicBezTo>
                      <a:cubicBezTo>
                        <a:pt x="473" y="2"/>
                        <a:pt x="483" y="3"/>
                        <a:pt x="493" y="6"/>
                      </a:cubicBezTo>
                      <a:cubicBezTo>
                        <a:pt x="497" y="7"/>
                        <a:pt x="507" y="11"/>
                        <a:pt x="507" y="15"/>
                      </a:cubicBezTo>
                      <a:cubicBezTo>
                        <a:pt x="503" y="19"/>
                        <a:pt x="496" y="18"/>
                        <a:pt x="492" y="19"/>
                      </a:cubicBezTo>
                      <a:cubicBezTo>
                        <a:pt x="485" y="21"/>
                        <a:pt x="477" y="19"/>
                        <a:pt x="470" y="19"/>
                      </a:cubicBezTo>
                      <a:cubicBezTo>
                        <a:pt x="461" y="19"/>
                        <a:pt x="453" y="19"/>
                        <a:pt x="444" y="19"/>
                      </a:cubicBezTo>
                      <a:cubicBezTo>
                        <a:pt x="441" y="19"/>
                        <a:pt x="432" y="20"/>
                        <a:pt x="435" y="21"/>
                      </a:cubicBezTo>
                      <a:cubicBezTo>
                        <a:pt x="444" y="22"/>
                        <a:pt x="453" y="22"/>
                        <a:pt x="462" y="22"/>
                      </a:cubicBezTo>
                      <a:cubicBezTo>
                        <a:pt x="475" y="23"/>
                        <a:pt x="488" y="24"/>
                        <a:pt x="500" y="24"/>
                      </a:cubicBezTo>
                      <a:cubicBezTo>
                        <a:pt x="506" y="24"/>
                        <a:pt x="511" y="20"/>
                        <a:pt x="517" y="20"/>
                      </a:cubicBezTo>
                      <a:cubicBezTo>
                        <a:pt x="523" y="20"/>
                        <a:pt x="529" y="20"/>
                        <a:pt x="534" y="20"/>
                      </a:cubicBezTo>
                      <a:cubicBezTo>
                        <a:pt x="538" y="21"/>
                        <a:pt x="544" y="21"/>
                        <a:pt x="546" y="25"/>
                      </a:cubicBezTo>
                      <a:cubicBezTo>
                        <a:pt x="545" y="31"/>
                        <a:pt x="537" y="32"/>
                        <a:pt x="531" y="34"/>
                      </a:cubicBezTo>
                      <a:cubicBezTo>
                        <a:pt x="524" y="36"/>
                        <a:pt x="517" y="35"/>
                        <a:pt x="509" y="36"/>
                      </a:cubicBezTo>
                      <a:cubicBezTo>
                        <a:pt x="502" y="37"/>
                        <a:pt x="495" y="39"/>
                        <a:pt x="488" y="40"/>
                      </a:cubicBezTo>
                      <a:cubicBezTo>
                        <a:pt x="475" y="40"/>
                        <a:pt x="463" y="38"/>
                        <a:pt x="450" y="40"/>
                      </a:cubicBezTo>
                      <a:cubicBezTo>
                        <a:pt x="441" y="40"/>
                        <a:pt x="431" y="43"/>
                        <a:pt x="423" y="46"/>
                      </a:cubicBezTo>
                      <a:cubicBezTo>
                        <a:pt x="420" y="46"/>
                        <a:pt x="416" y="50"/>
                        <a:pt x="418" y="51"/>
                      </a:cubicBezTo>
                      <a:cubicBezTo>
                        <a:pt x="431" y="54"/>
                        <a:pt x="444" y="53"/>
                        <a:pt x="457" y="53"/>
                      </a:cubicBezTo>
                      <a:cubicBezTo>
                        <a:pt x="469" y="54"/>
                        <a:pt x="482" y="55"/>
                        <a:pt x="494" y="55"/>
                      </a:cubicBezTo>
                      <a:cubicBezTo>
                        <a:pt x="501" y="54"/>
                        <a:pt x="507" y="53"/>
                        <a:pt x="513" y="50"/>
                      </a:cubicBezTo>
                      <a:cubicBezTo>
                        <a:pt x="516" y="49"/>
                        <a:pt x="516" y="45"/>
                        <a:pt x="518" y="43"/>
                      </a:cubicBezTo>
                      <a:cubicBezTo>
                        <a:pt x="523" y="41"/>
                        <a:pt x="529" y="39"/>
                        <a:pt x="534" y="41"/>
                      </a:cubicBezTo>
                      <a:cubicBezTo>
                        <a:pt x="537" y="43"/>
                        <a:pt x="540" y="48"/>
                        <a:pt x="539" y="52"/>
                      </a:cubicBezTo>
                      <a:cubicBezTo>
                        <a:pt x="537" y="57"/>
                        <a:pt x="530" y="60"/>
                        <a:pt x="525" y="64"/>
                      </a:cubicBezTo>
                      <a:cubicBezTo>
                        <a:pt x="519" y="79"/>
                        <a:pt x="507" y="80"/>
                        <a:pt x="500" y="89"/>
                      </a:cubicBezTo>
                      <a:cubicBezTo>
                        <a:pt x="507" y="90"/>
                        <a:pt x="519" y="77"/>
                        <a:pt x="528" y="71"/>
                      </a:cubicBezTo>
                      <a:cubicBezTo>
                        <a:pt x="537" y="66"/>
                        <a:pt x="544" y="62"/>
                        <a:pt x="552" y="56"/>
                      </a:cubicBezTo>
                      <a:cubicBezTo>
                        <a:pt x="555" y="54"/>
                        <a:pt x="556" y="49"/>
                        <a:pt x="559" y="50"/>
                      </a:cubicBezTo>
                      <a:cubicBezTo>
                        <a:pt x="563" y="50"/>
                        <a:pt x="557" y="57"/>
                        <a:pt x="560" y="58"/>
                      </a:cubicBezTo>
                      <a:cubicBezTo>
                        <a:pt x="564" y="60"/>
                        <a:pt x="567" y="54"/>
                        <a:pt x="571" y="54"/>
                      </a:cubicBezTo>
                      <a:cubicBezTo>
                        <a:pt x="574" y="54"/>
                        <a:pt x="581" y="57"/>
                        <a:pt x="584" y="55"/>
                      </a:cubicBezTo>
                      <a:cubicBezTo>
                        <a:pt x="591" y="54"/>
                        <a:pt x="595" y="47"/>
                        <a:pt x="602" y="46"/>
                      </a:cubicBezTo>
                      <a:cubicBezTo>
                        <a:pt x="609" y="44"/>
                        <a:pt x="617" y="46"/>
                        <a:pt x="624" y="47"/>
                      </a:cubicBezTo>
                      <a:cubicBezTo>
                        <a:pt x="631" y="48"/>
                        <a:pt x="635" y="50"/>
                        <a:pt x="645" y="54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50" name="Freeform 3602"/>
                <p:cNvSpPr>
                  <a:spLocks noChangeAspect="1"/>
                </p:cNvSpPr>
                <p:nvPr/>
              </p:nvSpPr>
              <p:spPr bwMode="auto">
                <a:xfrm>
                  <a:off x="5684743" y="3176045"/>
                  <a:ext cx="35116" cy="25083"/>
                </a:xfrm>
                <a:custGeom>
                  <a:avLst/>
                  <a:gdLst>
                    <a:gd name="T0" fmla="*/ 7 w 35"/>
                    <a:gd name="T1" fmla="*/ 0 h 25"/>
                    <a:gd name="T2" fmla="*/ 23 w 35"/>
                    <a:gd name="T3" fmla="*/ 4 h 25"/>
                    <a:gd name="T4" fmla="*/ 34 w 35"/>
                    <a:gd name="T5" fmla="*/ 11 h 25"/>
                    <a:gd name="T6" fmla="*/ 41 w 35"/>
                    <a:gd name="T7" fmla="*/ 14 h 25"/>
                    <a:gd name="T8" fmla="*/ 36 w 35"/>
                    <a:gd name="T9" fmla="*/ 25 h 25"/>
                    <a:gd name="T10" fmla="*/ 18 w 35"/>
                    <a:gd name="T11" fmla="*/ 29 h 25"/>
                    <a:gd name="T12" fmla="*/ 10 w 35"/>
                    <a:gd name="T13" fmla="*/ 26 h 25"/>
                    <a:gd name="T14" fmla="*/ 18 w 35"/>
                    <a:gd name="T15" fmla="*/ 22 h 25"/>
                    <a:gd name="T16" fmla="*/ 2 w 35"/>
                    <a:gd name="T17" fmla="*/ 19 h 25"/>
                    <a:gd name="T18" fmla="*/ 4 w 35"/>
                    <a:gd name="T19" fmla="*/ 14 h 25"/>
                    <a:gd name="T20" fmla="*/ 4 w 35"/>
                    <a:gd name="T21" fmla="*/ 10 h 25"/>
                    <a:gd name="T22" fmla="*/ 8 w 35"/>
                    <a:gd name="T23" fmla="*/ 10 h 25"/>
                    <a:gd name="T24" fmla="*/ 4 w 35"/>
                    <a:gd name="T25" fmla="*/ 5 h 25"/>
                    <a:gd name="T26" fmla="*/ 7 w 35"/>
                    <a:gd name="T27" fmla="*/ 0 h 25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35"/>
                    <a:gd name="T43" fmla="*/ 0 h 25"/>
                    <a:gd name="T44" fmla="*/ 35 w 35"/>
                    <a:gd name="T45" fmla="*/ 25 h 25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35" h="25">
                      <a:moveTo>
                        <a:pt x="6" y="0"/>
                      </a:moveTo>
                      <a:cubicBezTo>
                        <a:pt x="11" y="0"/>
                        <a:pt x="15" y="1"/>
                        <a:pt x="19" y="3"/>
                      </a:cubicBezTo>
                      <a:cubicBezTo>
                        <a:pt x="22" y="4"/>
                        <a:pt x="24" y="7"/>
                        <a:pt x="28" y="9"/>
                      </a:cubicBezTo>
                      <a:cubicBezTo>
                        <a:pt x="30" y="11"/>
                        <a:pt x="34" y="10"/>
                        <a:pt x="34" y="12"/>
                      </a:cubicBezTo>
                      <a:cubicBezTo>
                        <a:pt x="35" y="15"/>
                        <a:pt x="33" y="19"/>
                        <a:pt x="30" y="21"/>
                      </a:cubicBezTo>
                      <a:cubicBezTo>
                        <a:pt x="26" y="24"/>
                        <a:pt x="20" y="24"/>
                        <a:pt x="15" y="24"/>
                      </a:cubicBezTo>
                      <a:cubicBezTo>
                        <a:pt x="13" y="25"/>
                        <a:pt x="8" y="25"/>
                        <a:pt x="8" y="22"/>
                      </a:cubicBezTo>
                      <a:cubicBezTo>
                        <a:pt x="8" y="20"/>
                        <a:pt x="17" y="20"/>
                        <a:pt x="15" y="18"/>
                      </a:cubicBezTo>
                      <a:cubicBezTo>
                        <a:pt x="12" y="15"/>
                        <a:pt x="6" y="18"/>
                        <a:pt x="2" y="16"/>
                      </a:cubicBezTo>
                      <a:cubicBezTo>
                        <a:pt x="0" y="15"/>
                        <a:pt x="3" y="13"/>
                        <a:pt x="3" y="12"/>
                      </a:cubicBezTo>
                      <a:cubicBezTo>
                        <a:pt x="3" y="10"/>
                        <a:pt x="3" y="9"/>
                        <a:pt x="3" y="8"/>
                      </a:cubicBezTo>
                      <a:cubicBezTo>
                        <a:pt x="4" y="7"/>
                        <a:pt x="7" y="9"/>
                        <a:pt x="7" y="8"/>
                      </a:cubicBezTo>
                      <a:cubicBezTo>
                        <a:pt x="7" y="6"/>
                        <a:pt x="3" y="6"/>
                        <a:pt x="3" y="4"/>
                      </a:cubicBezTo>
                      <a:cubicBezTo>
                        <a:pt x="3" y="2"/>
                        <a:pt x="5" y="0"/>
                        <a:pt x="6" y="0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51" name="Freeform 3603"/>
                <p:cNvSpPr>
                  <a:spLocks noChangeAspect="1"/>
                </p:cNvSpPr>
                <p:nvPr/>
              </p:nvSpPr>
              <p:spPr bwMode="auto">
                <a:xfrm>
                  <a:off x="5558494" y="3013844"/>
                  <a:ext cx="29263" cy="7525"/>
                </a:xfrm>
                <a:custGeom>
                  <a:avLst/>
                  <a:gdLst>
                    <a:gd name="T0" fmla="*/ 6 w 29"/>
                    <a:gd name="T1" fmla="*/ 1 h 7"/>
                    <a:gd name="T2" fmla="*/ 1 w 29"/>
                    <a:gd name="T3" fmla="*/ 4 h 7"/>
                    <a:gd name="T4" fmla="*/ 12 w 29"/>
                    <a:gd name="T5" fmla="*/ 6 h 7"/>
                    <a:gd name="T6" fmla="*/ 25 w 29"/>
                    <a:gd name="T7" fmla="*/ 8 h 7"/>
                    <a:gd name="T8" fmla="*/ 35 w 29"/>
                    <a:gd name="T9" fmla="*/ 9 h 7"/>
                    <a:gd name="T10" fmla="*/ 35 w 29"/>
                    <a:gd name="T11" fmla="*/ 6 h 7"/>
                    <a:gd name="T12" fmla="*/ 24 w 29"/>
                    <a:gd name="T13" fmla="*/ 1 h 7"/>
                    <a:gd name="T14" fmla="*/ 13 w 29"/>
                    <a:gd name="T15" fmla="*/ 3 h 7"/>
                    <a:gd name="T16" fmla="*/ 6 w 29"/>
                    <a:gd name="T17" fmla="*/ 1 h 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29"/>
                    <a:gd name="T28" fmla="*/ 0 h 7"/>
                    <a:gd name="T29" fmla="*/ 29 w 29"/>
                    <a:gd name="T30" fmla="*/ 7 h 7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29" h="7">
                      <a:moveTo>
                        <a:pt x="5" y="1"/>
                      </a:moveTo>
                      <a:cubicBezTo>
                        <a:pt x="4" y="2"/>
                        <a:pt x="0" y="2"/>
                        <a:pt x="1" y="3"/>
                      </a:cubicBezTo>
                      <a:cubicBezTo>
                        <a:pt x="4" y="5"/>
                        <a:pt x="7" y="4"/>
                        <a:pt x="10" y="5"/>
                      </a:cubicBezTo>
                      <a:cubicBezTo>
                        <a:pt x="14" y="5"/>
                        <a:pt x="17" y="6"/>
                        <a:pt x="21" y="6"/>
                      </a:cubicBezTo>
                      <a:cubicBezTo>
                        <a:pt x="24" y="6"/>
                        <a:pt x="26" y="7"/>
                        <a:pt x="29" y="7"/>
                      </a:cubicBezTo>
                      <a:cubicBezTo>
                        <a:pt x="29" y="6"/>
                        <a:pt x="29" y="5"/>
                        <a:pt x="29" y="5"/>
                      </a:cubicBezTo>
                      <a:cubicBezTo>
                        <a:pt x="26" y="3"/>
                        <a:pt x="23" y="1"/>
                        <a:pt x="20" y="1"/>
                      </a:cubicBezTo>
                      <a:cubicBezTo>
                        <a:pt x="17" y="0"/>
                        <a:pt x="14" y="2"/>
                        <a:pt x="11" y="2"/>
                      </a:cubicBezTo>
                      <a:cubicBezTo>
                        <a:pt x="9" y="2"/>
                        <a:pt x="7" y="1"/>
                        <a:pt x="5" y="1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52" name="Freeform 3604"/>
                <p:cNvSpPr>
                  <a:spLocks noChangeAspect="1"/>
                </p:cNvSpPr>
                <p:nvPr/>
              </p:nvSpPr>
              <p:spPr bwMode="auto">
                <a:xfrm>
                  <a:off x="5533411" y="3013008"/>
                  <a:ext cx="14214" cy="4181"/>
                </a:xfrm>
                <a:custGeom>
                  <a:avLst/>
                  <a:gdLst>
                    <a:gd name="T0" fmla="*/ 9 w 14"/>
                    <a:gd name="T1" fmla="*/ 1 h 4"/>
                    <a:gd name="T2" fmla="*/ 16 w 14"/>
                    <a:gd name="T3" fmla="*/ 3 h 4"/>
                    <a:gd name="T4" fmla="*/ 16 w 14"/>
                    <a:gd name="T5" fmla="*/ 5 h 4"/>
                    <a:gd name="T6" fmla="*/ 5 w 14"/>
                    <a:gd name="T7" fmla="*/ 5 h 4"/>
                    <a:gd name="T8" fmla="*/ 1 w 14"/>
                    <a:gd name="T9" fmla="*/ 3 h 4"/>
                    <a:gd name="T10" fmla="*/ 9 w 14"/>
                    <a:gd name="T11" fmla="*/ 1 h 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4"/>
                    <a:gd name="T19" fmla="*/ 0 h 4"/>
                    <a:gd name="T20" fmla="*/ 14 w 14"/>
                    <a:gd name="T21" fmla="*/ 4 h 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4" h="4">
                      <a:moveTo>
                        <a:pt x="7" y="1"/>
                      </a:moveTo>
                      <a:cubicBezTo>
                        <a:pt x="9" y="1"/>
                        <a:pt x="11" y="1"/>
                        <a:pt x="13" y="2"/>
                      </a:cubicBezTo>
                      <a:cubicBezTo>
                        <a:pt x="14" y="2"/>
                        <a:pt x="14" y="4"/>
                        <a:pt x="13" y="4"/>
                      </a:cubicBezTo>
                      <a:cubicBezTo>
                        <a:pt x="10" y="4"/>
                        <a:pt x="7" y="4"/>
                        <a:pt x="4" y="4"/>
                      </a:cubicBezTo>
                      <a:cubicBezTo>
                        <a:pt x="3" y="4"/>
                        <a:pt x="0" y="2"/>
                        <a:pt x="1" y="2"/>
                      </a:cubicBezTo>
                      <a:cubicBezTo>
                        <a:pt x="2" y="0"/>
                        <a:pt x="5" y="1"/>
                        <a:pt x="7" y="1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53" name="Freeform 3605"/>
                <p:cNvSpPr>
                  <a:spLocks noChangeAspect="1"/>
                </p:cNvSpPr>
                <p:nvPr/>
              </p:nvSpPr>
              <p:spPr bwMode="auto">
                <a:xfrm>
                  <a:off x="5519198" y="3016352"/>
                  <a:ext cx="13377" cy="4181"/>
                </a:xfrm>
                <a:custGeom>
                  <a:avLst/>
                  <a:gdLst>
                    <a:gd name="T0" fmla="*/ 4 w 13"/>
                    <a:gd name="T1" fmla="*/ 0 h 4"/>
                    <a:gd name="T2" fmla="*/ 12 w 13"/>
                    <a:gd name="T3" fmla="*/ 1 h 4"/>
                    <a:gd name="T4" fmla="*/ 16 w 13"/>
                    <a:gd name="T5" fmla="*/ 3 h 4"/>
                    <a:gd name="T6" fmla="*/ 12 w 13"/>
                    <a:gd name="T7" fmla="*/ 5 h 4"/>
                    <a:gd name="T8" fmla="*/ 5 w 13"/>
                    <a:gd name="T9" fmla="*/ 3 h 4"/>
                    <a:gd name="T10" fmla="*/ 0 w 13"/>
                    <a:gd name="T11" fmla="*/ 1 h 4"/>
                    <a:gd name="T12" fmla="*/ 4 w 13"/>
                    <a:gd name="T13" fmla="*/ 0 h 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3"/>
                    <a:gd name="T22" fmla="*/ 0 h 4"/>
                    <a:gd name="T23" fmla="*/ 13 w 13"/>
                    <a:gd name="T24" fmla="*/ 4 h 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3" h="4">
                      <a:moveTo>
                        <a:pt x="3" y="0"/>
                      </a:moveTo>
                      <a:cubicBezTo>
                        <a:pt x="5" y="0"/>
                        <a:pt x="8" y="0"/>
                        <a:pt x="10" y="1"/>
                      </a:cubicBezTo>
                      <a:cubicBezTo>
                        <a:pt x="11" y="1"/>
                        <a:pt x="13" y="1"/>
                        <a:pt x="13" y="2"/>
                      </a:cubicBezTo>
                      <a:cubicBezTo>
                        <a:pt x="13" y="3"/>
                        <a:pt x="11" y="4"/>
                        <a:pt x="10" y="4"/>
                      </a:cubicBezTo>
                      <a:cubicBezTo>
                        <a:pt x="8" y="4"/>
                        <a:pt x="6" y="3"/>
                        <a:pt x="4" y="2"/>
                      </a:cubicBezTo>
                      <a:cubicBezTo>
                        <a:pt x="3" y="2"/>
                        <a:pt x="1" y="2"/>
                        <a:pt x="0" y="1"/>
                      </a:cubicBezTo>
                      <a:cubicBezTo>
                        <a:pt x="0" y="0"/>
                        <a:pt x="2" y="0"/>
                        <a:pt x="3" y="0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54" name="Freeform 3606"/>
                <p:cNvSpPr>
                  <a:spLocks noChangeAspect="1"/>
                </p:cNvSpPr>
                <p:nvPr/>
              </p:nvSpPr>
              <p:spPr bwMode="auto">
                <a:xfrm>
                  <a:off x="5739088" y="2890104"/>
                  <a:ext cx="18394" cy="11705"/>
                </a:xfrm>
                <a:custGeom>
                  <a:avLst/>
                  <a:gdLst>
                    <a:gd name="T0" fmla="*/ 1 w 18"/>
                    <a:gd name="T1" fmla="*/ 0 h 12"/>
                    <a:gd name="T2" fmla="*/ 1 w 18"/>
                    <a:gd name="T3" fmla="*/ 6 h 12"/>
                    <a:gd name="T4" fmla="*/ 16 w 18"/>
                    <a:gd name="T5" fmla="*/ 12 h 12"/>
                    <a:gd name="T6" fmla="*/ 22 w 18"/>
                    <a:gd name="T7" fmla="*/ 12 h 12"/>
                    <a:gd name="T8" fmla="*/ 17 w 18"/>
                    <a:gd name="T9" fmla="*/ 8 h 12"/>
                    <a:gd name="T10" fmla="*/ 9 w 18"/>
                    <a:gd name="T11" fmla="*/ 5 h 12"/>
                    <a:gd name="T12" fmla="*/ 1 w 18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8"/>
                    <a:gd name="T22" fmla="*/ 0 h 12"/>
                    <a:gd name="T23" fmla="*/ 18 w 18"/>
                    <a:gd name="T24" fmla="*/ 12 h 1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8" h="12">
                      <a:moveTo>
                        <a:pt x="1" y="0"/>
                      </a:moveTo>
                      <a:cubicBezTo>
                        <a:pt x="0" y="1"/>
                        <a:pt x="0" y="4"/>
                        <a:pt x="1" y="5"/>
                      </a:cubicBezTo>
                      <a:cubicBezTo>
                        <a:pt x="5" y="8"/>
                        <a:pt x="9" y="9"/>
                        <a:pt x="13" y="10"/>
                      </a:cubicBezTo>
                      <a:cubicBezTo>
                        <a:pt x="14" y="11"/>
                        <a:pt x="17" y="12"/>
                        <a:pt x="18" y="10"/>
                      </a:cubicBezTo>
                      <a:cubicBezTo>
                        <a:pt x="18" y="9"/>
                        <a:pt x="16" y="8"/>
                        <a:pt x="14" y="7"/>
                      </a:cubicBezTo>
                      <a:cubicBezTo>
                        <a:pt x="12" y="6"/>
                        <a:pt x="10" y="5"/>
                        <a:pt x="7" y="4"/>
                      </a:cubicBezTo>
                      <a:cubicBezTo>
                        <a:pt x="5" y="3"/>
                        <a:pt x="4" y="0"/>
                        <a:pt x="1" y="0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55" name="Freeform 3607"/>
                <p:cNvSpPr>
                  <a:spLocks noChangeAspect="1"/>
                </p:cNvSpPr>
                <p:nvPr/>
              </p:nvSpPr>
              <p:spPr bwMode="auto">
                <a:xfrm>
                  <a:off x="5795106" y="2886759"/>
                  <a:ext cx="29263" cy="14214"/>
                </a:xfrm>
                <a:custGeom>
                  <a:avLst/>
                  <a:gdLst>
                    <a:gd name="T0" fmla="*/ 2 w 29"/>
                    <a:gd name="T1" fmla="*/ 0 h 14"/>
                    <a:gd name="T2" fmla="*/ 10 w 29"/>
                    <a:gd name="T3" fmla="*/ 0 h 14"/>
                    <a:gd name="T4" fmla="*/ 21 w 29"/>
                    <a:gd name="T5" fmla="*/ 1 h 14"/>
                    <a:gd name="T6" fmla="*/ 34 w 29"/>
                    <a:gd name="T7" fmla="*/ 5 h 14"/>
                    <a:gd name="T8" fmla="*/ 35 w 29"/>
                    <a:gd name="T9" fmla="*/ 7 h 14"/>
                    <a:gd name="T10" fmla="*/ 29 w 29"/>
                    <a:gd name="T11" fmla="*/ 10 h 14"/>
                    <a:gd name="T12" fmla="*/ 31 w 29"/>
                    <a:gd name="T13" fmla="*/ 13 h 14"/>
                    <a:gd name="T14" fmla="*/ 28 w 29"/>
                    <a:gd name="T15" fmla="*/ 17 h 14"/>
                    <a:gd name="T16" fmla="*/ 8 w 29"/>
                    <a:gd name="T17" fmla="*/ 6 h 14"/>
                    <a:gd name="T18" fmla="*/ 1 w 29"/>
                    <a:gd name="T19" fmla="*/ 1 h 14"/>
                    <a:gd name="T20" fmla="*/ 2 w 29"/>
                    <a:gd name="T21" fmla="*/ 0 h 1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29"/>
                    <a:gd name="T34" fmla="*/ 0 h 14"/>
                    <a:gd name="T35" fmla="*/ 29 w 29"/>
                    <a:gd name="T36" fmla="*/ 14 h 1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29" h="14">
                      <a:moveTo>
                        <a:pt x="2" y="0"/>
                      </a:moveTo>
                      <a:cubicBezTo>
                        <a:pt x="4" y="0"/>
                        <a:pt x="6" y="0"/>
                        <a:pt x="8" y="0"/>
                      </a:cubicBezTo>
                      <a:cubicBezTo>
                        <a:pt x="11" y="0"/>
                        <a:pt x="14" y="0"/>
                        <a:pt x="17" y="1"/>
                      </a:cubicBezTo>
                      <a:cubicBezTo>
                        <a:pt x="21" y="2"/>
                        <a:pt x="24" y="3"/>
                        <a:pt x="28" y="4"/>
                      </a:cubicBezTo>
                      <a:cubicBezTo>
                        <a:pt x="28" y="4"/>
                        <a:pt x="29" y="5"/>
                        <a:pt x="29" y="6"/>
                      </a:cubicBezTo>
                      <a:cubicBezTo>
                        <a:pt x="28" y="7"/>
                        <a:pt x="25" y="6"/>
                        <a:pt x="24" y="8"/>
                      </a:cubicBezTo>
                      <a:cubicBezTo>
                        <a:pt x="23" y="9"/>
                        <a:pt x="26" y="10"/>
                        <a:pt x="26" y="11"/>
                      </a:cubicBezTo>
                      <a:cubicBezTo>
                        <a:pt x="25" y="12"/>
                        <a:pt x="24" y="14"/>
                        <a:pt x="23" y="14"/>
                      </a:cubicBezTo>
                      <a:cubicBezTo>
                        <a:pt x="17" y="12"/>
                        <a:pt x="12" y="8"/>
                        <a:pt x="7" y="5"/>
                      </a:cubicBezTo>
                      <a:cubicBezTo>
                        <a:pt x="5" y="4"/>
                        <a:pt x="2" y="3"/>
                        <a:pt x="1" y="1"/>
                      </a:cubicBezTo>
                      <a:cubicBezTo>
                        <a:pt x="0" y="1"/>
                        <a:pt x="1" y="1"/>
                        <a:pt x="2" y="0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56" name="Freeform 3608"/>
                <p:cNvSpPr>
                  <a:spLocks noChangeAspect="1"/>
                </p:cNvSpPr>
                <p:nvPr/>
              </p:nvSpPr>
              <p:spPr bwMode="auto">
                <a:xfrm>
                  <a:off x="5788417" y="2878398"/>
                  <a:ext cx="6689" cy="6689"/>
                </a:xfrm>
                <a:custGeom>
                  <a:avLst/>
                  <a:gdLst>
                    <a:gd name="T0" fmla="*/ 1 w 7"/>
                    <a:gd name="T1" fmla="*/ 0 h 6"/>
                    <a:gd name="T2" fmla="*/ 1 w 7"/>
                    <a:gd name="T3" fmla="*/ 5 h 6"/>
                    <a:gd name="T4" fmla="*/ 8 w 7"/>
                    <a:gd name="T5" fmla="*/ 5 h 6"/>
                    <a:gd name="T6" fmla="*/ 1 w 7"/>
                    <a:gd name="T7" fmla="*/ 0 h 6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7"/>
                    <a:gd name="T13" fmla="*/ 0 h 6"/>
                    <a:gd name="T14" fmla="*/ 7 w 7"/>
                    <a:gd name="T15" fmla="*/ 6 h 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7" h="6">
                      <a:moveTo>
                        <a:pt x="1" y="0"/>
                      </a:moveTo>
                      <a:cubicBezTo>
                        <a:pt x="0" y="1"/>
                        <a:pt x="0" y="3"/>
                        <a:pt x="1" y="4"/>
                      </a:cubicBezTo>
                      <a:cubicBezTo>
                        <a:pt x="3" y="5"/>
                        <a:pt x="7" y="6"/>
                        <a:pt x="7" y="4"/>
                      </a:cubicBezTo>
                      <a:cubicBezTo>
                        <a:pt x="7" y="1"/>
                        <a:pt x="4" y="0"/>
                        <a:pt x="1" y="0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57" name="Freeform 3609"/>
                <p:cNvSpPr>
                  <a:spLocks noChangeAspect="1"/>
                </p:cNvSpPr>
                <p:nvPr/>
              </p:nvSpPr>
              <p:spPr bwMode="auto">
                <a:xfrm>
                  <a:off x="5802630" y="2870873"/>
                  <a:ext cx="20066" cy="14214"/>
                </a:xfrm>
                <a:custGeom>
                  <a:avLst/>
                  <a:gdLst>
                    <a:gd name="T0" fmla="*/ 1 w 20"/>
                    <a:gd name="T1" fmla="*/ 9 h 14"/>
                    <a:gd name="T2" fmla="*/ 11 w 20"/>
                    <a:gd name="T3" fmla="*/ 17 h 14"/>
                    <a:gd name="T4" fmla="*/ 23 w 20"/>
                    <a:gd name="T5" fmla="*/ 13 h 14"/>
                    <a:gd name="T6" fmla="*/ 16 w 20"/>
                    <a:gd name="T7" fmla="*/ 7 h 14"/>
                    <a:gd name="T8" fmla="*/ 11 w 20"/>
                    <a:gd name="T9" fmla="*/ 1 h 14"/>
                    <a:gd name="T10" fmla="*/ 5 w 20"/>
                    <a:gd name="T11" fmla="*/ 5 h 14"/>
                    <a:gd name="T12" fmla="*/ 8 w 20"/>
                    <a:gd name="T13" fmla="*/ 10 h 14"/>
                    <a:gd name="T14" fmla="*/ 1 w 20"/>
                    <a:gd name="T15" fmla="*/ 9 h 1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0"/>
                    <a:gd name="T25" fmla="*/ 0 h 14"/>
                    <a:gd name="T26" fmla="*/ 20 w 20"/>
                    <a:gd name="T27" fmla="*/ 14 h 1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0" h="14">
                      <a:moveTo>
                        <a:pt x="1" y="7"/>
                      </a:moveTo>
                      <a:cubicBezTo>
                        <a:pt x="2" y="10"/>
                        <a:pt x="6" y="13"/>
                        <a:pt x="9" y="14"/>
                      </a:cubicBezTo>
                      <a:cubicBezTo>
                        <a:pt x="12" y="14"/>
                        <a:pt x="17" y="14"/>
                        <a:pt x="19" y="11"/>
                      </a:cubicBezTo>
                      <a:cubicBezTo>
                        <a:pt x="20" y="9"/>
                        <a:pt x="15" y="8"/>
                        <a:pt x="13" y="6"/>
                      </a:cubicBezTo>
                      <a:cubicBezTo>
                        <a:pt x="12" y="4"/>
                        <a:pt x="11" y="1"/>
                        <a:pt x="9" y="1"/>
                      </a:cubicBezTo>
                      <a:cubicBezTo>
                        <a:pt x="7" y="0"/>
                        <a:pt x="5" y="2"/>
                        <a:pt x="4" y="4"/>
                      </a:cubicBezTo>
                      <a:cubicBezTo>
                        <a:pt x="4" y="6"/>
                        <a:pt x="8" y="7"/>
                        <a:pt x="7" y="8"/>
                      </a:cubicBezTo>
                      <a:cubicBezTo>
                        <a:pt x="5" y="9"/>
                        <a:pt x="0" y="5"/>
                        <a:pt x="1" y="7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58" name="Freeform 3610"/>
                <p:cNvSpPr>
                  <a:spLocks noChangeAspect="1"/>
                </p:cNvSpPr>
                <p:nvPr/>
              </p:nvSpPr>
              <p:spPr bwMode="auto">
                <a:xfrm>
                  <a:off x="6091080" y="3030566"/>
                  <a:ext cx="5017" cy="20902"/>
                </a:xfrm>
                <a:custGeom>
                  <a:avLst/>
                  <a:gdLst>
                    <a:gd name="T0" fmla="*/ 2 w 5"/>
                    <a:gd name="T1" fmla="*/ 1 h 21"/>
                    <a:gd name="T2" fmla="*/ 0 w 5"/>
                    <a:gd name="T3" fmla="*/ 7 h 21"/>
                    <a:gd name="T4" fmla="*/ 4 w 5"/>
                    <a:gd name="T5" fmla="*/ 24 h 21"/>
                    <a:gd name="T6" fmla="*/ 6 w 5"/>
                    <a:gd name="T7" fmla="*/ 24 h 21"/>
                    <a:gd name="T8" fmla="*/ 5 w 5"/>
                    <a:gd name="T9" fmla="*/ 5 h 21"/>
                    <a:gd name="T10" fmla="*/ 2 w 5"/>
                    <a:gd name="T11" fmla="*/ 1 h 21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5"/>
                    <a:gd name="T19" fmla="*/ 0 h 21"/>
                    <a:gd name="T20" fmla="*/ 5 w 5"/>
                    <a:gd name="T21" fmla="*/ 21 h 21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5" h="21">
                      <a:moveTo>
                        <a:pt x="2" y="1"/>
                      </a:moveTo>
                      <a:cubicBezTo>
                        <a:pt x="0" y="2"/>
                        <a:pt x="0" y="4"/>
                        <a:pt x="0" y="6"/>
                      </a:cubicBezTo>
                      <a:cubicBezTo>
                        <a:pt x="0" y="11"/>
                        <a:pt x="1" y="16"/>
                        <a:pt x="3" y="20"/>
                      </a:cubicBezTo>
                      <a:cubicBezTo>
                        <a:pt x="3" y="21"/>
                        <a:pt x="5" y="20"/>
                        <a:pt x="5" y="20"/>
                      </a:cubicBezTo>
                      <a:cubicBezTo>
                        <a:pt x="5" y="14"/>
                        <a:pt x="5" y="9"/>
                        <a:pt x="4" y="4"/>
                      </a:cubicBezTo>
                      <a:cubicBezTo>
                        <a:pt x="4" y="3"/>
                        <a:pt x="3" y="0"/>
                        <a:pt x="2" y="1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59" name="Freeform 3611"/>
                <p:cNvSpPr>
                  <a:spLocks noChangeAspect="1"/>
                </p:cNvSpPr>
                <p:nvPr/>
              </p:nvSpPr>
              <p:spPr bwMode="auto">
                <a:xfrm>
                  <a:off x="6091916" y="3062337"/>
                  <a:ext cx="19230" cy="11705"/>
                </a:xfrm>
                <a:custGeom>
                  <a:avLst/>
                  <a:gdLst>
                    <a:gd name="T0" fmla="*/ 1 w 19"/>
                    <a:gd name="T1" fmla="*/ 2 h 12"/>
                    <a:gd name="T2" fmla="*/ 1 w 19"/>
                    <a:gd name="T3" fmla="*/ 12 h 12"/>
                    <a:gd name="T4" fmla="*/ 11 w 19"/>
                    <a:gd name="T5" fmla="*/ 12 h 12"/>
                    <a:gd name="T6" fmla="*/ 19 w 19"/>
                    <a:gd name="T7" fmla="*/ 12 h 12"/>
                    <a:gd name="T8" fmla="*/ 23 w 19"/>
                    <a:gd name="T9" fmla="*/ 8 h 12"/>
                    <a:gd name="T10" fmla="*/ 22 w 19"/>
                    <a:gd name="T11" fmla="*/ 6 h 12"/>
                    <a:gd name="T12" fmla="*/ 17 w 19"/>
                    <a:gd name="T13" fmla="*/ 8 h 12"/>
                    <a:gd name="T14" fmla="*/ 12 w 19"/>
                    <a:gd name="T15" fmla="*/ 5 h 12"/>
                    <a:gd name="T16" fmla="*/ 15 w 19"/>
                    <a:gd name="T17" fmla="*/ 2 h 12"/>
                    <a:gd name="T18" fmla="*/ 13 w 19"/>
                    <a:gd name="T19" fmla="*/ 0 h 12"/>
                    <a:gd name="T20" fmla="*/ 10 w 19"/>
                    <a:gd name="T21" fmla="*/ 5 h 12"/>
                    <a:gd name="T22" fmla="*/ 6 w 19"/>
                    <a:gd name="T23" fmla="*/ 1 h 12"/>
                    <a:gd name="T24" fmla="*/ 1 w 19"/>
                    <a:gd name="T25" fmla="*/ 2 h 1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9"/>
                    <a:gd name="T40" fmla="*/ 0 h 12"/>
                    <a:gd name="T41" fmla="*/ 19 w 19"/>
                    <a:gd name="T42" fmla="*/ 12 h 1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9" h="12">
                      <a:moveTo>
                        <a:pt x="1" y="2"/>
                      </a:moveTo>
                      <a:cubicBezTo>
                        <a:pt x="2" y="4"/>
                        <a:pt x="1" y="8"/>
                        <a:pt x="1" y="10"/>
                      </a:cubicBezTo>
                      <a:cubicBezTo>
                        <a:pt x="2" y="12"/>
                        <a:pt x="7" y="10"/>
                        <a:pt x="9" y="10"/>
                      </a:cubicBezTo>
                      <a:cubicBezTo>
                        <a:pt x="11" y="10"/>
                        <a:pt x="14" y="11"/>
                        <a:pt x="16" y="10"/>
                      </a:cubicBezTo>
                      <a:cubicBezTo>
                        <a:pt x="17" y="10"/>
                        <a:pt x="18" y="9"/>
                        <a:pt x="19" y="7"/>
                      </a:cubicBezTo>
                      <a:cubicBezTo>
                        <a:pt x="19" y="7"/>
                        <a:pt x="19" y="5"/>
                        <a:pt x="18" y="5"/>
                      </a:cubicBezTo>
                      <a:cubicBezTo>
                        <a:pt x="17" y="5"/>
                        <a:pt x="16" y="8"/>
                        <a:pt x="14" y="7"/>
                      </a:cubicBezTo>
                      <a:cubicBezTo>
                        <a:pt x="13" y="7"/>
                        <a:pt x="11" y="6"/>
                        <a:pt x="10" y="4"/>
                      </a:cubicBezTo>
                      <a:cubicBezTo>
                        <a:pt x="10" y="3"/>
                        <a:pt x="12" y="3"/>
                        <a:pt x="12" y="2"/>
                      </a:cubicBezTo>
                      <a:cubicBezTo>
                        <a:pt x="12" y="1"/>
                        <a:pt x="12" y="0"/>
                        <a:pt x="11" y="0"/>
                      </a:cubicBezTo>
                      <a:cubicBezTo>
                        <a:pt x="9" y="1"/>
                        <a:pt x="10" y="4"/>
                        <a:pt x="8" y="4"/>
                      </a:cubicBezTo>
                      <a:cubicBezTo>
                        <a:pt x="7" y="4"/>
                        <a:pt x="7" y="1"/>
                        <a:pt x="5" y="1"/>
                      </a:cubicBezTo>
                      <a:cubicBezTo>
                        <a:pt x="4" y="1"/>
                        <a:pt x="0" y="0"/>
                        <a:pt x="1" y="2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60" name="Freeform 3612"/>
                <p:cNvSpPr>
                  <a:spLocks noChangeAspect="1"/>
                </p:cNvSpPr>
                <p:nvPr/>
              </p:nvSpPr>
              <p:spPr bwMode="auto">
                <a:xfrm>
                  <a:off x="6075194" y="3070698"/>
                  <a:ext cx="6689" cy="8361"/>
                </a:xfrm>
                <a:custGeom>
                  <a:avLst/>
                  <a:gdLst>
                    <a:gd name="T0" fmla="*/ 2 w 7"/>
                    <a:gd name="T1" fmla="*/ 1 h 9"/>
                    <a:gd name="T2" fmla="*/ 1 w 7"/>
                    <a:gd name="T3" fmla="*/ 9 h 9"/>
                    <a:gd name="T4" fmla="*/ 6 w 7"/>
                    <a:gd name="T5" fmla="*/ 9 h 9"/>
                    <a:gd name="T6" fmla="*/ 8 w 7"/>
                    <a:gd name="T7" fmla="*/ 7 h 9"/>
                    <a:gd name="T8" fmla="*/ 6 w 7"/>
                    <a:gd name="T9" fmla="*/ 4 h 9"/>
                    <a:gd name="T10" fmla="*/ 7 w 7"/>
                    <a:gd name="T11" fmla="*/ 2 h 9"/>
                    <a:gd name="T12" fmla="*/ 2 w 7"/>
                    <a:gd name="T13" fmla="*/ 1 h 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7"/>
                    <a:gd name="T22" fmla="*/ 0 h 9"/>
                    <a:gd name="T23" fmla="*/ 7 w 7"/>
                    <a:gd name="T24" fmla="*/ 9 h 9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7" h="9">
                      <a:moveTo>
                        <a:pt x="2" y="1"/>
                      </a:moveTo>
                      <a:cubicBezTo>
                        <a:pt x="1" y="3"/>
                        <a:pt x="0" y="6"/>
                        <a:pt x="1" y="8"/>
                      </a:cubicBezTo>
                      <a:cubicBezTo>
                        <a:pt x="2" y="9"/>
                        <a:pt x="4" y="9"/>
                        <a:pt x="5" y="8"/>
                      </a:cubicBezTo>
                      <a:cubicBezTo>
                        <a:pt x="6" y="8"/>
                        <a:pt x="7" y="7"/>
                        <a:pt x="7" y="6"/>
                      </a:cubicBezTo>
                      <a:cubicBezTo>
                        <a:pt x="7" y="5"/>
                        <a:pt x="6" y="5"/>
                        <a:pt x="5" y="4"/>
                      </a:cubicBezTo>
                      <a:cubicBezTo>
                        <a:pt x="5" y="3"/>
                        <a:pt x="6" y="2"/>
                        <a:pt x="6" y="2"/>
                      </a:cubicBezTo>
                      <a:cubicBezTo>
                        <a:pt x="5" y="1"/>
                        <a:pt x="3" y="0"/>
                        <a:pt x="2" y="1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61" name="Freeform 3613"/>
                <p:cNvSpPr>
                  <a:spLocks noChangeAspect="1"/>
                </p:cNvSpPr>
                <p:nvPr/>
              </p:nvSpPr>
              <p:spPr bwMode="auto">
                <a:xfrm>
                  <a:off x="6059309" y="3085748"/>
                  <a:ext cx="19230" cy="10033"/>
                </a:xfrm>
                <a:custGeom>
                  <a:avLst/>
                  <a:gdLst>
                    <a:gd name="T0" fmla="*/ 1 w 19"/>
                    <a:gd name="T1" fmla="*/ 1 h 10"/>
                    <a:gd name="T2" fmla="*/ 1 w 19"/>
                    <a:gd name="T3" fmla="*/ 5 h 10"/>
                    <a:gd name="T4" fmla="*/ 8 w 19"/>
                    <a:gd name="T5" fmla="*/ 7 h 10"/>
                    <a:gd name="T6" fmla="*/ 13 w 19"/>
                    <a:gd name="T7" fmla="*/ 10 h 10"/>
                    <a:gd name="T8" fmla="*/ 22 w 19"/>
                    <a:gd name="T9" fmla="*/ 10 h 10"/>
                    <a:gd name="T10" fmla="*/ 19 w 19"/>
                    <a:gd name="T11" fmla="*/ 5 h 10"/>
                    <a:gd name="T12" fmla="*/ 16 w 19"/>
                    <a:gd name="T13" fmla="*/ 2 h 10"/>
                    <a:gd name="T14" fmla="*/ 1 w 19"/>
                    <a:gd name="T15" fmla="*/ 1 h 10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9"/>
                    <a:gd name="T25" fmla="*/ 0 h 10"/>
                    <a:gd name="T26" fmla="*/ 19 w 19"/>
                    <a:gd name="T27" fmla="*/ 10 h 10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9" h="10">
                      <a:moveTo>
                        <a:pt x="1" y="1"/>
                      </a:moveTo>
                      <a:cubicBezTo>
                        <a:pt x="0" y="1"/>
                        <a:pt x="0" y="3"/>
                        <a:pt x="1" y="4"/>
                      </a:cubicBezTo>
                      <a:cubicBezTo>
                        <a:pt x="2" y="6"/>
                        <a:pt x="5" y="6"/>
                        <a:pt x="7" y="6"/>
                      </a:cubicBezTo>
                      <a:cubicBezTo>
                        <a:pt x="8" y="7"/>
                        <a:pt x="9" y="8"/>
                        <a:pt x="11" y="8"/>
                      </a:cubicBezTo>
                      <a:cubicBezTo>
                        <a:pt x="13" y="9"/>
                        <a:pt x="16" y="10"/>
                        <a:pt x="18" y="8"/>
                      </a:cubicBezTo>
                      <a:cubicBezTo>
                        <a:pt x="19" y="7"/>
                        <a:pt x="17" y="6"/>
                        <a:pt x="16" y="4"/>
                      </a:cubicBezTo>
                      <a:cubicBezTo>
                        <a:pt x="15" y="3"/>
                        <a:pt x="14" y="2"/>
                        <a:pt x="13" y="2"/>
                      </a:cubicBezTo>
                      <a:cubicBezTo>
                        <a:pt x="9" y="1"/>
                        <a:pt x="5" y="0"/>
                        <a:pt x="1" y="1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62" name="Freeform 3614"/>
                <p:cNvSpPr>
                  <a:spLocks noChangeAspect="1"/>
                </p:cNvSpPr>
                <p:nvPr/>
              </p:nvSpPr>
              <p:spPr bwMode="auto">
                <a:xfrm>
                  <a:off x="6025029" y="3120863"/>
                  <a:ext cx="33443" cy="15886"/>
                </a:xfrm>
                <a:custGeom>
                  <a:avLst/>
                  <a:gdLst>
                    <a:gd name="T0" fmla="*/ 1 w 33"/>
                    <a:gd name="T1" fmla="*/ 1 h 16"/>
                    <a:gd name="T2" fmla="*/ 1 w 33"/>
                    <a:gd name="T3" fmla="*/ 5 h 16"/>
                    <a:gd name="T4" fmla="*/ 11 w 33"/>
                    <a:gd name="T5" fmla="*/ 11 h 16"/>
                    <a:gd name="T6" fmla="*/ 19 w 33"/>
                    <a:gd name="T7" fmla="*/ 12 h 16"/>
                    <a:gd name="T8" fmla="*/ 36 w 33"/>
                    <a:gd name="T9" fmla="*/ 19 h 16"/>
                    <a:gd name="T10" fmla="*/ 36 w 33"/>
                    <a:gd name="T11" fmla="*/ 17 h 16"/>
                    <a:gd name="T12" fmla="*/ 25 w 33"/>
                    <a:gd name="T13" fmla="*/ 11 h 16"/>
                    <a:gd name="T14" fmla="*/ 28 w 33"/>
                    <a:gd name="T15" fmla="*/ 10 h 16"/>
                    <a:gd name="T16" fmla="*/ 39 w 33"/>
                    <a:gd name="T17" fmla="*/ 13 h 16"/>
                    <a:gd name="T18" fmla="*/ 38 w 33"/>
                    <a:gd name="T19" fmla="*/ 10 h 16"/>
                    <a:gd name="T20" fmla="*/ 22 w 33"/>
                    <a:gd name="T21" fmla="*/ 4 h 16"/>
                    <a:gd name="T22" fmla="*/ 11 w 33"/>
                    <a:gd name="T23" fmla="*/ 1 h 16"/>
                    <a:gd name="T24" fmla="*/ 1 w 33"/>
                    <a:gd name="T25" fmla="*/ 1 h 1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33"/>
                    <a:gd name="T40" fmla="*/ 0 h 16"/>
                    <a:gd name="T41" fmla="*/ 33 w 33"/>
                    <a:gd name="T42" fmla="*/ 16 h 1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33" h="16">
                      <a:moveTo>
                        <a:pt x="1" y="1"/>
                      </a:moveTo>
                      <a:cubicBezTo>
                        <a:pt x="0" y="1"/>
                        <a:pt x="0" y="3"/>
                        <a:pt x="1" y="4"/>
                      </a:cubicBezTo>
                      <a:cubicBezTo>
                        <a:pt x="3" y="6"/>
                        <a:pt x="6" y="8"/>
                        <a:pt x="9" y="9"/>
                      </a:cubicBezTo>
                      <a:cubicBezTo>
                        <a:pt x="11" y="10"/>
                        <a:pt x="14" y="9"/>
                        <a:pt x="16" y="10"/>
                      </a:cubicBezTo>
                      <a:cubicBezTo>
                        <a:pt x="21" y="12"/>
                        <a:pt x="25" y="15"/>
                        <a:pt x="30" y="16"/>
                      </a:cubicBezTo>
                      <a:cubicBezTo>
                        <a:pt x="30" y="16"/>
                        <a:pt x="30" y="14"/>
                        <a:pt x="30" y="14"/>
                      </a:cubicBezTo>
                      <a:cubicBezTo>
                        <a:pt x="27" y="12"/>
                        <a:pt x="23" y="11"/>
                        <a:pt x="21" y="9"/>
                      </a:cubicBezTo>
                      <a:cubicBezTo>
                        <a:pt x="20" y="8"/>
                        <a:pt x="22" y="8"/>
                        <a:pt x="23" y="8"/>
                      </a:cubicBezTo>
                      <a:cubicBezTo>
                        <a:pt x="26" y="9"/>
                        <a:pt x="29" y="11"/>
                        <a:pt x="32" y="11"/>
                      </a:cubicBezTo>
                      <a:cubicBezTo>
                        <a:pt x="33" y="11"/>
                        <a:pt x="32" y="9"/>
                        <a:pt x="31" y="8"/>
                      </a:cubicBezTo>
                      <a:cubicBezTo>
                        <a:pt x="27" y="6"/>
                        <a:pt x="22" y="4"/>
                        <a:pt x="18" y="3"/>
                      </a:cubicBezTo>
                      <a:cubicBezTo>
                        <a:pt x="15" y="2"/>
                        <a:pt x="12" y="1"/>
                        <a:pt x="9" y="1"/>
                      </a:cubicBezTo>
                      <a:cubicBezTo>
                        <a:pt x="6" y="1"/>
                        <a:pt x="4" y="0"/>
                        <a:pt x="1" y="1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63" name="Freeform 3615"/>
                <p:cNvSpPr>
                  <a:spLocks noChangeAspect="1"/>
                </p:cNvSpPr>
                <p:nvPr/>
              </p:nvSpPr>
              <p:spPr bwMode="auto">
                <a:xfrm>
                  <a:off x="6014996" y="3109994"/>
                  <a:ext cx="31771" cy="5853"/>
                </a:xfrm>
                <a:custGeom>
                  <a:avLst/>
                  <a:gdLst>
                    <a:gd name="T0" fmla="*/ 5 w 32"/>
                    <a:gd name="T1" fmla="*/ 1 h 6"/>
                    <a:gd name="T2" fmla="*/ 1 w 32"/>
                    <a:gd name="T3" fmla="*/ 5 h 6"/>
                    <a:gd name="T4" fmla="*/ 14 w 32"/>
                    <a:gd name="T5" fmla="*/ 7 h 6"/>
                    <a:gd name="T6" fmla="*/ 31 w 32"/>
                    <a:gd name="T7" fmla="*/ 7 h 6"/>
                    <a:gd name="T8" fmla="*/ 37 w 32"/>
                    <a:gd name="T9" fmla="*/ 6 h 6"/>
                    <a:gd name="T10" fmla="*/ 30 w 32"/>
                    <a:gd name="T11" fmla="*/ 5 h 6"/>
                    <a:gd name="T12" fmla="*/ 14 w 32"/>
                    <a:gd name="T13" fmla="*/ 4 h 6"/>
                    <a:gd name="T14" fmla="*/ 13 w 32"/>
                    <a:gd name="T15" fmla="*/ 2 h 6"/>
                    <a:gd name="T16" fmla="*/ 28 w 32"/>
                    <a:gd name="T17" fmla="*/ 4 h 6"/>
                    <a:gd name="T18" fmla="*/ 28 w 32"/>
                    <a:gd name="T19" fmla="*/ 1 h 6"/>
                    <a:gd name="T20" fmla="*/ 14 w 32"/>
                    <a:gd name="T21" fmla="*/ 0 h 6"/>
                    <a:gd name="T22" fmla="*/ 5 w 32"/>
                    <a:gd name="T23" fmla="*/ 1 h 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32"/>
                    <a:gd name="T37" fmla="*/ 0 h 6"/>
                    <a:gd name="T38" fmla="*/ 32 w 32"/>
                    <a:gd name="T39" fmla="*/ 6 h 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32" h="6">
                      <a:moveTo>
                        <a:pt x="4" y="1"/>
                      </a:moveTo>
                      <a:cubicBezTo>
                        <a:pt x="3" y="2"/>
                        <a:pt x="0" y="4"/>
                        <a:pt x="1" y="4"/>
                      </a:cubicBezTo>
                      <a:cubicBezTo>
                        <a:pt x="5" y="6"/>
                        <a:pt x="9" y="6"/>
                        <a:pt x="12" y="6"/>
                      </a:cubicBezTo>
                      <a:cubicBezTo>
                        <a:pt x="17" y="6"/>
                        <a:pt x="21" y="6"/>
                        <a:pt x="26" y="6"/>
                      </a:cubicBezTo>
                      <a:cubicBezTo>
                        <a:pt x="28" y="6"/>
                        <a:pt x="32" y="6"/>
                        <a:pt x="31" y="5"/>
                      </a:cubicBezTo>
                      <a:cubicBezTo>
                        <a:pt x="29" y="4"/>
                        <a:pt x="27" y="4"/>
                        <a:pt x="25" y="4"/>
                      </a:cubicBezTo>
                      <a:cubicBezTo>
                        <a:pt x="21" y="4"/>
                        <a:pt x="16" y="4"/>
                        <a:pt x="12" y="3"/>
                      </a:cubicBezTo>
                      <a:cubicBezTo>
                        <a:pt x="11" y="3"/>
                        <a:pt x="10" y="2"/>
                        <a:pt x="11" y="2"/>
                      </a:cubicBezTo>
                      <a:cubicBezTo>
                        <a:pt x="15" y="1"/>
                        <a:pt x="20" y="3"/>
                        <a:pt x="24" y="3"/>
                      </a:cubicBezTo>
                      <a:cubicBezTo>
                        <a:pt x="25" y="3"/>
                        <a:pt x="25" y="1"/>
                        <a:pt x="24" y="1"/>
                      </a:cubicBezTo>
                      <a:cubicBezTo>
                        <a:pt x="20" y="0"/>
                        <a:pt x="16" y="0"/>
                        <a:pt x="12" y="0"/>
                      </a:cubicBezTo>
                      <a:cubicBezTo>
                        <a:pt x="9" y="0"/>
                        <a:pt x="6" y="0"/>
                        <a:pt x="4" y="1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64" name="Freeform 3616"/>
                <p:cNvSpPr>
                  <a:spLocks noChangeAspect="1"/>
                </p:cNvSpPr>
                <p:nvPr/>
              </p:nvSpPr>
              <p:spPr bwMode="auto">
                <a:xfrm>
                  <a:off x="6025865" y="3116682"/>
                  <a:ext cx="30935" cy="8361"/>
                </a:xfrm>
                <a:custGeom>
                  <a:avLst/>
                  <a:gdLst>
                    <a:gd name="T0" fmla="*/ 1 w 31"/>
                    <a:gd name="T1" fmla="*/ 1 h 8"/>
                    <a:gd name="T2" fmla="*/ 2 w 31"/>
                    <a:gd name="T3" fmla="*/ 4 h 8"/>
                    <a:gd name="T4" fmla="*/ 19 w 31"/>
                    <a:gd name="T5" fmla="*/ 4 h 8"/>
                    <a:gd name="T6" fmla="*/ 27 w 31"/>
                    <a:gd name="T7" fmla="*/ 9 h 8"/>
                    <a:gd name="T8" fmla="*/ 36 w 31"/>
                    <a:gd name="T9" fmla="*/ 9 h 8"/>
                    <a:gd name="T10" fmla="*/ 33 w 31"/>
                    <a:gd name="T11" fmla="*/ 6 h 8"/>
                    <a:gd name="T12" fmla="*/ 35 w 31"/>
                    <a:gd name="T13" fmla="*/ 3 h 8"/>
                    <a:gd name="T14" fmla="*/ 30 w 31"/>
                    <a:gd name="T15" fmla="*/ 0 h 8"/>
                    <a:gd name="T16" fmla="*/ 18 w 31"/>
                    <a:gd name="T17" fmla="*/ 1 h 8"/>
                    <a:gd name="T18" fmla="*/ 1 w 31"/>
                    <a:gd name="T19" fmla="*/ 1 h 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31"/>
                    <a:gd name="T31" fmla="*/ 0 h 8"/>
                    <a:gd name="T32" fmla="*/ 31 w 31"/>
                    <a:gd name="T33" fmla="*/ 8 h 8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31" h="8">
                      <a:moveTo>
                        <a:pt x="1" y="1"/>
                      </a:moveTo>
                      <a:cubicBezTo>
                        <a:pt x="0" y="1"/>
                        <a:pt x="2" y="3"/>
                        <a:pt x="2" y="3"/>
                      </a:cubicBezTo>
                      <a:cubicBezTo>
                        <a:pt x="7" y="4"/>
                        <a:pt x="12" y="2"/>
                        <a:pt x="16" y="3"/>
                      </a:cubicBezTo>
                      <a:cubicBezTo>
                        <a:pt x="19" y="4"/>
                        <a:pt x="21" y="6"/>
                        <a:pt x="23" y="7"/>
                      </a:cubicBezTo>
                      <a:cubicBezTo>
                        <a:pt x="25" y="7"/>
                        <a:pt x="28" y="8"/>
                        <a:pt x="30" y="7"/>
                      </a:cubicBezTo>
                      <a:cubicBezTo>
                        <a:pt x="31" y="7"/>
                        <a:pt x="28" y="6"/>
                        <a:pt x="28" y="5"/>
                      </a:cubicBezTo>
                      <a:cubicBezTo>
                        <a:pt x="27" y="4"/>
                        <a:pt x="30" y="3"/>
                        <a:pt x="29" y="2"/>
                      </a:cubicBezTo>
                      <a:cubicBezTo>
                        <a:pt x="28" y="1"/>
                        <a:pt x="27" y="0"/>
                        <a:pt x="25" y="0"/>
                      </a:cubicBezTo>
                      <a:cubicBezTo>
                        <a:pt x="22" y="0"/>
                        <a:pt x="19" y="1"/>
                        <a:pt x="15" y="1"/>
                      </a:cubicBezTo>
                      <a:cubicBezTo>
                        <a:pt x="10" y="1"/>
                        <a:pt x="6" y="0"/>
                        <a:pt x="1" y="1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65" name="Freeform 3617"/>
                <p:cNvSpPr>
                  <a:spLocks noChangeAspect="1"/>
                </p:cNvSpPr>
                <p:nvPr/>
              </p:nvSpPr>
              <p:spPr bwMode="auto">
                <a:xfrm>
                  <a:off x="5984897" y="3160995"/>
                  <a:ext cx="33443" cy="12542"/>
                </a:xfrm>
                <a:custGeom>
                  <a:avLst/>
                  <a:gdLst>
                    <a:gd name="T0" fmla="*/ 6 w 33"/>
                    <a:gd name="T1" fmla="*/ 10 h 13"/>
                    <a:gd name="T2" fmla="*/ 13 w 33"/>
                    <a:gd name="T3" fmla="*/ 5 h 13"/>
                    <a:gd name="T4" fmla="*/ 22 w 33"/>
                    <a:gd name="T5" fmla="*/ 3 h 13"/>
                    <a:gd name="T6" fmla="*/ 29 w 33"/>
                    <a:gd name="T7" fmla="*/ 0 h 13"/>
                    <a:gd name="T8" fmla="*/ 36 w 33"/>
                    <a:gd name="T9" fmla="*/ 2 h 13"/>
                    <a:gd name="T10" fmla="*/ 34 w 33"/>
                    <a:gd name="T11" fmla="*/ 6 h 13"/>
                    <a:gd name="T12" fmla="*/ 39 w 33"/>
                    <a:gd name="T13" fmla="*/ 10 h 13"/>
                    <a:gd name="T14" fmla="*/ 25 w 33"/>
                    <a:gd name="T15" fmla="*/ 13 h 13"/>
                    <a:gd name="T16" fmla="*/ 22 w 33"/>
                    <a:gd name="T17" fmla="*/ 12 h 13"/>
                    <a:gd name="T18" fmla="*/ 15 w 33"/>
                    <a:gd name="T19" fmla="*/ 14 h 13"/>
                    <a:gd name="T20" fmla="*/ 8 w 33"/>
                    <a:gd name="T21" fmla="*/ 15 h 13"/>
                    <a:gd name="T22" fmla="*/ 1 w 33"/>
                    <a:gd name="T23" fmla="*/ 14 h 13"/>
                    <a:gd name="T24" fmla="*/ 2 w 33"/>
                    <a:gd name="T25" fmla="*/ 12 h 13"/>
                    <a:gd name="T26" fmla="*/ 6 w 33"/>
                    <a:gd name="T27" fmla="*/ 10 h 13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33"/>
                    <a:gd name="T43" fmla="*/ 0 h 13"/>
                    <a:gd name="T44" fmla="*/ 33 w 33"/>
                    <a:gd name="T45" fmla="*/ 13 h 13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33" h="13">
                      <a:moveTo>
                        <a:pt x="5" y="9"/>
                      </a:moveTo>
                      <a:cubicBezTo>
                        <a:pt x="7" y="8"/>
                        <a:pt x="8" y="5"/>
                        <a:pt x="11" y="4"/>
                      </a:cubicBezTo>
                      <a:cubicBezTo>
                        <a:pt x="13" y="3"/>
                        <a:pt x="16" y="4"/>
                        <a:pt x="18" y="3"/>
                      </a:cubicBezTo>
                      <a:cubicBezTo>
                        <a:pt x="20" y="3"/>
                        <a:pt x="22" y="0"/>
                        <a:pt x="24" y="0"/>
                      </a:cubicBezTo>
                      <a:cubicBezTo>
                        <a:pt x="26" y="0"/>
                        <a:pt x="29" y="1"/>
                        <a:pt x="30" y="2"/>
                      </a:cubicBezTo>
                      <a:cubicBezTo>
                        <a:pt x="31" y="3"/>
                        <a:pt x="28" y="4"/>
                        <a:pt x="28" y="5"/>
                      </a:cubicBezTo>
                      <a:cubicBezTo>
                        <a:pt x="29" y="7"/>
                        <a:pt x="33" y="8"/>
                        <a:pt x="32" y="9"/>
                      </a:cubicBezTo>
                      <a:cubicBezTo>
                        <a:pt x="29" y="11"/>
                        <a:pt x="25" y="10"/>
                        <a:pt x="21" y="11"/>
                      </a:cubicBezTo>
                      <a:cubicBezTo>
                        <a:pt x="20" y="11"/>
                        <a:pt x="19" y="10"/>
                        <a:pt x="18" y="10"/>
                      </a:cubicBezTo>
                      <a:cubicBezTo>
                        <a:pt x="16" y="10"/>
                        <a:pt x="14" y="11"/>
                        <a:pt x="12" y="12"/>
                      </a:cubicBezTo>
                      <a:cubicBezTo>
                        <a:pt x="10" y="12"/>
                        <a:pt x="9" y="12"/>
                        <a:pt x="7" y="13"/>
                      </a:cubicBezTo>
                      <a:cubicBezTo>
                        <a:pt x="5" y="13"/>
                        <a:pt x="3" y="13"/>
                        <a:pt x="1" y="12"/>
                      </a:cubicBezTo>
                      <a:cubicBezTo>
                        <a:pt x="0" y="12"/>
                        <a:pt x="1" y="10"/>
                        <a:pt x="2" y="10"/>
                      </a:cubicBezTo>
                      <a:cubicBezTo>
                        <a:pt x="3" y="9"/>
                        <a:pt x="4" y="10"/>
                        <a:pt x="5" y="9"/>
                      </a:cubicBezTo>
                      <a:close/>
                    </a:path>
                  </a:pathLst>
                </a:custGeom>
                <a:grpFill/>
                <a:ln w="3175" cap="rnd">
                  <a:solidFill>
                    <a:schemeClr val="bg1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it-IT">
                    <a:solidFill>
                      <a:srgbClr val="133B9C"/>
                    </a:solidFill>
                    <a:latin typeface="Arial" charset="0"/>
                    <a:cs typeface="Arial" charset="0"/>
                  </a:endParaRPr>
                </a:p>
              </p:txBody>
            </p:sp>
          </p:grpSp>
          <p:sp>
            <p:nvSpPr>
              <p:cNvPr id="1315" name="Freeform 3642"/>
              <p:cNvSpPr>
                <a:spLocks noChangeAspect="1"/>
              </p:cNvSpPr>
              <p:nvPr/>
            </p:nvSpPr>
            <p:spPr bwMode="auto">
              <a:xfrm>
                <a:off x="1571942" y="2602262"/>
                <a:ext cx="12303" cy="8307"/>
              </a:xfrm>
              <a:custGeom>
                <a:avLst/>
                <a:gdLst>
                  <a:gd name="T0" fmla="*/ 1 w 9"/>
                  <a:gd name="T1" fmla="*/ 1 h 8"/>
                  <a:gd name="T2" fmla="*/ 1 w 9"/>
                  <a:gd name="T3" fmla="*/ 7 h 8"/>
                  <a:gd name="T4" fmla="*/ 7 w 9"/>
                  <a:gd name="T5" fmla="*/ 9 h 8"/>
                  <a:gd name="T6" fmla="*/ 9 w 9"/>
                  <a:gd name="T7" fmla="*/ 3 h 8"/>
                  <a:gd name="T8" fmla="*/ 1 w 9"/>
                  <a:gd name="T9" fmla="*/ 1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8"/>
                  <a:gd name="T17" fmla="*/ 9 w 9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8">
                    <a:moveTo>
                      <a:pt x="1" y="1"/>
                    </a:moveTo>
                    <a:cubicBezTo>
                      <a:pt x="0" y="2"/>
                      <a:pt x="0" y="5"/>
                      <a:pt x="1" y="6"/>
                    </a:cubicBezTo>
                    <a:cubicBezTo>
                      <a:pt x="2" y="7"/>
                      <a:pt x="5" y="8"/>
                      <a:pt x="6" y="7"/>
                    </a:cubicBezTo>
                    <a:cubicBezTo>
                      <a:pt x="8" y="6"/>
                      <a:pt x="9" y="3"/>
                      <a:pt x="7" y="2"/>
                    </a:cubicBezTo>
                    <a:cubicBezTo>
                      <a:pt x="6" y="0"/>
                      <a:pt x="3" y="0"/>
                      <a:pt x="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16" name="Freeform 3643"/>
              <p:cNvSpPr>
                <a:spLocks noChangeAspect="1"/>
              </p:cNvSpPr>
              <p:nvPr/>
            </p:nvSpPr>
            <p:spPr bwMode="auto">
              <a:xfrm>
                <a:off x="1596549" y="2610569"/>
                <a:ext cx="13422" cy="6646"/>
              </a:xfrm>
              <a:custGeom>
                <a:avLst/>
                <a:gdLst>
                  <a:gd name="T0" fmla="*/ 1 w 10"/>
                  <a:gd name="T1" fmla="*/ 2 h 7"/>
                  <a:gd name="T2" fmla="*/ 7 w 10"/>
                  <a:gd name="T3" fmla="*/ 0 h 7"/>
                  <a:gd name="T4" fmla="*/ 12 w 10"/>
                  <a:gd name="T5" fmla="*/ 7 h 7"/>
                  <a:gd name="T6" fmla="*/ 6 w 10"/>
                  <a:gd name="T7" fmla="*/ 7 h 7"/>
                  <a:gd name="T8" fmla="*/ 1 w 10"/>
                  <a:gd name="T9" fmla="*/ 2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"/>
                  <a:gd name="T16" fmla="*/ 0 h 7"/>
                  <a:gd name="T17" fmla="*/ 10 w 10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" h="7">
                    <a:moveTo>
                      <a:pt x="1" y="2"/>
                    </a:moveTo>
                    <a:cubicBezTo>
                      <a:pt x="1" y="0"/>
                      <a:pt x="4" y="0"/>
                      <a:pt x="6" y="0"/>
                    </a:cubicBezTo>
                    <a:cubicBezTo>
                      <a:pt x="8" y="1"/>
                      <a:pt x="10" y="4"/>
                      <a:pt x="10" y="6"/>
                    </a:cubicBezTo>
                    <a:cubicBezTo>
                      <a:pt x="10" y="7"/>
                      <a:pt x="7" y="6"/>
                      <a:pt x="5" y="6"/>
                    </a:cubicBezTo>
                    <a:cubicBezTo>
                      <a:pt x="3" y="5"/>
                      <a:pt x="0" y="4"/>
                      <a:pt x="1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17" name="Freeform 3644"/>
              <p:cNvSpPr>
                <a:spLocks noChangeAspect="1"/>
              </p:cNvSpPr>
              <p:nvPr/>
            </p:nvSpPr>
            <p:spPr bwMode="auto">
              <a:xfrm>
                <a:off x="1621156" y="2621367"/>
                <a:ext cx="12303" cy="6646"/>
              </a:xfrm>
              <a:custGeom>
                <a:avLst/>
                <a:gdLst>
                  <a:gd name="T0" fmla="*/ 1 w 9"/>
                  <a:gd name="T1" fmla="*/ 1 h 7"/>
                  <a:gd name="T2" fmla="*/ 7 w 9"/>
                  <a:gd name="T3" fmla="*/ 2 h 7"/>
                  <a:gd name="T4" fmla="*/ 11 w 9"/>
                  <a:gd name="T5" fmla="*/ 7 h 7"/>
                  <a:gd name="T6" fmla="*/ 4 w 9"/>
                  <a:gd name="T7" fmla="*/ 8 h 7"/>
                  <a:gd name="T8" fmla="*/ 1 w 9"/>
                  <a:gd name="T9" fmla="*/ 5 h 7"/>
                  <a:gd name="T10" fmla="*/ 1 w 9"/>
                  <a:gd name="T11" fmla="*/ 1 h 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9"/>
                  <a:gd name="T19" fmla="*/ 0 h 7"/>
                  <a:gd name="T20" fmla="*/ 9 w 9"/>
                  <a:gd name="T21" fmla="*/ 7 h 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9" h="7">
                    <a:moveTo>
                      <a:pt x="1" y="1"/>
                    </a:moveTo>
                    <a:cubicBezTo>
                      <a:pt x="3" y="0"/>
                      <a:pt x="4" y="1"/>
                      <a:pt x="6" y="2"/>
                    </a:cubicBezTo>
                    <a:cubicBezTo>
                      <a:pt x="7" y="3"/>
                      <a:pt x="9" y="4"/>
                      <a:pt x="9" y="6"/>
                    </a:cubicBezTo>
                    <a:cubicBezTo>
                      <a:pt x="8" y="7"/>
                      <a:pt x="5" y="7"/>
                      <a:pt x="3" y="7"/>
                    </a:cubicBezTo>
                    <a:cubicBezTo>
                      <a:pt x="2" y="6"/>
                      <a:pt x="2" y="5"/>
                      <a:pt x="1" y="4"/>
                    </a:cubicBezTo>
                    <a:cubicBezTo>
                      <a:pt x="1" y="3"/>
                      <a:pt x="0" y="1"/>
                      <a:pt x="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18" name="Freeform 3645"/>
              <p:cNvSpPr>
                <a:spLocks noChangeAspect="1"/>
              </p:cNvSpPr>
              <p:nvPr/>
            </p:nvSpPr>
            <p:spPr bwMode="auto">
              <a:xfrm>
                <a:off x="1627867" y="2633827"/>
                <a:ext cx="23489" cy="19105"/>
              </a:xfrm>
              <a:custGeom>
                <a:avLst/>
                <a:gdLst>
                  <a:gd name="T0" fmla="*/ 5 w 17"/>
                  <a:gd name="T1" fmla="*/ 0 h 19"/>
                  <a:gd name="T2" fmla="*/ 6 w 17"/>
                  <a:gd name="T3" fmla="*/ 4 h 19"/>
                  <a:gd name="T4" fmla="*/ 0 w 17"/>
                  <a:gd name="T5" fmla="*/ 10 h 19"/>
                  <a:gd name="T6" fmla="*/ 4 w 17"/>
                  <a:gd name="T7" fmla="*/ 16 h 19"/>
                  <a:gd name="T8" fmla="*/ 4 w 17"/>
                  <a:gd name="T9" fmla="*/ 23 h 19"/>
                  <a:gd name="T10" fmla="*/ 14 w 17"/>
                  <a:gd name="T11" fmla="*/ 17 h 19"/>
                  <a:gd name="T12" fmla="*/ 20 w 17"/>
                  <a:gd name="T13" fmla="*/ 12 h 19"/>
                  <a:gd name="T14" fmla="*/ 17 w 17"/>
                  <a:gd name="T15" fmla="*/ 8 h 19"/>
                  <a:gd name="T16" fmla="*/ 16 w 17"/>
                  <a:gd name="T17" fmla="*/ 5 h 19"/>
                  <a:gd name="T18" fmla="*/ 5 w 17"/>
                  <a:gd name="T19" fmla="*/ 0 h 1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7"/>
                  <a:gd name="T31" fmla="*/ 0 h 19"/>
                  <a:gd name="T32" fmla="*/ 17 w 17"/>
                  <a:gd name="T33" fmla="*/ 19 h 19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7" h="19">
                    <a:moveTo>
                      <a:pt x="4" y="0"/>
                    </a:moveTo>
                    <a:cubicBezTo>
                      <a:pt x="3" y="0"/>
                      <a:pt x="5" y="2"/>
                      <a:pt x="5" y="3"/>
                    </a:cubicBezTo>
                    <a:cubicBezTo>
                      <a:pt x="4" y="5"/>
                      <a:pt x="1" y="6"/>
                      <a:pt x="0" y="8"/>
                    </a:cubicBezTo>
                    <a:cubicBezTo>
                      <a:pt x="0" y="10"/>
                      <a:pt x="2" y="11"/>
                      <a:pt x="3" y="13"/>
                    </a:cubicBezTo>
                    <a:cubicBezTo>
                      <a:pt x="3" y="15"/>
                      <a:pt x="2" y="19"/>
                      <a:pt x="3" y="19"/>
                    </a:cubicBezTo>
                    <a:cubicBezTo>
                      <a:pt x="6" y="19"/>
                      <a:pt x="8" y="16"/>
                      <a:pt x="11" y="14"/>
                    </a:cubicBezTo>
                    <a:cubicBezTo>
                      <a:pt x="13" y="13"/>
                      <a:pt x="15" y="12"/>
                      <a:pt x="16" y="10"/>
                    </a:cubicBezTo>
                    <a:cubicBezTo>
                      <a:pt x="17" y="9"/>
                      <a:pt x="15" y="8"/>
                      <a:pt x="14" y="7"/>
                    </a:cubicBezTo>
                    <a:cubicBezTo>
                      <a:pt x="14" y="6"/>
                      <a:pt x="14" y="4"/>
                      <a:pt x="13" y="4"/>
                    </a:cubicBezTo>
                    <a:cubicBezTo>
                      <a:pt x="10" y="2"/>
                      <a:pt x="8" y="0"/>
                      <a:pt x="4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19" name="Freeform 3646"/>
              <p:cNvSpPr>
                <a:spLocks noChangeAspect="1"/>
              </p:cNvSpPr>
              <p:nvPr/>
            </p:nvSpPr>
            <p:spPr bwMode="auto">
              <a:xfrm>
                <a:off x="3295536" y="3717846"/>
                <a:ext cx="26844" cy="15783"/>
              </a:xfrm>
              <a:custGeom>
                <a:avLst/>
                <a:gdLst>
                  <a:gd name="T0" fmla="*/ 7 w 20"/>
                  <a:gd name="T1" fmla="*/ 18 h 16"/>
                  <a:gd name="T2" fmla="*/ 23 w 20"/>
                  <a:gd name="T3" fmla="*/ 2 h 16"/>
                  <a:gd name="T4" fmla="*/ 20 w 20"/>
                  <a:gd name="T5" fmla="*/ 0 h 16"/>
                  <a:gd name="T6" fmla="*/ 13 w 20"/>
                  <a:gd name="T7" fmla="*/ 2 h 16"/>
                  <a:gd name="T8" fmla="*/ 7 w 20"/>
                  <a:gd name="T9" fmla="*/ 1 h 16"/>
                  <a:gd name="T10" fmla="*/ 7 w 20"/>
                  <a:gd name="T11" fmla="*/ 4 h 16"/>
                  <a:gd name="T12" fmla="*/ 5 w 20"/>
                  <a:gd name="T13" fmla="*/ 6 h 16"/>
                  <a:gd name="T14" fmla="*/ 11 w 20"/>
                  <a:gd name="T15" fmla="*/ 7 h 16"/>
                  <a:gd name="T16" fmla="*/ 6 w 20"/>
                  <a:gd name="T17" fmla="*/ 12 h 16"/>
                  <a:gd name="T18" fmla="*/ 0 w 20"/>
                  <a:gd name="T19" fmla="*/ 15 h 16"/>
                  <a:gd name="T20" fmla="*/ 7 w 20"/>
                  <a:gd name="T21" fmla="*/ 18 h 1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0"/>
                  <a:gd name="T34" fmla="*/ 0 h 16"/>
                  <a:gd name="T35" fmla="*/ 20 w 20"/>
                  <a:gd name="T36" fmla="*/ 16 h 1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0" h="16">
                    <a:moveTo>
                      <a:pt x="6" y="15"/>
                    </a:moveTo>
                    <a:cubicBezTo>
                      <a:pt x="11" y="12"/>
                      <a:pt x="15" y="7"/>
                      <a:pt x="19" y="2"/>
                    </a:cubicBezTo>
                    <a:cubicBezTo>
                      <a:pt x="20" y="1"/>
                      <a:pt x="18" y="0"/>
                      <a:pt x="17" y="0"/>
                    </a:cubicBezTo>
                    <a:cubicBezTo>
                      <a:pt x="15" y="0"/>
                      <a:pt x="13" y="2"/>
                      <a:pt x="11" y="2"/>
                    </a:cubicBezTo>
                    <a:cubicBezTo>
                      <a:pt x="9" y="2"/>
                      <a:pt x="8" y="1"/>
                      <a:pt x="6" y="1"/>
                    </a:cubicBezTo>
                    <a:cubicBezTo>
                      <a:pt x="6" y="1"/>
                      <a:pt x="7" y="3"/>
                      <a:pt x="6" y="3"/>
                    </a:cubicBezTo>
                    <a:cubicBezTo>
                      <a:pt x="6" y="4"/>
                      <a:pt x="4" y="4"/>
                      <a:pt x="4" y="5"/>
                    </a:cubicBezTo>
                    <a:cubicBezTo>
                      <a:pt x="6" y="6"/>
                      <a:pt x="9" y="4"/>
                      <a:pt x="9" y="6"/>
                    </a:cubicBezTo>
                    <a:cubicBezTo>
                      <a:pt x="10" y="8"/>
                      <a:pt x="6" y="9"/>
                      <a:pt x="5" y="10"/>
                    </a:cubicBezTo>
                    <a:cubicBezTo>
                      <a:pt x="3" y="11"/>
                      <a:pt x="0" y="11"/>
                      <a:pt x="0" y="13"/>
                    </a:cubicBezTo>
                    <a:cubicBezTo>
                      <a:pt x="1" y="15"/>
                      <a:pt x="4" y="16"/>
                      <a:pt x="6" y="15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20" name="Freeform 3647"/>
              <p:cNvSpPr>
                <a:spLocks noChangeAspect="1"/>
              </p:cNvSpPr>
              <p:nvPr/>
            </p:nvSpPr>
            <p:spPr bwMode="auto">
              <a:xfrm>
                <a:off x="3316788" y="3717846"/>
                <a:ext cx="31317" cy="17444"/>
              </a:xfrm>
              <a:custGeom>
                <a:avLst/>
                <a:gdLst>
                  <a:gd name="T0" fmla="*/ 1 w 23"/>
                  <a:gd name="T1" fmla="*/ 11 h 17"/>
                  <a:gd name="T2" fmla="*/ 22 w 23"/>
                  <a:gd name="T3" fmla="*/ 1 h 17"/>
                  <a:gd name="T4" fmla="*/ 28 w 23"/>
                  <a:gd name="T5" fmla="*/ 5 h 17"/>
                  <a:gd name="T6" fmla="*/ 23 w 23"/>
                  <a:gd name="T7" fmla="*/ 9 h 17"/>
                  <a:gd name="T8" fmla="*/ 18 w 23"/>
                  <a:gd name="T9" fmla="*/ 10 h 17"/>
                  <a:gd name="T10" fmla="*/ 12 w 23"/>
                  <a:gd name="T11" fmla="*/ 14 h 17"/>
                  <a:gd name="T12" fmla="*/ 7 w 23"/>
                  <a:gd name="T13" fmla="*/ 15 h 17"/>
                  <a:gd name="T14" fmla="*/ 7 w 23"/>
                  <a:gd name="T15" fmla="*/ 19 h 17"/>
                  <a:gd name="T16" fmla="*/ 1 w 23"/>
                  <a:gd name="T17" fmla="*/ 20 h 17"/>
                  <a:gd name="T18" fmla="*/ 1 w 23"/>
                  <a:gd name="T19" fmla="*/ 11 h 1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3"/>
                  <a:gd name="T31" fmla="*/ 0 h 17"/>
                  <a:gd name="T32" fmla="*/ 23 w 23"/>
                  <a:gd name="T33" fmla="*/ 17 h 17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3" h="17">
                    <a:moveTo>
                      <a:pt x="1" y="9"/>
                    </a:moveTo>
                    <a:cubicBezTo>
                      <a:pt x="6" y="5"/>
                      <a:pt x="12" y="2"/>
                      <a:pt x="18" y="1"/>
                    </a:cubicBezTo>
                    <a:cubicBezTo>
                      <a:pt x="20" y="0"/>
                      <a:pt x="22" y="2"/>
                      <a:pt x="23" y="4"/>
                    </a:cubicBezTo>
                    <a:cubicBezTo>
                      <a:pt x="23" y="6"/>
                      <a:pt x="21" y="6"/>
                      <a:pt x="19" y="7"/>
                    </a:cubicBezTo>
                    <a:cubicBezTo>
                      <a:pt x="18" y="7"/>
                      <a:pt x="16" y="7"/>
                      <a:pt x="15" y="8"/>
                    </a:cubicBezTo>
                    <a:cubicBezTo>
                      <a:pt x="13" y="9"/>
                      <a:pt x="12" y="10"/>
                      <a:pt x="10" y="11"/>
                    </a:cubicBezTo>
                    <a:cubicBezTo>
                      <a:pt x="9" y="12"/>
                      <a:pt x="7" y="11"/>
                      <a:pt x="6" y="12"/>
                    </a:cubicBezTo>
                    <a:cubicBezTo>
                      <a:pt x="5" y="12"/>
                      <a:pt x="6" y="14"/>
                      <a:pt x="6" y="15"/>
                    </a:cubicBezTo>
                    <a:cubicBezTo>
                      <a:pt x="4" y="15"/>
                      <a:pt x="2" y="17"/>
                      <a:pt x="1" y="16"/>
                    </a:cubicBezTo>
                    <a:cubicBezTo>
                      <a:pt x="0" y="14"/>
                      <a:pt x="0" y="10"/>
                      <a:pt x="1" y="9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21" name="Freeform 3651"/>
              <p:cNvSpPr>
                <a:spLocks noChangeAspect="1"/>
              </p:cNvSpPr>
              <p:nvPr/>
            </p:nvSpPr>
            <p:spPr bwMode="auto">
              <a:xfrm>
                <a:off x="2810111" y="2760088"/>
                <a:ext cx="3356" cy="2493"/>
              </a:xfrm>
              <a:custGeom>
                <a:avLst/>
                <a:gdLst>
                  <a:gd name="T0" fmla="*/ 2 w 3"/>
                  <a:gd name="T1" fmla="*/ 2 h 3"/>
                  <a:gd name="T2" fmla="*/ 3 w 3"/>
                  <a:gd name="T3" fmla="*/ 3 h 3"/>
                  <a:gd name="T4" fmla="*/ 1 w 3"/>
                  <a:gd name="T5" fmla="*/ 2 h 3"/>
                  <a:gd name="T6" fmla="*/ 1 w 3"/>
                  <a:gd name="T7" fmla="*/ 1 h 3"/>
                  <a:gd name="T8" fmla="*/ 2 w 3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2"/>
                    </a:moveTo>
                    <a:cubicBezTo>
                      <a:pt x="3" y="2"/>
                      <a:pt x="3" y="2"/>
                      <a:pt x="3" y="3"/>
                    </a:cubicBezTo>
                    <a:cubicBezTo>
                      <a:pt x="2" y="3"/>
                      <a:pt x="2" y="3"/>
                      <a:pt x="1" y="2"/>
                    </a:cubicBezTo>
                    <a:cubicBezTo>
                      <a:pt x="1" y="2"/>
                      <a:pt x="0" y="1"/>
                      <a:pt x="1" y="1"/>
                    </a:cubicBezTo>
                    <a:cubicBezTo>
                      <a:pt x="1" y="0"/>
                      <a:pt x="2" y="1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22" name="Freeform 3280"/>
              <p:cNvSpPr>
                <a:spLocks noChangeAspect="1"/>
              </p:cNvSpPr>
              <p:nvPr/>
            </p:nvSpPr>
            <p:spPr bwMode="auto">
              <a:xfrm>
                <a:off x="7343407" y="3715068"/>
                <a:ext cx="4642" cy="4597"/>
              </a:xfrm>
              <a:custGeom>
                <a:avLst/>
                <a:gdLst>
                  <a:gd name="T0" fmla="*/ 2 w 2"/>
                  <a:gd name="T1" fmla="*/ 3 h 3"/>
                  <a:gd name="T2" fmla="*/ 0 w 2"/>
                  <a:gd name="T3" fmla="*/ 3 h 3"/>
                  <a:gd name="T4" fmla="*/ 2 w 2"/>
                  <a:gd name="T5" fmla="*/ 1 h 3"/>
                  <a:gd name="T6" fmla="*/ 3 w 2"/>
                  <a:gd name="T7" fmla="*/ 1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2"/>
                    </a:moveTo>
                    <a:cubicBezTo>
                      <a:pt x="1" y="2"/>
                      <a:pt x="0" y="3"/>
                      <a:pt x="0" y="2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2" y="0"/>
                      <a:pt x="2" y="1"/>
                    </a:cubicBezTo>
                    <a:cubicBezTo>
                      <a:pt x="2" y="2"/>
                      <a:pt x="1" y="2"/>
                      <a:pt x="1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 sz="900">
                  <a:solidFill>
                    <a:srgbClr val="133B9C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323" name="Freeform 2509"/>
              <p:cNvSpPr>
                <a:spLocks noChangeAspect="1"/>
              </p:cNvSpPr>
              <p:nvPr/>
            </p:nvSpPr>
            <p:spPr bwMode="auto">
              <a:xfrm>
                <a:off x="6666588" y="2932867"/>
                <a:ext cx="170011" cy="127923"/>
              </a:xfrm>
              <a:custGeom>
                <a:avLst/>
                <a:gdLst>
                  <a:gd name="T0" fmla="*/ 141 w 127"/>
                  <a:gd name="T1" fmla="*/ 146 h 128"/>
                  <a:gd name="T2" fmla="*/ 121 w 127"/>
                  <a:gd name="T3" fmla="*/ 138 h 128"/>
                  <a:gd name="T4" fmla="*/ 121 w 127"/>
                  <a:gd name="T5" fmla="*/ 130 h 128"/>
                  <a:gd name="T6" fmla="*/ 115 w 127"/>
                  <a:gd name="T7" fmla="*/ 120 h 128"/>
                  <a:gd name="T8" fmla="*/ 117 w 127"/>
                  <a:gd name="T9" fmla="*/ 113 h 128"/>
                  <a:gd name="T10" fmla="*/ 111 w 127"/>
                  <a:gd name="T11" fmla="*/ 100 h 128"/>
                  <a:gd name="T12" fmla="*/ 101 w 127"/>
                  <a:gd name="T13" fmla="*/ 84 h 128"/>
                  <a:gd name="T14" fmla="*/ 73 w 127"/>
                  <a:gd name="T15" fmla="*/ 72 h 128"/>
                  <a:gd name="T16" fmla="*/ 56 w 127"/>
                  <a:gd name="T17" fmla="*/ 67 h 128"/>
                  <a:gd name="T18" fmla="*/ 51 w 127"/>
                  <a:gd name="T19" fmla="*/ 64 h 128"/>
                  <a:gd name="T20" fmla="*/ 42 w 127"/>
                  <a:gd name="T21" fmla="*/ 54 h 128"/>
                  <a:gd name="T22" fmla="*/ 42 w 127"/>
                  <a:gd name="T23" fmla="*/ 46 h 128"/>
                  <a:gd name="T24" fmla="*/ 37 w 127"/>
                  <a:gd name="T25" fmla="*/ 60 h 128"/>
                  <a:gd name="T26" fmla="*/ 29 w 127"/>
                  <a:gd name="T27" fmla="*/ 64 h 128"/>
                  <a:gd name="T28" fmla="*/ 29 w 127"/>
                  <a:gd name="T29" fmla="*/ 57 h 128"/>
                  <a:gd name="T30" fmla="*/ 16 w 127"/>
                  <a:gd name="T31" fmla="*/ 45 h 128"/>
                  <a:gd name="T32" fmla="*/ 30 w 127"/>
                  <a:gd name="T33" fmla="*/ 42 h 128"/>
                  <a:gd name="T34" fmla="*/ 38 w 127"/>
                  <a:gd name="T35" fmla="*/ 41 h 128"/>
                  <a:gd name="T36" fmla="*/ 44 w 127"/>
                  <a:gd name="T37" fmla="*/ 31 h 128"/>
                  <a:gd name="T38" fmla="*/ 20 w 127"/>
                  <a:gd name="T39" fmla="*/ 34 h 128"/>
                  <a:gd name="T40" fmla="*/ 11 w 127"/>
                  <a:gd name="T41" fmla="*/ 20 h 128"/>
                  <a:gd name="T42" fmla="*/ 5 w 127"/>
                  <a:gd name="T43" fmla="*/ 14 h 128"/>
                  <a:gd name="T44" fmla="*/ 19 w 127"/>
                  <a:gd name="T45" fmla="*/ 4 h 128"/>
                  <a:gd name="T46" fmla="*/ 39 w 127"/>
                  <a:gd name="T47" fmla="*/ 7 h 128"/>
                  <a:gd name="T48" fmla="*/ 51 w 127"/>
                  <a:gd name="T49" fmla="*/ 17 h 128"/>
                  <a:gd name="T50" fmla="*/ 54 w 127"/>
                  <a:gd name="T51" fmla="*/ 45 h 128"/>
                  <a:gd name="T52" fmla="*/ 56 w 127"/>
                  <a:gd name="T53" fmla="*/ 41 h 128"/>
                  <a:gd name="T54" fmla="*/ 66 w 127"/>
                  <a:gd name="T55" fmla="*/ 54 h 128"/>
                  <a:gd name="T56" fmla="*/ 81 w 127"/>
                  <a:gd name="T57" fmla="*/ 34 h 128"/>
                  <a:gd name="T58" fmla="*/ 95 w 127"/>
                  <a:gd name="T59" fmla="*/ 25 h 128"/>
                  <a:gd name="T60" fmla="*/ 113 w 127"/>
                  <a:gd name="T61" fmla="*/ 22 h 128"/>
                  <a:gd name="T62" fmla="*/ 139 w 127"/>
                  <a:gd name="T63" fmla="*/ 36 h 128"/>
                  <a:gd name="T64" fmla="*/ 152 w 127"/>
                  <a:gd name="T65" fmla="*/ 105 h 128"/>
                  <a:gd name="T66" fmla="*/ 151 w 127"/>
                  <a:gd name="T67" fmla="*/ 115 h 128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27"/>
                  <a:gd name="T103" fmla="*/ 0 h 128"/>
                  <a:gd name="T104" fmla="*/ 127 w 127"/>
                  <a:gd name="T105" fmla="*/ 128 h 128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27" h="128">
                    <a:moveTo>
                      <a:pt x="124" y="128"/>
                    </a:moveTo>
                    <a:cubicBezTo>
                      <a:pt x="122" y="127"/>
                      <a:pt x="120" y="124"/>
                      <a:pt x="118" y="121"/>
                    </a:cubicBezTo>
                    <a:cubicBezTo>
                      <a:pt x="116" y="119"/>
                      <a:pt x="114" y="116"/>
                      <a:pt x="110" y="115"/>
                    </a:cubicBezTo>
                    <a:cubicBezTo>
                      <a:pt x="107" y="114"/>
                      <a:pt x="104" y="115"/>
                      <a:pt x="101" y="115"/>
                    </a:cubicBezTo>
                    <a:cubicBezTo>
                      <a:pt x="100" y="115"/>
                      <a:pt x="98" y="115"/>
                      <a:pt x="98" y="114"/>
                    </a:cubicBezTo>
                    <a:cubicBezTo>
                      <a:pt x="98" y="112"/>
                      <a:pt x="100" y="110"/>
                      <a:pt x="101" y="108"/>
                    </a:cubicBezTo>
                    <a:cubicBezTo>
                      <a:pt x="101" y="107"/>
                      <a:pt x="101" y="105"/>
                      <a:pt x="100" y="103"/>
                    </a:cubicBezTo>
                    <a:cubicBezTo>
                      <a:pt x="99" y="102"/>
                      <a:pt x="97" y="102"/>
                      <a:pt x="96" y="100"/>
                    </a:cubicBezTo>
                    <a:cubicBezTo>
                      <a:pt x="95" y="99"/>
                      <a:pt x="94" y="97"/>
                      <a:pt x="95" y="95"/>
                    </a:cubicBezTo>
                    <a:cubicBezTo>
                      <a:pt x="95" y="94"/>
                      <a:pt x="98" y="95"/>
                      <a:pt x="98" y="94"/>
                    </a:cubicBezTo>
                    <a:cubicBezTo>
                      <a:pt x="99" y="93"/>
                      <a:pt x="97" y="93"/>
                      <a:pt x="96" y="92"/>
                    </a:cubicBezTo>
                    <a:cubicBezTo>
                      <a:pt x="95" y="89"/>
                      <a:pt x="94" y="86"/>
                      <a:pt x="93" y="83"/>
                    </a:cubicBezTo>
                    <a:cubicBezTo>
                      <a:pt x="92" y="80"/>
                      <a:pt x="90" y="78"/>
                      <a:pt x="89" y="76"/>
                    </a:cubicBezTo>
                    <a:cubicBezTo>
                      <a:pt x="87" y="74"/>
                      <a:pt x="86" y="72"/>
                      <a:pt x="84" y="70"/>
                    </a:cubicBezTo>
                    <a:cubicBezTo>
                      <a:pt x="81" y="68"/>
                      <a:pt x="77" y="67"/>
                      <a:pt x="74" y="65"/>
                    </a:cubicBezTo>
                    <a:cubicBezTo>
                      <a:pt x="70" y="63"/>
                      <a:pt x="66" y="61"/>
                      <a:pt x="61" y="60"/>
                    </a:cubicBezTo>
                    <a:cubicBezTo>
                      <a:pt x="59" y="59"/>
                      <a:pt x="57" y="60"/>
                      <a:pt x="55" y="60"/>
                    </a:cubicBezTo>
                    <a:cubicBezTo>
                      <a:pt x="52" y="59"/>
                      <a:pt x="49" y="58"/>
                      <a:pt x="47" y="56"/>
                    </a:cubicBezTo>
                    <a:cubicBezTo>
                      <a:pt x="46" y="55"/>
                      <a:pt x="48" y="53"/>
                      <a:pt x="47" y="52"/>
                    </a:cubicBezTo>
                    <a:cubicBezTo>
                      <a:pt x="46" y="51"/>
                      <a:pt x="45" y="54"/>
                      <a:pt x="43" y="53"/>
                    </a:cubicBezTo>
                    <a:cubicBezTo>
                      <a:pt x="41" y="53"/>
                      <a:pt x="40" y="52"/>
                      <a:pt x="39" y="51"/>
                    </a:cubicBezTo>
                    <a:cubicBezTo>
                      <a:pt x="37" y="49"/>
                      <a:pt x="35" y="47"/>
                      <a:pt x="35" y="45"/>
                    </a:cubicBezTo>
                    <a:cubicBezTo>
                      <a:pt x="34" y="43"/>
                      <a:pt x="37" y="42"/>
                      <a:pt x="37" y="40"/>
                    </a:cubicBezTo>
                    <a:cubicBezTo>
                      <a:pt x="37" y="39"/>
                      <a:pt x="36" y="37"/>
                      <a:pt x="35" y="38"/>
                    </a:cubicBezTo>
                    <a:cubicBezTo>
                      <a:pt x="34" y="40"/>
                      <a:pt x="33" y="43"/>
                      <a:pt x="32" y="45"/>
                    </a:cubicBezTo>
                    <a:cubicBezTo>
                      <a:pt x="32" y="47"/>
                      <a:pt x="32" y="48"/>
                      <a:pt x="31" y="50"/>
                    </a:cubicBezTo>
                    <a:cubicBezTo>
                      <a:pt x="30" y="52"/>
                      <a:pt x="28" y="53"/>
                      <a:pt x="27" y="54"/>
                    </a:cubicBezTo>
                    <a:cubicBezTo>
                      <a:pt x="26" y="54"/>
                      <a:pt x="24" y="54"/>
                      <a:pt x="24" y="53"/>
                    </a:cubicBezTo>
                    <a:cubicBezTo>
                      <a:pt x="22" y="52"/>
                      <a:pt x="22" y="50"/>
                      <a:pt x="22" y="48"/>
                    </a:cubicBezTo>
                    <a:cubicBezTo>
                      <a:pt x="22" y="47"/>
                      <a:pt x="25" y="48"/>
                      <a:pt x="24" y="47"/>
                    </a:cubicBezTo>
                    <a:cubicBezTo>
                      <a:pt x="23" y="44"/>
                      <a:pt x="22" y="41"/>
                      <a:pt x="19" y="39"/>
                    </a:cubicBezTo>
                    <a:cubicBezTo>
                      <a:pt x="18" y="37"/>
                      <a:pt x="15" y="38"/>
                      <a:pt x="13" y="37"/>
                    </a:cubicBezTo>
                    <a:cubicBezTo>
                      <a:pt x="13" y="36"/>
                      <a:pt x="15" y="35"/>
                      <a:pt x="17" y="35"/>
                    </a:cubicBezTo>
                    <a:cubicBezTo>
                      <a:pt x="19" y="34"/>
                      <a:pt x="22" y="36"/>
                      <a:pt x="25" y="35"/>
                    </a:cubicBezTo>
                    <a:cubicBezTo>
                      <a:pt x="27" y="35"/>
                      <a:pt x="27" y="31"/>
                      <a:pt x="29" y="31"/>
                    </a:cubicBezTo>
                    <a:cubicBezTo>
                      <a:pt x="30" y="31"/>
                      <a:pt x="31" y="33"/>
                      <a:pt x="32" y="34"/>
                    </a:cubicBezTo>
                    <a:cubicBezTo>
                      <a:pt x="33" y="34"/>
                      <a:pt x="35" y="33"/>
                      <a:pt x="35" y="32"/>
                    </a:cubicBezTo>
                    <a:cubicBezTo>
                      <a:pt x="36" y="31"/>
                      <a:pt x="38" y="28"/>
                      <a:pt x="37" y="26"/>
                    </a:cubicBezTo>
                    <a:cubicBezTo>
                      <a:pt x="36" y="25"/>
                      <a:pt x="33" y="27"/>
                      <a:pt x="32" y="27"/>
                    </a:cubicBezTo>
                    <a:cubicBezTo>
                      <a:pt x="27" y="27"/>
                      <a:pt x="22" y="29"/>
                      <a:pt x="17" y="28"/>
                    </a:cubicBezTo>
                    <a:cubicBezTo>
                      <a:pt x="15" y="27"/>
                      <a:pt x="15" y="25"/>
                      <a:pt x="14" y="23"/>
                    </a:cubicBezTo>
                    <a:cubicBezTo>
                      <a:pt x="13" y="21"/>
                      <a:pt x="11" y="18"/>
                      <a:pt x="9" y="17"/>
                    </a:cubicBezTo>
                    <a:cubicBezTo>
                      <a:pt x="7" y="16"/>
                      <a:pt x="3" y="18"/>
                      <a:pt x="1" y="17"/>
                    </a:cubicBezTo>
                    <a:cubicBezTo>
                      <a:pt x="0" y="15"/>
                      <a:pt x="3" y="14"/>
                      <a:pt x="4" y="12"/>
                    </a:cubicBezTo>
                    <a:cubicBezTo>
                      <a:pt x="5" y="11"/>
                      <a:pt x="5" y="8"/>
                      <a:pt x="6" y="7"/>
                    </a:cubicBezTo>
                    <a:cubicBezTo>
                      <a:pt x="9" y="4"/>
                      <a:pt x="13" y="4"/>
                      <a:pt x="16" y="3"/>
                    </a:cubicBezTo>
                    <a:cubicBezTo>
                      <a:pt x="18" y="2"/>
                      <a:pt x="20" y="0"/>
                      <a:pt x="23" y="1"/>
                    </a:cubicBezTo>
                    <a:cubicBezTo>
                      <a:pt x="27" y="1"/>
                      <a:pt x="30" y="4"/>
                      <a:pt x="33" y="6"/>
                    </a:cubicBezTo>
                    <a:cubicBezTo>
                      <a:pt x="35" y="6"/>
                      <a:pt x="37" y="4"/>
                      <a:pt x="39" y="5"/>
                    </a:cubicBezTo>
                    <a:cubicBezTo>
                      <a:pt x="41" y="7"/>
                      <a:pt x="43" y="11"/>
                      <a:pt x="43" y="14"/>
                    </a:cubicBezTo>
                    <a:cubicBezTo>
                      <a:pt x="44" y="18"/>
                      <a:pt x="40" y="22"/>
                      <a:pt x="41" y="26"/>
                    </a:cubicBezTo>
                    <a:cubicBezTo>
                      <a:pt x="41" y="30"/>
                      <a:pt x="43" y="34"/>
                      <a:pt x="45" y="37"/>
                    </a:cubicBezTo>
                    <a:cubicBezTo>
                      <a:pt x="46" y="38"/>
                      <a:pt x="46" y="35"/>
                      <a:pt x="46" y="34"/>
                    </a:cubicBezTo>
                    <a:cubicBezTo>
                      <a:pt x="46" y="33"/>
                      <a:pt x="47" y="33"/>
                      <a:pt x="47" y="34"/>
                    </a:cubicBezTo>
                    <a:cubicBezTo>
                      <a:pt x="48" y="36"/>
                      <a:pt x="47" y="40"/>
                      <a:pt x="49" y="42"/>
                    </a:cubicBezTo>
                    <a:cubicBezTo>
                      <a:pt x="50" y="44"/>
                      <a:pt x="53" y="46"/>
                      <a:pt x="55" y="45"/>
                    </a:cubicBezTo>
                    <a:cubicBezTo>
                      <a:pt x="60" y="43"/>
                      <a:pt x="64" y="38"/>
                      <a:pt x="67" y="33"/>
                    </a:cubicBezTo>
                    <a:cubicBezTo>
                      <a:pt x="68" y="32"/>
                      <a:pt x="67" y="29"/>
                      <a:pt x="68" y="28"/>
                    </a:cubicBezTo>
                    <a:cubicBezTo>
                      <a:pt x="71" y="27"/>
                      <a:pt x="74" y="29"/>
                      <a:pt x="76" y="28"/>
                    </a:cubicBezTo>
                    <a:cubicBezTo>
                      <a:pt x="78" y="27"/>
                      <a:pt x="77" y="23"/>
                      <a:pt x="79" y="21"/>
                    </a:cubicBezTo>
                    <a:cubicBezTo>
                      <a:pt x="81" y="19"/>
                      <a:pt x="84" y="18"/>
                      <a:pt x="87" y="17"/>
                    </a:cubicBezTo>
                    <a:cubicBezTo>
                      <a:pt x="89" y="17"/>
                      <a:pt x="92" y="17"/>
                      <a:pt x="94" y="18"/>
                    </a:cubicBezTo>
                    <a:cubicBezTo>
                      <a:pt x="100" y="22"/>
                      <a:pt x="105" y="27"/>
                      <a:pt x="111" y="30"/>
                    </a:cubicBezTo>
                    <a:cubicBezTo>
                      <a:pt x="112" y="31"/>
                      <a:pt x="115" y="29"/>
                      <a:pt x="116" y="30"/>
                    </a:cubicBezTo>
                    <a:cubicBezTo>
                      <a:pt x="120" y="31"/>
                      <a:pt x="124" y="32"/>
                      <a:pt x="127" y="34"/>
                    </a:cubicBezTo>
                    <a:lnTo>
                      <a:pt x="127" y="87"/>
                    </a:lnTo>
                    <a:cubicBezTo>
                      <a:pt x="127" y="89"/>
                      <a:pt x="124" y="90"/>
                      <a:pt x="124" y="92"/>
                    </a:cubicBezTo>
                    <a:cubicBezTo>
                      <a:pt x="124" y="93"/>
                      <a:pt x="126" y="95"/>
                      <a:pt x="126" y="96"/>
                    </a:cubicBezTo>
                    <a:lnTo>
                      <a:pt x="124" y="128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24" name="Freeform 2510"/>
              <p:cNvSpPr>
                <a:spLocks noChangeAspect="1"/>
              </p:cNvSpPr>
              <p:nvPr/>
            </p:nvSpPr>
            <p:spPr bwMode="auto">
              <a:xfrm>
                <a:off x="6533488" y="3058296"/>
                <a:ext cx="30200" cy="22428"/>
              </a:xfrm>
              <a:custGeom>
                <a:avLst/>
                <a:gdLst>
                  <a:gd name="T0" fmla="*/ 23 w 23"/>
                  <a:gd name="T1" fmla="*/ 0 h 23"/>
                  <a:gd name="T2" fmla="*/ 19 w 23"/>
                  <a:gd name="T3" fmla="*/ 5 h 23"/>
                  <a:gd name="T4" fmla="*/ 11 w 23"/>
                  <a:gd name="T5" fmla="*/ 7 h 23"/>
                  <a:gd name="T6" fmla="*/ 5 w 23"/>
                  <a:gd name="T7" fmla="*/ 12 h 23"/>
                  <a:gd name="T8" fmla="*/ 4 w 23"/>
                  <a:gd name="T9" fmla="*/ 20 h 23"/>
                  <a:gd name="T10" fmla="*/ 0 w 23"/>
                  <a:gd name="T11" fmla="*/ 25 h 23"/>
                  <a:gd name="T12" fmla="*/ 4 w 23"/>
                  <a:gd name="T13" fmla="*/ 26 h 23"/>
                  <a:gd name="T14" fmla="*/ 13 w 23"/>
                  <a:gd name="T15" fmla="*/ 22 h 23"/>
                  <a:gd name="T16" fmla="*/ 16 w 23"/>
                  <a:gd name="T17" fmla="*/ 21 h 23"/>
                  <a:gd name="T18" fmla="*/ 23 w 23"/>
                  <a:gd name="T19" fmla="*/ 14 h 23"/>
                  <a:gd name="T20" fmla="*/ 27 w 23"/>
                  <a:gd name="T21" fmla="*/ 9 h 23"/>
                  <a:gd name="T22" fmla="*/ 27 w 23"/>
                  <a:gd name="T23" fmla="*/ 4 h 23"/>
                  <a:gd name="T24" fmla="*/ 23 w 23"/>
                  <a:gd name="T25" fmla="*/ 0 h 2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3"/>
                  <a:gd name="T40" fmla="*/ 0 h 23"/>
                  <a:gd name="T41" fmla="*/ 23 w 23"/>
                  <a:gd name="T42" fmla="*/ 23 h 23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3" h="23">
                    <a:moveTo>
                      <a:pt x="20" y="0"/>
                    </a:moveTo>
                    <a:cubicBezTo>
                      <a:pt x="19" y="2"/>
                      <a:pt x="18" y="3"/>
                      <a:pt x="16" y="4"/>
                    </a:cubicBezTo>
                    <a:cubicBezTo>
                      <a:pt x="14" y="5"/>
                      <a:pt x="11" y="5"/>
                      <a:pt x="9" y="6"/>
                    </a:cubicBezTo>
                    <a:cubicBezTo>
                      <a:pt x="7" y="7"/>
                      <a:pt x="5" y="8"/>
                      <a:pt x="4" y="10"/>
                    </a:cubicBezTo>
                    <a:cubicBezTo>
                      <a:pt x="3" y="12"/>
                      <a:pt x="4" y="15"/>
                      <a:pt x="3" y="17"/>
                    </a:cubicBezTo>
                    <a:cubicBezTo>
                      <a:pt x="3" y="18"/>
                      <a:pt x="1" y="20"/>
                      <a:pt x="0" y="21"/>
                    </a:cubicBezTo>
                    <a:cubicBezTo>
                      <a:pt x="0" y="22"/>
                      <a:pt x="2" y="23"/>
                      <a:pt x="3" y="22"/>
                    </a:cubicBezTo>
                    <a:cubicBezTo>
                      <a:pt x="6" y="22"/>
                      <a:pt x="8" y="20"/>
                      <a:pt x="11" y="19"/>
                    </a:cubicBezTo>
                    <a:cubicBezTo>
                      <a:pt x="12" y="18"/>
                      <a:pt x="13" y="19"/>
                      <a:pt x="14" y="18"/>
                    </a:cubicBezTo>
                    <a:cubicBezTo>
                      <a:pt x="16" y="17"/>
                      <a:pt x="18" y="14"/>
                      <a:pt x="20" y="12"/>
                    </a:cubicBezTo>
                    <a:cubicBezTo>
                      <a:pt x="21" y="11"/>
                      <a:pt x="22" y="10"/>
                      <a:pt x="23" y="8"/>
                    </a:cubicBezTo>
                    <a:cubicBezTo>
                      <a:pt x="23" y="7"/>
                      <a:pt x="23" y="5"/>
                      <a:pt x="23" y="3"/>
                    </a:cubicBezTo>
                    <a:cubicBezTo>
                      <a:pt x="22" y="2"/>
                      <a:pt x="21" y="1"/>
                      <a:pt x="20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25" name="Freeform 2512"/>
              <p:cNvSpPr>
                <a:spLocks noChangeAspect="1"/>
              </p:cNvSpPr>
              <p:nvPr/>
            </p:nvSpPr>
            <p:spPr bwMode="auto">
              <a:xfrm>
                <a:off x="4955297" y="3308327"/>
                <a:ext cx="24606" cy="24090"/>
              </a:xfrm>
              <a:custGeom>
                <a:avLst/>
                <a:gdLst>
                  <a:gd name="T0" fmla="*/ 22 w 18"/>
                  <a:gd name="T1" fmla="*/ 19 h 24"/>
                  <a:gd name="T2" fmla="*/ 22 w 18"/>
                  <a:gd name="T3" fmla="*/ 13 h 24"/>
                  <a:gd name="T4" fmla="*/ 22 w 18"/>
                  <a:gd name="T5" fmla="*/ 6 h 24"/>
                  <a:gd name="T6" fmla="*/ 11 w 18"/>
                  <a:gd name="T7" fmla="*/ 0 h 24"/>
                  <a:gd name="T8" fmla="*/ 5 w 18"/>
                  <a:gd name="T9" fmla="*/ 5 h 24"/>
                  <a:gd name="T10" fmla="*/ 1 w 18"/>
                  <a:gd name="T11" fmla="*/ 12 h 24"/>
                  <a:gd name="T12" fmla="*/ 1 w 18"/>
                  <a:gd name="T13" fmla="*/ 21 h 24"/>
                  <a:gd name="T14" fmla="*/ 9 w 18"/>
                  <a:gd name="T15" fmla="*/ 27 h 24"/>
                  <a:gd name="T16" fmla="*/ 16 w 18"/>
                  <a:gd name="T17" fmla="*/ 29 h 24"/>
                  <a:gd name="T18" fmla="*/ 20 w 18"/>
                  <a:gd name="T19" fmla="*/ 27 h 24"/>
                  <a:gd name="T20" fmla="*/ 22 w 18"/>
                  <a:gd name="T21" fmla="*/ 19 h 2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8"/>
                  <a:gd name="T34" fmla="*/ 0 h 24"/>
                  <a:gd name="T35" fmla="*/ 18 w 18"/>
                  <a:gd name="T36" fmla="*/ 24 h 24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8" h="24">
                    <a:moveTo>
                      <a:pt x="18" y="16"/>
                    </a:moveTo>
                    <a:cubicBezTo>
                      <a:pt x="18" y="14"/>
                      <a:pt x="18" y="13"/>
                      <a:pt x="18" y="11"/>
                    </a:cubicBezTo>
                    <a:cubicBezTo>
                      <a:pt x="18" y="9"/>
                      <a:pt x="17" y="7"/>
                      <a:pt x="18" y="5"/>
                    </a:cubicBezTo>
                    <a:cubicBezTo>
                      <a:pt x="15" y="3"/>
                      <a:pt x="12" y="0"/>
                      <a:pt x="9" y="0"/>
                    </a:cubicBezTo>
                    <a:cubicBezTo>
                      <a:pt x="7" y="0"/>
                      <a:pt x="6" y="2"/>
                      <a:pt x="4" y="4"/>
                    </a:cubicBezTo>
                    <a:cubicBezTo>
                      <a:pt x="3" y="6"/>
                      <a:pt x="1" y="8"/>
                      <a:pt x="1" y="10"/>
                    </a:cubicBezTo>
                    <a:cubicBezTo>
                      <a:pt x="0" y="12"/>
                      <a:pt x="0" y="15"/>
                      <a:pt x="1" y="17"/>
                    </a:cubicBezTo>
                    <a:cubicBezTo>
                      <a:pt x="2" y="19"/>
                      <a:pt x="4" y="21"/>
                      <a:pt x="7" y="22"/>
                    </a:cubicBezTo>
                    <a:cubicBezTo>
                      <a:pt x="8" y="23"/>
                      <a:pt x="11" y="24"/>
                      <a:pt x="13" y="24"/>
                    </a:cubicBezTo>
                    <a:cubicBezTo>
                      <a:pt x="14" y="24"/>
                      <a:pt x="15" y="23"/>
                      <a:pt x="16" y="22"/>
                    </a:cubicBezTo>
                    <a:cubicBezTo>
                      <a:pt x="17" y="21"/>
                      <a:pt x="18" y="19"/>
                      <a:pt x="18" y="16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26" name="Freeform 2513"/>
              <p:cNvSpPr>
                <a:spLocks noChangeAspect="1"/>
              </p:cNvSpPr>
              <p:nvPr/>
            </p:nvSpPr>
            <p:spPr bwMode="auto">
              <a:xfrm>
                <a:off x="4637645" y="3176252"/>
                <a:ext cx="229292" cy="181916"/>
              </a:xfrm>
              <a:custGeom>
                <a:avLst/>
                <a:gdLst>
                  <a:gd name="T0" fmla="*/ 205 w 171"/>
                  <a:gd name="T1" fmla="*/ 18 h 182"/>
                  <a:gd name="T2" fmla="*/ 199 w 171"/>
                  <a:gd name="T3" fmla="*/ 17 h 182"/>
                  <a:gd name="T4" fmla="*/ 195 w 171"/>
                  <a:gd name="T5" fmla="*/ 20 h 182"/>
                  <a:gd name="T6" fmla="*/ 191 w 171"/>
                  <a:gd name="T7" fmla="*/ 18 h 182"/>
                  <a:gd name="T8" fmla="*/ 183 w 171"/>
                  <a:gd name="T9" fmla="*/ 28 h 182"/>
                  <a:gd name="T10" fmla="*/ 177 w 171"/>
                  <a:gd name="T11" fmla="*/ 28 h 182"/>
                  <a:gd name="T12" fmla="*/ 171 w 171"/>
                  <a:gd name="T13" fmla="*/ 20 h 182"/>
                  <a:gd name="T14" fmla="*/ 162 w 171"/>
                  <a:gd name="T15" fmla="*/ 22 h 182"/>
                  <a:gd name="T16" fmla="*/ 147 w 171"/>
                  <a:gd name="T17" fmla="*/ 25 h 182"/>
                  <a:gd name="T18" fmla="*/ 141 w 171"/>
                  <a:gd name="T19" fmla="*/ 25 h 182"/>
                  <a:gd name="T20" fmla="*/ 141 w 171"/>
                  <a:gd name="T21" fmla="*/ 90 h 182"/>
                  <a:gd name="T22" fmla="*/ 125 w 171"/>
                  <a:gd name="T23" fmla="*/ 90 h 182"/>
                  <a:gd name="T24" fmla="*/ 125 w 171"/>
                  <a:gd name="T25" fmla="*/ 141 h 182"/>
                  <a:gd name="T26" fmla="*/ 123 w 171"/>
                  <a:gd name="T27" fmla="*/ 208 h 182"/>
                  <a:gd name="T28" fmla="*/ 120 w 171"/>
                  <a:gd name="T29" fmla="*/ 212 h 182"/>
                  <a:gd name="T30" fmla="*/ 115 w 171"/>
                  <a:gd name="T31" fmla="*/ 214 h 182"/>
                  <a:gd name="T32" fmla="*/ 111 w 171"/>
                  <a:gd name="T33" fmla="*/ 218 h 182"/>
                  <a:gd name="T34" fmla="*/ 104 w 171"/>
                  <a:gd name="T35" fmla="*/ 215 h 182"/>
                  <a:gd name="T36" fmla="*/ 95 w 171"/>
                  <a:gd name="T37" fmla="*/ 218 h 182"/>
                  <a:gd name="T38" fmla="*/ 86 w 171"/>
                  <a:gd name="T39" fmla="*/ 214 h 182"/>
                  <a:gd name="T40" fmla="*/ 84 w 171"/>
                  <a:gd name="T41" fmla="*/ 207 h 182"/>
                  <a:gd name="T42" fmla="*/ 79 w 171"/>
                  <a:gd name="T43" fmla="*/ 201 h 182"/>
                  <a:gd name="T44" fmla="*/ 76 w 171"/>
                  <a:gd name="T45" fmla="*/ 203 h 182"/>
                  <a:gd name="T46" fmla="*/ 76 w 171"/>
                  <a:gd name="T47" fmla="*/ 211 h 182"/>
                  <a:gd name="T48" fmla="*/ 71 w 171"/>
                  <a:gd name="T49" fmla="*/ 211 h 182"/>
                  <a:gd name="T50" fmla="*/ 60 w 171"/>
                  <a:gd name="T51" fmla="*/ 202 h 182"/>
                  <a:gd name="T52" fmla="*/ 53 w 171"/>
                  <a:gd name="T53" fmla="*/ 185 h 182"/>
                  <a:gd name="T54" fmla="*/ 53 w 171"/>
                  <a:gd name="T55" fmla="*/ 176 h 182"/>
                  <a:gd name="T56" fmla="*/ 48 w 171"/>
                  <a:gd name="T57" fmla="*/ 168 h 182"/>
                  <a:gd name="T58" fmla="*/ 49 w 171"/>
                  <a:gd name="T59" fmla="*/ 162 h 182"/>
                  <a:gd name="T60" fmla="*/ 47 w 171"/>
                  <a:gd name="T61" fmla="*/ 156 h 182"/>
                  <a:gd name="T62" fmla="*/ 47 w 171"/>
                  <a:gd name="T63" fmla="*/ 148 h 182"/>
                  <a:gd name="T64" fmla="*/ 44 w 171"/>
                  <a:gd name="T65" fmla="*/ 137 h 182"/>
                  <a:gd name="T66" fmla="*/ 42 w 171"/>
                  <a:gd name="T67" fmla="*/ 124 h 182"/>
                  <a:gd name="T68" fmla="*/ 42 w 171"/>
                  <a:gd name="T69" fmla="*/ 111 h 182"/>
                  <a:gd name="T70" fmla="*/ 44 w 171"/>
                  <a:gd name="T71" fmla="*/ 102 h 182"/>
                  <a:gd name="T72" fmla="*/ 31 w 171"/>
                  <a:gd name="T73" fmla="*/ 85 h 182"/>
                  <a:gd name="T74" fmla="*/ 24 w 171"/>
                  <a:gd name="T75" fmla="*/ 71 h 182"/>
                  <a:gd name="T76" fmla="*/ 24 w 171"/>
                  <a:gd name="T77" fmla="*/ 59 h 182"/>
                  <a:gd name="T78" fmla="*/ 16 w 171"/>
                  <a:gd name="T79" fmla="*/ 49 h 182"/>
                  <a:gd name="T80" fmla="*/ 12 w 171"/>
                  <a:gd name="T81" fmla="*/ 37 h 182"/>
                  <a:gd name="T82" fmla="*/ 1 w 171"/>
                  <a:gd name="T83" fmla="*/ 23 h 182"/>
                  <a:gd name="T84" fmla="*/ 0 w 171"/>
                  <a:gd name="T85" fmla="*/ 12 h 182"/>
                  <a:gd name="T86" fmla="*/ 2 w 171"/>
                  <a:gd name="T87" fmla="*/ 5 h 182"/>
                  <a:gd name="T88" fmla="*/ 11 w 171"/>
                  <a:gd name="T89" fmla="*/ 5 h 182"/>
                  <a:gd name="T90" fmla="*/ 20 w 171"/>
                  <a:gd name="T91" fmla="*/ 0 h 182"/>
                  <a:gd name="T92" fmla="*/ 29 w 171"/>
                  <a:gd name="T93" fmla="*/ 2 h 182"/>
                  <a:gd name="T94" fmla="*/ 36 w 171"/>
                  <a:gd name="T95" fmla="*/ 7 h 182"/>
                  <a:gd name="T96" fmla="*/ 102 w 171"/>
                  <a:gd name="T97" fmla="*/ 7 h 182"/>
                  <a:gd name="T98" fmla="*/ 109 w 171"/>
                  <a:gd name="T99" fmla="*/ 14 h 182"/>
                  <a:gd name="T100" fmla="*/ 119 w 171"/>
                  <a:gd name="T101" fmla="*/ 17 h 182"/>
                  <a:gd name="T102" fmla="*/ 133 w 171"/>
                  <a:gd name="T103" fmla="*/ 19 h 182"/>
                  <a:gd name="T104" fmla="*/ 141 w 171"/>
                  <a:gd name="T105" fmla="*/ 17 h 182"/>
                  <a:gd name="T106" fmla="*/ 151 w 171"/>
                  <a:gd name="T107" fmla="*/ 19 h 182"/>
                  <a:gd name="T108" fmla="*/ 180 w 171"/>
                  <a:gd name="T109" fmla="*/ 13 h 182"/>
                  <a:gd name="T110" fmla="*/ 193 w 171"/>
                  <a:gd name="T111" fmla="*/ 10 h 182"/>
                  <a:gd name="T112" fmla="*/ 199 w 171"/>
                  <a:gd name="T113" fmla="*/ 11 h 182"/>
                  <a:gd name="T114" fmla="*/ 205 w 171"/>
                  <a:gd name="T115" fmla="*/ 18 h 182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71"/>
                  <a:gd name="T175" fmla="*/ 0 h 182"/>
                  <a:gd name="T176" fmla="*/ 171 w 171"/>
                  <a:gd name="T177" fmla="*/ 182 h 182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71" h="182">
                    <a:moveTo>
                      <a:pt x="171" y="15"/>
                    </a:moveTo>
                    <a:cubicBezTo>
                      <a:pt x="169" y="14"/>
                      <a:pt x="167" y="14"/>
                      <a:pt x="166" y="14"/>
                    </a:cubicBezTo>
                    <a:cubicBezTo>
                      <a:pt x="165" y="15"/>
                      <a:pt x="164" y="17"/>
                      <a:pt x="163" y="17"/>
                    </a:cubicBezTo>
                    <a:cubicBezTo>
                      <a:pt x="161" y="17"/>
                      <a:pt x="160" y="15"/>
                      <a:pt x="159" y="15"/>
                    </a:cubicBezTo>
                    <a:cubicBezTo>
                      <a:pt x="156" y="17"/>
                      <a:pt x="155" y="21"/>
                      <a:pt x="153" y="23"/>
                    </a:cubicBezTo>
                    <a:cubicBezTo>
                      <a:pt x="152" y="24"/>
                      <a:pt x="150" y="24"/>
                      <a:pt x="148" y="23"/>
                    </a:cubicBezTo>
                    <a:cubicBezTo>
                      <a:pt x="146" y="22"/>
                      <a:pt x="146" y="18"/>
                      <a:pt x="143" y="17"/>
                    </a:cubicBezTo>
                    <a:cubicBezTo>
                      <a:pt x="141" y="16"/>
                      <a:pt x="138" y="17"/>
                      <a:pt x="135" y="18"/>
                    </a:cubicBezTo>
                    <a:cubicBezTo>
                      <a:pt x="131" y="18"/>
                      <a:pt x="127" y="21"/>
                      <a:pt x="123" y="21"/>
                    </a:cubicBezTo>
                    <a:lnTo>
                      <a:pt x="118" y="21"/>
                    </a:lnTo>
                    <a:lnTo>
                      <a:pt x="118" y="75"/>
                    </a:lnTo>
                    <a:lnTo>
                      <a:pt x="104" y="75"/>
                    </a:lnTo>
                    <a:lnTo>
                      <a:pt x="104" y="117"/>
                    </a:lnTo>
                    <a:lnTo>
                      <a:pt x="103" y="173"/>
                    </a:lnTo>
                    <a:cubicBezTo>
                      <a:pt x="102" y="174"/>
                      <a:pt x="101" y="175"/>
                      <a:pt x="100" y="176"/>
                    </a:cubicBezTo>
                    <a:cubicBezTo>
                      <a:pt x="98" y="177"/>
                      <a:pt x="97" y="177"/>
                      <a:pt x="96" y="178"/>
                    </a:cubicBezTo>
                    <a:cubicBezTo>
                      <a:pt x="95" y="179"/>
                      <a:pt x="94" y="181"/>
                      <a:pt x="93" y="181"/>
                    </a:cubicBezTo>
                    <a:cubicBezTo>
                      <a:pt x="91" y="182"/>
                      <a:pt x="89" y="179"/>
                      <a:pt x="87" y="179"/>
                    </a:cubicBezTo>
                    <a:cubicBezTo>
                      <a:pt x="84" y="179"/>
                      <a:pt x="82" y="181"/>
                      <a:pt x="79" y="181"/>
                    </a:cubicBezTo>
                    <a:cubicBezTo>
                      <a:pt x="77" y="180"/>
                      <a:pt x="74" y="180"/>
                      <a:pt x="72" y="178"/>
                    </a:cubicBezTo>
                    <a:cubicBezTo>
                      <a:pt x="70" y="177"/>
                      <a:pt x="71" y="174"/>
                      <a:pt x="70" y="172"/>
                    </a:cubicBezTo>
                    <a:cubicBezTo>
                      <a:pt x="69" y="170"/>
                      <a:pt x="68" y="167"/>
                      <a:pt x="66" y="167"/>
                    </a:cubicBezTo>
                    <a:cubicBezTo>
                      <a:pt x="65" y="166"/>
                      <a:pt x="63" y="168"/>
                      <a:pt x="63" y="169"/>
                    </a:cubicBezTo>
                    <a:cubicBezTo>
                      <a:pt x="62" y="171"/>
                      <a:pt x="63" y="173"/>
                      <a:pt x="63" y="175"/>
                    </a:cubicBezTo>
                    <a:cubicBezTo>
                      <a:pt x="62" y="175"/>
                      <a:pt x="60" y="175"/>
                      <a:pt x="59" y="175"/>
                    </a:cubicBezTo>
                    <a:cubicBezTo>
                      <a:pt x="56" y="173"/>
                      <a:pt x="53" y="171"/>
                      <a:pt x="50" y="168"/>
                    </a:cubicBezTo>
                    <a:cubicBezTo>
                      <a:pt x="48" y="164"/>
                      <a:pt x="46" y="159"/>
                      <a:pt x="44" y="154"/>
                    </a:cubicBezTo>
                    <a:cubicBezTo>
                      <a:pt x="44" y="152"/>
                      <a:pt x="44" y="149"/>
                      <a:pt x="44" y="146"/>
                    </a:cubicBezTo>
                    <a:cubicBezTo>
                      <a:pt x="43" y="143"/>
                      <a:pt x="41" y="142"/>
                      <a:pt x="40" y="140"/>
                    </a:cubicBezTo>
                    <a:cubicBezTo>
                      <a:pt x="40" y="138"/>
                      <a:pt x="41" y="137"/>
                      <a:pt x="41" y="135"/>
                    </a:cubicBezTo>
                    <a:cubicBezTo>
                      <a:pt x="40" y="133"/>
                      <a:pt x="39" y="132"/>
                      <a:pt x="39" y="130"/>
                    </a:cubicBezTo>
                    <a:cubicBezTo>
                      <a:pt x="38" y="127"/>
                      <a:pt x="39" y="125"/>
                      <a:pt x="39" y="123"/>
                    </a:cubicBezTo>
                    <a:cubicBezTo>
                      <a:pt x="38" y="120"/>
                      <a:pt x="37" y="117"/>
                      <a:pt x="37" y="114"/>
                    </a:cubicBezTo>
                    <a:cubicBezTo>
                      <a:pt x="36" y="110"/>
                      <a:pt x="35" y="107"/>
                      <a:pt x="35" y="103"/>
                    </a:cubicBezTo>
                    <a:cubicBezTo>
                      <a:pt x="35" y="99"/>
                      <a:pt x="34" y="96"/>
                      <a:pt x="35" y="92"/>
                    </a:cubicBezTo>
                    <a:cubicBezTo>
                      <a:pt x="35" y="89"/>
                      <a:pt x="38" y="87"/>
                      <a:pt x="37" y="85"/>
                    </a:cubicBezTo>
                    <a:cubicBezTo>
                      <a:pt x="35" y="79"/>
                      <a:pt x="30" y="76"/>
                      <a:pt x="26" y="71"/>
                    </a:cubicBezTo>
                    <a:cubicBezTo>
                      <a:pt x="24" y="67"/>
                      <a:pt x="21" y="63"/>
                      <a:pt x="20" y="59"/>
                    </a:cubicBezTo>
                    <a:cubicBezTo>
                      <a:pt x="19" y="56"/>
                      <a:pt x="21" y="52"/>
                      <a:pt x="20" y="49"/>
                    </a:cubicBezTo>
                    <a:cubicBezTo>
                      <a:pt x="18" y="46"/>
                      <a:pt x="15" y="44"/>
                      <a:pt x="13" y="41"/>
                    </a:cubicBezTo>
                    <a:cubicBezTo>
                      <a:pt x="12" y="38"/>
                      <a:pt x="12" y="34"/>
                      <a:pt x="10" y="31"/>
                    </a:cubicBezTo>
                    <a:cubicBezTo>
                      <a:pt x="7" y="26"/>
                      <a:pt x="3" y="23"/>
                      <a:pt x="1" y="19"/>
                    </a:cubicBezTo>
                    <a:cubicBezTo>
                      <a:pt x="0" y="16"/>
                      <a:pt x="0" y="13"/>
                      <a:pt x="0" y="10"/>
                    </a:cubicBezTo>
                    <a:cubicBezTo>
                      <a:pt x="0" y="8"/>
                      <a:pt x="1" y="6"/>
                      <a:pt x="2" y="4"/>
                    </a:cubicBezTo>
                    <a:cubicBezTo>
                      <a:pt x="4" y="4"/>
                      <a:pt x="6" y="4"/>
                      <a:pt x="9" y="4"/>
                    </a:cubicBezTo>
                    <a:cubicBezTo>
                      <a:pt x="12" y="3"/>
                      <a:pt x="14" y="0"/>
                      <a:pt x="17" y="0"/>
                    </a:cubicBezTo>
                    <a:cubicBezTo>
                      <a:pt x="19" y="0"/>
                      <a:pt x="22" y="1"/>
                      <a:pt x="24" y="2"/>
                    </a:cubicBezTo>
                    <a:cubicBezTo>
                      <a:pt x="26" y="3"/>
                      <a:pt x="28" y="6"/>
                      <a:pt x="30" y="6"/>
                    </a:cubicBezTo>
                    <a:cubicBezTo>
                      <a:pt x="48" y="7"/>
                      <a:pt x="67" y="4"/>
                      <a:pt x="85" y="6"/>
                    </a:cubicBezTo>
                    <a:cubicBezTo>
                      <a:pt x="88" y="6"/>
                      <a:pt x="89" y="10"/>
                      <a:pt x="91" y="12"/>
                    </a:cubicBezTo>
                    <a:cubicBezTo>
                      <a:pt x="94" y="13"/>
                      <a:pt x="96" y="14"/>
                      <a:pt x="99" y="14"/>
                    </a:cubicBezTo>
                    <a:cubicBezTo>
                      <a:pt x="103" y="15"/>
                      <a:pt x="107" y="16"/>
                      <a:pt x="111" y="16"/>
                    </a:cubicBezTo>
                    <a:cubicBezTo>
                      <a:pt x="113" y="16"/>
                      <a:pt x="116" y="14"/>
                      <a:pt x="118" y="14"/>
                    </a:cubicBezTo>
                    <a:cubicBezTo>
                      <a:pt x="121" y="14"/>
                      <a:pt x="124" y="16"/>
                      <a:pt x="126" y="16"/>
                    </a:cubicBezTo>
                    <a:cubicBezTo>
                      <a:pt x="134" y="15"/>
                      <a:pt x="142" y="12"/>
                      <a:pt x="150" y="11"/>
                    </a:cubicBezTo>
                    <a:cubicBezTo>
                      <a:pt x="154" y="10"/>
                      <a:pt x="157" y="9"/>
                      <a:pt x="161" y="8"/>
                    </a:cubicBezTo>
                    <a:cubicBezTo>
                      <a:pt x="163" y="8"/>
                      <a:pt x="165" y="8"/>
                      <a:pt x="166" y="9"/>
                    </a:cubicBezTo>
                    <a:cubicBezTo>
                      <a:pt x="168" y="10"/>
                      <a:pt x="169" y="13"/>
                      <a:pt x="171" y="15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27" name="Freeform 2514"/>
              <p:cNvSpPr>
                <a:spLocks noChangeAspect="1"/>
              </p:cNvSpPr>
              <p:nvPr/>
            </p:nvSpPr>
            <p:spPr bwMode="auto">
              <a:xfrm>
                <a:off x="4777456" y="3190373"/>
                <a:ext cx="155470" cy="134568"/>
              </a:xfrm>
              <a:custGeom>
                <a:avLst/>
                <a:gdLst>
                  <a:gd name="T0" fmla="*/ 139 w 116"/>
                  <a:gd name="T1" fmla="*/ 76 h 135"/>
                  <a:gd name="T2" fmla="*/ 137 w 116"/>
                  <a:gd name="T3" fmla="*/ 73 h 135"/>
                  <a:gd name="T4" fmla="*/ 137 w 116"/>
                  <a:gd name="T5" fmla="*/ 70 h 135"/>
                  <a:gd name="T6" fmla="*/ 128 w 116"/>
                  <a:gd name="T7" fmla="*/ 66 h 135"/>
                  <a:gd name="T8" fmla="*/ 121 w 116"/>
                  <a:gd name="T9" fmla="*/ 65 h 135"/>
                  <a:gd name="T10" fmla="*/ 116 w 116"/>
                  <a:gd name="T11" fmla="*/ 58 h 135"/>
                  <a:gd name="T12" fmla="*/ 116 w 116"/>
                  <a:gd name="T13" fmla="*/ 47 h 135"/>
                  <a:gd name="T14" fmla="*/ 111 w 116"/>
                  <a:gd name="T15" fmla="*/ 47 h 135"/>
                  <a:gd name="T16" fmla="*/ 111 w 116"/>
                  <a:gd name="T17" fmla="*/ 40 h 135"/>
                  <a:gd name="T18" fmla="*/ 99 w 116"/>
                  <a:gd name="T19" fmla="*/ 32 h 135"/>
                  <a:gd name="T20" fmla="*/ 93 w 116"/>
                  <a:gd name="T21" fmla="*/ 30 h 135"/>
                  <a:gd name="T22" fmla="*/ 90 w 116"/>
                  <a:gd name="T23" fmla="*/ 18 h 135"/>
                  <a:gd name="T24" fmla="*/ 85 w 116"/>
                  <a:gd name="T25" fmla="*/ 11 h 135"/>
                  <a:gd name="T26" fmla="*/ 80 w 116"/>
                  <a:gd name="T27" fmla="*/ 1 h 135"/>
                  <a:gd name="T28" fmla="*/ 74 w 116"/>
                  <a:gd name="T29" fmla="*/ 0 h 135"/>
                  <a:gd name="T30" fmla="*/ 71 w 116"/>
                  <a:gd name="T31" fmla="*/ 4 h 135"/>
                  <a:gd name="T32" fmla="*/ 66 w 116"/>
                  <a:gd name="T33" fmla="*/ 1 h 135"/>
                  <a:gd name="T34" fmla="*/ 59 w 116"/>
                  <a:gd name="T35" fmla="*/ 11 h 135"/>
                  <a:gd name="T36" fmla="*/ 53 w 116"/>
                  <a:gd name="T37" fmla="*/ 11 h 135"/>
                  <a:gd name="T38" fmla="*/ 47 w 116"/>
                  <a:gd name="T39" fmla="*/ 4 h 135"/>
                  <a:gd name="T40" fmla="*/ 37 w 116"/>
                  <a:gd name="T41" fmla="*/ 5 h 135"/>
                  <a:gd name="T42" fmla="*/ 23 w 116"/>
                  <a:gd name="T43" fmla="*/ 8 h 135"/>
                  <a:gd name="T44" fmla="*/ 17 w 116"/>
                  <a:gd name="T45" fmla="*/ 8 h 135"/>
                  <a:gd name="T46" fmla="*/ 17 w 116"/>
                  <a:gd name="T47" fmla="*/ 73 h 135"/>
                  <a:gd name="T48" fmla="*/ 0 w 116"/>
                  <a:gd name="T49" fmla="*/ 73 h 135"/>
                  <a:gd name="T50" fmla="*/ 0 w 116"/>
                  <a:gd name="T51" fmla="*/ 124 h 135"/>
                  <a:gd name="T52" fmla="*/ 5 w 116"/>
                  <a:gd name="T53" fmla="*/ 128 h 135"/>
                  <a:gd name="T54" fmla="*/ 7 w 116"/>
                  <a:gd name="T55" fmla="*/ 139 h 135"/>
                  <a:gd name="T56" fmla="*/ 11 w 116"/>
                  <a:gd name="T57" fmla="*/ 145 h 135"/>
                  <a:gd name="T58" fmla="*/ 6 w 116"/>
                  <a:gd name="T59" fmla="*/ 155 h 135"/>
                  <a:gd name="T60" fmla="*/ 8 w 116"/>
                  <a:gd name="T61" fmla="*/ 161 h 135"/>
                  <a:gd name="T62" fmla="*/ 14 w 116"/>
                  <a:gd name="T63" fmla="*/ 158 h 135"/>
                  <a:gd name="T64" fmla="*/ 25 w 116"/>
                  <a:gd name="T65" fmla="*/ 160 h 135"/>
                  <a:gd name="T66" fmla="*/ 26 w 116"/>
                  <a:gd name="T67" fmla="*/ 156 h 135"/>
                  <a:gd name="T68" fmla="*/ 35 w 116"/>
                  <a:gd name="T69" fmla="*/ 150 h 135"/>
                  <a:gd name="T70" fmla="*/ 40 w 116"/>
                  <a:gd name="T71" fmla="*/ 144 h 135"/>
                  <a:gd name="T72" fmla="*/ 43 w 116"/>
                  <a:gd name="T73" fmla="*/ 134 h 135"/>
                  <a:gd name="T74" fmla="*/ 49 w 116"/>
                  <a:gd name="T75" fmla="*/ 132 h 135"/>
                  <a:gd name="T76" fmla="*/ 55 w 116"/>
                  <a:gd name="T77" fmla="*/ 132 h 135"/>
                  <a:gd name="T78" fmla="*/ 60 w 116"/>
                  <a:gd name="T79" fmla="*/ 139 h 135"/>
                  <a:gd name="T80" fmla="*/ 68 w 116"/>
                  <a:gd name="T81" fmla="*/ 142 h 135"/>
                  <a:gd name="T82" fmla="*/ 73 w 116"/>
                  <a:gd name="T83" fmla="*/ 140 h 135"/>
                  <a:gd name="T84" fmla="*/ 84 w 116"/>
                  <a:gd name="T85" fmla="*/ 139 h 135"/>
                  <a:gd name="T86" fmla="*/ 86 w 116"/>
                  <a:gd name="T87" fmla="*/ 132 h 135"/>
                  <a:gd name="T88" fmla="*/ 89 w 116"/>
                  <a:gd name="T89" fmla="*/ 121 h 135"/>
                  <a:gd name="T90" fmla="*/ 97 w 116"/>
                  <a:gd name="T91" fmla="*/ 119 h 135"/>
                  <a:gd name="T92" fmla="*/ 104 w 116"/>
                  <a:gd name="T93" fmla="*/ 112 h 135"/>
                  <a:gd name="T94" fmla="*/ 107 w 116"/>
                  <a:gd name="T95" fmla="*/ 101 h 135"/>
                  <a:gd name="T96" fmla="*/ 121 w 116"/>
                  <a:gd name="T97" fmla="*/ 88 h 135"/>
                  <a:gd name="T98" fmla="*/ 129 w 116"/>
                  <a:gd name="T99" fmla="*/ 82 h 135"/>
                  <a:gd name="T100" fmla="*/ 134 w 116"/>
                  <a:gd name="T101" fmla="*/ 79 h 135"/>
                  <a:gd name="T102" fmla="*/ 139 w 116"/>
                  <a:gd name="T103" fmla="*/ 76 h 135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116"/>
                  <a:gd name="T157" fmla="*/ 0 h 135"/>
                  <a:gd name="T158" fmla="*/ 116 w 116"/>
                  <a:gd name="T159" fmla="*/ 135 h 135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116" h="135">
                    <a:moveTo>
                      <a:pt x="116" y="63"/>
                    </a:moveTo>
                    <a:cubicBezTo>
                      <a:pt x="115" y="63"/>
                      <a:pt x="115" y="62"/>
                      <a:pt x="114" y="61"/>
                    </a:cubicBezTo>
                    <a:cubicBezTo>
                      <a:pt x="114" y="60"/>
                      <a:pt x="115" y="58"/>
                      <a:pt x="114" y="58"/>
                    </a:cubicBezTo>
                    <a:cubicBezTo>
                      <a:pt x="112" y="56"/>
                      <a:pt x="110" y="56"/>
                      <a:pt x="107" y="55"/>
                    </a:cubicBezTo>
                    <a:cubicBezTo>
                      <a:pt x="105" y="54"/>
                      <a:pt x="103" y="56"/>
                      <a:pt x="101" y="54"/>
                    </a:cubicBezTo>
                    <a:cubicBezTo>
                      <a:pt x="99" y="53"/>
                      <a:pt x="98" y="51"/>
                      <a:pt x="97" y="48"/>
                    </a:cubicBezTo>
                    <a:cubicBezTo>
                      <a:pt x="97" y="45"/>
                      <a:pt x="99" y="41"/>
                      <a:pt x="97" y="39"/>
                    </a:cubicBezTo>
                    <a:cubicBezTo>
                      <a:pt x="97" y="37"/>
                      <a:pt x="94" y="40"/>
                      <a:pt x="93" y="39"/>
                    </a:cubicBezTo>
                    <a:cubicBezTo>
                      <a:pt x="92" y="37"/>
                      <a:pt x="94" y="35"/>
                      <a:pt x="93" y="33"/>
                    </a:cubicBezTo>
                    <a:cubicBezTo>
                      <a:pt x="90" y="31"/>
                      <a:pt x="86" y="29"/>
                      <a:pt x="83" y="27"/>
                    </a:cubicBezTo>
                    <a:cubicBezTo>
                      <a:pt x="81" y="26"/>
                      <a:pt x="79" y="27"/>
                      <a:pt x="78" y="25"/>
                    </a:cubicBezTo>
                    <a:cubicBezTo>
                      <a:pt x="76" y="22"/>
                      <a:pt x="76" y="18"/>
                      <a:pt x="75" y="15"/>
                    </a:cubicBezTo>
                    <a:cubicBezTo>
                      <a:pt x="74" y="13"/>
                      <a:pt x="73" y="11"/>
                      <a:pt x="71" y="9"/>
                    </a:cubicBezTo>
                    <a:cubicBezTo>
                      <a:pt x="70" y="6"/>
                      <a:pt x="68" y="3"/>
                      <a:pt x="67" y="1"/>
                    </a:cubicBezTo>
                    <a:cubicBezTo>
                      <a:pt x="65" y="0"/>
                      <a:pt x="63" y="0"/>
                      <a:pt x="62" y="0"/>
                    </a:cubicBezTo>
                    <a:cubicBezTo>
                      <a:pt x="61" y="1"/>
                      <a:pt x="60" y="3"/>
                      <a:pt x="59" y="3"/>
                    </a:cubicBezTo>
                    <a:cubicBezTo>
                      <a:pt x="57" y="3"/>
                      <a:pt x="56" y="1"/>
                      <a:pt x="55" y="1"/>
                    </a:cubicBezTo>
                    <a:cubicBezTo>
                      <a:pt x="52" y="3"/>
                      <a:pt x="51" y="7"/>
                      <a:pt x="49" y="9"/>
                    </a:cubicBezTo>
                    <a:cubicBezTo>
                      <a:pt x="48" y="10"/>
                      <a:pt x="46" y="10"/>
                      <a:pt x="44" y="9"/>
                    </a:cubicBezTo>
                    <a:cubicBezTo>
                      <a:pt x="42" y="8"/>
                      <a:pt x="42" y="4"/>
                      <a:pt x="39" y="3"/>
                    </a:cubicBezTo>
                    <a:cubicBezTo>
                      <a:pt x="37" y="2"/>
                      <a:pt x="34" y="3"/>
                      <a:pt x="31" y="4"/>
                    </a:cubicBezTo>
                    <a:cubicBezTo>
                      <a:pt x="27" y="4"/>
                      <a:pt x="23" y="7"/>
                      <a:pt x="19" y="7"/>
                    </a:cubicBezTo>
                    <a:lnTo>
                      <a:pt x="14" y="7"/>
                    </a:lnTo>
                    <a:lnTo>
                      <a:pt x="14" y="61"/>
                    </a:lnTo>
                    <a:lnTo>
                      <a:pt x="0" y="61"/>
                    </a:lnTo>
                    <a:lnTo>
                      <a:pt x="0" y="103"/>
                    </a:lnTo>
                    <a:cubicBezTo>
                      <a:pt x="1" y="104"/>
                      <a:pt x="3" y="105"/>
                      <a:pt x="4" y="107"/>
                    </a:cubicBezTo>
                    <a:cubicBezTo>
                      <a:pt x="6" y="110"/>
                      <a:pt x="5" y="113"/>
                      <a:pt x="6" y="116"/>
                    </a:cubicBezTo>
                    <a:cubicBezTo>
                      <a:pt x="7" y="118"/>
                      <a:pt x="9" y="119"/>
                      <a:pt x="9" y="121"/>
                    </a:cubicBezTo>
                    <a:cubicBezTo>
                      <a:pt x="9" y="124"/>
                      <a:pt x="6" y="126"/>
                      <a:pt x="5" y="129"/>
                    </a:cubicBezTo>
                    <a:cubicBezTo>
                      <a:pt x="5" y="131"/>
                      <a:pt x="5" y="133"/>
                      <a:pt x="7" y="134"/>
                    </a:cubicBezTo>
                    <a:cubicBezTo>
                      <a:pt x="8" y="135"/>
                      <a:pt x="10" y="133"/>
                      <a:pt x="12" y="132"/>
                    </a:cubicBezTo>
                    <a:cubicBezTo>
                      <a:pt x="15" y="132"/>
                      <a:pt x="18" y="134"/>
                      <a:pt x="21" y="133"/>
                    </a:cubicBezTo>
                    <a:cubicBezTo>
                      <a:pt x="22" y="133"/>
                      <a:pt x="21" y="130"/>
                      <a:pt x="22" y="130"/>
                    </a:cubicBezTo>
                    <a:cubicBezTo>
                      <a:pt x="24" y="128"/>
                      <a:pt x="27" y="127"/>
                      <a:pt x="29" y="125"/>
                    </a:cubicBezTo>
                    <a:cubicBezTo>
                      <a:pt x="31" y="124"/>
                      <a:pt x="32" y="122"/>
                      <a:pt x="33" y="120"/>
                    </a:cubicBezTo>
                    <a:cubicBezTo>
                      <a:pt x="35" y="118"/>
                      <a:pt x="35" y="115"/>
                      <a:pt x="36" y="112"/>
                    </a:cubicBezTo>
                    <a:cubicBezTo>
                      <a:pt x="37" y="111"/>
                      <a:pt x="39" y="110"/>
                      <a:pt x="41" y="110"/>
                    </a:cubicBezTo>
                    <a:cubicBezTo>
                      <a:pt x="43" y="109"/>
                      <a:pt x="45" y="109"/>
                      <a:pt x="46" y="110"/>
                    </a:cubicBezTo>
                    <a:cubicBezTo>
                      <a:pt x="48" y="111"/>
                      <a:pt x="48" y="114"/>
                      <a:pt x="50" y="116"/>
                    </a:cubicBezTo>
                    <a:cubicBezTo>
                      <a:pt x="52" y="117"/>
                      <a:pt x="55" y="118"/>
                      <a:pt x="57" y="118"/>
                    </a:cubicBezTo>
                    <a:cubicBezTo>
                      <a:pt x="59" y="118"/>
                      <a:pt x="60" y="118"/>
                      <a:pt x="61" y="117"/>
                    </a:cubicBezTo>
                    <a:cubicBezTo>
                      <a:pt x="64" y="117"/>
                      <a:pt x="67" y="117"/>
                      <a:pt x="70" y="116"/>
                    </a:cubicBezTo>
                    <a:cubicBezTo>
                      <a:pt x="71" y="114"/>
                      <a:pt x="71" y="112"/>
                      <a:pt x="72" y="110"/>
                    </a:cubicBezTo>
                    <a:cubicBezTo>
                      <a:pt x="73" y="107"/>
                      <a:pt x="72" y="104"/>
                      <a:pt x="74" y="101"/>
                    </a:cubicBezTo>
                    <a:cubicBezTo>
                      <a:pt x="76" y="100"/>
                      <a:pt x="79" y="100"/>
                      <a:pt x="81" y="99"/>
                    </a:cubicBezTo>
                    <a:cubicBezTo>
                      <a:pt x="84" y="97"/>
                      <a:pt x="86" y="95"/>
                      <a:pt x="87" y="93"/>
                    </a:cubicBezTo>
                    <a:cubicBezTo>
                      <a:pt x="89" y="90"/>
                      <a:pt x="88" y="86"/>
                      <a:pt x="89" y="84"/>
                    </a:cubicBezTo>
                    <a:cubicBezTo>
                      <a:pt x="92" y="80"/>
                      <a:pt x="97" y="77"/>
                      <a:pt x="101" y="73"/>
                    </a:cubicBezTo>
                    <a:cubicBezTo>
                      <a:pt x="103" y="72"/>
                      <a:pt x="105" y="70"/>
                      <a:pt x="108" y="68"/>
                    </a:cubicBezTo>
                    <a:cubicBezTo>
                      <a:pt x="109" y="68"/>
                      <a:pt x="111" y="67"/>
                      <a:pt x="112" y="66"/>
                    </a:cubicBezTo>
                    <a:cubicBezTo>
                      <a:pt x="113" y="65"/>
                      <a:pt x="115" y="64"/>
                      <a:pt x="116" y="6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28" name="Freeform 2515"/>
              <p:cNvSpPr>
                <a:spLocks noChangeAspect="1"/>
              </p:cNvSpPr>
              <p:nvPr/>
            </p:nvSpPr>
            <p:spPr bwMode="auto">
              <a:xfrm>
                <a:off x="4866936" y="3156316"/>
                <a:ext cx="131981" cy="102173"/>
              </a:xfrm>
              <a:custGeom>
                <a:avLst/>
                <a:gdLst>
                  <a:gd name="T0" fmla="*/ 92 w 98"/>
                  <a:gd name="T1" fmla="*/ 122 h 102"/>
                  <a:gd name="T2" fmla="*/ 108 w 98"/>
                  <a:gd name="T3" fmla="*/ 103 h 102"/>
                  <a:gd name="T4" fmla="*/ 108 w 98"/>
                  <a:gd name="T5" fmla="*/ 92 h 102"/>
                  <a:gd name="T6" fmla="*/ 111 w 98"/>
                  <a:gd name="T7" fmla="*/ 88 h 102"/>
                  <a:gd name="T8" fmla="*/ 113 w 98"/>
                  <a:gd name="T9" fmla="*/ 82 h 102"/>
                  <a:gd name="T10" fmla="*/ 117 w 98"/>
                  <a:gd name="T11" fmla="*/ 76 h 102"/>
                  <a:gd name="T12" fmla="*/ 112 w 98"/>
                  <a:gd name="T13" fmla="*/ 72 h 102"/>
                  <a:gd name="T14" fmla="*/ 113 w 98"/>
                  <a:gd name="T15" fmla="*/ 68 h 102"/>
                  <a:gd name="T16" fmla="*/ 110 w 98"/>
                  <a:gd name="T17" fmla="*/ 62 h 102"/>
                  <a:gd name="T18" fmla="*/ 112 w 98"/>
                  <a:gd name="T19" fmla="*/ 59 h 102"/>
                  <a:gd name="T20" fmla="*/ 118 w 98"/>
                  <a:gd name="T21" fmla="*/ 52 h 102"/>
                  <a:gd name="T22" fmla="*/ 116 w 98"/>
                  <a:gd name="T23" fmla="*/ 45 h 102"/>
                  <a:gd name="T24" fmla="*/ 116 w 98"/>
                  <a:gd name="T25" fmla="*/ 33 h 102"/>
                  <a:gd name="T26" fmla="*/ 111 w 98"/>
                  <a:gd name="T27" fmla="*/ 22 h 102"/>
                  <a:gd name="T28" fmla="*/ 101 w 98"/>
                  <a:gd name="T29" fmla="*/ 19 h 102"/>
                  <a:gd name="T30" fmla="*/ 98 w 98"/>
                  <a:gd name="T31" fmla="*/ 14 h 102"/>
                  <a:gd name="T32" fmla="*/ 94 w 98"/>
                  <a:gd name="T33" fmla="*/ 10 h 102"/>
                  <a:gd name="T34" fmla="*/ 87 w 98"/>
                  <a:gd name="T35" fmla="*/ 7 h 102"/>
                  <a:gd name="T36" fmla="*/ 78 w 98"/>
                  <a:gd name="T37" fmla="*/ 7 h 102"/>
                  <a:gd name="T38" fmla="*/ 76 w 98"/>
                  <a:gd name="T39" fmla="*/ 5 h 102"/>
                  <a:gd name="T40" fmla="*/ 78 w 98"/>
                  <a:gd name="T41" fmla="*/ 1 h 102"/>
                  <a:gd name="T42" fmla="*/ 70 w 98"/>
                  <a:gd name="T43" fmla="*/ 1 h 102"/>
                  <a:gd name="T44" fmla="*/ 57 w 98"/>
                  <a:gd name="T45" fmla="*/ 8 h 102"/>
                  <a:gd name="T46" fmla="*/ 55 w 98"/>
                  <a:gd name="T47" fmla="*/ 17 h 102"/>
                  <a:gd name="T48" fmla="*/ 43 w 98"/>
                  <a:gd name="T49" fmla="*/ 24 h 102"/>
                  <a:gd name="T50" fmla="*/ 36 w 98"/>
                  <a:gd name="T51" fmla="*/ 30 h 102"/>
                  <a:gd name="T52" fmla="*/ 33 w 98"/>
                  <a:gd name="T53" fmla="*/ 37 h 102"/>
                  <a:gd name="T54" fmla="*/ 26 w 98"/>
                  <a:gd name="T55" fmla="*/ 43 h 102"/>
                  <a:gd name="T56" fmla="*/ 18 w 98"/>
                  <a:gd name="T57" fmla="*/ 45 h 102"/>
                  <a:gd name="T58" fmla="*/ 13 w 98"/>
                  <a:gd name="T59" fmla="*/ 42 h 102"/>
                  <a:gd name="T60" fmla="*/ 5 w 98"/>
                  <a:gd name="T61" fmla="*/ 41 h 102"/>
                  <a:gd name="T62" fmla="*/ 0 w 98"/>
                  <a:gd name="T63" fmla="*/ 42 h 102"/>
                  <a:gd name="T64" fmla="*/ 5 w 98"/>
                  <a:gd name="T65" fmla="*/ 52 h 102"/>
                  <a:gd name="T66" fmla="*/ 10 w 98"/>
                  <a:gd name="T67" fmla="*/ 59 h 102"/>
                  <a:gd name="T68" fmla="*/ 13 w 98"/>
                  <a:gd name="T69" fmla="*/ 71 h 102"/>
                  <a:gd name="T70" fmla="*/ 19 w 98"/>
                  <a:gd name="T71" fmla="*/ 74 h 102"/>
                  <a:gd name="T72" fmla="*/ 31 w 98"/>
                  <a:gd name="T73" fmla="*/ 81 h 102"/>
                  <a:gd name="T74" fmla="*/ 31 w 98"/>
                  <a:gd name="T75" fmla="*/ 88 h 102"/>
                  <a:gd name="T76" fmla="*/ 36 w 98"/>
                  <a:gd name="T77" fmla="*/ 88 h 102"/>
                  <a:gd name="T78" fmla="*/ 36 w 98"/>
                  <a:gd name="T79" fmla="*/ 99 h 102"/>
                  <a:gd name="T80" fmla="*/ 41 w 98"/>
                  <a:gd name="T81" fmla="*/ 106 h 102"/>
                  <a:gd name="T82" fmla="*/ 48 w 98"/>
                  <a:gd name="T83" fmla="*/ 107 h 102"/>
                  <a:gd name="T84" fmla="*/ 57 w 98"/>
                  <a:gd name="T85" fmla="*/ 111 h 102"/>
                  <a:gd name="T86" fmla="*/ 57 w 98"/>
                  <a:gd name="T87" fmla="*/ 115 h 102"/>
                  <a:gd name="T88" fmla="*/ 59 w 98"/>
                  <a:gd name="T89" fmla="*/ 117 h 102"/>
                  <a:gd name="T90" fmla="*/ 67 w 98"/>
                  <a:gd name="T91" fmla="*/ 118 h 102"/>
                  <a:gd name="T92" fmla="*/ 78 w 98"/>
                  <a:gd name="T93" fmla="*/ 119 h 102"/>
                  <a:gd name="T94" fmla="*/ 84 w 98"/>
                  <a:gd name="T95" fmla="*/ 119 h 102"/>
                  <a:gd name="T96" fmla="*/ 89 w 98"/>
                  <a:gd name="T97" fmla="*/ 122 h 102"/>
                  <a:gd name="T98" fmla="*/ 92 w 98"/>
                  <a:gd name="T99" fmla="*/ 122 h 102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98"/>
                  <a:gd name="T151" fmla="*/ 0 h 102"/>
                  <a:gd name="T152" fmla="*/ 98 w 98"/>
                  <a:gd name="T153" fmla="*/ 102 h 102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98" h="102">
                    <a:moveTo>
                      <a:pt x="76" y="101"/>
                    </a:moveTo>
                    <a:cubicBezTo>
                      <a:pt x="80" y="96"/>
                      <a:pt x="86" y="91"/>
                      <a:pt x="90" y="85"/>
                    </a:cubicBezTo>
                    <a:cubicBezTo>
                      <a:pt x="91" y="83"/>
                      <a:pt x="89" y="79"/>
                      <a:pt x="90" y="76"/>
                    </a:cubicBezTo>
                    <a:cubicBezTo>
                      <a:pt x="90" y="75"/>
                      <a:pt x="91" y="74"/>
                      <a:pt x="92" y="73"/>
                    </a:cubicBezTo>
                    <a:cubicBezTo>
                      <a:pt x="93" y="72"/>
                      <a:pt x="93" y="70"/>
                      <a:pt x="94" y="68"/>
                    </a:cubicBezTo>
                    <a:cubicBezTo>
                      <a:pt x="95" y="67"/>
                      <a:pt x="97" y="65"/>
                      <a:pt x="97" y="63"/>
                    </a:cubicBezTo>
                    <a:cubicBezTo>
                      <a:pt x="97" y="62"/>
                      <a:pt x="94" y="61"/>
                      <a:pt x="93" y="60"/>
                    </a:cubicBezTo>
                    <a:cubicBezTo>
                      <a:pt x="93" y="59"/>
                      <a:pt x="94" y="57"/>
                      <a:pt x="94" y="56"/>
                    </a:cubicBezTo>
                    <a:cubicBezTo>
                      <a:pt x="93" y="54"/>
                      <a:pt x="91" y="53"/>
                      <a:pt x="91" y="51"/>
                    </a:cubicBezTo>
                    <a:cubicBezTo>
                      <a:pt x="90" y="50"/>
                      <a:pt x="92" y="50"/>
                      <a:pt x="93" y="49"/>
                    </a:cubicBezTo>
                    <a:cubicBezTo>
                      <a:pt x="94" y="47"/>
                      <a:pt x="97" y="45"/>
                      <a:pt x="98" y="43"/>
                    </a:cubicBezTo>
                    <a:cubicBezTo>
                      <a:pt x="98" y="41"/>
                      <a:pt x="96" y="39"/>
                      <a:pt x="96" y="37"/>
                    </a:cubicBezTo>
                    <a:cubicBezTo>
                      <a:pt x="96" y="33"/>
                      <a:pt x="97" y="30"/>
                      <a:pt x="96" y="27"/>
                    </a:cubicBezTo>
                    <a:cubicBezTo>
                      <a:pt x="96" y="24"/>
                      <a:pt x="95" y="20"/>
                      <a:pt x="92" y="18"/>
                    </a:cubicBezTo>
                    <a:cubicBezTo>
                      <a:pt x="90" y="16"/>
                      <a:pt x="86" y="17"/>
                      <a:pt x="84" y="16"/>
                    </a:cubicBezTo>
                    <a:cubicBezTo>
                      <a:pt x="82" y="15"/>
                      <a:pt x="82" y="13"/>
                      <a:pt x="81" y="12"/>
                    </a:cubicBezTo>
                    <a:cubicBezTo>
                      <a:pt x="80" y="10"/>
                      <a:pt x="79" y="9"/>
                      <a:pt x="78" y="8"/>
                    </a:cubicBezTo>
                    <a:cubicBezTo>
                      <a:pt x="76" y="7"/>
                      <a:pt x="74" y="7"/>
                      <a:pt x="72" y="6"/>
                    </a:cubicBezTo>
                    <a:cubicBezTo>
                      <a:pt x="70" y="6"/>
                      <a:pt x="67" y="7"/>
                      <a:pt x="65" y="6"/>
                    </a:cubicBezTo>
                    <a:cubicBezTo>
                      <a:pt x="64" y="6"/>
                      <a:pt x="63" y="5"/>
                      <a:pt x="63" y="4"/>
                    </a:cubicBezTo>
                    <a:cubicBezTo>
                      <a:pt x="64" y="3"/>
                      <a:pt x="65" y="2"/>
                      <a:pt x="65" y="1"/>
                    </a:cubicBezTo>
                    <a:cubicBezTo>
                      <a:pt x="62" y="1"/>
                      <a:pt x="60" y="0"/>
                      <a:pt x="58" y="1"/>
                    </a:cubicBezTo>
                    <a:cubicBezTo>
                      <a:pt x="54" y="2"/>
                      <a:pt x="49" y="4"/>
                      <a:pt x="47" y="7"/>
                    </a:cubicBezTo>
                    <a:cubicBezTo>
                      <a:pt x="45" y="8"/>
                      <a:pt x="48" y="12"/>
                      <a:pt x="46" y="14"/>
                    </a:cubicBezTo>
                    <a:cubicBezTo>
                      <a:pt x="43" y="17"/>
                      <a:pt x="39" y="17"/>
                      <a:pt x="36" y="20"/>
                    </a:cubicBezTo>
                    <a:cubicBezTo>
                      <a:pt x="34" y="21"/>
                      <a:pt x="32" y="23"/>
                      <a:pt x="30" y="25"/>
                    </a:cubicBezTo>
                    <a:cubicBezTo>
                      <a:pt x="29" y="27"/>
                      <a:pt x="28" y="29"/>
                      <a:pt x="27" y="31"/>
                    </a:cubicBezTo>
                    <a:cubicBezTo>
                      <a:pt x="25" y="33"/>
                      <a:pt x="24" y="35"/>
                      <a:pt x="22" y="36"/>
                    </a:cubicBezTo>
                    <a:cubicBezTo>
                      <a:pt x="20" y="37"/>
                      <a:pt x="18" y="38"/>
                      <a:pt x="15" y="37"/>
                    </a:cubicBezTo>
                    <a:cubicBezTo>
                      <a:pt x="14" y="37"/>
                      <a:pt x="13" y="36"/>
                      <a:pt x="11" y="35"/>
                    </a:cubicBezTo>
                    <a:cubicBezTo>
                      <a:pt x="9" y="35"/>
                      <a:pt x="7" y="34"/>
                      <a:pt x="4" y="34"/>
                    </a:cubicBezTo>
                    <a:cubicBezTo>
                      <a:pt x="2" y="34"/>
                      <a:pt x="1" y="34"/>
                      <a:pt x="0" y="35"/>
                    </a:cubicBezTo>
                    <a:cubicBezTo>
                      <a:pt x="1" y="37"/>
                      <a:pt x="3" y="40"/>
                      <a:pt x="4" y="43"/>
                    </a:cubicBezTo>
                    <a:cubicBezTo>
                      <a:pt x="6" y="45"/>
                      <a:pt x="7" y="47"/>
                      <a:pt x="8" y="49"/>
                    </a:cubicBezTo>
                    <a:cubicBezTo>
                      <a:pt x="9" y="52"/>
                      <a:pt x="9" y="56"/>
                      <a:pt x="11" y="59"/>
                    </a:cubicBezTo>
                    <a:cubicBezTo>
                      <a:pt x="12" y="61"/>
                      <a:pt x="14" y="60"/>
                      <a:pt x="16" y="61"/>
                    </a:cubicBezTo>
                    <a:cubicBezTo>
                      <a:pt x="19" y="63"/>
                      <a:pt x="23" y="65"/>
                      <a:pt x="26" y="67"/>
                    </a:cubicBezTo>
                    <a:cubicBezTo>
                      <a:pt x="27" y="69"/>
                      <a:pt x="25" y="71"/>
                      <a:pt x="26" y="73"/>
                    </a:cubicBezTo>
                    <a:cubicBezTo>
                      <a:pt x="27" y="74"/>
                      <a:pt x="30" y="71"/>
                      <a:pt x="30" y="73"/>
                    </a:cubicBezTo>
                    <a:cubicBezTo>
                      <a:pt x="32" y="75"/>
                      <a:pt x="30" y="79"/>
                      <a:pt x="30" y="82"/>
                    </a:cubicBezTo>
                    <a:cubicBezTo>
                      <a:pt x="31" y="85"/>
                      <a:pt x="32" y="87"/>
                      <a:pt x="34" y="88"/>
                    </a:cubicBezTo>
                    <a:cubicBezTo>
                      <a:pt x="36" y="90"/>
                      <a:pt x="38" y="88"/>
                      <a:pt x="40" y="89"/>
                    </a:cubicBezTo>
                    <a:cubicBezTo>
                      <a:pt x="43" y="90"/>
                      <a:pt x="45" y="90"/>
                      <a:pt x="47" y="92"/>
                    </a:cubicBezTo>
                    <a:cubicBezTo>
                      <a:pt x="48" y="92"/>
                      <a:pt x="47" y="94"/>
                      <a:pt x="47" y="95"/>
                    </a:cubicBezTo>
                    <a:cubicBezTo>
                      <a:pt x="48" y="96"/>
                      <a:pt x="48" y="97"/>
                      <a:pt x="49" y="97"/>
                    </a:cubicBezTo>
                    <a:cubicBezTo>
                      <a:pt x="52" y="97"/>
                      <a:pt x="54" y="97"/>
                      <a:pt x="56" y="98"/>
                    </a:cubicBezTo>
                    <a:cubicBezTo>
                      <a:pt x="59" y="98"/>
                      <a:pt x="62" y="99"/>
                      <a:pt x="65" y="99"/>
                    </a:cubicBezTo>
                    <a:cubicBezTo>
                      <a:pt x="66" y="99"/>
                      <a:pt x="68" y="99"/>
                      <a:pt x="70" y="99"/>
                    </a:cubicBezTo>
                    <a:cubicBezTo>
                      <a:pt x="72" y="99"/>
                      <a:pt x="73" y="101"/>
                      <a:pt x="74" y="101"/>
                    </a:cubicBezTo>
                    <a:cubicBezTo>
                      <a:pt x="75" y="102"/>
                      <a:pt x="75" y="101"/>
                      <a:pt x="76" y="10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29" name="Freeform 2516"/>
              <p:cNvSpPr>
                <a:spLocks noChangeAspect="1"/>
              </p:cNvSpPr>
              <p:nvPr/>
            </p:nvSpPr>
            <p:spPr bwMode="auto">
              <a:xfrm>
                <a:off x="4951941" y="3079064"/>
                <a:ext cx="180077" cy="245877"/>
              </a:xfrm>
              <a:custGeom>
                <a:avLst/>
                <a:gdLst>
                  <a:gd name="T0" fmla="*/ 37 w 134"/>
                  <a:gd name="T1" fmla="*/ 290 h 247"/>
                  <a:gd name="T2" fmla="*/ 35 w 134"/>
                  <a:gd name="T3" fmla="*/ 276 h 247"/>
                  <a:gd name="T4" fmla="*/ 40 w 134"/>
                  <a:gd name="T5" fmla="*/ 270 h 247"/>
                  <a:gd name="T6" fmla="*/ 58 w 134"/>
                  <a:gd name="T7" fmla="*/ 260 h 247"/>
                  <a:gd name="T8" fmla="*/ 76 w 134"/>
                  <a:gd name="T9" fmla="*/ 248 h 247"/>
                  <a:gd name="T10" fmla="*/ 77 w 134"/>
                  <a:gd name="T11" fmla="*/ 231 h 247"/>
                  <a:gd name="T12" fmla="*/ 74 w 134"/>
                  <a:gd name="T13" fmla="*/ 207 h 247"/>
                  <a:gd name="T14" fmla="*/ 67 w 134"/>
                  <a:gd name="T15" fmla="*/ 191 h 247"/>
                  <a:gd name="T16" fmla="*/ 66 w 134"/>
                  <a:gd name="T17" fmla="*/ 173 h 247"/>
                  <a:gd name="T18" fmla="*/ 85 w 134"/>
                  <a:gd name="T19" fmla="*/ 153 h 247"/>
                  <a:gd name="T20" fmla="*/ 102 w 134"/>
                  <a:gd name="T21" fmla="*/ 134 h 247"/>
                  <a:gd name="T22" fmla="*/ 137 w 134"/>
                  <a:gd name="T23" fmla="*/ 114 h 247"/>
                  <a:gd name="T24" fmla="*/ 161 w 134"/>
                  <a:gd name="T25" fmla="*/ 80 h 247"/>
                  <a:gd name="T26" fmla="*/ 160 w 134"/>
                  <a:gd name="T27" fmla="*/ 73 h 247"/>
                  <a:gd name="T28" fmla="*/ 157 w 134"/>
                  <a:gd name="T29" fmla="*/ 53 h 247"/>
                  <a:gd name="T30" fmla="*/ 154 w 134"/>
                  <a:gd name="T31" fmla="*/ 22 h 247"/>
                  <a:gd name="T32" fmla="*/ 159 w 134"/>
                  <a:gd name="T33" fmla="*/ 6 h 247"/>
                  <a:gd name="T34" fmla="*/ 153 w 134"/>
                  <a:gd name="T35" fmla="*/ 2 h 247"/>
                  <a:gd name="T36" fmla="*/ 133 w 134"/>
                  <a:gd name="T37" fmla="*/ 16 h 247"/>
                  <a:gd name="T38" fmla="*/ 124 w 134"/>
                  <a:gd name="T39" fmla="*/ 17 h 247"/>
                  <a:gd name="T40" fmla="*/ 113 w 134"/>
                  <a:gd name="T41" fmla="*/ 23 h 247"/>
                  <a:gd name="T42" fmla="*/ 96 w 134"/>
                  <a:gd name="T43" fmla="*/ 24 h 247"/>
                  <a:gd name="T44" fmla="*/ 83 w 134"/>
                  <a:gd name="T45" fmla="*/ 22 h 247"/>
                  <a:gd name="T46" fmla="*/ 70 w 134"/>
                  <a:gd name="T47" fmla="*/ 19 h 247"/>
                  <a:gd name="T48" fmla="*/ 66 w 134"/>
                  <a:gd name="T49" fmla="*/ 35 h 247"/>
                  <a:gd name="T50" fmla="*/ 68 w 134"/>
                  <a:gd name="T51" fmla="*/ 53 h 247"/>
                  <a:gd name="T52" fmla="*/ 77 w 134"/>
                  <a:gd name="T53" fmla="*/ 66 h 247"/>
                  <a:gd name="T54" fmla="*/ 85 w 134"/>
                  <a:gd name="T55" fmla="*/ 81 h 247"/>
                  <a:gd name="T56" fmla="*/ 85 w 134"/>
                  <a:gd name="T57" fmla="*/ 102 h 247"/>
                  <a:gd name="T58" fmla="*/ 77 w 134"/>
                  <a:gd name="T59" fmla="*/ 109 h 247"/>
                  <a:gd name="T60" fmla="*/ 65 w 134"/>
                  <a:gd name="T61" fmla="*/ 107 h 247"/>
                  <a:gd name="T62" fmla="*/ 61 w 134"/>
                  <a:gd name="T63" fmla="*/ 97 h 247"/>
                  <a:gd name="T64" fmla="*/ 66 w 134"/>
                  <a:gd name="T65" fmla="*/ 79 h 247"/>
                  <a:gd name="T66" fmla="*/ 52 w 134"/>
                  <a:gd name="T67" fmla="*/ 75 h 247"/>
                  <a:gd name="T68" fmla="*/ 43 w 134"/>
                  <a:gd name="T69" fmla="*/ 67 h 247"/>
                  <a:gd name="T70" fmla="*/ 4 w 134"/>
                  <a:gd name="T71" fmla="*/ 91 h 247"/>
                  <a:gd name="T72" fmla="*/ 0 w 134"/>
                  <a:gd name="T73" fmla="*/ 98 h 247"/>
                  <a:gd name="T74" fmla="*/ 11 w 134"/>
                  <a:gd name="T75" fmla="*/ 101 h 247"/>
                  <a:gd name="T76" fmla="*/ 22 w 134"/>
                  <a:gd name="T77" fmla="*/ 108 h 247"/>
                  <a:gd name="T78" fmla="*/ 35 w 134"/>
                  <a:gd name="T79" fmla="*/ 115 h 247"/>
                  <a:gd name="T80" fmla="*/ 40 w 134"/>
                  <a:gd name="T81" fmla="*/ 138 h 247"/>
                  <a:gd name="T82" fmla="*/ 36 w 134"/>
                  <a:gd name="T83" fmla="*/ 152 h 247"/>
                  <a:gd name="T84" fmla="*/ 37 w 134"/>
                  <a:gd name="T85" fmla="*/ 161 h 247"/>
                  <a:gd name="T86" fmla="*/ 41 w 134"/>
                  <a:gd name="T87" fmla="*/ 169 h 247"/>
                  <a:gd name="T88" fmla="*/ 35 w 134"/>
                  <a:gd name="T89" fmla="*/ 181 h 247"/>
                  <a:gd name="T90" fmla="*/ 32 w 134"/>
                  <a:gd name="T91" fmla="*/ 195 h 247"/>
                  <a:gd name="T92" fmla="*/ 17 w 134"/>
                  <a:gd name="T93" fmla="*/ 224 h 247"/>
                  <a:gd name="T94" fmla="*/ 19 w 134"/>
                  <a:gd name="T95" fmla="*/ 236 h 247"/>
                  <a:gd name="T96" fmla="*/ 24 w 134"/>
                  <a:gd name="T97" fmla="*/ 254 h 247"/>
                  <a:gd name="T98" fmla="*/ 23 w 134"/>
                  <a:gd name="T99" fmla="*/ 277 h 247"/>
                  <a:gd name="T100" fmla="*/ 25 w 134"/>
                  <a:gd name="T101" fmla="*/ 289 h 247"/>
                  <a:gd name="T102" fmla="*/ 37 w 134"/>
                  <a:gd name="T103" fmla="*/ 296 h 24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134"/>
                  <a:gd name="T157" fmla="*/ 0 h 247"/>
                  <a:gd name="T158" fmla="*/ 134 w 134"/>
                  <a:gd name="T159" fmla="*/ 247 h 247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134" h="247">
                    <a:moveTo>
                      <a:pt x="31" y="247"/>
                    </a:moveTo>
                    <a:cubicBezTo>
                      <a:pt x="31" y="246"/>
                      <a:pt x="31" y="243"/>
                      <a:pt x="31" y="242"/>
                    </a:cubicBezTo>
                    <a:cubicBezTo>
                      <a:pt x="31" y="239"/>
                      <a:pt x="29" y="237"/>
                      <a:pt x="28" y="235"/>
                    </a:cubicBezTo>
                    <a:cubicBezTo>
                      <a:pt x="28" y="234"/>
                      <a:pt x="28" y="232"/>
                      <a:pt x="29" y="230"/>
                    </a:cubicBezTo>
                    <a:cubicBezTo>
                      <a:pt x="29" y="228"/>
                      <a:pt x="30" y="226"/>
                      <a:pt x="31" y="225"/>
                    </a:cubicBezTo>
                    <a:cubicBezTo>
                      <a:pt x="31" y="224"/>
                      <a:pt x="32" y="225"/>
                      <a:pt x="33" y="225"/>
                    </a:cubicBezTo>
                    <a:cubicBezTo>
                      <a:pt x="35" y="223"/>
                      <a:pt x="37" y="222"/>
                      <a:pt x="39" y="220"/>
                    </a:cubicBezTo>
                    <a:cubicBezTo>
                      <a:pt x="42" y="219"/>
                      <a:pt x="45" y="218"/>
                      <a:pt x="48" y="217"/>
                    </a:cubicBezTo>
                    <a:cubicBezTo>
                      <a:pt x="51" y="215"/>
                      <a:pt x="55" y="214"/>
                      <a:pt x="59" y="212"/>
                    </a:cubicBezTo>
                    <a:cubicBezTo>
                      <a:pt x="60" y="210"/>
                      <a:pt x="62" y="209"/>
                      <a:pt x="63" y="207"/>
                    </a:cubicBezTo>
                    <a:cubicBezTo>
                      <a:pt x="63" y="206"/>
                      <a:pt x="63" y="204"/>
                      <a:pt x="63" y="203"/>
                    </a:cubicBezTo>
                    <a:cubicBezTo>
                      <a:pt x="64" y="199"/>
                      <a:pt x="64" y="196"/>
                      <a:pt x="64" y="193"/>
                    </a:cubicBezTo>
                    <a:cubicBezTo>
                      <a:pt x="64" y="189"/>
                      <a:pt x="64" y="185"/>
                      <a:pt x="64" y="181"/>
                    </a:cubicBezTo>
                    <a:cubicBezTo>
                      <a:pt x="63" y="178"/>
                      <a:pt x="63" y="176"/>
                      <a:pt x="62" y="173"/>
                    </a:cubicBezTo>
                    <a:cubicBezTo>
                      <a:pt x="62" y="169"/>
                      <a:pt x="61" y="165"/>
                      <a:pt x="60" y="161"/>
                    </a:cubicBezTo>
                    <a:cubicBezTo>
                      <a:pt x="59" y="160"/>
                      <a:pt x="57" y="160"/>
                      <a:pt x="56" y="159"/>
                    </a:cubicBezTo>
                    <a:cubicBezTo>
                      <a:pt x="56" y="158"/>
                      <a:pt x="58" y="157"/>
                      <a:pt x="58" y="155"/>
                    </a:cubicBezTo>
                    <a:cubicBezTo>
                      <a:pt x="58" y="151"/>
                      <a:pt x="54" y="148"/>
                      <a:pt x="55" y="144"/>
                    </a:cubicBezTo>
                    <a:cubicBezTo>
                      <a:pt x="55" y="143"/>
                      <a:pt x="58" y="142"/>
                      <a:pt x="59" y="141"/>
                    </a:cubicBezTo>
                    <a:cubicBezTo>
                      <a:pt x="63" y="137"/>
                      <a:pt x="67" y="133"/>
                      <a:pt x="71" y="128"/>
                    </a:cubicBezTo>
                    <a:cubicBezTo>
                      <a:pt x="75" y="124"/>
                      <a:pt x="78" y="120"/>
                      <a:pt x="82" y="116"/>
                    </a:cubicBezTo>
                    <a:cubicBezTo>
                      <a:pt x="83" y="115"/>
                      <a:pt x="84" y="113"/>
                      <a:pt x="85" y="112"/>
                    </a:cubicBezTo>
                    <a:cubicBezTo>
                      <a:pt x="91" y="108"/>
                      <a:pt x="96" y="105"/>
                      <a:pt x="102" y="102"/>
                    </a:cubicBezTo>
                    <a:cubicBezTo>
                      <a:pt x="106" y="99"/>
                      <a:pt x="111" y="98"/>
                      <a:pt x="114" y="95"/>
                    </a:cubicBezTo>
                    <a:cubicBezTo>
                      <a:pt x="120" y="90"/>
                      <a:pt x="124" y="84"/>
                      <a:pt x="128" y="78"/>
                    </a:cubicBezTo>
                    <a:cubicBezTo>
                      <a:pt x="130" y="74"/>
                      <a:pt x="133" y="71"/>
                      <a:pt x="134" y="67"/>
                    </a:cubicBezTo>
                    <a:cubicBezTo>
                      <a:pt x="134" y="66"/>
                      <a:pt x="131" y="66"/>
                      <a:pt x="131" y="65"/>
                    </a:cubicBezTo>
                    <a:cubicBezTo>
                      <a:pt x="131" y="64"/>
                      <a:pt x="133" y="63"/>
                      <a:pt x="133" y="61"/>
                    </a:cubicBezTo>
                    <a:cubicBezTo>
                      <a:pt x="133" y="60"/>
                      <a:pt x="130" y="59"/>
                      <a:pt x="130" y="57"/>
                    </a:cubicBezTo>
                    <a:cubicBezTo>
                      <a:pt x="129" y="53"/>
                      <a:pt x="131" y="49"/>
                      <a:pt x="131" y="44"/>
                    </a:cubicBezTo>
                    <a:cubicBezTo>
                      <a:pt x="131" y="41"/>
                      <a:pt x="130" y="37"/>
                      <a:pt x="130" y="33"/>
                    </a:cubicBezTo>
                    <a:cubicBezTo>
                      <a:pt x="129" y="28"/>
                      <a:pt x="128" y="23"/>
                      <a:pt x="128" y="18"/>
                    </a:cubicBezTo>
                    <a:cubicBezTo>
                      <a:pt x="128" y="15"/>
                      <a:pt x="128" y="12"/>
                      <a:pt x="129" y="9"/>
                    </a:cubicBezTo>
                    <a:cubicBezTo>
                      <a:pt x="129" y="8"/>
                      <a:pt x="132" y="7"/>
                      <a:pt x="132" y="5"/>
                    </a:cubicBezTo>
                    <a:cubicBezTo>
                      <a:pt x="132" y="4"/>
                      <a:pt x="132" y="2"/>
                      <a:pt x="131" y="1"/>
                    </a:cubicBezTo>
                    <a:cubicBezTo>
                      <a:pt x="130" y="0"/>
                      <a:pt x="128" y="2"/>
                      <a:pt x="127" y="2"/>
                    </a:cubicBezTo>
                    <a:cubicBezTo>
                      <a:pt x="124" y="5"/>
                      <a:pt x="121" y="9"/>
                      <a:pt x="117" y="11"/>
                    </a:cubicBezTo>
                    <a:cubicBezTo>
                      <a:pt x="116" y="12"/>
                      <a:pt x="113" y="12"/>
                      <a:pt x="111" y="13"/>
                    </a:cubicBezTo>
                    <a:cubicBezTo>
                      <a:pt x="110" y="14"/>
                      <a:pt x="108" y="15"/>
                      <a:pt x="106" y="16"/>
                    </a:cubicBezTo>
                    <a:cubicBezTo>
                      <a:pt x="105" y="16"/>
                      <a:pt x="105" y="14"/>
                      <a:pt x="103" y="14"/>
                    </a:cubicBezTo>
                    <a:cubicBezTo>
                      <a:pt x="102" y="13"/>
                      <a:pt x="100" y="13"/>
                      <a:pt x="99" y="14"/>
                    </a:cubicBezTo>
                    <a:cubicBezTo>
                      <a:pt x="96" y="15"/>
                      <a:pt x="96" y="18"/>
                      <a:pt x="94" y="19"/>
                    </a:cubicBezTo>
                    <a:cubicBezTo>
                      <a:pt x="91" y="20"/>
                      <a:pt x="90" y="17"/>
                      <a:pt x="87" y="17"/>
                    </a:cubicBezTo>
                    <a:cubicBezTo>
                      <a:pt x="85" y="17"/>
                      <a:pt x="83" y="20"/>
                      <a:pt x="80" y="20"/>
                    </a:cubicBezTo>
                    <a:cubicBezTo>
                      <a:pt x="77" y="19"/>
                      <a:pt x="77" y="14"/>
                      <a:pt x="74" y="13"/>
                    </a:cubicBezTo>
                    <a:cubicBezTo>
                      <a:pt x="72" y="13"/>
                      <a:pt x="71" y="17"/>
                      <a:pt x="69" y="18"/>
                    </a:cubicBezTo>
                    <a:cubicBezTo>
                      <a:pt x="67" y="18"/>
                      <a:pt x="64" y="18"/>
                      <a:pt x="62" y="18"/>
                    </a:cubicBezTo>
                    <a:cubicBezTo>
                      <a:pt x="61" y="17"/>
                      <a:pt x="60" y="17"/>
                      <a:pt x="58" y="16"/>
                    </a:cubicBezTo>
                    <a:cubicBezTo>
                      <a:pt x="58" y="19"/>
                      <a:pt x="57" y="21"/>
                      <a:pt x="56" y="23"/>
                    </a:cubicBezTo>
                    <a:cubicBezTo>
                      <a:pt x="56" y="25"/>
                      <a:pt x="55" y="27"/>
                      <a:pt x="55" y="29"/>
                    </a:cubicBezTo>
                    <a:cubicBezTo>
                      <a:pt x="55" y="31"/>
                      <a:pt x="55" y="34"/>
                      <a:pt x="55" y="36"/>
                    </a:cubicBezTo>
                    <a:cubicBezTo>
                      <a:pt x="56" y="38"/>
                      <a:pt x="56" y="41"/>
                      <a:pt x="57" y="44"/>
                    </a:cubicBezTo>
                    <a:cubicBezTo>
                      <a:pt x="57" y="46"/>
                      <a:pt x="57" y="48"/>
                      <a:pt x="58" y="50"/>
                    </a:cubicBezTo>
                    <a:cubicBezTo>
                      <a:pt x="59" y="52"/>
                      <a:pt x="62" y="53"/>
                      <a:pt x="64" y="55"/>
                    </a:cubicBezTo>
                    <a:cubicBezTo>
                      <a:pt x="66" y="57"/>
                      <a:pt x="66" y="59"/>
                      <a:pt x="67" y="61"/>
                    </a:cubicBezTo>
                    <a:cubicBezTo>
                      <a:pt x="69" y="64"/>
                      <a:pt x="70" y="66"/>
                      <a:pt x="71" y="68"/>
                    </a:cubicBezTo>
                    <a:cubicBezTo>
                      <a:pt x="72" y="71"/>
                      <a:pt x="71" y="75"/>
                      <a:pt x="71" y="79"/>
                    </a:cubicBezTo>
                    <a:cubicBezTo>
                      <a:pt x="71" y="81"/>
                      <a:pt x="72" y="83"/>
                      <a:pt x="71" y="85"/>
                    </a:cubicBezTo>
                    <a:cubicBezTo>
                      <a:pt x="70" y="87"/>
                      <a:pt x="67" y="85"/>
                      <a:pt x="65" y="86"/>
                    </a:cubicBezTo>
                    <a:cubicBezTo>
                      <a:pt x="64" y="87"/>
                      <a:pt x="64" y="89"/>
                      <a:pt x="64" y="91"/>
                    </a:cubicBezTo>
                    <a:cubicBezTo>
                      <a:pt x="63" y="93"/>
                      <a:pt x="64" y="98"/>
                      <a:pt x="62" y="97"/>
                    </a:cubicBezTo>
                    <a:cubicBezTo>
                      <a:pt x="58" y="96"/>
                      <a:pt x="56" y="92"/>
                      <a:pt x="54" y="89"/>
                    </a:cubicBezTo>
                    <a:cubicBezTo>
                      <a:pt x="53" y="87"/>
                      <a:pt x="52" y="86"/>
                      <a:pt x="52" y="84"/>
                    </a:cubicBezTo>
                    <a:cubicBezTo>
                      <a:pt x="51" y="83"/>
                      <a:pt x="50" y="82"/>
                      <a:pt x="51" y="81"/>
                    </a:cubicBezTo>
                    <a:cubicBezTo>
                      <a:pt x="52" y="78"/>
                      <a:pt x="54" y="77"/>
                      <a:pt x="55" y="75"/>
                    </a:cubicBezTo>
                    <a:cubicBezTo>
                      <a:pt x="56" y="72"/>
                      <a:pt x="56" y="69"/>
                      <a:pt x="55" y="66"/>
                    </a:cubicBezTo>
                    <a:cubicBezTo>
                      <a:pt x="54" y="64"/>
                      <a:pt x="54" y="61"/>
                      <a:pt x="52" y="61"/>
                    </a:cubicBezTo>
                    <a:cubicBezTo>
                      <a:pt x="49" y="60"/>
                      <a:pt x="46" y="65"/>
                      <a:pt x="43" y="63"/>
                    </a:cubicBezTo>
                    <a:cubicBezTo>
                      <a:pt x="40" y="62"/>
                      <a:pt x="41" y="57"/>
                      <a:pt x="39" y="55"/>
                    </a:cubicBezTo>
                    <a:cubicBezTo>
                      <a:pt x="39" y="54"/>
                      <a:pt x="37" y="56"/>
                      <a:pt x="36" y="56"/>
                    </a:cubicBezTo>
                    <a:lnTo>
                      <a:pt x="1" y="70"/>
                    </a:lnTo>
                    <a:lnTo>
                      <a:pt x="3" y="76"/>
                    </a:lnTo>
                    <a:lnTo>
                      <a:pt x="2" y="79"/>
                    </a:lnTo>
                    <a:cubicBezTo>
                      <a:pt x="2" y="80"/>
                      <a:pt x="1" y="81"/>
                      <a:pt x="0" y="82"/>
                    </a:cubicBezTo>
                    <a:cubicBezTo>
                      <a:pt x="0" y="83"/>
                      <a:pt x="1" y="84"/>
                      <a:pt x="2" y="84"/>
                    </a:cubicBezTo>
                    <a:cubicBezTo>
                      <a:pt x="4" y="85"/>
                      <a:pt x="7" y="84"/>
                      <a:pt x="9" y="84"/>
                    </a:cubicBezTo>
                    <a:cubicBezTo>
                      <a:pt x="11" y="85"/>
                      <a:pt x="13" y="85"/>
                      <a:pt x="15" y="86"/>
                    </a:cubicBezTo>
                    <a:cubicBezTo>
                      <a:pt x="16" y="87"/>
                      <a:pt x="17" y="88"/>
                      <a:pt x="18" y="90"/>
                    </a:cubicBezTo>
                    <a:cubicBezTo>
                      <a:pt x="19" y="91"/>
                      <a:pt x="19" y="93"/>
                      <a:pt x="21" y="94"/>
                    </a:cubicBezTo>
                    <a:cubicBezTo>
                      <a:pt x="23" y="95"/>
                      <a:pt x="27" y="94"/>
                      <a:pt x="29" y="96"/>
                    </a:cubicBezTo>
                    <a:cubicBezTo>
                      <a:pt x="32" y="98"/>
                      <a:pt x="33" y="102"/>
                      <a:pt x="33" y="105"/>
                    </a:cubicBezTo>
                    <a:cubicBezTo>
                      <a:pt x="34" y="108"/>
                      <a:pt x="33" y="111"/>
                      <a:pt x="33" y="115"/>
                    </a:cubicBezTo>
                    <a:cubicBezTo>
                      <a:pt x="33" y="117"/>
                      <a:pt x="35" y="119"/>
                      <a:pt x="35" y="121"/>
                    </a:cubicBezTo>
                    <a:cubicBezTo>
                      <a:pt x="34" y="123"/>
                      <a:pt x="31" y="125"/>
                      <a:pt x="30" y="127"/>
                    </a:cubicBezTo>
                    <a:cubicBezTo>
                      <a:pt x="29" y="128"/>
                      <a:pt x="27" y="128"/>
                      <a:pt x="28" y="129"/>
                    </a:cubicBezTo>
                    <a:cubicBezTo>
                      <a:pt x="28" y="131"/>
                      <a:pt x="30" y="132"/>
                      <a:pt x="31" y="134"/>
                    </a:cubicBezTo>
                    <a:cubicBezTo>
                      <a:pt x="31" y="135"/>
                      <a:pt x="30" y="137"/>
                      <a:pt x="30" y="138"/>
                    </a:cubicBezTo>
                    <a:cubicBezTo>
                      <a:pt x="31" y="139"/>
                      <a:pt x="34" y="140"/>
                      <a:pt x="34" y="141"/>
                    </a:cubicBezTo>
                    <a:cubicBezTo>
                      <a:pt x="34" y="143"/>
                      <a:pt x="32" y="145"/>
                      <a:pt x="31" y="146"/>
                    </a:cubicBezTo>
                    <a:cubicBezTo>
                      <a:pt x="30" y="148"/>
                      <a:pt x="30" y="150"/>
                      <a:pt x="29" y="151"/>
                    </a:cubicBezTo>
                    <a:cubicBezTo>
                      <a:pt x="28" y="152"/>
                      <a:pt x="27" y="153"/>
                      <a:pt x="27" y="154"/>
                    </a:cubicBezTo>
                    <a:cubicBezTo>
                      <a:pt x="26" y="157"/>
                      <a:pt x="28" y="161"/>
                      <a:pt x="27" y="163"/>
                    </a:cubicBezTo>
                    <a:cubicBezTo>
                      <a:pt x="23" y="169"/>
                      <a:pt x="17" y="174"/>
                      <a:pt x="13" y="179"/>
                    </a:cubicBezTo>
                    <a:cubicBezTo>
                      <a:pt x="13" y="182"/>
                      <a:pt x="13" y="184"/>
                      <a:pt x="14" y="187"/>
                    </a:cubicBezTo>
                    <a:cubicBezTo>
                      <a:pt x="14" y="188"/>
                      <a:pt x="16" y="190"/>
                      <a:pt x="16" y="191"/>
                    </a:cubicBezTo>
                    <a:cubicBezTo>
                      <a:pt x="16" y="193"/>
                      <a:pt x="15" y="195"/>
                      <a:pt x="16" y="197"/>
                    </a:cubicBezTo>
                    <a:cubicBezTo>
                      <a:pt x="16" y="200"/>
                      <a:pt x="17" y="202"/>
                      <a:pt x="18" y="205"/>
                    </a:cubicBezTo>
                    <a:cubicBezTo>
                      <a:pt x="19" y="207"/>
                      <a:pt x="20" y="210"/>
                      <a:pt x="20" y="212"/>
                    </a:cubicBezTo>
                    <a:cubicBezTo>
                      <a:pt x="20" y="217"/>
                      <a:pt x="20" y="222"/>
                      <a:pt x="19" y="227"/>
                    </a:cubicBezTo>
                    <a:cubicBezTo>
                      <a:pt x="19" y="229"/>
                      <a:pt x="19" y="230"/>
                      <a:pt x="19" y="231"/>
                    </a:cubicBezTo>
                    <a:cubicBezTo>
                      <a:pt x="19" y="232"/>
                      <a:pt x="20" y="233"/>
                      <a:pt x="21" y="235"/>
                    </a:cubicBezTo>
                    <a:cubicBezTo>
                      <a:pt x="20" y="237"/>
                      <a:pt x="21" y="239"/>
                      <a:pt x="21" y="241"/>
                    </a:cubicBezTo>
                    <a:cubicBezTo>
                      <a:pt x="21" y="243"/>
                      <a:pt x="21" y="244"/>
                      <a:pt x="21" y="246"/>
                    </a:cubicBezTo>
                    <a:lnTo>
                      <a:pt x="31" y="247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30" name="Freeform 2517"/>
              <p:cNvSpPr>
                <a:spLocks noChangeAspect="1"/>
              </p:cNvSpPr>
              <p:nvPr/>
            </p:nvSpPr>
            <p:spPr bwMode="auto">
              <a:xfrm>
                <a:off x="4993324" y="3064112"/>
                <a:ext cx="54806" cy="112140"/>
              </a:xfrm>
              <a:custGeom>
                <a:avLst/>
                <a:gdLst>
                  <a:gd name="T0" fmla="*/ 7 w 41"/>
                  <a:gd name="T1" fmla="*/ 0 h 113"/>
                  <a:gd name="T2" fmla="*/ 18 w 41"/>
                  <a:gd name="T3" fmla="*/ 6 h 113"/>
                  <a:gd name="T4" fmla="*/ 30 w 41"/>
                  <a:gd name="T5" fmla="*/ 18 h 113"/>
                  <a:gd name="T6" fmla="*/ 29 w 41"/>
                  <a:gd name="T7" fmla="*/ 30 h 113"/>
                  <a:gd name="T8" fmla="*/ 32 w 41"/>
                  <a:gd name="T9" fmla="*/ 37 h 113"/>
                  <a:gd name="T10" fmla="*/ 30 w 41"/>
                  <a:gd name="T11" fmla="*/ 45 h 113"/>
                  <a:gd name="T12" fmla="*/ 29 w 41"/>
                  <a:gd name="T13" fmla="*/ 53 h 113"/>
                  <a:gd name="T14" fmla="*/ 29 w 41"/>
                  <a:gd name="T15" fmla="*/ 61 h 113"/>
                  <a:gd name="T16" fmla="*/ 31 w 41"/>
                  <a:gd name="T17" fmla="*/ 70 h 113"/>
                  <a:gd name="T18" fmla="*/ 32 w 41"/>
                  <a:gd name="T19" fmla="*/ 78 h 113"/>
                  <a:gd name="T20" fmla="*/ 39 w 41"/>
                  <a:gd name="T21" fmla="*/ 84 h 113"/>
                  <a:gd name="T22" fmla="*/ 43 w 41"/>
                  <a:gd name="T23" fmla="*/ 91 h 113"/>
                  <a:gd name="T24" fmla="*/ 48 w 41"/>
                  <a:gd name="T25" fmla="*/ 99 h 113"/>
                  <a:gd name="T26" fmla="*/ 48 w 41"/>
                  <a:gd name="T27" fmla="*/ 112 h 113"/>
                  <a:gd name="T28" fmla="*/ 48 w 41"/>
                  <a:gd name="T29" fmla="*/ 119 h 113"/>
                  <a:gd name="T30" fmla="*/ 41 w 41"/>
                  <a:gd name="T31" fmla="*/ 121 h 113"/>
                  <a:gd name="T32" fmla="*/ 39 w 41"/>
                  <a:gd name="T33" fmla="*/ 127 h 113"/>
                  <a:gd name="T34" fmla="*/ 37 w 41"/>
                  <a:gd name="T35" fmla="*/ 134 h 113"/>
                  <a:gd name="T36" fmla="*/ 27 w 41"/>
                  <a:gd name="T37" fmla="*/ 124 h 113"/>
                  <a:gd name="T38" fmla="*/ 25 w 41"/>
                  <a:gd name="T39" fmla="*/ 118 h 113"/>
                  <a:gd name="T40" fmla="*/ 24 w 41"/>
                  <a:gd name="T41" fmla="*/ 115 h 113"/>
                  <a:gd name="T42" fmla="*/ 29 w 41"/>
                  <a:gd name="T43" fmla="*/ 108 h 113"/>
                  <a:gd name="T44" fmla="*/ 29 w 41"/>
                  <a:gd name="T45" fmla="*/ 97 h 113"/>
                  <a:gd name="T46" fmla="*/ 25 w 41"/>
                  <a:gd name="T47" fmla="*/ 91 h 113"/>
                  <a:gd name="T48" fmla="*/ 14 w 41"/>
                  <a:gd name="T49" fmla="*/ 93 h 113"/>
                  <a:gd name="T50" fmla="*/ 10 w 41"/>
                  <a:gd name="T51" fmla="*/ 84 h 113"/>
                  <a:gd name="T52" fmla="*/ 6 w 41"/>
                  <a:gd name="T53" fmla="*/ 85 h 113"/>
                  <a:gd name="T54" fmla="*/ 0 w 41"/>
                  <a:gd name="T55" fmla="*/ 79 h 113"/>
                  <a:gd name="T56" fmla="*/ 6 w 41"/>
                  <a:gd name="T57" fmla="*/ 69 h 113"/>
                  <a:gd name="T58" fmla="*/ 5 w 41"/>
                  <a:gd name="T59" fmla="*/ 59 h 113"/>
                  <a:gd name="T60" fmla="*/ 13 w 41"/>
                  <a:gd name="T61" fmla="*/ 55 h 113"/>
                  <a:gd name="T62" fmla="*/ 11 w 41"/>
                  <a:gd name="T63" fmla="*/ 53 h 113"/>
                  <a:gd name="T64" fmla="*/ 11 w 41"/>
                  <a:gd name="T65" fmla="*/ 41 h 113"/>
                  <a:gd name="T66" fmla="*/ 13 w 41"/>
                  <a:gd name="T67" fmla="*/ 33 h 113"/>
                  <a:gd name="T68" fmla="*/ 10 w 41"/>
                  <a:gd name="T69" fmla="*/ 27 h 113"/>
                  <a:gd name="T70" fmla="*/ 17 w 41"/>
                  <a:gd name="T71" fmla="*/ 24 h 113"/>
                  <a:gd name="T72" fmla="*/ 14 w 41"/>
                  <a:gd name="T73" fmla="*/ 16 h 113"/>
                  <a:gd name="T74" fmla="*/ 7 w 41"/>
                  <a:gd name="T75" fmla="*/ 7 h 113"/>
                  <a:gd name="T76" fmla="*/ 7 w 41"/>
                  <a:gd name="T77" fmla="*/ 0 h 113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41"/>
                  <a:gd name="T118" fmla="*/ 0 h 113"/>
                  <a:gd name="T119" fmla="*/ 41 w 41"/>
                  <a:gd name="T120" fmla="*/ 113 h 113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41" h="113">
                    <a:moveTo>
                      <a:pt x="6" y="0"/>
                    </a:moveTo>
                    <a:cubicBezTo>
                      <a:pt x="9" y="2"/>
                      <a:pt x="12" y="3"/>
                      <a:pt x="15" y="5"/>
                    </a:cubicBezTo>
                    <a:cubicBezTo>
                      <a:pt x="19" y="8"/>
                      <a:pt x="23" y="11"/>
                      <a:pt x="25" y="15"/>
                    </a:cubicBezTo>
                    <a:cubicBezTo>
                      <a:pt x="26" y="18"/>
                      <a:pt x="23" y="21"/>
                      <a:pt x="24" y="25"/>
                    </a:cubicBezTo>
                    <a:cubicBezTo>
                      <a:pt x="24" y="27"/>
                      <a:pt x="26" y="29"/>
                      <a:pt x="27" y="31"/>
                    </a:cubicBezTo>
                    <a:cubicBezTo>
                      <a:pt x="27" y="34"/>
                      <a:pt x="26" y="36"/>
                      <a:pt x="25" y="38"/>
                    </a:cubicBezTo>
                    <a:cubicBezTo>
                      <a:pt x="25" y="40"/>
                      <a:pt x="24" y="42"/>
                      <a:pt x="24" y="44"/>
                    </a:cubicBezTo>
                    <a:cubicBezTo>
                      <a:pt x="24" y="46"/>
                      <a:pt x="24" y="49"/>
                      <a:pt x="24" y="51"/>
                    </a:cubicBezTo>
                    <a:cubicBezTo>
                      <a:pt x="25" y="53"/>
                      <a:pt x="25" y="56"/>
                      <a:pt x="26" y="59"/>
                    </a:cubicBezTo>
                    <a:cubicBezTo>
                      <a:pt x="26" y="61"/>
                      <a:pt x="26" y="63"/>
                      <a:pt x="27" y="65"/>
                    </a:cubicBezTo>
                    <a:cubicBezTo>
                      <a:pt x="28" y="67"/>
                      <a:pt x="31" y="68"/>
                      <a:pt x="33" y="70"/>
                    </a:cubicBezTo>
                    <a:cubicBezTo>
                      <a:pt x="35" y="72"/>
                      <a:pt x="35" y="74"/>
                      <a:pt x="36" y="76"/>
                    </a:cubicBezTo>
                    <a:cubicBezTo>
                      <a:pt x="38" y="79"/>
                      <a:pt x="39" y="81"/>
                      <a:pt x="40" y="83"/>
                    </a:cubicBezTo>
                    <a:cubicBezTo>
                      <a:pt x="41" y="86"/>
                      <a:pt x="40" y="90"/>
                      <a:pt x="40" y="94"/>
                    </a:cubicBezTo>
                    <a:cubicBezTo>
                      <a:pt x="40" y="96"/>
                      <a:pt x="41" y="98"/>
                      <a:pt x="40" y="100"/>
                    </a:cubicBezTo>
                    <a:cubicBezTo>
                      <a:pt x="39" y="102"/>
                      <a:pt x="36" y="100"/>
                      <a:pt x="34" y="101"/>
                    </a:cubicBezTo>
                    <a:cubicBezTo>
                      <a:pt x="33" y="102"/>
                      <a:pt x="33" y="104"/>
                      <a:pt x="33" y="106"/>
                    </a:cubicBezTo>
                    <a:cubicBezTo>
                      <a:pt x="32" y="108"/>
                      <a:pt x="33" y="113"/>
                      <a:pt x="31" y="112"/>
                    </a:cubicBezTo>
                    <a:cubicBezTo>
                      <a:pt x="27" y="111"/>
                      <a:pt x="25" y="107"/>
                      <a:pt x="23" y="104"/>
                    </a:cubicBezTo>
                    <a:cubicBezTo>
                      <a:pt x="22" y="102"/>
                      <a:pt x="21" y="101"/>
                      <a:pt x="21" y="99"/>
                    </a:cubicBezTo>
                    <a:cubicBezTo>
                      <a:pt x="20" y="98"/>
                      <a:pt x="19" y="97"/>
                      <a:pt x="20" y="96"/>
                    </a:cubicBezTo>
                    <a:cubicBezTo>
                      <a:pt x="21" y="93"/>
                      <a:pt x="23" y="92"/>
                      <a:pt x="24" y="90"/>
                    </a:cubicBezTo>
                    <a:cubicBezTo>
                      <a:pt x="25" y="87"/>
                      <a:pt x="25" y="84"/>
                      <a:pt x="24" y="81"/>
                    </a:cubicBezTo>
                    <a:cubicBezTo>
                      <a:pt x="23" y="79"/>
                      <a:pt x="23" y="76"/>
                      <a:pt x="21" y="76"/>
                    </a:cubicBezTo>
                    <a:cubicBezTo>
                      <a:pt x="18" y="75"/>
                      <a:pt x="15" y="80"/>
                      <a:pt x="12" y="78"/>
                    </a:cubicBezTo>
                    <a:cubicBezTo>
                      <a:pt x="9" y="77"/>
                      <a:pt x="10" y="72"/>
                      <a:pt x="8" y="70"/>
                    </a:cubicBezTo>
                    <a:cubicBezTo>
                      <a:pt x="8" y="69"/>
                      <a:pt x="6" y="71"/>
                      <a:pt x="5" y="71"/>
                    </a:cubicBezTo>
                    <a:cubicBezTo>
                      <a:pt x="4" y="69"/>
                      <a:pt x="0" y="68"/>
                      <a:pt x="0" y="66"/>
                    </a:cubicBezTo>
                    <a:cubicBezTo>
                      <a:pt x="0" y="63"/>
                      <a:pt x="4" y="61"/>
                      <a:pt x="5" y="58"/>
                    </a:cubicBezTo>
                    <a:cubicBezTo>
                      <a:pt x="6" y="55"/>
                      <a:pt x="3" y="52"/>
                      <a:pt x="4" y="49"/>
                    </a:cubicBezTo>
                    <a:cubicBezTo>
                      <a:pt x="5" y="47"/>
                      <a:pt x="9" y="48"/>
                      <a:pt x="11" y="46"/>
                    </a:cubicBezTo>
                    <a:cubicBezTo>
                      <a:pt x="11" y="45"/>
                      <a:pt x="10" y="45"/>
                      <a:pt x="9" y="44"/>
                    </a:cubicBezTo>
                    <a:cubicBezTo>
                      <a:pt x="9" y="41"/>
                      <a:pt x="8" y="37"/>
                      <a:pt x="9" y="34"/>
                    </a:cubicBezTo>
                    <a:cubicBezTo>
                      <a:pt x="9" y="32"/>
                      <a:pt x="12" y="30"/>
                      <a:pt x="11" y="28"/>
                    </a:cubicBezTo>
                    <a:cubicBezTo>
                      <a:pt x="11" y="26"/>
                      <a:pt x="7" y="25"/>
                      <a:pt x="8" y="23"/>
                    </a:cubicBezTo>
                    <a:cubicBezTo>
                      <a:pt x="8" y="21"/>
                      <a:pt x="13" y="23"/>
                      <a:pt x="14" y="20"/>
                    </a:cubicBezTo>
                    <a:cubicBezTo>
                      <a:pt x="15" y="18"/>
                      <a:pt x="14" y="15"/>
                      <a:pt x="12" y="13"/>
                    </a:cubicBezTo>
                    <a:cubicBezTo>
                      <a:pt x="11" y="10"/>
                      <a:pt x="7" y="9"/>
                      <a:pt x="6" y="6"/>
                    </a:cubicBezTo>
                    <a:cubicBezTo>
                      <a:pt x="5" y="5"/>
                      <a:pt x="6" y="2"/>
                      <a:pt x="6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31" name="Freeform 2518"/>
              <p:cNvSpPr>
                <a:spLocks noChangeAspect="1"/>
              </p:cNvSpPr>
              <p:nvPr/>
            </p:nvSpPr>
            <p:spPr bwMode="auto">
              <a:xfrm>
                <a:off x="4813247" y="3048329"/>
                <a:ext cx="200212" cy="146197"/>
              </a:xfrm>
              <a:custGeom>
                <a:avLst/>
                <a:gdLst>
                  <a:gd name="T0" fmla="*/ 161 w 149"/>
                  <a:gd name="T1" fmla="*/ 19 h 147"/>
                  <a:gd name="T2" fmla="*/ 141 w 149"/>
                  <a:gd name="T3" fmla="*/ 10 h 147"/>
                  <a:gd name="T4" fmla="*/ 106 w 149"/>
                  <a:gd name="T5" fmla="*/ 4 h 147"/>
                  <a:gd name="T6" fmla="*/ 103 w 149"/>
                  <a:gd name="T7" fmla="*/ 29 h 147"/>
                  <a:gd name="T8" fmla="*/ 99 w 149"/>
                  <a:gd name="T9" fmla="*/ 53 h 147"/>
                  <a:gd name="T10" fmla="*/ 109 w 149"/>
                  <a:gd name="T11" fmla="*/ 73 h 147"/>
                  <a:gd name="T12" fmla="*/ 119 w 149"/>
                  <a:gd name="T13" fmla="*/ 72 h 147"/>
                  <a:gd name="T14" fmla="*/ 107 w 149"/>
                  <a:gd name="T15" fmla="*/ 93 h 147"/>
                  <a:gd name="T16" fmla="*/ 89 w 149"/>
                  <a:gd name="T17" fmla="*/ 72 h 147"/>
                  <a:gd name="T18" fmla="*/ 76 w 149"/>
                  <a:gd name="T19" fmla="*/ 59 h 147"/>
                  <a:gd name="T20" fmla="*/ 55 w 149"/>
                  <a:gd name="T21" fmla="*/ 62 h 147"/>
                  <a:gd name="T22" fmla="*/ 48 w 149"/>
                  <a:gd name="T23" fmla="*/ 54 h 147"/>
                  <a:gd name="T24" fmla="*/ 29 w 149"/>
                  <a:gd name="T25" fmla="*/ 51 h 147"/>
                  <a:gd name="T26" fmla="*/ 29 w 149"/>
                  <a:gd name="T27" fmla="*/ 67 h 147"/>
                  <a:gd name="T28" fmla="*/ 26 w 149"/>
                  <a:gd name="T29" fmla="*/ 79 h 147"/>
                  <a:gd name="T30" fmla="*/ 0 w 149"/>
                  <a:gd name="T31" fmla="*/ 84 h 147"/>
                  <a:gd name="T32" fmla="*/ 11 w 149"/>
                  <a:gd name="T33" fmla="*/ 156 h 147"/>
                  <a:gd name="T34" fmla="*/ 23 w 149"/>
                  <a:gd name="T35" fmla="*/ 168 h 147"/>
                  <a:gd name="T36" fmla="*/ 42 w 149"/>
                  <a:gd name="T37" fmla="*/ 165 h 147"/>
                  <a:gd name="T38" fmla="*/ 53 w 149"/>
                  <a:gd name="T39" fmla="*/ 171 h 147"/>
                  <a:gd name="T40" fmla="*/ 66 w 149"/>
                  <a:gd name="T41" fmla="*/ 175 h 147"/>
                  <a:gd name="T42" fmla="*/ 80 w 149"/>
                  <a:gd name="T43" fmla="*/ 168 h 147"/>
                  <a:gd name="T44" fmla="*/ 91 w 149"/>
                  <a:gd name="T45" fmla="*/ 154 h 147"/>
                  <a:gd name="T46" fmla="*/ 105 w 149"/>
                  <a:gd name="T47" fmla="*/ 139 h 147"/>
                  <a:gd name="T48" fmla="*/ 126 w 149"/>
                  <a:gd name="T49" fmla="*/ 132 h 147"/>
                  <a:gd name="T50" fmla="*/ 125 w 149"/>
                  <a:gd name="T51" fmla="*/ 121 h 147"/>
                  <a:gd name="T52" fmla="*/ 161 w 149"/>
                  <a:gd name="T53" fmla="*/ 98 h 147"/>
                  <a:gd name="T54" fmla="*/ 166 w 149"/>
                  <a:gd name="T55" fmla="*/ 78 h 147"/>
                  <a:gd name="T56" fmla="*/ 172 w 149"/>
                  <a:gd name="T57" fmla="*/ 72 h 147"/>
                  <a:gd name="T58" fmla="*/ 174 w 149"/>
                  <a:gd name="T59" fmla="*/ 53 h 147"/>
                  <a:gd name="T60" fmla="*/ 178 w 149"/>
                  <a:gd name="T61" fmla="*/ 43 h 147"/>
                  <a:gd name="T62" fmla="*/ 168 w 149"/>
                  <a:gd name="T63" fmla="*/ 26 h 147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49"/>
                  <a:gd name="T97" fmla="*/ 0 h 147"/>
                  <a:gd name="T98" fmla="*/ 149 w 149"/>
                  <a:gd name="T99" fmla="*/ 147 h 147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49" h="147">
                    <a:moveTo>
                      <a:pt x="140" y="16"/>
                    </a:moveTo>
                    <a:lnTo>
                      <a:pt x="134" y="16"/>
                    </a:lnTo>
                    <a:lnTo>
                      <a:pt x="126" y="13"/>
                    </a:lnTo>
                    <a:lnTo>
                      <a:pt x="117" y="8"/>
                    </a:lnTo>
                    <a:lnTo>
                      <a:pt x="111" y="2"/>
                    </a:lnTo>
                    <a:cubicBezTo>
                      <a:pt x="103" y="3"/>
                      <a:pt x="95" y="0"/>
                      <a:pt x="88" y="3"/>
                    </a:cubicBezTo>
                    <a:cubicBezTo>
                      <a:pt x="84" y="6"/>
                      <a:pt x="85" y="13"/>
                      <a:pt x="84" y="17"/>
                    </a:cubicBezTo>
                    <a:cubicBezTo>
                      <a:pt x="84" y="20"/>
                      <a:pt x="86" y="21"/>
                      <a:pt x="86" y="24"/>
                    </a:cubicBezTo>
                    <a:cubicBezTo>
                      <a:pt x="86" y="28"/>
                      <a:pt x="85" y="33"/>
                      <a:pt x="84" y="38"/>
                    </a:cubicBezTo>
                    <a:cubicBezTo>
                      <a:pt x="84" y="40"/>
                      <a:pt x="82" y="42"/>
                      <a:pt x="82" y="44"/>
                    </a:cubicBezTo>
                    <a:cubicBezTo>
                      <a:pt x="82" y="48"/>
                      <a:pt x="82" y="51"/>
                      <a:pt x="83" y="54"/>
                    </a:cubicBezTo>
                    <a:cubicBezTo>
                      <a:pt x="85" y="57"/>
                      <a:pt x="88" y="60"/>
                      <a:pt x="91" y="61"/>
                    </a:cubicBezTo>
                    <a:cubicBezTo>
                      <a:pt x="92" y="62"/>
                      <a:pt x="93" y="62"/>
                      <a:pt x="95" y="62"/>
                    </a:cubicBezTo>
                    <a:cubicBezTo>
                      <a:pt x="96" y="62"/>
                      <a:pt x="100" y="59"/>
                      <a:pt x="99" y="60"/>
                    </a:cubicBezTo>
                    <a:cubicBezTo>
                      <a:pt x="98" y="65"/>
                      <a:pt x="98" y="72"/>
                      <a:pt x="97" y="77"/>
                    </a:cubicBezTo>
                    <a:cubicBezTo>
                      <a:pt x="96" y="80"/>
                      <a:pt x="91" y="79"/>
                      <a:pt x="89" y="78"/>
                    </a:cubicBezTo>
                    <a:cubicBezTo>
                      <a:pt x="85" y="76"/>
                      <a:pt x="84" y="71"/>
                      <a:pt x="81" y="67"/>
                    </a:cubicBezTo>
                    <a:cubicBezTo>
                      <a:pt x="78" y="65"/>
                      <a:pt x="76" y="62"/>
                      <a:pt x="74" y="60"/>
                    </a:cubicBezTo>
                    <a:cubicBezTo>
                      <a:pt x="72" y="58"/>
                      <a:pt x="70" y="57"/>
                      <a:pt x="68" y="55"/>
                    </a:cubicBezTo>
                    <a:cubicBezTo>
                      <a:pt x="66" y="53"/>
                      <a:pt x="66" y="49"/>
                      <a:pt x="63" y="49"/>
                    </a:cubicBezTo>
                    <a:cubicBezTo>
                      <a:pt x="60" y="49"/>
                      <a:pt x="60" y="54"/>
                      <a:pt x="58" y="55"/>
                    </a:cubicBezTo>
                    <a:cubicBezTo>
                      <a:pt x="54" y="55"/>
                      <a:pt x="50" y="54"/>
                      <a:pt x="46" y="52"/>
                    </a:cubicBezTo>
                    <a:cubicBezTo>
                      <a:pt x="44" y="52"/>
                      <a:pt x="43" y="50"/>
                      <a:pt x="41" y="48"/>
                    </a:cubicBezTo>
                    <a:cubicBezTo>
                      <a:pt x="41" y="47"/>
                      <a:pt x="41" y="45"/>
                      <a:pt x="40" y="45"/>
                    </a:cubicBezTo>
                    <a:cubicBezTo>
                      <a:pt x="37" y="45"/>
                      <a:pt x="34" y="48"/>
                      <a:pt x="31" y="48"/>
                    </a:cubicBezTo>
                    <a:cubicBezTo>
                      <a:pt x="28" y="47"/>
                      <a:pt x="27" y="45"/>
                      <a:pt x="24" y="43"/>
                    </a:cubicBezTo>
                    <a:cubicBezTo>
                      <a:pt x="25" y="45"/>
                      <a:pt x="26" y="47"/>
                      <a:pt x="26" y="49"/>
                    </a:cubicBezTo>
                    <a:cubicBezTo>
                      <a:pt x="26" y="51"/>
                      <a:pt x="25" y="54"/>
                      <a:pt x="24" y="56"/>
                    </a:cubicBezTo>
                    <a:cubicBezTo>
                      <a:pt x="24" y="58"/>
                      <a:pt x="24" y="60"/>
                      <a:pt x="24" y="62"/>
                    </a:cubicBezTo>
                    <a:cubicBezTo>
                      <a:pt x="24" y="64"/>
                      <a:pt x="22" y="65"/>
                      <a:pt x="22" y="66"/>
                    </a:cubicBezTo>
                    <a:cubicBezTo>
                      <a:pt x="23" y="68"/>
                      <a:pt x="28" y="70"/>
                      <a:pt x="26" y="70"/>
                    </a:cubicBezTo>
                    <a:lnTo>
                      <a:pt x="0" y="70"/>
                    </a:lnTo>
                    <a:lnTo>
                      <a:pt x="0" y="119"/>
                    </a:lnTo>
                    <a:cubicBezTo>
                      <a:pt x="3" y="123"/>
                      <a:pt x="6" y="126"/>
                      <a:pt x="9" y="130"/>
                    </a:cubicBezTo>
                    <a:cubicBezTo>
                      <a:pt x="10" y="132"/>
                      <a:pt x="11" y="135"/>
                      <a:pt x="13" y="136"/>
                    </a:cubicBezTo>
                    <a:cubicBezTo>
                      <a:pt x="15" y="138"/>
                      <a:pt x="17" y="139"/>
                      <a:pt x="19" y="140"/>
                    </a:cubicBezTo>
                    <a:cubicBezTo>
                      <a:pt x="23" y="139"/>
                      <a:pt x="26" y="138"/>
                      <a:pt x="30" y="137"/>
                    </a:cubicBezTo>
                    <a:cubicBezTo>
                      <a:pt x="32" y="137"/>
                      <a:pt x="34" y="137"/>
                      <a:pt x="35" y="138"/>
                    </a:cubicBezTo>
                    <a:cubicBezTo>
                      <a:pt x="37" y="139"/>
                      <a:pt x="38" y="142"/>
                      <a:pt x="40" y="144"/>
                    </a:cubicBezTo>
                    <a:cubicBezTo>
                      <a:pt x="41" y="143"/>
                      <a:pt x="42" y="143"/>
                      <a:pt x="44" y="143"/>
                    </a:cubicBezTo>
                    <a:cubicBezTo>
                      <a:pt x="47" y="143"/>
                      <a:pt x="49" y="144"/>
                      <a:pt x="51" y="144"/>
                    </a:cubicBezTo>
                    <a:cubicBezTo>
                      <a:pt x="53" y="145"/>
                      <a:pt x="54" y="146"/>
                      <a:pt x="55" y="146"/>
                    </a:cubicBezTo>
                    <a:cubicBezTo>
                      <a:pt x="58" y="147"/>
                      <a:pt x="60" y="146"/>
                      <a:pt x="62" y="145"/>
                    </a:cubicBezTo>
                    <a:cubicBezTo>
                      <a:pt x="64" y="144"/>
                      <a:pt x="65" y="142"/>
                      <a:pt x="67" y="140"/>
                    </a:cubicBezTo>
                    <a:cubicBezTo>
                      <a:pt x="68" y="138"/>
                      <a:pt x="69" y="136"/>
                      <a:pt x="70" y="134"/>
                    </a:cubicBezTo>
                    <a:cubicBezTo>
                      <a:pt x="72" y="132"/>
                      <a:pt x="74" y="130"/>
                      <a:pt x="76" y="129"/>
                    </a:cubicBezTo>
                    <a:cubicBezTo>
                      <a:pt x="79" y="126"/>
                      <a:pt x="83" y="126"/>
                      <a:pt x="86" y="123"/>
                    </a:cubicBezTo>
                    <a:cubicBezTo>
                      <a:pt x="88" y="121"/>
                      <a:pt x="85" y="117"/>
                      <a:pt x="87" y="116"/>
                    </a:cubicBezTo>
                    <a:cubicBezTo>
                      <a:pt x="89" y="113"/>
                      <a:pt x="94" y="111"/>
                      <a:pt x="98" y="110"/>
                    </a:cubicBezTo>
                    <a:cubicBezTo>
                      <a:pt x="100" y="109"/>
                      <a:pt x="102" y="110"/>
                      <a:pt x="105" y="110"/>
                    </a:cubicBezTo>
                    <a:lnTo>
                      <a:pt x="106" y="107"/>
                    </a:lnTo>
                    <a:lnTo>
                      <a:pt x="104" y="101"/>
                    </a:lnTo>
                    <a:lnTo>
                      <a:pt x="139" y="87"/>
                    </a:lnTo>
                    <a:cubicBezTo>
                      <a:pt x="138" y="85"/>
                      <a:pt x="134" y="84"/>
                      <a:pt x="134" y="82"/>
                    </a:cubicBezTo>
                    <a:cubicBezTo>
                      <a:pt x="134" y="79"/>
                      <a:pt x="138" y="77"/>
                      <a:pt x="139" y="74"/>
                    </a:cubicBezTo>
                    <a:cubicBezTo>
                      <a:pt x="140" y="71"/>
                      <a:pt x="137" y="68"/>
                      <a:pt x="138" y="65"/>
                    </a:cubicBezTo>
                    <a:cubicBezTo>
                      <a:pt x="139" y="63"/>
                      <a:pt x="143" y="64"/>
                      <a:pt x="145" y="62"/>
                    </a:cubicBezTo>
                    <a:cubicBezTo>
                      <a:pt x="145" y="61"/>
                      <a:pt x="144" y="61"/>
                      <a:pt x="143" y="60"/>
                    </a:cubicBezTo>
                    <a:cubicBezTo>
                      <a:pt x="143" y="57"/>
                      <a:pt x="142" y="53"/>
                      <a:pt x="143" y="50"/>
                    </a:cubicBezTo>
                    <a:cubicBezTo>
                      <a:pt x="143" y="48"/>
                      <a:pt x="146" y="46"/>
                      <a:pt x="145" y="44"/>
                    </a:cubicBezTo>
                    <a:cubicBezTo>
                      <a:pt x="145" y="42"/>
                      <a:pt x="141" y="41"/>
                      <a:pt x="142" y="39"/>
                    </a:cubicBezTo>
                    <a:cubicBezTo>
                      <a:pt x="142" y="37"/>
                      <a:pt x="147" y="39"/>
                      <a:pt x="148" y="36"/>
                    </a:cubicBezTo>
                    <a:cubicBezTo>
                      <a:pt x="149" y="34"/>
                      <a:pt x="148" y="31"/>
                      <a:pt x="146" y="29"/>
                    </a:cubicBezTo>
                    <a:cubicBezTo>
                      <a:pt x="145" y="26"/>
                      <a:pt x="141" y="25"/>
                      <a:pt x="140" y="22"/>
                    </a:cubicBezTo>
                    <a:cubicBezTo>
                      <a:pt x="139" y="21"/>
                      <a:pt x="140" y="18"/>
                      <a:pt x="140" y="16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32" name="Freeform 2519"/>
              <p:cNvSpPr>
                <a:spLocks noChangeAspect="1"/>
              </p:cNvSpPr>
              <p:nvPr/>
            </p:nvSpPr>
            <p:spPr bwMode="auto">
              <a:xfrm>
                <a:off x="4639881" y="3013441"/>
                <a:ext cx="211395" cy="179423"/>
              </a:xfrm>
              <a:custGeom>
                <a:avLst/>
                <a:gdLst>
                  <a:gd name="T0" fmla="*/ 11 w 157"/>
                  <a:gd name="T1" fmla="*/ 6 h 180"/>
                  <a:gd name="T2" fmla="*/ 12 w 157"/>
                  <a:gd name="T3" fmla="*/ 16 h 180"/>
                  <a:gd name="T4" fmla="*/ 25 w 157"/>
                  <a:gd name="T5" fmla="*/ 48 h 180"/>
                  <a:gd name="T6" fmla="*/ 22 w 157"/>
                  <a:gd name="T7" fmla="*/ 64 h 180"/>
                  <a:gd name="T8" fmla="*/ 33 w 157"/>
                  <a:gd name="T9" fmla="*/ 94 h 180"/>
                  <a:gd name="T10" fmla="*/ 23 w 157"/>
                  <a:gd name="T11" fmla="*/ 120 h 180"/>
                  <a:gd name="T12" fmla="*/ 10 w 157"/>
                  <a:gd name="T13" fmla="*/ 144 h 180"/>
                  <a:gd name="T14" fmla="*/ 1 w 157"/>
                  <a:gd name="T15" fmla="*/ 180 h 180"/>
                  <a:gd name="T16" fmla="*/ 8 w 157"/>
                  <a:gd name="T17" fmla="*/ 202 h 180"/>
                  <a:gd name="T18" fmla="*/ 26 w 157"/>
                  <a:gd name="T19" fmla="*/ 199 h 180"/>
                  <a:gd name="T20" fmla="*/ 100 w 157"/>
                  <a:gd name="T21" fmla="*/ 204 h 180"/>
                  <a:gd name="T22" fmla="*/ 117 w 157"/>
                  <a:gd name="T23" fmla="*/ 214 h 180"/>
                  <a:gd name="T24" fmla="*/ 140 w 157"/>
                  <a:gd name="T25" fmla="*/ 214 h 180"/>
                  <a:gd name="T26" fmla="*/ 178 w 157"/>
                  <a:gd name="T27" fmla="*/ 210 h 180"/>
                  <a:gd name="T28" fmla="*/ 166 w 157"/>
                  <a:gd name="T29" fmla="*/ 198 h 180"/>
                  <a:gd name="T30" fmla="*/ 155 w 157"/>
                  <a:gd name="T31" fmla="*/ 126 h 180"/>
                  <a:gd name="T32" fmla="*/ 182 w 157"/>
                  <a:gd name="T33" fmla="*/ 121 h 180"/>
                  <a:gd name="T34" fmla="*/ 184 w 157"/>
                  <a:gd name="T35" fmla="*/ 109 h 180"/>
                  <a:gd name="T36" fmla="*/ 184 w 157"/>
                  <a:gd name="T37" fmla="*/ 94 h 180"/>
                  <a:gd name="T38" fmla="*/ 171 w 157"/>
                  <a:gd name="T39" fmla="*/ 94 h 180"/>
                  <a:gd name="T40" fmla="*/ 159 w 157"/>
                  <a:gd name="T41" fmla="*/ 92 h 180"/>
                  <a:gd name="T42" fmla="*/ 160 w 157"/>
                  <a:gd name="T43" fmla="*/ 73 h 180"/>
                  <a:gd name="T44" fmla="*/ 154 w 157"/>
                  <a:gd name="T45" fmla="*/ 44 h 180"/>
                  <a:gd name="T46" fmla="*/ 153 w 157"/>
                  <a:gd name="T47" fmla="*/ 31 h 180"/>
                  <a:gd name="T48" fmla="*/ 136 w 157"/>
                  <a:gd name="T49" fmla="*/ 25 h 180"/>
                  <a:gd name="T50" fmla="*/ 130 w 157"/>
                  <a:gd name="T51" fmla="*/ 22 h 180"/>
                  <a:gd name="T52" fmla="*/ 119 w 157"/>
                  <a:gd name="T53" fmla="*/ 31 h 180"/>
                  <a:gd name="T54" fmla="*/ 117 w 157"/>
                  <a:gd name="T55" fmla="*/ 40 h 180"/>
                  <a:gd name="T56" fmla="*/ 102 w 157"/>
                  <a:gd name="T57" fmla="*/ 40 h 180"/>
                  <a:gd name="T58" fmla="*/ 79 w 157"/>
                  <a:gd name="T59" fmla="*/ 26 h 180"/>
                  <a:gd name="T60" fmla="*/ 76 w 157"/>
                  <a:gd name="T61" fmla="*/ 7 h 180"/>
                  <a:gd name="T62" fmla="*/ 24 w 157"/>
                  <a:gd name="T63" fmla="*/ 1 h 180"/>
                  <a:gd name="T64" fmla="*/ 12 w 157"/>
                  <a:gd name="T65" fmla="*/ 4 h 18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57"/>
                  <a:gd name="T100" fmla="*/ 0 h 180"/>
                  <a:gd name="T101" fmla="*/ 157 w 157"/>
                  <a:gd name="T102" fmla="*/ 180 h 180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57" h="180">
                    <a:moveTo>
                      <a:pt x="6" y="0"/>
                    </a:moveTo>
                    <a:cubicBezTo>
                      <a:pt x="6" y="1"/>
                      <a:pt x="9" y="3"/>
                      <a:pt x="9" y="5"/>
                    </a:cubicBezTo>
                    <a:cubicBezTo>
                      <a:pt x="9" y="6"/>
                      <a:pt x="6" y="5"/>
                      <a:pt x="7" y="6"/>
                    </a:cubicBezTo>
                    <a:cubicBezTo>
                      <a:pt x="7" y="9"/>
                      <a:pt x="9" y="11"/>
                      <a:pt x="10" y="13"/>
                    </a:cubicBezTo>
                    <a:cubicBezTo>
                      <a:pt x="12" y="16"/>
                      <a:pt x="14" y="18"/>
                      <a:pt x="15" y="21"/>
                    </a:cubicBezTo>
                    <a:cubicBezTo>
                      <a:pt x="17" y="27"/>
                      <a:pt x="21" y="33"/>
                      <a:pt x="21" y="40"/>
                    </a:cubicBezTo>
                    <a:cubicBezTo>
                      <a:pt x="21" y="42"/>
                      <a:pt x="17" y="43"/>
                      <a:pt x="16" y="46"/>
                    </a:cubicBezTo>
                    <a:cubicBezTo>
                      <a:pt x="16" y="48"/>
                      <a:pt x="17" y="51"/>
                      <a:pt x="18" y="53"/>
                    </a:cubicBezTo>
                    <a:cubicBezTo>
                      <a:pt x="19" y="57"/>
                      <a:pt x="21" y="61"/>
                      <a:pt x="22" y="65"/>
                    </a:cubicBezTo>
                    <a:cubicBezTo>
                      <a:pt x="24" y="69"/>
                      <a:pt x="27" y="73"/>
                      <a:pt x="27" y="78"/>
                    </a:cubicBezTo>
                    <a:cubicBezTo>
                      <a:pt x="27" y="83"/>
                      <a:pt x="26" y="89"/>
                      <a:pt x="24" y="93"/>
                    </a:cubicBezTo>
                    <a:cubicBezTo>
                      <a:pt x="23" y="96"/>
                      <a:pt x="21" y="98"/>
                      <a:pt x="19" y="100"/>
                    </a:cubicBezTo>
                    <a:cubicBezTo>
                      <a:pt x="17" y="103"/>
                      <a:pt x="13" y="106"/>
                      <a:pt x="11" y="110"/>
                    </a:cubicBezTo>
                    <a:cubicBezTo>
                      <a:pt x="9" y="113"/>
                      <a:pt x="9" y="116"/>
                      <a:pt x="8" y="120"/>
                    </a:cubicBezTo>
                    <a:cubicBezTo>
                      <a:pt x="7" y="125"/>
                      <a:pt x="6" y="131"/>
                      <a:pt x="5" y="137"/>
                    </a:cubicBezTo>
                    <a:cubicBezTo>
                      <a:pt x="4" y="142"/>
                      <a:pt x="2" y="146"/>
                      <a:pt x="1" y="150"/>
                    </a:cubicBezTo>
                    <a:cubicBezTo>
                      <a:pt x="0" y="156"/>
                      <a:pt x="0" y="162"/>
                      <a:pt x="0" y="168"/>
                    </a:cubicBezTo>
                    <a:cubicBezTo>
                      <a:pt x="2" y="168"/>
                      <a:pt x="4" y="168"/>
                      <a:pt x="7" y="168"/>
                    </a:cubicBezTo>
                    <a:cubicBezTo>
                      <a:pt x="10" y="167"/>
                      <a:pt x="12" y="164"/>
                      <a:pt x="15" y="164"/>
                    </a:cubicBezTo>
                    <a:cubicBezTo>
                      <a:pt x="17" y="164"/>
                      <a:pt x="20" y="165"/>
                      <a:pt x="22" y="166"/>
                    </a:cubicBezTo>
                    <a:cubicBezTo>
                      <a:pt x="24" y="167"/>
                      <a:pt x="26" y="170"/>
                      <a:pt x="28" y="170"/>
                    </a:cubicBezTo>
                    <a:cubicBezTo>
                      <a:pt x="46" y="171"/>
                      <a:pt x="65" y="168"/>
                      <a:pt x="83" y="170"/>
                    </a:cubicBezTo>
                    <a:cubicBezTo>
                      <a:pt x="86" y="170"/>
                      <a:pt x="87" y="174"/>
                      <a:pt x="89" y="176"/>
                    </a:cubicBezTo>
                    <a:cubicBezTo>
                      <a:pt x="92" y="177"/>
                      <a:pt x="94" y="178"/>
                      <a:pt x="97" y="178"/>
                    </a:cubicBezTo>
                    <a:cubicBezTo>
                      <a:pt x="101" y="179"/>
                      <a:pt x="105" y="180"/>
                      <a:pt x="109" y="180"/>
                    </a:cubicBezTo>
                    <a:cubicBezTo>
                      <a:pt x="111" y="180"/>
                      <a:pt x="114" y="178"/>
                      <a:pt x="116" y="178"/>
                    </a:cubicBezTo>
                    <a:cubicBezTo>
                      <a:pt x="119" y="178"/>
                      <a:pt x="122" y="180"/>
                      <a:pt x="124" y="180"/>
                    </a:cubicBezTo>
                    <a:cubicBezTo>
                      <a:pt x="132" y="179"/>
                      <a:pt x="140" y="176"/>
                      <a:pt x="148" y="175"/>
                    </a:cubicBezTo>
                    <a:cubicBezTo>
                      <a:pt x="146" y="174"/>
                      <a:pt x="144" y="173"/>
                      <a:pt x="142" y="171"/>
                    </a:cubicBezTo>
                    <a:cubicBezTo>
                      <a:pt x="140" y="170"/>
                      <a:pt x="139" y="167"/>
                      <a:pt x="138" y="165"/>
                    </a:cubicBezTo>
                    <a:cubicBezTo>
                      <a:pt x="135" y="161"/>
                      <a:pt x="132" y="158"/>
                      <a:pt x="129" y="154"/>
                    </a:cubicBezTo>
                    <a:lnTo>
                      <a:pt x="129" y="105"/>
                    </a:lnTo>
                    <a:lnTo>
                      <a:pt x="155" y="105"/>
                    </a:lnTo>
                    <a:cubicBezTo>
                      <a:pt x="157" y="105"/>
                      <a:pt x="152" y="103"/>
                      <a:pt x="151" y="101"/>
                    </a:cubicBezTo>
                    <a:cubicBezTo>
                      <a:pt x="151" y="100"/>
                      <a:pt x="153" y="99"/>
                      <a:pt x="153" y="97"/>
                    </a:cubicBezTo>
                    <a:cubicBezTo>
                      <a:pt x="153" y="95"/>
                      <a:pt x="153" y="93"/>
                      <a:pt x="153" y="91"/>
                    </a:cubicBezTo>
                    <a:cubicBezTo>
                      <a:pt x="154" y="89"/>
                      <a:pt x="155" y="86"/>
                      <a:pt x="155" y="84"/>
                    </a:cubicBezTo>
                    <a:cubicBezTo>
                      <a:pt x="155" y="82"/>
                      <a:pt x="154" y="80"/>
                      <a:pt x="153" y="78"/>
                    </a:cubicBezTo>
                    <a:cubicBezTo>
                      <a:pt x="153" y="77"/>
                      <a:pt x="153" y="76"/>
                      <a:pt x="152" y="76"/>
                    </a:cubicBezTo>
                    <a:cubicBezTo>
                      <a:pt x="149" y="76"/>
                      <a:pt x="145" y="77"/>
                      <a:pt x="142" y="78"/>
                    </a:cubicBezTo>
                    <a:cubicBezTo>
                      <a:pt x="139" y="79"/>
                      <a:pt x="135" y="81"/>
                      <a:pt x="132" y="81"/>
                    </a:cubicBezTo>
                    <a:cubicBezTo>
                      <a:pt x="130" y="81"/>
                      <a:pt x="131" y="79"/>
                      <a:pt x="132" y="77"/>
                    </a:cubicBezTo>
                    <a:cubicBezTo>
                      <a:pt x="132" y="76"/>
                      <a:pt x="133" y="74"/>
                      <a:pt x="133" y="72"/>
                    </a:cubicBezTo>
                    <a:cubicBezTo>
                      <a:pt x="133" y="68"/>
                      <a:pt x="134" y="64"/>
                      <a:pt x="133" y="61"/>
                    </a:cubicBezTo>
                    <a:cubicBezTo>
                      <a:pt x="132" y="58"/>
                      <a:pt x="127" y="58"/>
                      <a:pt x="127" y="55"/>
                    </a:cubicBezTo>
                    <a:cubicBezTo>
                      <a:pt x="126" y="50"/>
                      <a:pt x="128" y="43"/>
                      <a:pt x="128" y="37"/>
                    </a:cubicBezTo>
                    <a:cubicBezTo>
                      <a:pt x="128" y="35"/>
                      <a:pt x="127" y="33"/>
                      <a:pt x="126" y="30"/>
                    </a:cubicBezTo>
                    <a:cubicBezTo>
                      <a:pt x="126" y="29"/>
                      <a:pt x="128" y="28"/>
                      <a:pt x="127" y="26"/>
                    </a:cubicBezTo>
                    <a:cubicBezTo>
                      <a:pt x="127" y="24"/>
                      <a:pt x="127" y="21"/>
                      <a:pt x="125" y="20"/>
                    </a:cubicBezTo>
                    <a:cubicBezTo>
                      <a:pt x="121" y="18"/>
                      <a:pt x="117" y="21"/>
                      <a:pt x="113" y="21"/>
                    </a:cubicBezTo>
                    <a:cubicBezTo>
                      <a:pt x="112" y="20"/>
                      <a:pt x="112" y="18"/>
                      <a:pt x="111" y="18"/>
                    </a:cubicBezTo>
                    <a:cubicBezTo>
                      <a:pt x="110" y="17"/>
                      <a:pt x="109" y="18"/>
                      <a:pt x="108" y="18"/>
                    </a:cubicBezTo>
                    <a:cubicBezTo>
                      <a:pt x="105" y="18"/>
                      <a:pt x="102" y="18"/>
                      <a:pt x="100" y="20"/>
                    </a:cubicBezTo>
                    <a:cubicBezTo>
                      <a:pt x="98" y="21"/>
                      <a:pt x="100" y="24"/>
                      <a:pt x="99" y="26"/>
                    </a:cubicBezTo>
                    <a:cubicBezTo>
                      <a:pt x="99" y="27"/>
                      <a:pt x="98" y="28"/>
                      <a:pt x="98" y="29"/>
                    </a:cubicBezTo>
                    <a:cubicBezTo>
                      <a:pt x="97" y="30"/>
                      <a:pt x="98" y="32"/>
                      <a:pt x="97" y="33"/>
                    </a:cubicBezTo>
                    <a:cubicBezTo>
                      <a:pt x="95" y="34"/>
                      <a:pt x="93" y="33"/>
                      <a:pt x="92" y="33"/>
                    </a:cubicBezTo>
                    <a:cubicBezTo>
                      <a:pt x="89" y="33"/>
                      <a:pt x="87" y="33"/>
                      <a:pt x="85" y="33"/>
                    </a:cubicBezTo>
                    <a:cubicBezTo>
                      <a:pt x="80" y="33"/>
                      <a:pt x="76" y="35"/>
                      <a:pt x="72" y="33"/>
                    </a:cubicBezTo>
                    <a:cubicBezTo>
                      <a:pt x="68" y="31"/>
                      <a:pt x="67" y="26"/>
                      <a:pt x="66" y="22"/>
                    </a:cubicBezTo>
                    <a:cubicBezTo>
                      <a:pt x="65" y="19"/>
                      <a:pt x="64" y="16"/>
                      <a:pt x="64" y="14"/>
                    </a:cubicBezTo>
                    <a:cubicBezTo>
                      <a:pt x="64" y="11"/>
                      <a:pt x="64" y="9"/>
                      <a:pt x="63" y="6"/>
                    </a:cubicBezTo>
                    <a:cubicBezTo>
                      <a:pt x="63" y="4"/>
                      <a:pt x="64" y="1"/>
                      <a:pt x="62" y="1"/>
                    </a:cubicBezTo>
                    <a:lnTo>
                      <a:pt x="20" y="1"/>
                    </a:lnTo>
                    <a:cubicBezTo>
                      <a:pt x="18" y="1"/>
                      <a:pt x="16" y="1"/>
                      <a:pt x="14" y="1"/>
                    </a:cubicBezTo>
                    <a:cubicBezTo>
                      <a:pt x="12" y="1"/>
                      <a:pt x="11" y="3"/>
                      <a:pt x="10" y="3"/>
                    </a:cubicBezTo>
                    <a:cubicBezTo>
                      <a:pt x="8" y="3"/>
                      <a:pt x="7" y="1"/>
                      <a:pt x="6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33" name="Freeform 2520"/>
              <p:cNvSpPr>
                <a:spLocks noChangeAspect="1"/>
              </p:cNvSpPr>
              <p:nvPr/>
            </p:nvSpPr>
            <p:spPr bwMode="auto">
              <a:xfrm>
                <a:off x="4941874" y="2940342"/>
                <a:ext cx="180077" cy="158658"/>
              </a:xfrm>
              <a:custGeom>
                <a:avLst/>
                <a:gdLst>
                  <a:gd name="T0" fmla="*/ 18 w 134"/>
                  <a:gd name="T1" fmla="*/ 132 h 159"/>
                  <a:gd name="T2" fmla="*/ 25 w 134"/>
                  <a:gd name="T3" fmla="*/ 139 h 159"/>
                  <a:gd name="T4" fmla="*/ 36 w 134"/>
                  <a:gd name="T5" fmla="*/ 145 h 159"/>
                  <a:gd name="T6" fmla="*/ 46 w 134"/>
                  <a:gd name="T7" fmla="*/ 149 h 159"/>
                  <a:gd name="T8" fmla="*/ 53 w 134"/>
                  <a:gd name="T9" fmla="*/ 149 h 159"/>
                  <a:gd name="T10" fmla="*/ 64 w 134"/>
                  <a:gd name="T11" fmla="*/ 155 h 159"/>
                  <a:gd name="T12" fmla="*/ 76 w 134"/>
                  <a:gd name="T13" fmla="*/ 167 h 159"/>
                  <a:gd name="T14" fmla="*/ 74 w 134"/>
                  <a:gd name="T15" fmla="*/ 179 h 159"/>
                  <a:gd name="T16" fmla="*/ 78 w 134"/>
                  <a:gd name="T17" fmla="*/ 186 h 159"/>
                  <a:gd name="T18" fmla="*/ 83 w 134"/>
                  <a:gd name="T19" fmla="*/ 189 h 159"/>
                  <a:gd name="T20" fmla="*/ 91 w 134"/>
                  <a:gd name="T21" fmla="*/ 189 h 159"/>
                  <a:gd name="T22" fmla="*/ 97 w 134"/>
                  <a:gd name="T23" fmla="*/ 183 h 159"/>
                  <a:gd name="T24" fmla="*/ 105 w 134"/>
                  <a:gd name="T25" fmla="*/ 191 h 159"/>
                  <a:gd name="T26" fmla="*/ 113 w 134"/>
                  <a:gd name="T27" fmla="*/ 187 h 159"/>
                  <a:gd name="T28" fmla="*/ 121 w 134"/>
                  <a:gd name="T29" fmla="*/ 190 h 159"/>
                  <a:gd name="T30" fmla="*/ 127 w 134"/>
                  <a:gd name="T31" fmla="*/ 184 h 159"/>
                  <a:gd name="T32" fmla="*/ 132 w 134"/>
                  <a:gd name="T33" fmla="*/ 184 h 159"/>
                  <a:gd name="T34" fmla="*/ 136 w 134"/>
                  <a:gd name="T35" fmla="*/ 186 h 159"/>
                  <a:gd name="T36" fmla="*/ 142 w 134"/>
                  <a:gd name="T37" fmla="*/ 183 h 159"/>
                  <a:gd name="T38" fmla="*/ 149 w 134"/>
                  <a:gd name="T39" fmla="*/ 180 h 159"/>
                  <a:gd name="T40" fmla="*/ 161 w 134"/>
                  <a:gd name="T41" fmla="*/ 169 h 159"/>
                  <a:gd name="T42" fmla="*/ 159 w 134"/>
                  <a:gd name="T43" fmla="*/ 163 h 159"/>
                  <a:gd name="T44" fmla="*/ 155 w 134"/>
                  <a:gd name="T45" fmla="*/ 155 h 159"/>
                  <a:gd name="T46" fmla="*/ 153 w 134"/>
                  <a:gd name="T47" fmla="*/ 147 h 159"/>
                  <a:gd name="T48" fmla="*/ 147 w 134"/>
                  <a:gd name="T49" fmla="*/ 132 h 159"/>
                  <a:gd name="T50" fmla="*/ 148 w 134"/>
                  <a:gd name="T51" fmla="*/ 124 h 159"/>
                  <a:gd name="T52" fmla="*/ 148 w 134"/>
                  <a:gd name="T53" fmla="*/ 114 h 159"/>
                  <a:gd name="T54" fmla="*/ 150 w 134"/>
                  <a:gd name="T55" fmla="*/ 108 h 159"/>
                  <a:gd name="T56" fmla="*/ 145 w 134"/>
                  <a:gd name="T57" fmla="*/ 96 h 159"/>
                  <a:gd name="T58" fmla="*/ 139 w 134"/>
                  <a:gd name="T59" fmla="*/ 91 h 159"/>
                  <a:gd name="T60" fmla="*/ 139 w 134"/>
                  <a:gd name="T61" fmla="*/ 84 h 159"/>
                  <a:gd name="T62" fmla="*/ 143 w 134"/>
                  <a:gd name="T63" fmla="*/ 76 h 159"/>
                  <a:gd name="T64" fmla="*/ 148 w 134"/>
                  <a:gd name="T65" fmla="*/ 70 h 159"/>
                  <a:gd name="T66" fmla="*/ 123 w 134"/>
                  <a:gd name="T67" fmla="*/ 47 h 159"/>
                  <a:gd name="T68" fmla="*/ 121 w 134"/>
                  <a:gd name="T69" fmla="*/ 40 h 159"/>
                  <a:gd name="T70" fmla="*/ 61 w 134"/>
                  <a:gd name="T71" fmla="*/ 0 h 159"/>
                  <a:gd name="T72" fmla="*/ 55 w 134"/>
                  <a:gd name="T73" fmla="*/ 4 h 159"/>
                  <a:gd name="T74" fmla="*/ 41 w 134"/>
                  <a:gd name="T75" fmla="*/ 4 h 159"/>
                  <a:gd name="T76" fmla="*/ 23 w 134"/>
                  <a:gd name="T77" fmla="*/ 2 h 159"/>
                  <a:gd name="T78" fmla="*/ 13 w 134"/>
                  <a:gd name="T79" fmla="*/ 5 h 159"/>
                  <a:gd name="T80" fmla="*/ 19 w 134"/>
                  <a:gd name="T81" fmla="*/ 12 h 159"/>
                  <a:gd name="T82" fmla="*/ 19 w 134"/>
                  <a:gd name="T83" fmla="*/ 20 h 159"/>
                  <a:gd name="T84" fmla="*/ 22 w 134"/>
                  <a:gd name="T85" fmla="*/ 26 h 159"/>
                  <a:gd name="T86" fmla="*/ 16 w 134"/>
                  <a:gd name="T87" fmla="*/ 32 h 159"/>
                  <a:gd name="T88" fmla="*/ 16 w 134"/>
                  <a:gd name="T89" fmla="*/ 36 h 159"/>
                  <a:gd name="T90" fmla="*/ 20 w 134"/>
                  <a:gd name="T91" fmla="*/ 40 h 159"/>
                  <a:gd name="T92" fmla="*/ 20 w 134"/>
                  <a:gd name="T93" fmla="*/ 44 h 159"/>
                  <a:gd name="T94" fmla="*/ 14 w 134"/>
                  <a:gd name="T95" fmla="*/ 50 h 159"/>
                  <a:gd name="T96" fmla="*/ 11 w 134"/>
                  <a:gd name="T97" fmla="*/ 56 h 159"/>
                  <a:gd name="T98" fmla="*/ 0 w 134"/>
                  <a:gd name="T99" fmla="*/ 68 h 159"/>
                  <a:gd name="T100" fmla="*/ 1 w 134"/>
                  <a:gd name="T101" fmla="*/ 78 h 159"/>
                  <a:gd name="T102" fmla="*/ 1 w 134"/>
                  <a:gd name="T103" fmla="*/ 86 h 159"/>
                  <a:gd name="T104" fmla="*/ 2 w 134"/>
                  <a:gd name="T105" fmla="*/ 97 h 159"/>
                  <a:gd name="T106" fmla="*/ 8 w 134"/>
                  <a:gd name="T107" fmla="*/ 106 h 159"/>
                  <a:gd name="T108" fmla="*/ 14 w 134"/>
                  <a:gd name="T109" fmla="*/ 118 h 159"/>
                  <a:gd name="T110" fmla="*/ 18 w 134"/>
                  <a:gd name="T111" fmla="*/ 132 h 159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34"/>
                  <a:gd name="T169" fmla="*/ 0 h 159"/>
                  <a:gd name="T170" fmla="*/ 134 w 134"/>
                  <a:gd name="T171" fmla="*/ 159 h 159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34" h="159">
                    <a:moveTo>
                      <a:pt x="15" y="110"/>
                    </a:moveTo>
                    <a:lnTo>
                      <a:pt x="21" y="116"/>
                    </a:lnTo>
                    <a:lnTo>
                      <a:pt x="30" y="121"/>
                    </a:lnTo>
                    <a:lnTo>
                      <a:pt x="38" y="124"/>
                    </a:lnTo>
                    <a:lnTo>
                      <a:pt x="44" y="124"/>
                    </a:lnTo>
                    <a:cubicBezTo>
                      <a:pt x="47" y="126"/>
                      <a:pt x="50" y="127"/>
                      <a:pt x="53" y="129"/>
                    </a:cubicBezTo>
                    <a:cubicBezTo>
                      <a:pt x="57" y="132"/>
                      <a:pt x="61" y="135"/>
                      <a:pt x="63" y="139"/>
                    </a:cubicBezTo>
                    <a:cubicBezTo>
                      <a:pt x="64" y="142"/>
                      <a:pt x="61" y="145"/>
                      <a:pt x="62" y="149"/>
                    </a:cubicBezTo>
                    <a:cubicBezTo>
                      <a:pt x="62" y="151"/>
                      <a:pt x="64" y="153"/>
                      <a:pt x="65" y="155"/>
                    </a:cubicBezTo>
                    <a:cubicBezTo>
                      <a:pt x="67" y="156"/>
                      <a:pt x="68" y="156"/>
                      <a:pt x="69" y="157"/>
                    </a:cubicBezTo>
                    <a:cubicBezTo>
                      <a:pt x="71" y="157"/>
                      <a:pt x="74" y="157"/>
                      <a:pt x="76" y="157"/>
                    </a:cubicBezTo>
                    <a:cubicBezTo>
                      <a:pt x="78" y="156"/>
                      <a:pt x="79" y="152"/>
                      <a:pt x="81" y="152"/>
                    </a:cubicBezTo>
                    <a:cubicBezTo>
                      <a:pt x="84" y="153"/>
                      <a:pt x="84" y="158"/>
                      <a:pt x="87" y="159"/>
                    </a:cubicBezTo>
                    <a:cubicBezTo>
                      <a:pt x="90" y="159"/>
                      <a:pt x="92" y="156"/>
                      <a:pt x="94" y="156"/>
                    </a:cubicBezTo>
                    <a:cubicBezTo>
                      <a:pt x="97" y="156"/>
                      <a:pt x="98" y="159"/>
                      <a:pt x="101" y="158"/>
                    </a:cubicBezTo>
                    <a:cubicBezTo>
                      <a:pt x="103" y="157"/>
                      <a:pt x="103" y="154"/>
                      <a:pt x="106" y="153"/>
                    </a:cubicBezTo>
                    <a:cubicBezTo>
                      <a:pt x="107" y="152"/>
                      <a:pt x="109" y="152"/>
                      <a:pt x="110" y="153"/>
                    </a:cubicBezTo>
                    <a:cubicBezTo>
                      <a:pt x="112" y="153"/>
                      <a:pt x="112" y="155"/>
                      <a:pt x="113" y="155"/>
                    </a:cubicBezTo>
                    <a:cubicBezTo>
                      <a:pt x="115" y="154"/>
                      <a:pt x="117" y="153"/>
                      <a:pt x="118" y="152"/>
                    </a:cubicBezTo>
                    <a:cubicBezTo>
                      <a:pt x="120" y="151"/>
                      <a:pt x="123" y="151"/>
                      <a:pt x="124" y="150"/>
                    </a:cubicBezTo>
                    <a:cubicBezTo>
                      <a:pt x="128" y="148"/>
                      <a:pt x="131" y="144"/>
                      <a:pt x="134" y="141"/>
                    </a:cubicBezTo>
                    <a:cubicBezTo>
                      <a:pt x="134" y="139"/>
                      <a:pt x="133" y="138"/>
                      <a:pt x="132" y="136"/>
                    </a:cubicBezTo>
                    <a:cubicBezTo>
                      <a:pt x="131" y="134"/>
                      <a:pt x="129" y="132"/>
                      <a:pt x="129" y="129"/>
                    </a:cubicBezTo>
                    <a:cubicBezTo>
                      <a:pt x="128" y="127"/>
                      <a:pt x="128" y="124"/>
                      <a:pt x="127" y="122"/>
                    </a:cubicBezTo>
                    <a:cubicBezTo>
                      <a:pt x="126" y="118"/>
                      <a:pt x="123" y="114"/>
                      <a:pt x="122" y="110"/>
                    </a:cubicBezTo>
                    <a:cubicBezTo>
                      <a:pt x="122" y="108"/>
                      <a:pt x="123" y="105"/>
                      <a:pt x="123" y="103"/>
                    </a:cubicBezTo>
                    <a:cubicBezTo>
                      <a:pt x="124" y="100"/>
                      <a:pt x="123" y="97"/>
                      <a:pt x="123" y="95"/>
                    </a:cubicBezTo>
                    <a:cubicBezTo>
                      <a:pt x="124" y="93"/>
                      <a:pt x="125" y="92"/>
                      <a:pt x="125" y="90"/>
                    </a:cubicBezTo>
                    <a:cubicBezTo>
                      <a:pt x="124" y="86"/>
                      <a:pt x="123" y="83"/>
                      <a:pt x="121" y="80"/>
                    </a:cubicBezTo>
                    <a:cubicBezTo>
                      <a:pt x="120" y="78"/>
                      <a:pt x="117" y="78"/>
                      <a:pt x="116" y="76"/>
                    </a:cubicBezTo>
                    <a:cubicBezTo>
                      <a:pt x="115" y="74"/>
                      <a:pt x="116" y="72"/>
                      <a:pt x="116" y="70"/>
                    </a:cubicBezTo>
                    <a:cubicBezTo>
                      <a:pt x="117" y="67"/>
                      <a:pt x="118" y="65"/>
                      <a:pt x="119" y="63"/>
                    </a:cubicBezTo>
                    <a:cubicBezTo>
                      <a:pt x="120" y="61"/>
                      <a:pt x="122" y="59"/>
                      <a:pt x="123" y="58"/>
                    </a:cubicBezTo>
                    <a:lnTo>
                      <a:pt x="102" y="39"/>
                    </a:lnTo>
                    <a:lnTo>
                      <a:pt x="101" y="33"/>
                    </a:lnTo>
                    <a:lnTo>
                      <a:pt x="51" y="0"/>
                    </a:lnTo>
                    <a:cubicBezTo>
                      <a:pt x="49" y="1"/>
                      <a:pt x="48" y="2"/>
                      <a:pt x="46" y="3"/>
                    </a:cubicBezTo>
                    <a:cubicBezTo>
                      <a:pt x="42" y="4"/>
                      <a:pt x="38" y="4"/>
                      <a:pt x="34" y="3"/>
                    </a:cubicBezTo>
                    <a:cubicBezTo>
                      <a:pt x="29" y="3"/>
                      <a:pt x="24" y="2"/>
                      <a:pt x="19" y="2"/>
                    </a:cubicBezTo>
                    <a:cubicBezTo>
                      <a:pt x="16" y="2"/>
                      <a:pt x="14" y="4"/>
                      <a:pt x="11" y="4"/>
                    </a:cubicBezTo>
                    <a:cubicBezTo>
                      <a:pt x="13" y="6"/>
                      <a:pt x="15" y="7"/>
                      <a:pt x="16" y="10"/>
                    </a:cubicBezTo>
                    <a:cubicBezTo>
                      <a:pt x="17" y="12"/>
                      <a:pt x="16" y="14"/>
                      <a:pt x="16" y="17"/>
                    </a:cubicBezTo>
                    <a:cubicBezTo>
                      <a:pt x="16" y="18"/>
                      <a:pt x="18" y="20"/>
                      <a:pt x="18" y="22"/>
                    </a:cubicBezTo>
                    <a:cubicBezTo>
                      <a:pt x="17" y="24"/>
                      <a:pt x="14" y="25"/>
                      <a:pt x="13" y="27"/>
                    </a:cubicBezTo>
                    <a:lnTo>
                      <a:pt x="13" y="30"/>
                    </a:lnTo>
                    <a:lnTo>
                      <a:pt x="17" y="33"/>
                    </a:lnTo>
                    <a:lnTo>
                      <a:pt x="17" y="37"/>
                    </a:lnTo>
                    <a:lnTo>
                      <a:pt x="12" y="42"/>
                    </a:lnTo>
                    <a:lnTo>
                      <a:pt x="9" y="47"/>
                    </a:lnTo>
                    <a:lnTo>
                      <a:pt x="0" y="57"/>
                    </a:lnTo>
                    <a:cubicBezTo>
                      <a:pt x="0" y="60"/>
                      <a:pt x="1" y="63"/>
                      <a:pt x="1" y="65"/>
                    </a:cubicBezTo>
                    <a:cubicBezTo>
                      <a:pt x="1" y="68"/>
                      <a:pt x="1" y="70"/>
                      <a:pt x="1" y="72"/>
                    </a:cubicBezTo>
                    <a:cubicBezTo>
                      <a:pt x="1" y="75"/>
                      <a:pt x="1" y="78"/>
                      <a:pt x="2" y="81"/>
                    </a:cubicBezTo>
                    <a:cubicBezTo>
                      <a:pt x="3" y="84"/>
                      <a:pt x="5" y="86"/>
                      <a:pt x="7" y="88"/>
                    </a:cubicBezTo>
                    <a:cubicBezTo>
                      <a:pt x="9" y="92"/>
                      <a:pt x="11" y="95"/>
                      <a:pt x="12" y="98"/>
                    </a:cubicBezTo>
                    <a:cubicBezTo>
                      <a:pt x="14" y="102"/>
                      <a:pt x="14" y="106"/>
                      <a:pt x="15" y="11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34" name="Freeform 2521"/>
              <p:cNvSpPr>
                <a:spLocks noChangeAspect="1"/>
              </p:cNvSpPr>
              <p:nvPr/>
            </p:nvSpPr>
            <p:spPr bwMode="auto">
              <a:xfrm>
                <a:off x="4932927" y="2962771"/>
                <a:ext cx="32437" cy="34058"/>
              </a:xfrm>
              <a:custGeom>
                <a:avLst/>
                <a:gdLst>
                  <a:gd name="T0" fmla="*/ 8 w 24"/>
                  <a:gd name="T1" fmla="*/ 41 h 34"/>
                  <a:gd name="T2" fmla="*/ 6 w 24"/>
                  <a:gd name="T3" fmla="*/ 31 h 34"/>
                  <a:gd name="T4" fmla="*/ 4 w 24"/>
                  <a:gd name="T5" fmla="*/ 16 h 34"/>
                  <a:gd name="T6" fmla="*/ 5 w 24"/>
                  <a:gd name="T7" fmla="*/ 11 h 34"/>
                  <a:gd name="T8" fmla="*/ 0 w 24"/>
                  <a:gd name="T9" fmla="*/ 6 h 34"/>
                  <a:gd name="T10" fmla="*/ 5 w 24"/>
                  <a:gd name="T11" fmla="*/ 5 h 34"/>
                  <a:gd name="T12" fmla="*/ 7 w 24"/>
                  <a:gd name="T13" fmla="*/ 7 h 34"/>
                  <a:gd name="T14" fmla="*/ 12 w 24"/>
                  <a:gd name="T15" fmla="*/ 7 h 34"/>
                  <a:gd name="T16" fmla="*/ 15 w 24"/>
                  <a:gd name="T17" fmla="*/ 1 h 34"/>
                  <a:gd name="T18" fmla="*/ 21 w 24"/>
                  <a:gd name="T19" fmla="*/ 2 h 34"/>
                  <a:gd name="T20" fmla="*/ 24 w 24"/>
                  <a:gd name="T21" fmla="*/ 5 h 34"/>
                  <a:gd name="T22" fmla="*/ 24 w 24"/>
                  <a:gd name="T23" fmla="*/ 8 h 34"/>
                  <a:gd name="T24" fmla="*/ 29 w 24"/>
                  <a:gd name="T25" fmla="*/ 12 h 34"/>
                  <a:gd name="T26" fmla="*/ 29 w 24"/>
                  <a:gd name="T27" fmla="*/ 17 h 34"/>
                  <a:gd name="T28" fmla="*/ 23 w 24"/>
                  <a:gd name="T29" fmla="*/ 23 h 34"/>
                  <a:gd name="T30" fmla="*/ 19 w 24"/>
                  <a:gd name="T31" fmla="*/ 29 h 34"/>
                  <a:gd name="T32" fmla="*/ 8 w 24"/>
                  <a:gd name="T33" fmla="*/ 41 h 3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24"/>
                  <a:gd name="T52" fmla="*/ 0 h 34"/>
                  <a:gd name="T53" fmla="*/ 24 w 24"/>
                  <a:gd name="T54" fmla="*/ 34 h 34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24" h="34">
                    <a:moveTo>
                      <a:pt x="7" y="34"/>
                    </a:moveTo>
                    <a:cubicBezTo>
                      <a:pt x="6" y="31"/>
                      <a:pt x="5" y="29"/>
                      <a:pt x="5" y="26"/>
                    </a:cubicBezTo>
                    <a:cubicBezTo>
                      <a:pt x="4" y="22"/>
                      <a:pt x="3" y="17"/>
                      <a:pt x="3" y="13"/>
                    </a:cubicBezTo>
                    <a:cubicBezTo>
                      <a:pt x="3" y="12"/>
                      <a:pt x="4" y="11"/>
                      <a:pt x="4" y="9"/>
                    </a:cubicBezTo>
                    <a:cubicBezTo>
                      <a:pt x="3" y="8"/>
                      <a:pt x="2" y="6"/>
                      <a:pt x="0" y="5"/>
                    </a:cubicBezTo>
                    <a:cubicBezTo>
                      <a:pt x="2" y="4"/>
                      <a:pt x="3" y="4"/>
                      <a:pt x="4" y="4"/>
                    </a:cubicBezTo>
                    <a:cubicBezTo>
                      <a:pt x="5" y="4"/>
                      <a:pt x="5" y="6"/>
                      <a:pt x="6" y="6"/>
                    </a:cubicBezTo>
                    <a:cubicBezTo>
                      <a:pt x="7" y="6"/>
                      <a:pt x="9" y="6"/>
                      <a:pt x="10" y="6"/>
                    </a:cubicBezTo>
                    <a:cubicBezTo>
                      <a:pt x="11" y="5"/>
                      <a:pt x="11" y="2"/>
                      <a:pt x="12" y="1"/>
                    </a:cubicBezTo>
                    <a:cubicBezTo>
                      <a:pt x="14" y="0"/>
                      <a:pt x="16" y="1"/>
                      <a:pt x="17" y="2"/>
                    </a:cubicBezTo>
                    <a:cubicBezTo>
                      <a:pt x="19" y="2"/>
                      <a:pt x="19" y="3"/>
                      <a:pt x="20" y="4"/>
                    </a:cubicBezTo>
                    <a:lnTo>
                      <a:pt x="20" y="7"/>
                    </a:lnTo>
                    <a:lnTo>
                      <a:pt x="24" y="10"/>
                    </a:lnTo>
                    <a:lnTo>
                      <a:pt x="24" y="14"/>
                    </a:lnTo>
                    <a:lnTo>
                      <a:pt x="19" y="19"/>
                    </a:lnTo>
                    <a:lnTo>
                      <a:pt x="16" y="24"/>
                    </a:lnTo>
                    <a:lnTo>
                      <a:pt x="7" y="34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35" name="Freeform 2522"/>
              <p:cNvSpPr>
                <a:spLocks noChangeAspect="1"/>
              </p:cNvSpPr>
              <p:nvPr/>
            </p:nvSpPr>
            <p:spPr bwMode="auto">
              <a:xfrm>
                <a:off x="4931807" y="2944496"/>
                <a:ext cx="34673" cy="24920"/>
              </a:xfrm>
              <a:custGeom>
                <a:avLst/>
                <a:gdLst>
                  <a:gd name="T0" fmla="*/ 1 w 26"/>
                  <a:gd name="T1" fmla="*/ 29 h 25"/>
                  <a:gd name="T2" fmla="*/ 0 w 26"/>
                  <a:gd name="T3" fmla="*/ 24 h 25"/>
                  <a:gd name="T4" fmla="*/ 5 w 26"/>
                  <a:gd name="T5" fmla="*/ 10 h 25"/>
                  <a:gd name="T6" fmla="*/ 10 w 26"/>
                  <a:gd name="T7" fmla="*/ 4 h 25"/>
                  <a:gd name="T8" fmla="*/ 17 w 26"/>
                  <a:gd name="T9" fmla="*/ 5 h 25"/>
                  <a:gd name="T10" fmla="*/ 23 w 26"/>
                  <a:gd name="T11" fmla="*/ 0 h 25"/>
                  <a:gd name="T12" fmla="*/ 29 w 26"/>
                  <a:gd name="T13" fmla="*/ 7 h 25"/>
                  <a:gd name="T14" fmla="*/ 29 w 26"/>
                  <a:gd name="T15" fmla="*/ 16 h 25"/>
                  <a:gd name="T16" fmla="*/ 31 w 26"/>
                  <a:gd name="T17" fmla="*/ 22 h 25"/>
                  <a:gd name="T18" fmla="*/ 25 w 26"/>
                  <a:gd name="T19" fmla="*/ 28 h 25"/>
                  <a:gd name="T20" fmla="*/ 21 w 26"/>
                  <a:gd name="T21" fmla="*/ 25 h 25"/>
                  <a:gd name="T22" fmla="*/ 16 w 26"/>
                  <a:gd name="T23" fmla="*/ 24 h 25"/>
                  <a:gd name="T24" fmla="*/ 13 w 26"/>
                  <a:gd name="T25" fmla="*/ 30 h 25"/>
                  <a:gd name="T26" fmla="*/ 8 w 26"/>
                  <a:gd name="T27" fmla="*/ 30 h 25"/>
                  <a:gd name="T28" fmla="*/ 6 w 26"/>
                  <a:gd name="T29" fmla="*/ 28 h 25"/>
                  <a:gd name="T30" fmla="*/ 1 w 26"/>
                  <a:gd name="T31" fmla="*/ 29 h 25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6"/>
                  <a:gd name="T49" fmla="*/ 0 h 25"/>
                  <a:gd name="T50" fmla="*/ 26 w 26"/>
                  <a:gd name="T51" fmla="*/ 25 h 25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6" h="25">
                    <a:moveTo>
                      <a:pt x="1" y="24"/>
                    </a:moveTo>
                    <a:cubicBezTo>
                      <a:pt x="1" y="22"/>
                      <a:pt x="0" y="21"/>
                      <a:pt x="0" y="20"/>
                    </a:cubicBezTo>
                    <a:cubicBezTo>
                      <a:pt x="1" y="16"/>
                      <a:pt x="3" y="12"/>
                      <a:pt x="4" y="8"/>
                    </a:cubicBezTo>
                    <a:cubicBezTo>
                      <a:pt x="5" y="6"/>
                      <a:pt x="7" y="5"/>
                      <a:pt x="8" y="3"/>
                    </a:cubicBezTo>
                    <a:cubicBezTo>
                      <a:pt x="10" y="4"/>
                      <a:pt x="12" y="5"/>
                      <a:pt x="14" y="4"/>
                    </a:cubicBezTo>
                    <a:cubicBezTo>
                      <a:pt x="17" y="4"/>
                      <a:pt x="18" y="1"/>
                      <a:pt x="19" y="0"/>
                    </a:cubicBezTo>
                    <a:cubicBezTo>
                      <a:pt x="21" y="2"/>
                      <a:pt x="23" y="3"/>
                      <a:pt x="24" y="6"/>
                    </a:cubicBezTo>
                    <a:cubicBezTo>
                      <a:pt x="25" y="8"/>
                      <a:pt x="24" y="10"/>
                      <a:pt x="24" y="13"/>
                    </a:cubicBezTo>
                    <a:cubicBezTo>
                      <a:pt x="24" y="14"/>
                      <a:pt x="26" y="16"/>
                      <a:pt x="26" y="18"/>
                    </a:cubicBezTo>
                    <a:cubicBezTo>
                      <a:pt x="25" y="20"/>
                      <a:pt x="22" y="21"/>
                      <a:pt x="21" y="23"/>
                    </a:cubicBezTo>
                    <a:cubicBezTo>
                      <a:pt x="20" y="22"/>
                      <a:pt x="20" y="21"/>
                      <a:pt x="18" y="21"/>
                    </a:cubicBezTo>
                    <a:cubicBezTo>
                      <a:pt x="17" y="20"/>
                      <a:pt x="15" y="19"/>
                      <a:pt x="13" y="20"/>
                    </a:cubicBezTo>
                    <a:cubicBezTo>
                      <a:pt x="12" y="21"/>
                      <a:pt x="12" y="24"/>
                      <a:pt x="11" y="25"/>
                    </a:cubicBezTo>
                    <a:cubicBezTo>
                      <a:pt x="10" y="25"/>
                      <a:pt x="8" y="25"/>
                      <a:pt x="7" y="25"/>
                    </a:cubicBezTo>
                    <a:cubicBezTo>
                      <a:pt x="6" y="25"/>
                      <a:pt x="6" y="23"/>
                      <a:pt x="5" y="23"/>
                    </a:cubicBezTo>
                    <a:cubicBezTo>
                      <a:pt x="4" y="23"/>
                      <a:pt x="3" y="23"/>
                      <a:pt x="1" y="24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36" name="Freeform 2523"/>
              <p:cNvSpPr>
                <a:spLocks noChangeAspect="1"/>
              </p:cNvSpPr>
              <p:nvPr/>
            </p:nvSpPr>
            <p:spPr bwMode="auto">
              <a:xfrm>
                <a:off x="4644356" y="2992675"/>
                <a:ext cx="19015" cy="21597"/>
              </a:xfrm>
              <a:custGeom>
                <a:avLst/>
                <a:gdLst>
                  <a:gd name="T0" fmla="*/ 4 w 14"/>
                  <a:gd name="T1" fmla="*/ 25 h 21"/>
                  <a:gd name="T2" fmla="*/ 4 w 14"/>
                  <a:gd name="T3" fmla="*/ 17 h 21"/>
                  <a:gd name="T4" fmla="*/ 0 w 14"/>
                  <a:gd name="T5" fmla="*/ 10 h 21"/>
                  <a:gd name="T6" fmla="*/ 12 w 14"/>
                  <a:gd name="T7" fmla="*/ 1 h 21"/>
                  <a:gd name="T8" fmla="*/ 17 w 14"/>
                  <a:gd name="T9" fmla="*/ 5 h 21"/>
                  <a:gd name="T10" fmla="*/ 7 w 14"/>
                  <a:gd name="T11" fmla="*/ 11 h 21"/>
                  <a:gd name="T12" fmla="*/ 9 w 14"/>
                  <a:gd name="T13" fmla="*/ 24 h 21"/>
                  <a:gd name="T14" fmla="*/ 4 w 14"/>
                  <a:gd name="T15" fmla="*/ 25 h 2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4"/>
                  <a:gd name="T25" fmla="*/ 0 h 21"/>
                  <a:gd name="T26" fmla="*/ 14 w 14"/>
                  <a:gd name="T27" fmla="*/ 21 h 2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4" h="21">
                    <a:moveTo>
                      <a:pt x="3" y="20"/>
                    </a:moveTo>
                    <a:cubicBezTo>
                      <a:pt x="3" y="18"/>
                      <a:pt x="3" y="16"/>
                      <a:pt x="3" y="14"/>
                    </a:cubicBezTo>
                    <a:cubicBezTo>
                      <a:pt x="2" y="12"/>
                      <a:pt x="1" y="10"/>
                      <a:pt x="0" y="8"/>
                    </a:cubicBezTo>
                    <a:cubicBezTo>
                      <a:pt x="3" y="6"/>
                      <a:pt x="6" y="2"/>
                      <a:pt x="10" y="1"/>
                    </a:cubicBezTo>
                    <a:cubicBezTo>
                      <a:pt x="11" y="0"/>
                      <a:pt x="13" y="3"/>
                      <a:pt x="14" y="4"/>
                    </a:cubicBezTo>
                    <a:cubicBezTo>
                      <a:pt x="11" y="5"/>
                      <a:pt x="8" y="7"/>
                      <a:pt x="6" y="9"/>
                    </a:cubicBezTo>
                    <a:cubicBezTo>
                      <a:pt x="5" y="12"/>
                      <a:pt x="8" y="16"/>
                      <a:pt x="7" y="19"/>
                    </a:cubicBezTo>
                    <a:cubicBezTo>
                      <a:pt x="6" y="21"/>
                      <a:pt x="4" y="20"/>
                      <a:pt x="3" y="2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37" name="Freeform 2524"/>
              <p:cNvSpPr>
                <a:spLocks noChangeAspect="1"/>
              </p:cNvSpPr>
              <p:nvPr/>
            </p:nvSpPr>
            <p:spPr bwMode="auto">
              <a:xfrm>
                <a:off x="4648830" y="2853123"/>
                <a:ext cx="323245" cy="274951"/>
              </a:xfrm>
              <a:custGeom>
                <a:avLst/>
                <a:gdLst>
                  <a:gd name="T0" fmla="*/ 22 w 241"/>
                  <a:gd name="T1" fmla="*/ 171 h 275"/>
                  <a:gd name="T2" fmla="*/ 40 w 241"/>
                  <a:gd name="T3" fmla="*/ 175 h 275"/>
                  <a:gd name="T4" fmla="*/ 61 w 241"/>
                  <a:gd name="T5" fmla="*/ 146 h 275"/>
                  <a:gd name="T6" fmla="*/ 71 w 241"/>
                  <a:gd name="T7" fmla="*/ 114 h 275"/>
                  <a:gd name="T8" fmla="*/ 86 w 241"/>
                  <a:gd name="T9" fmla="*/ 102 h 275"/>
                  <a:gd name="T10" fmla="*/ 88 w 241"/>
                  <a:gd name="T11" fmla="*/ 65 h 275"/>
                  <a:gd name="T12" fmla="*/ 97 w 241"/>
                  <a:gd name="T13" fmla="*/ 29 h 275"/>
                  <a:gd name="T14" fmla="*/ 107 w 241"/>
                  <a:gd name="T15" fmla="*/ 4 h 275"/>
                  <a:gd name="T16" fmla="*/ 137 w 241"/>
                  <a:gd name="T17" fmla="*/ 16 h 275"/>
                  <a:gd name="T18" fmla="*/ 162 w 241"/>
                  <a:gd name="T19" fmla="*/ 7 h 275"/>
                  <a:gd name="T20" fmla="*/ 186 w 241"/>
                  <a:gd name="T21" fmla="*/ 2 h 275"/>
                  <a:gd name="T22" fmla="*/ 200 w 241"/>
                  <a:gd name="T23" fmla="*/ 0 h 275"/>
                  <a:gd name="T24" fmla="*/ 216 w 241"/>
                  <a:gd name="T25" fmla="*/ 7 h 275"/>
                  <a:gd name="T26" fmla="*/ 236 w 241"/>
                  <a:gd name="T27" fmla="*/ 11 h 275"/>
                  <a:gd name="T28" fmla="*/ 257 w 241"/>
                  <a:gd name="T29" fmla="*/ 12 h 275"/>
                  <a:gd name="T30" fmla="*/ 276 w 241"/>
                  <a:gd name="T31" fmla="*/ 28 h 275"/>
                  <a:gd name="T32" fmla="*/ 279 w 241"/>
                  <a:gd name="T33" fmla="*/ 40 h 275"/>
                  <a:gd name="T34" fmla="*/ 289 w 241"/>
                  <a:gd name="T35" fmla="*/ 54 h 275"/>
                  <a:gd name="T36" fmla="*/ 276 w 241"/>
                  <a:gd name="T37" fmla="*/ 70 h 275"/>
                  <a:gd name="T38" fmla="*/ 265 w 241"/>
                  <a:gd name="T39" fmla="*/ 93 h 275"/>
                  <a:gd name="T40" fmla="*/ 258 w 241"/>
                  <a:gd name="T41" fmla="*/ 119 h 275"/>
                  <a:gd name="T42" fmla="*/ 259 w 241"/>
                  <a:gd name="T43" fmla="*/ 143 h 275"/>
                  <a:gd name="T44" fmla="*/ 263 w 241"/>
                  <a:gd name="T45" fmla="*/ 173 h 275"/>
                  <a:gd name="T46" fmla="*/ 265 w 241"/>
                  <a:gd name="T47" fmla="*/ 202 h 275"/>
                  <a:gd name="T48" fmla="*/ 281 w 241"/>
                  <a:gd name="T49" fmla="*/ 237 h 275"/>
                  <a:gd name="T50" fmla="*/ 251 w 241"/>
                  <a:gd name="T51" fmla="*/ 264 h 275"/>
                  <a:gd name="T52" fmla="*/ 247 w 241"/>
                  <a:gd name="T53" fmla="*/ 300 h 275"/>
                  <a:gd name="T54" fmla="*/ 266 w 241"/>
                  <a:gd name="T55" fmla="*/ 307 h 275"/>
                  <a:gd name="T56" fmla="*/ 245 w 241"/>
                  <a:gd name="T57" fmla="*/ 315 h 275"/>
                  <a:gd name="T58" fmla="*/ 223 w 241"/>
                  <a:gd name="T59" fmla="*/ 294 h 275"/>
                  <a:gd name="T60" fmla="*/ 197 w 241"/>
                  <a:gd name="T61" fmla="*/ 292 h 275"/>
                  <a:gd name="T62" fmla="*/ 176 w 241"/>
                  <a:gd name="T63" fmla="*/ 286 h 275"/>
                  <a:gd name="T64" fmla="*/ 151 w 241"/>
                  <a:gd name="T65" fmla="*/ 290 h 275"/>
                  <a:gd name="T66" fmla="*/ 152 w 241"/>
                  <a:gd name="T67" fmla="*/ 266 h 275"/>
                  <a:gd name="T68" fmla="*/ 144 w 241"/>
                  <a:gd name="T69" fmla="*/ 229 h 275"/>
                  <a:gd name="T70" fmla="*/ 128 w 241"/>
                  <a:gd name="T71" fmla="*/ 218 h 275"/>
                  <a:gd name="T72" fmla="*/ 113 w 241"/>
                  <a:gd name="T73" fmla="*/ 217 h 275"/>
                  <a:gd name="T74" fmla="*/ 109 w 241"/>
                  <a:gd name="T75" fmla="*/ 232 h 275"/>
                  <a:gd name="T76" fmla="*/ 79 w 241"/>
                  <a:gd name="T77" fmla="*/ 232 h 275"/>
                  <a:gd name="T78" fmla="*/ 68 w 241"/>
                  <a:gd name="T79" fmla="*/ 200 h 275"/>
                  <a:gd name="T80" fmla="*/ 10 w 241"/>
                  <a:gd name="T81" fmla="*/ 194 h 275"/>
                  <a:gd name="T82" fmla="*/ 5 w 241"/>
                  <a:gd name="T83" fmla="*/ 191 h 275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241"/>
                  <a:gd name="T127" fmla="*/ 0 h 275"/>
                  <a:gd name="T128" fmla="*/ 241 w 241"/>
                  <a:gd name="T129" fmla="*/ 275 h 275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241" h="275">
                    <a:moveTo>
                      <a:pt x="11" y="144"/>
                    </a:moveTo>
                    <a:cubicBezTo>
                      <a:pt x="12" y="144"/>
                      <a:pt x="14" y="147"/>
                      <a:pt x="16" y="147"/>
                    </a:cubicBezTo>
                    <a:cubicBezTo>
                      <a:pt x="17" y="146"/>
                      <a:pt x="17" y="143"/>
                      <a:pt x="18" y="142"/>
                    </a:cubicBezTo>
                    <a:cubicBezTo>
                      <a:pt x="21" y="140"/>
                      <a:pt x="24" y="138"/>
                      <a:pt x="27" y="138"/>
                    </a:cubicBezTo>
                    <a:cubicBezTo>
                      <a:pt x="29" y="138"/>
                      <a:pt x="26" y="142"/>
                      <a:pt x="27" y="144"/>
                    </a:cubicBezTo>
                    <a:cubicBezTo>
                      <a:pt x="28" y="145"/>
                      <a:pt x="31" y="146"/>
                      <a:pt x="33" y="145"/>
                    </a:cubicBezTo>
                    <a:cubicBezTo>
                      <a:pt x="36" y="144"/>
                      <a:pt x="36" y="140"/>
                      <a:pt x="38" y="138"/>
                    </a:cubicBezTo>
                    <a:cubicBezTo>
                      <a:pt x="40" y="136"/>
                      <a:pt x="45" y="137"/>
                      <a:pt x="47" y="134"/>
                    </a:cubicBezTo>
                    <a:cubicBezTo>
                      <a:pt x="49" y="130"/>
                      <a:pt x="50" y="126"/>
                      <a:pt x="51" y="121"/>
                    </a:cubicBezTo>
                    <a:cubicBezTo>
                      <a:pt x="52" y="117"/>
                      <a:pt x="49" y="113"/>
                      <a:pt x="50" y="110"/>
                    </a:cubicBezTo>
                    <a:cubicBezTo>
                      <a:pt x="51" y="106"/>
                      <a:pt x="55" y="104"/>
                      <a:pt x="57" y="101"/>
                    </a:cubicBezTo>
                    <a:cubicBezTo>
                      <a:pt x="58" y="99"/>
                      <a:pt x="57" y="96"/>
                      <a:pt x="59" y="95"/>
                    </a:cubicBezTo>
                    <a:cubicBezTo>
                      <a:pt x="61" y="93"/>
                      <a:pt x="64" y="94"/>
                      <a:pt x="66" y="93"/>
                    </a:cubicBezTo>
                    <a:cubicBezTo>
                      <a:pt x="67" y="92"/>
                      <a:pt x="65" y="89"/>
                      <a:pt x="66" y="88"/>
                    </a:cubicBezTo>
                    <a:cubicBezTo>
                      <a:pt x="67" y="87"/>
                      <a:pt x="71" y="87"/>
                      <a:pt x="72" y="85"/>
                    </a:cubicBezTo>
                    <a:cubicBezTo>
                      <a:pt x="73" y="82"/>
                      <a:pt x="71" y="78"/>
                      <a:pt x="72" y="75"/>
                    </a:cubicBezTo>
                    <a:cubicBezTo>
                      <a:pt x="72" y="71"/>
                      <a:pt x="72" y="67"/>
                      <a:pt x="72" y="63"/>
                    </a:cubicBezTo>
                    <a:cubicBezTo>
                      <a:pt x="72" y="60"/>
                      <a:pt x="73" y="57"/>
                      <a:pt x="73" y="54"/>
                    </a:cubicBezTo>
                    <a:cubicBezTo>
                      <a:pt x="74" y="49"/>
                      <a:pt x="75" y="45"/>
                      <a:pt x="77" y="41"/>
                    </a:cubicBezTo>
                    <a:cubicBezTo>
                      <a:pt x="78" y="37"/>
                      <a:pt x="81" y="34"/>
                      <a:pt x="81" y="30"/>
                    </a:cubicBezTo>
                    <a:cubicBezTo>
                      <a:pt x="82" y="28"/>
                      <a:pt x="81" y="26"/>
                      <a:pt x="81" y="24"/>
                    </a:cubicBezTo>
                    <a:cubicBezTo>
                      <a:pt x="81" y="21"/>
                      <a:pt x="80" y="18"/>
                      <a:pt x="81" y="14"/>
                    </a:cubicBezTo>
                    <a:cubicBezTo>
                      <a:pt x="81" y="12"/>
                      <a:pt x="83" y="9"/>
                      <a:pt x="84" y="7"/>
                    </a:cubicBezTo>
                    <a:cubicBezTo>
                      <a:pt x="85" y="5"/>
                      <a:pt x="87" y="4"/>
                      <a:pt x="89" y="3"/>
                    </a:cubicBezTo>
                    <a:cubicBezTo>
                      <a:pt x="90" y="3"/>
                      <a:pt x="93" y="2"/>
                      <a:pt x="94" y="3"/>
                    </a:cubicBezTo>
                    <a:cubicBezTo>
                      <a:pt x="98" y="5"/>
                      <a:pt x="101" y="9"/>
                      <a:pt x="105" y="11"/>
                    </a:cubicBezTo>
                    <a:cubicBezTo>
                      <a:pt x="108" y="13"/>
                      <a:pt x="111" y="12"/>
                      <a:pt x="114" y="13"/>
                    </a:cubicBezTo>
                    <a:cubicBezTo>
                      <a:pt x="119" y="14"/>
                      <a:pt x="123" y="17"/>
                      <a:pt x="127" y="16"/>
                    </a:cubicBezTo>
                    <a:cubicBezTo>
                      <a:pt x="130" y="16"/>
                      <a:pt x="130" y="11"/>
                      <a:pt x="131" y="9"/>
                    </a:cubicBezTo>
                    <a:cubicBezTo>
                      <a:pt x="132" y="8"/>
                      <a:pt x="134" y="6"/>
                      <a:pt x="135" y="6"/>
                    </a:cubicBezTo>
                    <a:cubicBezTo>
                      <a:pt x="138" y="6"/>
                      <a:pt x="140" y="9"/>
                      <a:pt x="142" y="9"/>
                    </a:cubicBezTo>
                    <a:cubicBezTo>
                      <a:pt x="145" y="9"/>
                      <a:pt x="149" y="7"/>
                      <a:pt x="152" y="6"/>
                    </a:cubicBezTo>
                    <a:cubicBezTo>
                      <a:pt x="153" y="5"/>
                      <a:pt x="154" y="2"/>
                      <a:pt x="155" y="2"/>
                    </a:cubicBezTo>
                    <a:cubicBezTo>
                      <a:pt x="157" y="2"/>
                      <a:pt x="157" y="5"/>
                      <a:pt x="158" y="5"/>
                    </a:cubicBezTo>
                    <a:cubicBezTo>
                      <a:pt x="160" y="6"/>
                      <a:pt x="162" y="6"/>
                      <a:pt x="164" y="5"/>
                    </a:cubicBezTo>
                    <a:cubicBezTo>
                      <a:pt x="166" y="4"/>
                      <a:pt x="165" y="0"/>
                      <a:pt x="167" y="0"/>
                    </a:cubicBezTo>
                    <a:cubicBezTo>
                      <a:pt x="170" y="0"/>
                      <a:pt x="171" y="4"/>
                      <a:pt x="173" y="4"/>
                    </a:cubicBezTo>
                    <a:cubicBezTo>
                      <a:pt x="175" y="4"/>
                      <a:pt x="176" y="2"/>
                      <a:pt x="177" y="2"/>
                    </a:cubicBezTo>
                    <a:cubicBezTo>
                      <a:pt x="179" y="2"/>
                      <a:pt x="178" y="6"/>
                      <a:pt x="180" y="6"/>
                    </a:cubicBezTo>
                    <a:cubicBezTo>
                      <a:pt x="183" y="5"/>
                      <a:pt x="184" y="2"/>
                      <a:pt x="187" y="2"/>
                    </a:cubicBezTo>
                    <a:cubicBezTo>
                      <a:pt x="188" y="2"/>
                      <a:pt x="190" y="4"/>
                      <a:pt x="191" y="5"/>
                    </a:cubicBezTo>
                    <a:cubicBezTo>
                      <a:pt x="193" y="6"/>
                      <a:pt x="195" y="8"/>
                      <a:pt x="197" y="9"/>
                    </a:cubicBezTo>
                    <a:cubicBezTo>
                      <a:pt x="199" y="10"/>
                      <a:pt x="202" y="12"/>
                      <a:pt x="204" y="12"/>
                    </a:cubicBezTo>
                    <a:cubicBezTo>
                      <a:pt x="206" y="12"/>
                      <a:pt x="207" y="10"/>
                      <a:pt x="208" y="10"/>
                    </a:cubicBezTo>
                    <a:cubicBezTo>
                      <a:pt x="210" y="9"/>
                      <a:pt x="212" y="10"/>
                      <a:pt x="214" y="10"/>
                    </a:cubicBezTo>
                    <a:cubicBezTo>
                      <a:pt x="216" y="9"/>
                      <a:pt x="216" y="7"/>
                      <a:pt x="218" y="7"/>
                    </a:cubicBezTo>
                    <a:cubicBezTo>
                      <a:pt x="221" y="9"/>
                      <a:pt x="224" y="13"/>
                      <a:pt x="226" y="17"/>
                    </a:cubicBezTo>
                    <a:cubicBezTo>
                      <a:pt x="228" y="18"/>
                      <a:pt x="228" y="21"/>
                      <a:pt x="230" y="23"/>
                    </a:cubicBezTo>
                    <a:cubicBezTo>
                      <a:pt x="231" y="24"/>
                      <a:pt x="232" y="25"/>
                      <a:pt x="233" y="26"/>
                    </a:cubicBezTo>
                    <a:cubicBezTo>
                      <a:pt x="234" y="27"/>
                      <a:pt x="236" y="29"/>
                      <a:pt x="235" y="30"/>
                    </a:cubicBezTo>
                    <a:cubicBezTo>
                      <a:pt x="235" y="31"/>
                      <a:pt x="233" y="32"/>
                      <a:pt x="233" y="33"/>
                    </a:cubicBezTo>
                    <a:cubicBezTo>
                      <a:pt x="233" y="35"/>
                      <a:pt x="236" y="35"/>
                      <a:pt x="237" y="36"/>
                    </a:cubicBezTo>
                    <a:cubicBezTo>
                      <a:pt x="237" y="39"/>
                      <a:pt x="234" y="41"/>
                      <a:pt x="235" y="43"/>
                    </a:cubicBezTo>
                    <a:cubicBezTo>
                      <a:pt x="236" y="44"/>
                      <a:pt x="240" y="43"/>
                      <a:pt x="241" y="45"/>
                    </a:cubicBezTo>
                    <a:cubicBezTo>
                      <a:pt x="241" y="47"/>
                      <a:pt x="237" y="47"/>
                      <a:pt x="236" y="49"/>
                    </a:cubicBezTo>
                    <a:cubicBezTo>
                      <a:pt x="234" y="50"/>
                      <a:pt x="232" y="51"/>
                      <a:pt x="231" y="53"/>
                    </a:cubicBezTo>
                    <a:cubicBezTo>
                      <a:pt x="230" y="54"/>
                      <a:pt x="231" y="56"/>
                      <a:pt x="230" y="58"/>
                    </a:cubicBezTo>
                    <a:cubicBezTo>
                      <a:pt x="229" y="59"/>
                      <a:pt x="227" y="59"/>
                      <a:pt x="227" y="61"/>
                    </a:cubicBezTo>
                    <a:cubicBezTo>
                      <a:pt x="225" y="63"/>
                      <a:pt x="225" y="65"/>
                      <a:pt x="224" y="68"/>
                    </a:cubicBezTo>
                    <a:cubicBezTo>
                      <a:pt x="223" y="71"/>
                      <a:pt x="222" y="74"/>
                      <a:pt x="221" y="77"/>
                    </a:cubicBezTo>
                    <a:cubicBezTo>
                      <a:pt x="220" y="79"/>
                      <a:pt x="220" y="81"/>
                      <a:pt x="220" y="83"/>
                    </a:cubicBezTo>
                    <a:cubicBezTo>
                      <a:pt x="220" y="87"/>
                      <a:pt x="219" y="90"/>
                      <a:pt x="219" y="94"/>
                    </a:cubicBezTo>
                    <a:cubicBezTo>
                      <a:pt x="218" y="96"/>
                      <a:pt x="216" y="97"/>
                      <a:pt x="215" y="99"/>
                    </a:cubicBezTo>
                    <a:cubicBezTo>
                      <a:pt x="214" y="103"/>
                      <a:pt x="212" y="107"/>
                      <a:pt x="211" y="111"/>
                    </a:cubicBezTo>
                    <a:cubicBezTo>
                      <a:pt x="211" y="112"/>
                      <a:pt x="212" y="113"/>
                      <a:pt x="212" y="115"/>
                    </a:cubicBezTo>
                    <a:cubicBezTo>
                      <a:pt x="214" y="116"/>
                      <a:pt x="215" y="118"/>
                      <a:pt x="216" y="119"/>
                    </a:cubicBezTo>
                    <a:cubicBezTo>
                      <a:pt x="216" y="121"/>
                      <a:pt x="215" y="122"/>
                      <a:pt x="215" y="123"/>
                    </a:cubicBezTo>
                    <a:cubicBezTo>
                      <a:pt x="215" y="127"/>
                      <a:pt x="216" y="132"/>
                      <a:pt x="217" y="136"/>
                    </a:cubicBezTo>
                    <a:cubicBezTo>
                      <a:pt x="217" y="139"/>
                      <a:pt x="218" y="141"/>
                      <a:pt x="219" y="144"/>
                    </a:cubicBezTo>
                    <a:cubicBezTo>
                      <a:pt x="219" y="147"/>
                      <a:pt x="220" y="150"/>
                      <a:pt x="220" y="152"/>
                    </a:cubicBezTo>
                    <a:cubicBezTo>
                      <a:pt x="220" y="155"/>
                      <a:pt x="220" y="157"/>
                      <a:pt x="220" y="159"/>
                    </a:cubicBezTo>
                    <a:cubicBezTo>
                      <a:pt x="220" y="162"/>
                      <a:pt x="220" y="165"/>
                      <a:pt x="221" y="168"/>
                    </a:cubicBezTo>
                    <a:cubicBezTo>
                      <a:pt x="222" y="171"/>
                      <a:pt x="224" y="173"/>
                      <a:pt x="226" y="175"/>
                    </a:cubicBezTo>
                    <a:cubicBezTo>
                      <a:pt x="228" y="179"/>
                      <a:pt x="230" y="182"/>
                      <a:pt x="231" y="185"/>
                    </a:cubicBezTo>
                    <a:cubicBezTo>
                      <a:pt x="233" y="189"/>
                      <a:pt x="233" y="193"/>
                      <a:pt x="234" y="197"/>
                    </a:cubicBezTo>
                    <a:cubicBezTo>
                      <a:pt x="226" y="198"/>
                      <a:pt x="218" y="195"/>
                      <a:pt x="211" y="198"/>
                    </a:cubicBezTo>
                    <a:cubicBezTo>
                      <a:pt x="207" y="201"/>
                      <a:pt x="208" y="208"/>
                      <a:pt x="207" y="212"/>
                    </a:cubicBezTo>
                    <a:cubicBezTo>
                      <a:pt x="207" y="215"/>
                      <a:pt x="209" y="216"/>
                      <a:pt x="209" y="219"/>
                    </a:cubicBezTo>
                    <a:cubicBezTo>
                      <a:pt x="209" y="223"/>
                      <a:pt x="208" y="228"/>
                      <a:pt x="207" y="233"/>
                    </a:cubicBezTo>
                    <a:cubicBezTo>
                      <a:pt x="207" y="235"/>
                      <a:pt x="205" y="237"/>
                      <a:pt x="205" y="239"/>
                    </a:cubicBezTo>
                    <a:cubicBezTo>
                      <a:pt x="205" y="243"/>
                      <a:pt x="205" y="246"/>
                      <a:pt x="206" y="249"/>
                    </a:cubicBezTo>
                    <a:cubicBezTo>
                      <a:pt x="208" y="252"/>
                      <a:pt x="211" y="255"/>
                      <a:pt x="214" y="256"/>
                    </a:cubicBezTo>
                    <a:cubicBezTo>
                      <a:pt x="215" y="257"/>
                      <a:pt x="216" y="257"/>
                      <a:pt x="218" y="257"/>
                    </a:cubicBezTo>
                    <a:cubicBezTo>
                      <a:pt x="219" y="257"/>
                      <a:pt x="223" y="254"/>
                      <a:pt x="222" y="255"/>
                    </a:cubicBezTo>
                    <a:cubicBezTo>
                      <a:pt x="221" y="260"/>
                      <a:pt x="221" y="267"/>
                      <a:pt x="220" y="272"/>
                    </a:cubicBezTo>
                    <a:cubicBezTo>
                      <a:pt x="219" y="275"/>
                      <a:pt x="214" y="274"/>
                      <a:pt x="212" y="273"/>
                    </a:cubicBezTo>
                    <a:cubicBezTo>
                      <a:pt x="208" y="271"/>
                      <a:pt x="207" y="266"/>
                      <a:pt x="204" y="262"/>
                    </a:cubicBezTo>
                    <a:cubicBezTo>
                      <a:pt x="201" y="260"/>
                      <a:pt x="199" y="257"/>
                      <a:pt x="197" y="255"/>
                    </a:cubicBezTo>
                    <a:cubicBezTo>
                      <a:pt x="195" y="253"/>
                      <a:pt x="193" y="252"/>
                      <a:pt x="191" y="250"/>
                    </a:cubicBezTo>
                    <a:cubicBezTo>
                      <a:pt x="189" y="248"/>
                      <a:pt x="189" y="244"/>
                      <a:pt x="186" y="244"/>
                    </a:cubicBezTo>
                    <a:cubicBezTo>
                      <a:pt x="183" y="244"/>
                      <a:pt x="183" y="249"/>
                      <a:pt x="181" y="250"/>
                    </a:cubicBezTo>
                    <a:cubicBezTo>
                      <a:pt x="177" y="250"/>
                      <a:pt x="173" y="249"/>
                      <a:pt x="169" y="247"/>
                    </a:cubicBezTo>
                    <a:cubicBezTo>
                      <a:pt x="167" y="247"/>
                      <a:pt x="166" y="245"/>
                      <a:pt x="164" y="243"/>
                    </a:cubicBezTo>
                    <a:cubicBezTo>
                      <a:pt x="164" y="242"/>
                      <a:pt x="164" y="240"/>
                      <a:pt x="163" y="240"/>
                    </a:cubicBezTo>
                    <a:cubicBezTo>
                      <a:pt x="160" y="240"/>
                      <a:pt x="157" y="243"/>
                      <a:pt x="154" y="243"/>
                    </a:cubicBezTo>
                    <a:cubicBezTo>
                      <a:pt x="151" y="242"/>
                      <a:pt x="150" y="240"/>
                      <a:pt x="147" y="238"/>
                    </a:cubicBezTo>
                    <a:cubicBezTo>
                      <a:pt x="147" y="237"/>
                      <a:pt x="147" y="236"/>
                      <a:pt x="146" y="236"/>
                    </a:cubicBezTo>
                    <a:cubicBezTo>
                      <a:pt x="143" y="236"/>
                      <a:pt x="139" y="237"/>
                      <a:pt x="136" y="238"/>
                    </a:cubicBezTo>
                    <a:cubicBezTo>
                      <a:pt x="133" y="239"/>
                      <a:pt x="129" y="241"/>
                      <a:pt x="126" y="241"/>
                    </a:cubicBezTo>
                    <a:cubicBezTo>
                      <a:pt x="124" y="241"/>
                      <a:pt x="125" y="239"/>
                      <a:pt x="126" y="237"/>
                    </a:cubicBezTo>
                    <a:cubicBezTo>
                      <a:pt x="126" y="236"/>
                      <a:pt x="127" y="234"/>
                      <a:pt x="127" y="232"/>
                    </a:cubicBezTo>
                    <a:cubicBezTo>
                      <a:pt x="127" y="228"/>
                      <a:pt x="128" y="224"/>
                      <a:pt x="127" y="221"/>
                    </a:cubicBezTo>
                    <a:cubicBezTo>
                      <a:pt x="126" y="218"/>
                      <a:pt x="121" y="218"/>
                      <a:pt x="121" y="215"/>
                    </a:cubicBezTo>
                    <a:cubicBezTo>
                      <a:pt x="120" y="210"/>
                      <a:pt x="122" y="203"/>
                      <a:pt x="122" y="197"/>
                    </a:cubicBezTo>
                    <a:cubicBezTo>
                      <a:pt x="122" y="195"/>
                      <a:pt x="121" y="193"/>
                      <a:pt x="120" y="190"/>
                    </a:cubicBezTo>
                    <a:cubicBezTo>
                      <a:pt x="120" y="189"/>
                      <a:pt x="122" y="188"/>
                      <a:pt x="121" y="186"/>
                    </a:cubicBezTo>
                    <a:cubicBezTo>
                      <a:pt x="121" y="184"/>
                      <a:pt x="121" y="181"/>
                      <a:pt x="119" y="180"/>
                    </a:cubicBezTo>
                    <a:cubicBezTo>
                      <a:pt x="115" y="178"/>
                      <a:pt x="111" y="181"/>
                      <a:pt x="107" y="181"/>
                    </a:cubicBezTo>
                    <a:cubicBezTo>
                      <a:pt x="106" y="180"/>
                      <a:pt x="106" y="178"/>
                      <a:pt x="105" y="178"/>
                    </a:cubicBezTo>
                    <a:cubicBezTo>
                      <a:pt x="104" y="177"/>
                      <a:pt x="103" y="178"/>
                      <a:pt x="102" y="178"/>
                    </a:cubicBezTo>
                    <a:cubicBezTo>
                      <a:pt x="99" y="178"/>
                      <a:pt x="96" y="178"/>
                      <a:pt x="94" y="180"/>
                    </a:cubicBezTo>
                    <a:cubicBezTo>
                      <a:pt x="92" y="181"/>
                      <a:pt x="94" y="184"/>
                      <a:pt x="93" y="186"/>
                    </a:cubicBezTo>
                    <a:cubicBezTo>
                      <a:pt x="93" y="187"/>
                      <a:pt x="92" y="188"/>
                      <a:pt x="92" y="189"/>
                    </a:cubicBezTo>
                    <a:cubicBezTo>
                      <a:pt x="91" y="190"/>
                      <a:pt x="92" y="192"/>
                      <a:pt x="91" y="193"/>
                    </a:cubicBezTo>
                    <a:cubicBezTo>
                      <a:pt x="89" y="194"/>
                      <a:pt x="87" y="193"/>
                      <a:pt x="86" y="193"/>
                    </a:cubicBezTo>
                    <a:cubicBezTo>
                      <a:pt x="83" y="193"/>
                      <a:pt x="81" y="193"/>
                      <a:pt x="79" y="193"/>
                    </a:cubicBezTo>
                    <a:cubicBezTo>
                      <a:pt x="74" y="193"/>
                      <a:pt x="70" y="195"/>
                      <a:pt x="66" y="193"/>
                    </a:cubicBezTo>
                    <a:cubicBezTo>
                      <a:pt x="62" y="191"/>
                      <a:pt x="61" y="186"/>
                      <a:pt x="60" y="182"/>
                    </a:cubicBezTo>
                    <a:cubicBezTo>
                      <a:pt x="59" y="179"/>
                      <a:pt x="58" y="176"/>
                      <a:pt x="58" y="174"/>
                    </a:cubicBezTo>
                    <a:cubicBezTo>
                      <a:pt x="58" y="171"/>
                      <a:pt x="58" y="169"/>
                      <a:pt x="57" y="166"/>
                    </a:cubicBezTo>
                    <a:cubicBezTo>
                      <a:pt x="57" y="164"/>
                      <a:pt x="58" y="161"/>
                      <a:pt x="56" y="161"/>
                    </a:cubicBezTo>
                    <a:lnTo>
                      <a:pt x="14" y="161"/>
                    </a:lnTo>
                    <a:cubicBezTo>
                      <a:pt x="12" y="161"/>
                      <a:pt x="10" y="161"/>
                      <a:pt x="8" y="161"/>
                    </a:cubicBezTo>
                    <a:cubicBezTo>
                      <a:pt x="6" y="161"/>
                      <a:pt x="5" y="163"/>
                      <a:pt x="4" y="163"/>
                    </a:cubicBezTo>
                    <a:cubicBezTo>
                      <a:pt x="2" y="163"/>
                      <a:pt x="1" y="161"/>
                      <a:pt x="0" y="160"/>
                    </a:cubicBezTo>
                    <a:cubicBezTo>
                      <a:pt x="1" y="160"/>
                      <a:pt x="3" y="161"/>
                      <a:pt x="4" y="159"/>
                    </a:cubicBezTo>
                    <a:cubicBezTo>
                      <a:pt x="5" y="156"/>
                      <a:pt x="2" y="152"/>
                      <a:pt x="3" y="149"/>
                    </a:cubicBezTo>
                    <a:cubicBezTo>
                      <a:pt x="5" y="147"/>
                      <a:pt x="8" y="145"/>
                      <a:pt x="11" y="144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38" name="Freeform 2525"/>
              <p:cNvSpPr>
                <a:spLocks noChangeAspect="1"/>
              </p:cNvSpPr>
              <p:nvPr/>
            </p:nvSpPr>
            <p:spPr bwMode="auto">
              <a:xfrm>
                <a:off x="4629815" y="2876381"/>
                <a:ext cx="128626" cy="124600"/>
              </a:xfrm>
              <a:custGeom>
                <a:avLst/>
                <a:gdLst>
                  <a:gd name="T0" fmla="*/ 13 w 96"/>
                  <a:gd name="T1" fmla="*/ 150 h 125"/>
                  <a:gd name="T2" fmla="*/ 6 w 96"/>
                  <a:gd name="T3" fmla="*/ 140 h 125"/>
                  <a:gd name="T4" fmla="*/ 0 w 96"/>
                  <a:gd name="T5" fmla="*/ 132 h 125"/>
                  <a:gd name="T6" fmla="*/ 2 w 96"/>
                  <a:gd name="T7" fmla="*/ 126 h 125"/>
                  <a:gd name="T8" fmla="*/ 10 w 96"/>
                  <a:gd name="T9" fmla="*/ 127 h 125"/>
                  <a:gd name="T10" fmla="*/ 11 w 96"/>
                  <a:gd name="T11" fmla="*/ 119 h 125"/>
                  <a:gd name="T12" fmla="*/ 5 w 96"/>
                  <a:gd name="T13" fmla="*/ 113 h 125"/>
                  <a:gd name="T14" fmla="*/ 6 w 96"/>
                  <a:gd name="T15" fmla="*/ 104 h 125"/>
                  <a:gd name="T16" fmla="*/ 17 w 96"/>
                  <a:gd name="T17" fmla="*/ 106 h 125"/>
                  <a:gd name="T18" fmla="*/ 19 w 96"/>
                  <a:gd name="T19" fmla="*/ 97 h 125"/>
                  <a:gd name="T20" fmla="*/ 26 w 96"/>
                  <a:gd name="T21" fmla="*/ 103 h 125"/>
                  <a:gd name="T22" fmla="*/ 36 w 96"/>
                  <a:gd name="T23" fmla="*/ 102 h 125"/>
                  <a:gd name="T24" fmla="*/ 38 w 96"/>
                  <a:gd name="T25" fmla="*/ 106 h 125"/>
                  <a:gd name="T26" fmla="*/ 43 w 96"/>
                  <a:gd name="T27" fmla="*/ 106 h 125"/>
                  <a:gd name="T28" fmla="*/ 44 w 96"/>
                  <a:gd name="T29" fmla="*/ 95 h 125"/>
                  <a:gd name="T30" fmla="*/ 44 w 96"/>
                  <a:gd name="T31" fmla="*/ 83 h 125"/>
                  <a:gd name="T32" fmla="*/ 47 w 96"/>
                  <a:gd name="T33" fmla="*/ 74 h 125"/>
                  <a:gd name="T34" fmla="*/ 40 w 96"/>
                  <a:gd name="T35" fmla="*/ 72 h 125"/>
                  <a:gd name="T36" fmla="*/ 42 w 96"/>
                  <a:gd name="T37" fmla="*/ 59 h 125"/>
                  <a:gd name="T38" fmla="*/ 50 w 96"/>
                  <a:gd name="T39" fmla="*/ 54 h 125"/>
                  <a:gd name="T40" fmla="*/ 50 w 96"/>
                  <a:gd name="T41" fmla="*/ 42 h 125"/>
                  <a:gd name="T42" fmla="*/ 34 w 96"/>
                  <a:gd name="T43" fmla="*/ 41 h 125"/>
                  <a:gd name="T44" fmla="*/ 31 w 96"/>
                  <a:gd name="T45" fmla="*/ 35 h 125"/>
                  <a:gd name="T46" fmla="*/ 35 w 96"/>
                  <a:gd name="T47" fmla="*/ 26 h 125"/>
                  <a:gd name="T48" fmla="*/ 52 w 96"/>
                  <a:gd name="T49" fmla="*/ 26 h 125"/>
                  <a:gd name="T50" fmla="*/ 75 w 96"/>
                  <a:gd name="T51" fmla="*/ 35 h 125"/>
                  <a:gd name="T52" fmla="*/ 75 w 96"/>
                  <a:gd name="T53" fmla="*/ 29 h 125"/>
                  <a:gd name="T54" fmla="*/ 77 w 96"/>
                  <a:gd name="T55" fmla="*/ 22 h 125"/>
                  <a:gd name="T56" fmla="*/ 80 w 96"/>
                  <a:gd name="T57" fmla="*/ 18 h 125"/>
                  <a:gd name="T58" fmla="*/ 81 w 96"/>
                  <a:gd name="T59" fmla="*/ 8 h 125"/>
                  <a:gd name="T60" fmla="*/ 83 w 96"/>
                  <a:gd name="T61" fmla="*/ 2 h 125"/>
                  <a:gd name="T62" fmla="*/ 93 w 96"/>
                  <a:gd name="T63" fmla="*/ 2 h 125"/>
                  <a:gd name="T64" fmla="*/ 98 w 96"/>
                  <a:gd name="T65" fmla="*/ 0 h 125"/>
                  <a:gd name="T66" fmla="*/ 105 w 96"/>
                  <a:gd name="T67" fmla="*/ 2 h 125"/>
                  <a:gd name="T68" fmla="*/ 114 w 96"/>
                  <a:gd name="T69" fmla="*/ 1 h 125"/>
                  <a:gd name="T70" fmla="*/ 114 w 96"/>
                  <a:gd name="T71" fmla="*/ 8 h 125"/>
                  <a:gd name="T72" fmla="*/ 109 w 96"/>
                  <a:gd name="T73" fmla="*/ 22 h 125"/>
                  <a:gd name="T74" fmla="*/ 104 w 96"/>
                  <a:gd name="T75" fmla="*/ 37 h 125"/>
                  <a:gd name="T76" fmla="*/ 103 w 96"/>
                  <a:gd name="T77" fmla="*/ 48 h 125"/>
                  <a:gd name="T78" fmla="*/ 103 w 96"/>
                  <a:gd name="T79" fmla="*/ 62 h 125"/>
                  <a:gd name="T80" fmla="*/ 103 w 96"/>
                  <a:gd name="T81" fmla="*/ 74 h 125"/>
                  <a:gd name="T82" fmla="*/ 96 w 96"/>
                  <a:gd name="T83" fmla="*/ 78 h 125"/>
                  <a:gd name="T84" fmla="*/ 96 w 96"/>
                  <a:gd name="T85" fmla="*/ 84 h 125"/>
                  <a:gd name="T86" fmla="*/ 87 w 96"/>
                  <a:gd name="T87" fmla="*/ 86 h 125"/>
                  <a:gd name="T88" fmla="*/ 85 w 96"/>
                  <a:gd name="T89" fmla="*/ 94 h 125"/>
                  <a:gd name="T90" fmla="*/ 77 w 96"/>
                  <a:gd name="T91" fmla="*/ 104 h 125"/>
                  <a:gd name="T92" fmla="*/ 78 w 96"/>
                  <a:gd name="T93" fmla="*/ 118 h 125"/>
                  <a:gd name="T94" fmla="*/ 73 w 96"/>
                  <a:gd name="T95" fmla="*/ 133 h 125"/>
                  <a:gd name="T96" fmla="*/ 62 w 96"/>
                  <a:gd name="T97" fmla="*/ 138 h 125"/>
                  <a:gd name="T98" fmla="*/ 56 w 96"/>
                  <a:gd name="T99" fmla="*/ 146 h 125"/>
                  <a:gd name="T100" fmla="*/ 49 w 96"/>
                  <a:gd name="T101" fmla="*/ 145 h 125"/>
                  <a:gd name="T102" fmla="*/ 49 w 96"/>
                  <a:gd name="T103" fmla="*/ 138 h 125"/>
                  <a:gd name="T104" fmla="*/ 38 w 96"/>
                  <a:gd name="T105" fmla="*/ 143 h 125"/>
                  <a:gd name="T106" fmla="*/ 36 w 96"/>
                  <a:gd name="T107" fmla="*/ 149 h 125"/>
                  <a:gd name="T108" fmla="*/ 30 w 96"/>
                  <a:gd name="T109" fmla="*/ 145 h 125"/>
                  <a:gd name="T110" fmla="*/ 25 w 96"/>
                  <a:gd name="T111" fmla="*/ 142 h 125"/>
                  <a:gd name="T112" fmla="*/ 13 w 96"/>
                  <a:gd name="T113" fmla="*/ 150 h 125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96"/>
                  <a:gd name="T172" fmla="*/ 0 h 125"/>
                  <a:gd name="T173" fmla="*/ 96 w 96"/>
                  <a:gd name="T174" fmla="*/ 125 h 125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96" h="125">
                    <a:moveTo>
                      <a:pt x="11" y="125"/>
                    </a:moveTo>
                    <a:lnTo>
                      <a:pt x="5" y="117"/>
                    </a:lnTo>
                    <a:lnTo>
                      <a:pt x="0" y="110"/>
                    </a:lnTo>
                    <a:cubicBezTo>
                      <a:pt x="1" y="108"/>
                      <a:pt x="1" y="106"/>
                      <a:pt x="2" y="105"/>
                    </a:cubicBezTo>
                    <a:cubicBezTo>
                      <a:pt x="4" y="104"/>
                      <a:pt x="7" y="107"/>
                      <a:pt x="8" y="106"/>
                    </a:cubicBezTo>
                    <a:cubicBezTo>
                      <a:pt x="9" y="104"/>
                      <a:pt x="9" y="101"/>
                      <a:pt x="9" y="99"/>
                    </a:cubicBezTo>
                    <a:cubicBezTo>
                      <a:pt x="8" y="97"/>
                      <a:pt x="4" y="96"/>
                      <a:pt x="4" y="94"/>
                    </a:cubicBezTo>
                    <a:cubicBezTo>
                      <a:pt x="3" y="91"/>
                      <a:pt x="3" y="88"/>
                      <a:pt x="5" y="87"/>
                    </a:cubicBezTo>
                    <a:cubicBezTo>
                      <a:pt x="8" y="85"/>
                      <a:pt x="12" y="90"/>
                      <a:pt x="14" y="88"/>
                    </a:cubicBezTo>
                    <a:cubicBezTo>
                      <a:pt x="16" y="87"/>
                      <a:pt x="14" y="82"/>
                      <a:pt x="16" y="81"/>
                    </a:cubicBezTo>
                    <a:cubicBezTo>
                      <a:pt x="19" y="80"/>
                      <a:pt x="20" y="85"/>
                      <a:pt x="22" y="86"/>
                    </a:cubicBezTo>
                    <a:cubicBezTo>
                      <a:pt x="25" y="87"/>
                      <a:pt x="28" y="85"/>
                      <a:pt x="30" y="85"/>
                    </a:cubicBezTo>
                    <a:cubicBezTo>
                      <a:pt x="31" y="86"/>
                      <a:pt x="31" y="88"/>
                      <a:pt x="32" y="88"/>
                    </a:cubicBezTo>
                    <a:cubicBezTo>
                      <a:pt x="33" y="89"/>
                      <a:pt x="35" y="90"/>
                      <a:pt x="36" y="88"/>
                    </a:cubicBezTo>
                    <a:cubicBezTo>
                      <a:pt x="38" y="86"/>
                      <a:pt x="37" y="82"/>
                      <a:pt x="37" y="79"/>
                    </a:cubicBezTo>
                    <a:cubicBezTo>
                      <a:pt x="37" y="76"/>
                      <a:pt x="37" y="72"/>
                      <a:pt x="37" y="69"/>
                    </a:cubicBezTo>
                    <a:cubicBezTo>
                      <a:pt x="37" y="67"/>
                      <a:pt x="40" y="64"/>
                      <a:pt x="39" y="62"/>
                    </a:cubicBezTo>
                    <a:cubicBezTo>
                      <a:pt x="38" y="60"/>
                      <a:pt x="34" y="62"/>
                      <a:pt x="33" y="60"/>
                    </a:cubicBezTo>
                    <a:cubicBezTo>
                      <a:pt x="32" y="56"/>
                      <a:pt x="33" y="52"/>
                      <a:pt x="35" y="49"/>
                    </a:cubicBezTo>
                    <a:cubicBezTo>
                      <a:pt x="36" y="47"/>
                      <a:pt x="40" y="47"/>
                      <a:pt x="42" y="45"/>
                    </a:cubicBezTo>
                    <a:cubicBezTo>
                      <a:pt x="43" y="42"/>
                      <a:pt x="45" y="37"/>
                      <a:pt x="42" y="35"/>
                    </a:cubicBezTo>
                    <a:cubicBezTo>
                      <a:pt x="39" y="32"/>
                      <a:pt x="32" y="36"/>
                      <a:pt x="28" y="34"/>
                    </a:cubicBezTo>
                    <a:cubicBezTo>
                      <a:pt x="26" y="34"/>
                      <a:pt x="26" y="31"/>
                      <a:pt x="26" y="29"/>
                    </a:cubicBezTo>
                    <a:cubicBezTo>
                      <a:pt x="26" y="27"/>
                      <a:pt x="28" y="24"/>
                      <a:pt x="29" y="22"/>
                    </a:cubicBezTo>
                    <a:cubicBezTo>
                      <a:pt x="34" y="22"/>
                      <a:pt x="38" y="21"/>
                      <a:pt x="43" y="22"/>
                    </a:cubicBezTo>
                    <a:cubicBezTo>
                      <a:pt x="50" y="23"/>
                      <a:pt x="56" y="28"/>
                      <a:pt x="63" y="29"/>
                    </a:cubicBezTo>
                    <a:cubicBezTo>
                      <a:pt x="64" y="29"/>
                      <a:pt x="62" y="26"/>
                      <a:pt x="63" y="24"/>
                    </a:cubicBezTo>
                    <a:cubicBezTo>
                      <a:pt x="63" y="22"/>
                      <a:pt x="63" y="20"/>
                      <a:pt x="64" y="18"/>
                    </a:cubicBezTo>
                    <a:cubicBezTo>
                      <a:pt x="65" y="17"/>
                      <a:pt x="67" y="17"/>
                      <a:pt x="67" y="15"/>
                    </a:cubicBezTo>
                    <a:cubicBezTo>
                      <a:pt x="68" y="13"/>
                      <a:pt x="68" y="10"/>
                      <a:pt x="68" y="7"/>
                    </a:cubicBezTo>
                    <a:cubicBezTo>
                      <a:pt x="68" y="6"/>
                      <a:pt x="68" y="3"/>
                      <a:pt x="69" y="2"/>
                    </a:cubicBezTo>
                    <a:cubicBezTo>
                      <a:pt x="72" y="1"/>
                      <a:pt x="75" y="2"/>
                      <a:pt x="78" y="2"/>
                    </a:cubicBezTo>
                    <a:cubicBezTo>
                      <a:pt x="79" y="2"/>
                      <a:pt x="80" y="0"/>
                      <a:pt x="82" y="0"/>
                    </a:cubicBezTo>
                    <a:cubicBezTo>
                      <a:pt x="84" y="1"/>
                      <a:pt x="86" y="2"/>
                      <a:pt x="88" y="2"/>
                    </a:cubicBezTo>
                    <a:cubicBezTo>
                      <a:pt x="90" y="3"/>
                      <a:pt x="92" y="2"/>
                      <a:pt x="95" y="1"/>
                    </a:cubicBezTo>
                    <a:cubicBezTo>
                      <a:pt x="95" y="3"/>
                      <a:pt x="96" y="5"/>
                      <a:pt x="95" y="7"/>
                    </a:cubicBezTo>
                    <a:cubicBezTo>
                      <a:pt x="95" y="11"/>
                      <a:pt x="92" y="14"/>
                      <a:pt x="91" y="18"/>
                    </a:cubicBezTo>
                    <a:cubicBezTo>
                      <a:pt x="89" y="22"/>
                      <a:pt x="88" y="26"/>
                      <a:pt x="87" y="31"/>
                    </a:cubicBezTo>
                    <a:cubicBezTo>
                      <a:pt x="87" y="34"/>
                      <a:pt x="86" y="37"/>
                      <a:pt x="86" y="40"/>
                    </a:cubicBezTo>
                    <a:cubicBezTo>
                      <a:pt x="86" y="44"/>
                      <a:pt x="86" y="48"/>
                      <a:pt x="86" y="52"/>
                    </a:cubicBezTo>
                    <a:cubicBezTo>
                      <a:pt x="85" y="55"/>
                      <a:pt x="87" y="59"/>
                      <a:pt x="86" y="62"/>
                    </a:cubicBezTo>
                    <a:cubicBezTo>
                      <a:pt x="85" y="64"/>
                      <a:pt x="81" y="64"/>
                      <a:pt x="80" y="65"/>
                    </a:cubicBezTo>
                    <a:cubicBezTo>
                      <a:pt x="79" y="66"/>
                      <a:pt x="81" y="69"/>
                      <a:pt x="80" y="70"/>
                    </a:cubicBezTo>
                    <a:cubicBezTo>
                      <a:pt x="78" y="71"/>
                      <a:pt x="75" y="70"/>
                      <a:pt x="73" y="72"/>
                    </a:cubicBezTo>
                    <a:cubicBezTo>
                      <a:pt x="71" y="73"/>
                      <a:pt x="72" y="76"/>
                      <a:pt x="71" y="78"/>
                    </a:cubicBezTo>
                    <a:cubicBezTo>
                      <a:pt x="69" y="81"/>
                      <a:pt x="65" y="83"/>
                      <a:pt x="64" y="87"/>
                    </a:cubicBezTo>
                    <a:cubicBezTo>
                      <a:pt x="63" y="90"/>
                      <a:pt x="66" y="94"/>
                      <a:pt x="65" y="98"/>
                    </a:cubicBezTo>
                    <a:cubicBezTo>
                      <a:pt x="64" y="103"/>
                      <a:pt x="63" y="107"/>
                      <a:pt x="61" y="111"/>
                    </a:cubicBezTo>
                    <a:cubicBezTo>
                      <a:pt x="59" y="114"/>
                      <a:pt x="54" y="113"/>
                      <a:pt x="52" y="115"/>
                    </a:cubicBezTo>
                    <a:cubicBezTo>
                      <a:pt x="50" y="117"/>
                      <a:pt x="50" y="121"/>
                      <a:pt x="47" y="122"/>
                    </a:cubicBezTo>
                    <a:cubicBezTo>
                      <a:pt x="45" y="123"/>
                      <a:pt x="42" y="122"/>
                      <a:pt x="41" y="121"/>
                    </a:cubicBezTo>
                    <a:cubicBezTo>
                      <a:pt x="40" y="119"/>
                      <a:pt x="43" y="115"/>
                      <a:pt x="41" y="115"/>
                    </a:cubicBezTo>
                    <a:cubicBezTo>
                      <a:pt x="38" y="115"/>
                      <a:pt x="35" y="117"/>
                      <a:pt x="32" y="119"/>
                    </a:cubicBezTo>
                    <a:cubicBezTo>
                      <a:pt x="31" y="120"/>
                      <a:pt x="31" y="123"/>
                      <a:pt x="30" y="124"/>
                    </a:cubicBezTo>
                    <a:cubicBezTo>
                      <a:pt x="28" y="124"/>
                      <a:pt x="26" y="121"/>
                      <a:pt x="25" y="121"/>
                    </a:cubicBezTo>
                    <a:cubicBezTo>
                      <a:pt x="24" y="120"/>
                      <a:pt x="22" y="117"/>
                      <a:pt x="21" y="118"/>
                    </a:cubicBezTo>
                    <a:cubicBezTo>
                      <a:pt x="17" y="119"/>
                      <a:pt x="14" y="123"/>
                      <a:pt x="11" y="125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39" name="Freeform 2552"/>
              <p:cNvSpPr>
                <a:spLocks noChangeAspect="1"/>
              </p:cNvSpPr>
              <p:nvPr/>
            </p:nvSpPr>
            <p:spPr bwMode="auto">
              <a:xfrm>
                <a:off x="4154457" y="2529162"/>
                <a:ext cx="202448" cy="186899"/>
              </a:xfrm>
              <a:custGeom>
                <a:avLst/>
                <a:gdLst>
                  <a:gd name="T0" fmla="*/ 70 w 151"/>
                  <a:gd name="T1" fmla="*/ 224 h 187"/>
                  <a:gd name="T2" fmla="*/ 76 w 151"/>
                  <a:gd name="T3" fmla="*/ 223 h 187"/>
                  <a:gd name="T4" fmla="*/ 79 w 151"/>
                  <a:gd name="T5" fmla="*/ 213 h 187"/>
                  <a:gd name="T6" fmla="*/ 84 w 151"/>
                  <a:gd name="T7" fmla="*/ 213 h 187"/>
                  <a:gd name="T8" fmla="*/ 90 w 151"/>
                  <a:gd name="T9" fmla="*/ 220 h 187"/>
                  <a:gd name="T10" fmla="*/ 95 w 151"/>
                  <a:gd name="T11" fmla="*/ 214 h 187"/>
                  <a:gd name="T12" fmla="*/ 110 w 151"/>
                  <a:gd name="T13" fmla="*/ 214 h 187"/>
                  <a:gd name="T14" fmla="*/ 114 w 151"/>
                  <a:gd name="T15" fmla="*/ 209 h 187"/>
                  <a:gd name="T16" fmla="*/ 116 w 151"/>
                  <a:gd name="T17" fmla="*/ 214 h 187"/>
                  <a:gd name="T18" fmla="*/ 173 w 151"/>
                  <a:gd name="T19" fmla="*/ 214 h 187"/>
                  <a:gd name="T20" fmla="*/ 176 w 151"/>
                  <a:gd name="T21" fmla="*/ 197 h 187"/>
                  <a:gd name="T22" fmla="*/ 171 w 151"/>
                  <a:gd name="T23" fmla="*/ 195 h 187"/>
                  <a:gd name="T24" fmla="*/ 158 w 151"/>
                  <a:gd name="T25" fmla="*/ 42 h 187"/>
                  <a:gd name="T26" fmla="*/ 181 w 151"/>
                  <a:gd name="T27" fmla="*/ 42 h 187"/>
                  <a:gd name="T28" fmla="*/ 123 w 151"/>
                  <a:gd name="T29" fmla="*/ 0 h 187"/>
                  <a:gd name="T30" fmla="*/ 123 w 151"/>
                  <a:gd name="T31" fmla="*/ 25 h 187"/>
                  <a:gd name="T32" fmla="*/ 74 w 151"/>
                  <a:gd name="T33" fmla="*/ 25 h 187"/>
                  <a:gd name="T34" fmla="*/ 74 w 151"/>
                  <a:gd name="T35" fmla="*/ 70 h 187"/>
                  <a:gd name="T36" fmla="*/ 70 w 151"/>
                  <a:gd name="T37" fmla="*/ 72 h 187"/>
                  <a:gd name="T38" fmla="*/ 64 w 151"/>
                  <a:gd name="T39" fmla="*/ 73 h 187"/>
                  <a:gd name="T40" fmla="*/ 55 w 151"/>
                  <a:gd name="T41" fmla="*/ 83 h 187"/>
                  <a:gd name="T42" fmla="*/ 58 w 151"/>
                  <a:gd name="T43" fmla="*/ 105 h 187"/>
                  <a:gd name="T44" fmla="*/ 55 w 151"/>
                  <a:gd name="T45" fmla="*/ 108 h 187"/>
                  <a:gd name="T46" fmla="*/ 5 w 151"/>
                  <a:gd name="T47" fmla="*/ 107 h 187"/>
                  <a:gd name="T48" fmla="*/ 0 w 151"/>
                  <a:gd name="T49" fmla="*/ 114 h 187"/>
                  <a:gd name="T50" fmla="*/ 5 w 151"/>
                  <a:gd name="T51" fmla="*/ 119 h 187"/>
                  <a:gd name="T52" fmla="*/ 7 w 151"/>
                  <a:gd name="T53" fmla="*/ 119 h 187"/>
                  <a:gd name="T54" fmla="*/ 10 w 151"/>
                  <a:gd name="T55" fmla="*/ 129 h 187"/>
                  <a:gd name="T56" fmla="*/ 6 w 151"/>
                  <a:gd name="T57" fmla="*/ 146 h 187"/>
                  <a:gd name="T58" fmla="*/ 8 w 151"/>
                  <a:gd name="T59" fmla="*/ 149 h 187"/>
                  <a:gd name="T60" fmla="*/ 11 w 151"/>
                  <a:gd name="T61" fmla="*/ 162 h 187"/>
                  <a:gd name="T62" fmla="*/ 8 w 151"/>
                  <a:gd name="T63" fmla="*/ 179 h 187"/>
                  <a:gd name="T64" fmla="*/ 4 w 151"/>
                  <a:gd name="T65" fmla="*/ 197 h 187"/>
                  <a:gd name="T66" fmla="*/ 10 w 151"/>
                  <a:gd name="T67" fmla="*/ 191 h 187"/>
                  <a:gd name="T68" fmla="*/ 25 w 151"/>
                  <a:gd name="T69" fmla="*/ 191 h 187"/>
                  <a:gd name="T70" fmla="*/ 28 w 151"/>
                  <a:gd name="T71" fmla="*/ 189 h 187"/>
                  <a:gd name="T72" fmla="*/ 37 w 151"/>
                  <a:gd name="T73" fmla="*/ 190 h 187"/>
                  <a:gd name="T74" fmla="*/ 44 w 151"/>
                  <a:gd name="T75" fmla="*/ 200 h 187"/>
                  <a:gd name="T76" fmla="*/ 52 w 151"/>
                  <a:gd name="T77" fmla="*/ 200 h 187"/>
                  <a:gd name="T78" fmla="*/ 55 w 151"/>
                  <a:gd name="T79" fmla="*/ 212 h 187"/>
                  <a:gd name="T80" fmla="*/ 61 w 151"/>
                  <a:gd name="T81" fmla="*/ 219 h 187"/>
                  <a:gd name="T82" fmla="*/ 70 w 151"/>
                  <a:gd name="T83" fmla="*/ 224 h 18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51"/>
                  <a:gd name="T127" fmla="*/ 0 h 187"/>
                  <a:gd name="T128" fmla="*/ 151 w 151"/>
                  <a:gd name="T129" fmla="*/ 187 h 187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51" h="187">
                    <a:moveTo>
                      <a:pt x="58" y="186"/>
                    </a:moveTo>
                    <a:cubicBezTo>
                      <a:pt x="60" y="186"/>
                      <a:pt x="62" y="187"/>
                      <a:pt x="63" y="185"/>
                    </a:cubicBezTo>
                    <a:cubicBezTo>
                      <a:pt x="65" y="183"/>
                      <a:pt x="64" y="179"/>
                      <a:pt x="66" y="177"/>
                    </a:cubicBezTo>
                    <a:cubicBezTo>
                      <a:pt x="66" y="176"/>
                      <a:pt x="69" y="176"/>
                      <a:pt x="70" y="177"/>
                    </a:cubicBezTo>
                    <a:cubicBezTo>
                      <a:pt x="72" y="178"/>
                      <a:pt x="72" y="182"/>
                      <a:pt x="75" y="183"/>
                    </a:cubicBezTo>
                    <a:cubicBezTo>
                      <a:pt x="77" y="183"/>
                      <a:pt x="77" y="178"/>
                      <a:pt x="79" y="178"/>
                    </a:cubicBezTo>
                    <a:cubicBezTo>
                      <a:pt x="83" y="176"/>
                      <a:pt x="88" y="179"/>
                      <a:pt x="92" y="178"/>
                    </a:cubicBezTo>
                    <a:cubicBezTo>
                      <a:pt x="94" y="177"/>
                      <a:pt x="93" y="174"/>
                      <a:pt x="95" y="174"/>
                    </a:cubicBezTo>
                    <a:cubicBezTo>
                      <a:pt x="96" y="174"/>
                      <a:pt x="96" y="178"/>
                      <a:pt x="97" y="178"/>
                    </a:cubicBezTo>
                    <a:lnTo>
                      <a:pt x="144" y="178"/>
                    </a:lnTo>
                    <a:lnTo>
                      <a:pt x="147" y="164"/>
                    </a:lnTo>
                    <a:lnTo>
                      <a:pt x="143" y="162"/>
                    </a:lnTo>
                    <a:lnTo>
                      <a:pt x="132" y="35"/>
                    </a:lnTo>
                    <a:cubicBezTo>
                      <a:pt x="131" y="29"/>
                      <a:pt x="144" y="35"/>
                      <a:pt x="151" y="35"/>
                    </a:cubicBezTo>
                    <a:lnTo>
                      <a:pt x="103" y="0"/>
                    </a:lnTo>
                    <a:lnTo>
                      <a:pt x="103" y="21"/>
                    </a:lnTo>
                    <a:lnTo>
                      <a:pt x="62" y="21"/>
                    </a:lnTo>
                    <a:lnTo>
                      <a:pt x="62" y="58"/>
                    </a:lnTo>
                    <a:lnTo>
                      <a:pt x="58" y="60"/>
                    </a:lnTo>
                    <a:cubicBezTo>
                      <a:pt x="56" y="60"/>
                      <a:pt x="54" y="60"/>
                      <a:pt x="53" y="61"/>
                    </a:cubicBezTo>
                    <a:cubicBezTo>
                      <a:pt x="50" y="63"/>
                      <a:pt x="48" y="66"/>
                      <a:pt x="46" y="69"/>
                    </a:cubicBezTo>
                    <a:cubicBezTo>
                      <a:pt x="46" y="75"/>
                      <a:pt x="48" y="81"/>
                      <a:pt x="48" y="87"/>
                    </a:cubicBezTo>
                    <a:cubicBezTo>
                      <a:pt x="48" y="89"/>
                      <a:pt x="46" y="89"/>
                      <a:pt x="46" y="90"/>
                    </a:cubicBezTo>
                    <a:lnTo>
                      <a:pt x="4" y="89"/>
                    </a:lnTo>
                    <a:lnTo>
                      <a:pt x="0" y="95"/>
                    </a:lnTo>
                    <a:cubicBezTo>
                      <a:pt x="1" y="96"/>
                      <a:pt x="2" y="98"/>
                      <a:pt x="4" y="99"/>
                    </a:cubicBezTo>
                    <a:cubicBezTo>
                      <a:pt x="4" y="99"/>
                      <a:pt x="6" y="98"/>
                      <a:pt x="6" y="99"/>
                    </a:cubicBezTo>
                    <a:cubicBezTo>
                      <a:pt x="7" y="101"/>
                      <a:pt x="8" y="104"/>
                      <a:pt x="8" y="107"/>
                    </a:cubicBezTo>
                    <a:cubicBezTo>
                      <a:pt x="8" y="111"/>
                      <a:pt x="6" y="116"/>
                      <a:pt x="5" y="121"/>
                    </a:cubicBezTo>
                    <a:cubicBezTo>
                      <a:pt x="5" y="122"/>
                      <a:pt x="7" y="123"/>
                      <a:pt x="7" y="124"/>
                    </a:cubicBezTo>
                    <a:cubicBezTo>
                      <a:pt x="8" y="127"/>
                      <a:pt x="9" y="131"/>
                      <a:pt x="9" y="135"/>
                    </a:cubicBezTo>
                    <a:cubicBezTo>
                      <a:pt x="9" y="139"/>
                      <a:pt x="8" y="144"/>
                      <a:pt x="7" y="149"/>
                    </a:cubicBezTo>
                    <a:cubicBezTo>
                      <a:pt x="6" y="154"/>
                      <a:pt x="4" y="160"/>
                      <a:pt x="3" y="164"/>
                    </a:cubicBezTo>
                    <a:cubicBezTo>
                      <a:pt x="5" y="163"/>
                      <a:pt x="6" y="160"/>
                      <a:pt x="8" y="159"/>
                    </a:cubicBezTo>
                    <a:cubicBezTo>
                      <a:pt x="12" y="158"/>
                      <a:pt x="17" y="160"/>
                      <a:pt x="21" y="159"/>
                    </a:cubicBezTo>
                    <a:cubicBezTo>
                      <a:pt x="22" y="159"/>
                      <a:pt x="22" y="157"/>
                      <a:pt x="23" y="157"/>
                    </a:cubicBezTo>
                    <a:cubicBezTo>
                      <a:pt x="26" y="157"/>
                      <a:pt x="29" y="156"/>
                      <a:pt x="31" y="158"/>
                    </a:cubicBezTo>
                    <a:cubicBezTo>
                      <a:pt x="34" y="159"/>
                      <a:pt x="34" y="164"/>
                      <a:pt x="37" y="166"/>
                    </a:cubicBezTo>
                    <a:cubicBezTo>
                      <a:pt x="39" y="167"/>
                      <a:pt x="41" y="165"/>
                      <a:pt x="43" y="166"/>
                    </a:cubicBezTo>
                    <a:cubicBezTo>
                      <a:pt x="45" y="169"/>
                      <a:pt x="45" y="173"/>
                      <a:pt x="46" y="176"/>
                    </a:cubicBezTo>
                    <a:cubicBezTo>
                      <a:pt x="47" y="178"/>
                      <a:pt x="49" y="181"/>
                      <a:pt x="51" y="182"/>
                    </a:cubicBezTo>
                    <a:cubicBezTo>
                      <a:pt x="53" y="184"/>
                      <a:pt x="56" y="185"/>
                      <a:pt x="58" y="186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40" name="Freeform 2553"/>
              <p:cNvSpPr>
                <a:spLocks noChangeAspect="1"/>
              </p:cNvSpPr>
              <p:nvPr/>
            </p:nvSpPr>
            <p:spPr bwMode="auto">
              <a:xfrm>
                <a:off x="4141034" y="2685328"/>
                <a:ext cx="104020" cy="63130"/>
              </a:xfrm>
              <a:custGeom>
                <a:avLst/>
                <a:gdLst>
                  <a:gd name="T0" fmla="*/ 12 w 78"/>
                  <a:gd name="T1" fmla="*/ 76 h 64"/>
                  <a:gd name="T2" fmla="*/ 11 w 78"/>
                  <a:gd name="T3" fmla="*/ 70 h 64"/>
                  <a:gd name="T4" fmla="*/ 11 w 78"/>
                  <a:gd name="T5" fmla="*/ 64 h 64"/>
                  <a:gd name="T6" fmla="*/ 24 w 78"/>
                  <a:gd name="T7" fmla="*/ 64 h 64"/>
                  <a:gd name="T8" fmla="*/ 36 w 78"/>
                  <a:gd name="T9" fmla="*/ 61 h 64"/>
                  <a:gd name="T10" fmla="*/ 46 w 78"/>
                  <a:gd name="T11" fmla="*/ 62 h 64"/>
                  <a:gd name="T12" fmla="*/ 55 w 78"/>
                  <a:gd name="T13" fmla="*/ 61 h 64"/>
                  <a:gd name="T14" fmla="*/ 56 w 78"/>
                  <a:gd name="T15" fmla="*/ 56 h 64"/>
                  <a:gd name="T16" fmla="*/ 43 w 78"/>
                  <a:gd name="T17" fmla="*/ 53 h 64"/>
                  <a:gd name="T18" fmla="*/ 35 w 78"/>
                  <a:gd name="T19" fmla="*/ 52 h 64"/>
                  <a:gd name="T20" fmla="*/ 31 w 78"/>
                  <a:gd name="T21" fmla="*/ 56 h 64"/>
                  <a:gd name="T22" fmla="*/ 17 w 78"/>
                  <a:gd name="T23" fmla="*/ 57 h 64"/>
                  <a:gd name="T24" fmla="*/ 13 w 78"/>
                  <a:gd name="T25" fmla="*/ 49 h 64"/>
                  <a:gd name="T26" fmla="*/ 10 w 78"/>
                  <a:gd name="T27" fmla="*/ 39 h 64"/>
                  <a:gd name="T28" fmla="*/ 0 w 78"/>
                  <a:gd name="T29" fmla="*/ 37 h 64"/>
                  <a:gd name="T30" fmla="*/ 10 w 78"/>
                  <a:gd name="T31" fmla="*/ 27 h 64"/>
                  <a:gd name="T32" fmla="*/ 17 w 78"/>
                  <a:gd name="T33" fmla="*/ 19 h 64"/>
                  <a:gd name="T34" fmla="*/ 15 w 78"/>
                  <a:gd name="T35" fmla="*/ 10 h 64"/>
                  <a:gd name="T36" fmla="*/ 21 w 78"/>
                  <a:gd name="T37" fmla="*/ 4 h 64"/>
                  <a:gd name="T38" fmla="*/ 37 w 78"/>
                  <a:gd name="T39" fmla="*/ 4 h 64"/>
                  <a:gd name="T40" fmla="*/ 39 w 78"/>
                  <a:gd name="T41" fmla="*/ 1 h 64"/>
                  <a:gd name="T42" fmla="*/ 49 w 78"/>
                  <a:gd name="T43" fmla="*/ 2 h 64"/>
                  <a:gd name="T44" fmla="*/ 56 w 78"/>
                  <a:gd name="T45" fmla="*/ 12 h 64"/>
                  <a:gd name="T46" fmla="*/ 63 w 78"/>
                  <a:gd name="T47" fmla="*/ 12 h 64"/>
                  <a:gd name="T48" fmla="*/ 67 w 78"/>
                  <a:gd name="T49" fmla="*/ 24 h 64"/>
                  <a:gd name="T50" fmla="*/ 73 w 78"/>
                  <a:gd name="T51" fmla="*/ 31 h 64"/>
                  <a:gd name="T52" fmla="*/ 81 w 78"/>
                  <a:gd name="T53" fmla="*/ 36 h 64"/>
                  <a:gd name="T54" fmla="*/ 85 w 78"/>
                  <a:gd name="T55" fmla="*/ 45 h 64"/>
                  <a:gd name="T56" fmla="*/ 82 w 78"/>
                  <a:gd name="T57" fmla="*/ 56 h 64"/>
                  <a:gd name="T58" fmla="*/ 86 w 78"/>
                  <a:gd name="T59" fmla="*/ 61 h 64"/>
                  <a:gd name="T60" fmla="*/ 89 w 78"/>
                  <a:gd name="T61" fmla="*/ 61 h 64"/>
                  <a:gd name="T62" fmla="*/ 93 w 78"/>
                  <a:gd name="T63" fmla="*/ 68 h 64"/>
                  <a:gd name="T64" fmla="*/ 91 w 78"/>
                  <a:gd name="T65" fmla="*/ 75 h 64"/>
                  <a:gd name="T66" fmla="*/ 81 w 78"/>
                  <a:gd name="T67" fmla="*/ 76 h 64"/>
                  <a:gd name="T68" fmla="*/ 72 w 78"/>
                  <a:gd name="T69" fmla="*/ 75 h 64"/>
                  <a:gd name="T70" fmla="*/ 68 w 78"/>
                  <a:gd name="T71" fmla="*/ 75 h 64"/>
                  <a:gd name="T72" fmla="*/ 66 w 78"/>
                  <a:gd name="T73" fmla="*/ 72 h 64"/>
                  <a:gd name="T74" fmla="*/ 57 w 78"/>
                  <a:gd name="T75" fmla="*/ 72 h 64"/>
                  <a:gd name="T76" fmla="*/ 39 w 78"/>
                  <a:gd name="T77" fmla="*/ 71 h 64"/>
                  <a:gd name="T78" fmla="*/ 30 w 78"/>
                  <a:gd name="T79" fmla="*/ 76 h 64"/>
                  <a:gd name="T80" fmla="*/ 19 w 78"/>
                  <a:gd name="T81" fmla="*/ 75 h 64"/>
                  <a:gd name="T82" fmla="*/ 12 w 78"/>
                  <a:gd name="T83" fmla="*/ 76 h 6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78"/>
                  <a:gd name="T127" fmla="*/ 0 h 64"/>
                  <a:gd name="T128" fmla="*/ 78 w 78"/>
                  <a:gd name="T129" fmla="*/ 64 h 6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78" h="64">
                    <a:moveTo>
                      <a:pt x="10" y="64"/>
                    </a:moveTo>
                    <a:cubicBezTo>
                      <a:pt x="10" y="62"/>
                      <a:pt x="9" y="61"/>
                      <a:pt x="9" y="59"/>
                    </a:cubicBezTo>
                    <a:cubicBezTo>
                      <a:pt x="9" y="57"/>
                      <a:pt x="9" y="56"/>
                      <a:pt x="9" y="54"/>
                    </a:cubicBezTo>
                    <a:cubicBezTo>
                      <a:pt x="13" y="54"/>
                      <a:pt x="16" y="55"/>
                      <a:pt x="20" y="54"/>
                    </a:cubicBezTo>
                    <a:cubicBezTo>
                      <a:pt x="23" y="54"/>
                      <a:pt x="26" y="51"/>
                      <a:pt x="30" y="51"/>
                    </a:cubicBezTo>
                    <a:cubicBezTo>
                      <a:pt x="33" y="51"/>
                      <a:pt x="36" y="52"/>
                      <a:pt x="39" y="52"/>
                    </a:cubicBezTo>
                    <a:cubicBezTo>
                      <a:pt x="42" y="52"/>
                      <a:pt x="44" y="52"/>
                      <a:pt x="46" y="51"/>
                    </a:cubicBezTo>
                    <a:cubicBezTo>
                      <a:pt x="47" y="50"/>
                      <a:pt x="48" y="48"/>
                      <a:pt x="47" y="47"/>
                    </a:cubicBezTo>
                    <a:cubicBezTo>
                      <a:pt x="44" y="46"/>
                      <a:pt x="39" y="45"/>
                      <a:pt x="36" y="45"/>
                    </a:cubicBezTo>
                    <a:cubicBezTo>
                      <a:pt x="33" y="44"/>
                      <a:pt x="31" y="44"/>
                      <a:pt x="29" y="44"/>
                    </a:cubicBezTo>
                    <a:cubicBezTo>
                      <a:pt x="28" y="45"/>
                      <a:pt x="27" y="47"/>
                      <a:pt x="26" y="47"/>
                    </a:cubicBezTo>
                    <a:cubicBezTo>
                      <a:pt x="22" y="48"/>
                      <a:pt x="18" y="48"/>
                      <a:pt x="14" y="48"/>
                    </a:cubicBezTo>
                    <a:cubicBezTo>
                      <a:pt x="13" y="46"/>
                      <a:pt x="12" y="43"/>
                      <a:pt x="11" y="41"/>
                    </a:cubicBezTo>
                    <a:cubicBezTo>
                      <a:pt x="10" y="38"/>
                      <a:pt x="10" y="35"/>
                      <a:pt x="8" y="33"/>
                    </a:cubicBezTo>
                    <a:cubicBezTo>
                      <a:pt x="6" y="32"/>
                      <a:pt x="0" y="34"/>
                      <a:pt x="0" y="31"/>
                    </a:cubicBezTo>
                    <a:cubicBezTo>
                      <a:pt x="0" y="27"/>
                      <a:pt x="6" y="26"/>
                      <a:pt x="8" y="23"/>
                    </a:cubicBezTo>
                    <a:cubicBezTo>
                      <a:pt x="10" y="21"/>
                      <a:pt x="13" y="19"/>
                      <a:pt x="14" y="16"/>
                    </a:cubicBezTo>
                    <a:cubicBezTo>
                      <a:pt x="14" y="14"/>
                      <a:pt x="13" y="11"/>
                      <a:pt x="13" y="8"/>
                    </a:cubicBezTo>
                    <a:cubicBezTo>
                      <a:pt x="15" y="7"/>
                      <a:pt x="16" y="4"/>
                      <a:pt x="18" y="3"/>
                    </a:cubicBezTo>
                    <a:cubicBezTo>
                      <a:pt x="22" y="2"/>
                      <a:pt x="27" y="4"/>
                      <a:pt x="31" y="3"/>
                    </a:cubicBezTo>
                    <a:cubicBezTo>
                      <a:pt x="32" y="3"/>
                      <a:pt x="32" y="1"/>
                      <a:pt x="33" y="1"/>
                    </a:cubicBezTo>
                    <a:cubicBezTo>
                      <a:pt x="36" y="1"/>
                      <a:pt x="39" y="0"/>
                      <a:pt x="41" y="2"/>
                    </a:cubicBezTo>
                    <a:cubicBezTo>
                      <a:pt x="44" y="3"/>
                      <a:pt x="44" y="8"/>
                      <a:pt x="47" y="10"/>
                    </a:cubicBezTo>
                    <a:cubicBezTo>
                      <a:pt x="49" y="11"/>
                      <a:pt x="51" y="9"/>
                      <a:pt x="53" y="10"/>
                    </a:cubicBezTo>
                    <a:cubicBezTo>
                      <a:pt x="55" y="13"/>
                      <a:pt x="55" y="17"/>
                      <a:pt x="56" y="20"/>
                    </a:cubicBezTo>
                    <a:cubicBezTo>
                      <a:pt x="57" y="22"/>
                      <a:pt x="59" y="25"/>
                      <a:pt x="61" y="26"/>
                    </a:cubicBezTo>
                    <a:cubicBezTo>
                      <a:pt x="63" y="28"/>
                      <a:pt x="66" y="29"/>
                      <a:pt x="68" y="30"/>
                    </a:cubicBezTo>
                    <a:lnTo>
                      <a:pt x="71" y="38"/>
                    </a:lnTo>
                    <a:lnTo>
                      <a:pt x="69" y="47"/>
                    </a:lnTo>
                    <a:lnTo>
                      <a:pt x="72" y="51"/>
                    </a:lnTo>
                    <a:lnTo>
                      <a:pt x="75" y="51"/>
                    </a:lnTo>
                    <a:lnTo>
                      <a:pt x="78" y="57"/>
                    </a:lnTo>
                    <a:lnTo>
                      <a:pt x="76" y="63"/>
                    </a:lnTo>
                    <a:cubicBezTo>
                      <a:pt x="73" y="63"/>
                      <a:pt x="71" y="64"/>
                      <a:pt x="68" y="64"/>
                    </a:cubicBezTo>
                    <a:cubicBezTo>
                      <a:pt x="66" y="63"/>
                      <a:pt x="63" y="63"/>
                      <a:pt x="60" y="63"/>
                    </a:cubicBezTo>
                    <a:cubicBezTo>
                      <a:pt x="59" y="63"/>
                      <a:pt x="58" y="64"/>
                      <a:pt x="57" y="63"/>
                    </a:cubicBezTo>
                    <a:cubicBezTo>
                      <a:pt x="56" y="63"/>
                      <a:pt x="56" y="61"/>
                      <a:pt x="55" y="61"/>
                    </a:cubicBezTo>
                    <a:cubicBezTo>
                      <a:pt x="53" y="60"/>
                      <a:pt x="50" y="61"/>
                      <a:pt x="48" y="61"/>
                    </a:cubicBezTo>
                    <a:cubicBezTo>
                      <a:pt x="43" y="60"/>
                      <a:pt x="38" y="59"/>
                      <a:pt x="33" y="60"/>
                    </a:cubicBezTo>
                    <a:cubicBezTo>
                      <a:pt x="30" y="60"/>
                      <a:pt x="28" y="63"/>
                      <a:pt x="25" y="64"/>
                    </a:cubicBezTo>
                    <a:cubicBezTo>
                      <a:pt x="22" y="64"/>
                      <a:pt x="19" y="63"/>
                      <a:pt x="16" y="63"/>
                    </a:cubicBezTo>
                    <a:cubicBezTo>
                      <a:pt x="14" y="63"/>
                      <a:pt x="12" y="63"/>
                      <a:pt x="10" y="64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41" name="Freeform 2554"/>
              <p:cNvSpPr>
                <a:spLocks noChangeAspect="1"/>
              </p:cNvSpPr>
              <p:nvPr/>
            </p:nvSpPr>
            <p:spPr bwMode="auto">
              <a:xfrm>
                <a:off x="4154457" y="2743474"/>
                <a:ext cx="55925" cy="27413"/>
              </a:xfrm>
              <a:custGeom>
                <a:avLst/>
                <a:gdLst>
                  <a:gd name="T0" fmla="*/ 26 w 42"/>
                  <a:gd name="T1" fmla="*/ 33 h 27"/>
                  <a:gd name="T2" fmla="*/ 31 w 42"/>
                  <a:gd name="T3" fmla="*/ 22 h 27"/>
                  <a:gd name="T4" fmla="*/ 39 w 42"/>
                  <a:gd name="T5" fmla="*/ 18 h 27"/>
                  <a:gd name="T6" fmla="*/ 48 w 42"/>
                  <a:gd name="T7" fmla="*/ 17 h 27"/>
                  <a:gd name="T8" fmla="*/ 45 w 42"/>
                  <a:gd name="T9" fmla="*/ 10 h 27"/>
                  <a:gd name="T10" fmla="*/ 46 w 42"/>
                  <a:gd name="T11" fmla="*/ 6 h 27"/>
                  <a:gd name="T12" fmla="*/ 45 w 42"/>
                  <a:gd name="T13" fmla="*/ 2 h 27"/>
                  <a:gd name="T14" fmla="*/ 27 w 42"/>
                  <a:gd name="T15" fmla="*/ 1 h 27"/>
                  <a:gd name="T16" fmla="*/ 18 w 42"/>
                  <a:gd name="T17" fmla="*/ 6 h 27"/>
                  <a:gd name="T18" fmla="*/ 7 w 42"/>
                  <a:gd name="T19" fmla="*/ 5 h 27"/>
                  <a:gd name="T20" fmla="*/ 0 w 42"/>
                  <a:gd name="T21" fmla="*/ 6 h 27"/>
                  <a:gd name="T22" fmla="*/ 6 w 42"/>
                  <a:gd name="T23" fmla="*/ 15 h 27"/>
                  <a:gd name="T24" fmla="*/ 26 w 42"/>
                  <a:gd name="T25" fmla="*/ 15 h 27"/>
                  <a:gd name="T26" fmla="*/ 17 w 42"/>
                  <a:gd name="T27" fmla="*/ 18 h 27"/>
                  <a:gd name="T28" fmla="*/ 21 w 42"/>
                  <a:gd name="T29" fmla="*/ 24 h 27"/>
                  <a:gd name="T30" fmla="*/ 26 w 42"/>
                  <a:gd name="T31" fmla="*/ 33 h 27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42"/>
                  <a:gd name="T49" fmla="*/ 0 h 27"/>
                  <a:gd name="T50" fmla="*/ 42 w 42"/>
                  <a:gd name="T51" fmla="*/ 27 h 27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42" h="27">
                    <a:moveTo>
                      <a:pt x="22" y="27"/>
                    </a:moveTo>
                    <a:cubicBezTo>
                      <a:pt x="23" y="24"/>
                      <a:pt x="23" y="21"/>
                      <a:pt x="26" y="18"/>
                    </a:cubicBezTo>
                    <a:cubicBezTo>
                      <a:pt x="27" y="16"/>
                      <a:pt x="31" y="16"/>
                      <a:pt x="33" y="15"/>
                    </a:cubicBezTo>
                    <a:cubicBezTo>
                      <a:pt x="36" y="15"/>
                      <a:pt x="39" y="16"/>
                      <a:pt x="40" y="14"/>
                    </a:cubicBezTo>
                    <a:cubicBezTo>
                      <a:pt x="42" y="12"/>
                      <a:pt x="38" y="10"/>
                      <a:pt x="38" y="8"/>
                    </a:cubicBezTo>
                    <a:cubicBezTo>
                      <a:pt x="38" y="7"/>
                      <a:pt x="39" y="6"/>
                      <a:pt x="39" y="5"/>
                    </a:cubicBezTo>
                    <a:cubicBezTo>
                      <a:pt x="39" y="4"/>
                      <a:pt x="39" y="3"/>
                      <a:pt x="38" y="2"/>
                    </a:cubicBezTo>
                    <a:cubicBezTo>
                      <a:pt x="33" y="1"/>
                      <a:pt x="28" y="0"/>
                      <a:pt x="23" y="1"/>
                    </a:cubicBezTo>
                    <a:cubicBezTo>
                      <a:pt x="20" y="1"/>
                      <a:pt x="18" y="4"/>
                      <a:pt x="15" y="5"/>
                    </a:cubicBezTo>
                    <a:cubicBezTo>
                      <a:pt x="12" y="5"/>
                      <a:pt x="9" y="4"/>
                      <a:pt x="6" y="4"/>
                    </a:cubicBezTo>
                    <a:cubicBezTo>
                      <a:pt x="4" y="4"/>
                      <a:pt x="2" y="4"/>
                      <a:pt x="0" y="5"/>
                    </a:cubicBezTo>
                    <a:cubicBezTo>
                      <a:pt x="1" y="7"/>
                      <a:pt x="2" y="11"/>
                      <a:pt x="5" y="12"/>
                    </a:cubicBezTo>
                    <a:cubicBezTo>
                      <a:pt x="11" y="14"/>
                      <a:pt x="16" y="10"/>
                      <a:pt x="22" y="12"/>
                    </a:cubicBezTo>
                    <a:cubicBezTo>
                      <a:pt x="24" y="12"/>
                      <a:pt x="15" y="12"/>
                      <a:pt x="14" y="15"/>
                    </a:cubicBezTo>
                    <a:cubicBezTo>
                      <a:pt x="14" y="16"/>
                      <a:pt x="17" y="18"/>
                      <a:pt x="18" y="20"/>
                    </a:cubicBezTo>
                    <a:cubicBezTo>
                      <a:pt x="20" y="22"/>
                      <a:pt x="21" y="24"/>
                      <a:pt x="22" y="27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42" name="Freeform 2555"/>
              <p:cNvSpPr>
                <a:spLocks noChangeAspect="1"/>
              </p:cNvSpPr>
              <p:nvPr/>
            </p:nvSpPr>
            <p:spPr bwMode="auto">
              <a:xfrm>
                <a:off x="4153338" y="2728523"/>
                <a:ext cx="51450" cy="11630"/>
              </a:xfrm>
              <a:custGeom>
                <a:avLst/>
                <a:gdLst>
                  <a:gd name="T0" fmla="*/ 0 w 39"/>
                  <a:gd name="T1" fmla="*/ 13 h 11"/>
                  <a:gd name="T2" fmla="*/ 17 w 39"/>
                  <a:gd name="T3" fmla="*/ 9 h 11"/>
                  <a:gd name="T4" fmla="*/ 6 w 39"/>
                  <a:gd name="T5" fmla="*/ 5 h 11"/>
                  <a:gd name="T6" fmla="*/ 20 w 39"/>
                  <a:gd name="T7" fmla="*/ 4 h 11"/>
                  <a:gd name="T8" fmla="*/ 24 w 39"/>
                  <a:gd name="T9" fmla="*/ 0 h 11"/>
                  <a:gd name="T10" fmla="*/ 32 w 39"/>
                  <a:gd name="T11" fmla="*/ 1 h 11"/>
                  <a:gd name="T12" fmla="*/ 45 w 39"/>
                  <a:gd name="T13" fmla="*/ 4 h 11"/>
                  <a:gd name="T14" fmla="*/ 44 w 39"/>
                  <a:gd name="T15" fmla="*/ 9 h 11"/>
                  <a:gd name="T16" fmla="*/ 35 w 39"/>
                  <a:gd name="T17" fmla="*/ 10 h 11"/>
                  <a:gd name="T18" fmla="*/ 25 w 39"/>
                  <a:gd name="T19" fmla="*/ 9 h 11"/>
                  <a:gd name="T20" fmla="*/ 13 w 39"/>
                  <a:gd name="T21" fmla="*/ 13 h 11"/>
                  <a:gd name="T22" fmla="*/ 0 w 39"/>
                  <a:gd name="T23" fmla="*/ 13 h 1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9"/>
                  <a:gd name="T37" fmla="*/ 0 h 11"/>
                  <a:gd name="T38" fmla="*/ 39 w 39"/>
                  <a:gd name="T39" fmla="*/ 11 h 11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9" h="11">
                    <a:moveTo>
                      <a:pt x="0" y="10"/>
                    </a:moveTo>
                    <a:cubicBezTo>
                      <a:pt x="5" y="9"/>
                      <a:pt x="9" y="8"/>
                      <a:pt x="14" y="7"/>
                    </a:cubicBezTo>
                    <a:cubicBezTo>
                      <a:pt x="11" y="5"/>
                      <a:pt x="8" y="5"/>
                      <a:pt x="5" y="4"/>
                    </a:cubicBezTo>
                    <a:cubicBezTo>
                      <a:pt x="9" y="4"/>
                      <a:pt x="13" y="4"/>
                      <a:pt x="17" y="3"/>
                    </a:cubicBezTo>
                    <a:cubicBezTo>
                      <a:pt x="18" y="3"/>
                      <a:pt x="19" y="1"/>
                      <a:pt x="20" y="0"/>
                    </a:cubicBezTo>
                    <a:cubicBezTo>
                      <a:pt x="22" y="0"/>
                      <a:pt x="24" y="0"/>
                      <a:pt x="27" y="1"/>
                    </a:cubicBezTo>
                    <a:cubicBezTo>
                      <a:pt x="30" y="1"/>
                      <a:pt x="35" y="2"/>
                      <a:pt x="38" y="3"/>
                    </a:cubicBezTo>
                    <a:cubicBezTo>
                      <a:pt x="39" y="4"/>
                      <a:pt x="38" y="6"/>
                      <a:pt x="37" y="7"/>
                    </a:cubicBezTo>
                    <a:cubicBezTo>
                      <a:pt x="35" y="8"/>
                      <a:pt x="33" y="8"/>
                      <a:pt x="30" y="8"/>
                    </a:cubicBezTo>
                    <a:cubicBezTo>
                      <a:pt x="27" y="8"/>
                      <a:pt x="24" y="7"/>
                      <a:pt x="21" y="7"/>
                    </a:cubicBezTo>
                    <a:cubicBezTo>
                      <a:pt x="17" y="7"/>
                      <a:pt x="14" y="10"/>
                      <a:pt x="11" y="10"/>
                    </a:cubicBezTo>
                    <a:cubicBezTo>
                      <a:pt x="7" y="11"/>
                      <a:pt x="4" y="10"/>
                      <a:pt x="0" y="1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43" name="Freeform 2556"/>
              <p:cNvSpPr>
                <a:spLocks noChangeAspect="1"/>
              </p:cNvSpPr>
              <p:nvPr/>
            </p:nvSpPr>
            <p:spPr bwMode="auto">
              <a:xfrm>
                <a:off x="4183538" y="2745136"/>
                <a:ext cx="128626" cy="80576"/>
              </a:xfrm>
              <a:custGeom>
                <a:avLst/>
                <a:gdLst>
                  <a:gd name="T0" fmla="*/ 102 w 96"/>
                  <a:gd name="T1" fmla="*/ 38 h 81"/>
                  <a:gd name="T2" fmla="*/ 96 w 96"/>
                  <a:gd name="T3" fmla="*/ 32 h 81"/>
                  <a:gd name="T4" fmla="*/ 96 w 96"/>
                  <a:gd name="T5" fmla="*/ 18 h 81"/>
                  <a:gd name="T6" fmla="*/ 85 w 96"/>
                  <a:gd name="T7" fmla="*/ 6 h 81"/>
                  <a:gd name="T8" fmla="*/ 80 w 96"/>
                  <a:gd name="T9" fmla="*/ 11 h 81"/>
                  <a:gd name="T10" fmla="*/ 67 w 96"/>
                  <a:gd name="T11" fmla="*/ 14 h 81"/>
                  <a:gd name="T12" fmla="*/ 59 w 96"/>
                  <a:gd name="T13" fmla="*/ 11 h 81"/>
                  <a:gd name="T14" fmla="*/ 53 w 96"/>
                  <a:gd name="T15" fmla="*/ 4 h 81"/>
                  <a:gd name="T16" fmla="*/ 34 w 96"/>
                  <a:gd name="T17" fmla="*/ 4 h 81"/>
                  <a:gd name="T18" fmla="*/ 28 w 96"/>
                  <a:gd name="T19" fmla="*/ 1 h 81"/>
                  <a:gd name="T20" fmla="*/ 20 w 96"/>
                  <a:gd name="T21" fmla="*/ 5 h 81"/>
                  <a:gd name="T22" fmla="*/ 22 w 96"/>
                  <a:gd name="T23" fmla="*/ 16 h 81"/>
                  <a:gd name="T24" fmla="*/ 5 w 96"/>
                  <a:gd name="T25" fmla="*/ 20 h 81"/>
                  <a:gd name="T26" fmla="*/ 7 w 96"/>
                  <a:gd name="T27" fmla="*/ 31 h 81"/>
                  <a:gd name="T28" fmla="*/ 14 w 96"/>
                  <a:gd name="T29" fmla="*/ 44 h 81"/>
                  <a:gd name="T30" fmla="*/ 25 w 96"/>
                  <a:gd name="T31" fmla="*/ 56 h 81"/>
                  <a:gd name="T32" fmla="*/ 34 w 96"/>
                  <a:gd name="T33" fmla="*/ 57 h 81"/>
                  <a:gd name="T34" fmla="*/ 47 w 96"/>
                  <a:gd name="T35" fmla="*/ 50 h 81"/>
                  <a:gd name="T36" fmla="*/ 56 w 96"/>
                  <a:gd name="T37" fmla="*/ 48 h 81"/>
                  <a:gd name="T38" fmla="*/ 62 w 96"/>
                  <a:gd name="T39" fmla="*/ 55 h 81"/>
                  <a:gd name="T40" fmla="*/ 66 w 96"/>
                  <a:gd name="T41" fmla="*/ 63 h 81"/>
                  <a:gd name="T42" fmla="*/ 66 w 96"/>
                  <a:gd name="T43" fmla="*/ 75 h 81"/>
                  <a:gd name="T44" fmla="*/ 74 w 96"/>
                  <a:gd name="T45" fmla="*/ 74 h 81"/>
                  <a:gd name="T46" fmla="*/ 80 w 96"/>
                  <a:gd name="T47" fmla="*/ 73 h 81"/>
                  <a:gd name="T48" fmla="*/ 85 w 96"/>
                  <a:gd name="T49" fmla="*/ 80 h 81"/>
                  <a:gd name="T50" fmla="*/ 85 w 96"/>
                  <a:gd name="T51" fmla="*/ 89 h 81"/>
                  <a:gd name="T52" fmla="*/ 89 w 96"/>
                  <a:gd name="T53" fmla="*/ 97 h 81"/>
                  <a:gd name="T54" fmla="*/ 97 w 96"/>
                  <a:gd name="T55" fmla="*/ 89 h 81"/>
                  <a:gd name="T56" fmla="*/ 105 w 96"/>
                  <a:gd name="T57" fmla="*/ 90 h 81"/>
                  <a:gd name="T58" fmla="*/ 109 w 96"/>
                  <a:gd name="T59" fmla="*/ 80 h 81"/>
                  <a:gd name="T60" fmla="*/ 114 w 96"/>
                  <a:gd name="T61" fmla="*/ 74 h 81"/>
                  <a:gd name="T62" fmla="*/ 111 w 96"/>
                  <a:gd name="T63" fmla="*/ 66 h 81"/>
                  <a:gd name="T64" fmla="*/ 105 w 96"/>
                  <a:gd name="T65" fmla="*/ 51 h 8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96"/>
                  <a:gd name="T100" fmla="*/ 0 h 81"/>
                  <a:gd name="T101" fmla="*/ 96 w 96"/>
                  <a:gd name="T102" fmla="*/ 81 h 81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96" h="81">
                    <a:moveTo>
                      <a:pt x="92" y="38"/>
                    </a:moveTo>
                    <a:cubicBezTo>
                      <a:pt x="90" y="36"/>
                      <a:pt x="86" y="35"/>
                      <a:pt x="85" y="32"/>
                    </a:cubicBezTo>
                    <a:cubicBezTo>
                      <a:pt x="84" y="31"/>
                      <a:pt x="86" y="28"/>
                      <a:pt x="85" y="26"/>
                    </a:cubicBezTo>
                    <a:cubicBezTo>
                      <a:pt x="84" y="25"/>
                      <a:pt x="80" y="28"/>
                      <a:pt x="80" y="27"/>
                    </a:cubicBezTo>
                    <a:cubicBezTo>
                      <a:pt x="80" y="24"/>
                      <a:pt x="84" y="22"/>
                      <a:pt x="84" y="19"/>
                    </a:cubicBezTo>
                    <a:cubicBezTo>
                      <a:pt x="84" y="17"/>
                      <a:pt x="81" y="17"/>
                      <a:pt x="80" y="15"/>
                    </a:cubicBezTo>
                    <a:cubicBezTo>
                      <a:pt x="79" y="13"/>
                      <a:pt x="80" y="9"/>
                      <a:pt x="79" y="7"/>
                    </a:cubicBezTo>
                    <a:cubicBezTo>
                      <a:pt x="77" y="5"/>
                      <a:pt x="74" y="4"/>
                      <a:pt x="71" y="5"/>
                    </a:cubicBezTo>
                    <a:cubicBezTo>
                      <a:pt x="70" y="5"/>
                      <a:pt x="72" y="7"/>
                      <a:pt x="71" y="8"/>
                    </a:cubicBezTo>
                    <a:cubicBezTo>
                      <a:pt x="70" y="9"/>
                      <a:pt x="69" y="9"/>
                      <a:pt x="67" y="9"/>
                    </a:cubicBezTo>
                    <a:cubicBezTo>
                      <a:pt x="66" y="9"/>
                      <a:pt x="64" y="7"/>
                      <a:pt x="63" y="8"/>
                    </a:cubicBezTo>
                    <a:cubicBezTo>
                      <a:pt x="60" y="8"/>
                      <a:pt x="58" y="12"/>
                      <a:pt x="56" y="12"/>
                    </a:cubicBezTo>
                    <a:cubicBezTo>
                      <a:pt x="54" y="11"/>
                      <a:pt x="54" y="7"/>
                      <a:pt x="52" y="6"/>
                    </a:cubicBezTo>
                    <a:cubicBezTo>
                      <a:pt x="51" y="6"/>
                      <a:pt x="50" y="8"/>
                      <a:pt x="49" y="9"/>
                    </a:cubicBezTo>
                    <a:cubicBezTo>
                      <a:pt x="48" y="9"/>
                      <a:pt x="46" y="10"/>
                      <a:pt x="45" y="9"/>
                    </a:cubicBezTo>
                    <a:cubicBezTo>
                      <a:pt x="44" y="8"/>
                      <a:pt x="44" y="5"/>
                      <a:pt x="44" y="3"/>
                    </a:cubicBezTo>
                    <a:cubicBezTo>
                      <a:pt x="41" y="3"/>
                      <a:pt x="39" y="4"/>
                      <a:pt x="36" y="4"/>
                    </a:cubicBezTo>
                    <a:cubicBezTo>
                      <a:pt x="34" y="3"/>
                      <a:pt x="31" y="3"/>
                      <a:pt x="28" y="3"/>
                    </a:cubicBezTo>
                    <a:cubicBezTo>
                      <a:pt x="27" y="3"/>
                      <a:pt x="26" y="4"/>
                      <a:pt x="25" y="3"/>
                    </a:cubicBezTo>
                    <a:cubicBezTo>
                      <a:pt x="24" y="3"/>
                      <a:pt x="24" y="1"/>
                      <a:pt x="23" y="1"/>
                    </a:cubicBezTo>
                    <a:cubicBezTo>
                      <a:pt x="21" y="0"/>
                      <a:pt x="18" y="1"/>
                      <a:pt x="16" y="1"/>
                    </a:cubicBezTo>
                    <a:cubicBezTo>
                      <a:pt x="17" y="2"/>
                      <a:pt x="17" y="3"/>
                      <a:pt x="17" y="4"/>
                    </a:cubicBezTo>
                    <a:cubicBezTo>
                      <a:pt x="17" y="5"/>
                      <a:pt x="16" y="6"/>
                      <a:pt x="16" y="7"/>
                    </a:cubicBezTo>
                    <a:cubicBezTo>
                      <a:pt x="16" y="9"/>
                      <a:pt x="20" y="11"/>
                      <a:pt x="18" y="13"/>
                    </a:cubicBezTo>
                    <a:cubicBezTo>
                      <a:pt x="17" y="15"/>
                      <a:pt x="14" y="14"/>
                      <a:pt x="11" y="14"/>
                    </a:cubicBezTo>
                    <a:cubicBezTo>
                      <a:pt x="9" y="15"/>
                      <a:pt x="5" y="15"/>
                      <a:pt x="4" y="17"/>
                    </a:cubicBezTo>
                    <a:cubicBezTo>
                      <a:pt x="1" y="20"/>
                      <a:pt x="1" y="23"/>
                      <a:pt x="0" y="26"/>
                    </a:cubicBezTo>
                    <a:cubicBezTo>
                      <a:pt x="2" y="26"/>
                      <a:pt x="4" y="25"/>
                      <a:pt x="6" y="26"/>
                    </a:cubicBezTo>
                    <a:cubicBezTo>
                      <a:pt x="7" y="26"/>
                      <a:pt x="6" y="29"/>
                      <a:pt x="7" y="30"/>
                    </a:cubicBezTo>
                    <a:cubicBezTo>
                      <a:pt x="9" y="33"/>
                      <a:pt x="11" y="35"/>
                      <a:pt x="12" y="37"/>
                    </a:cubicBezTo>
                    <a:cubicBezTo>
                      <a:pt x="13" y="39"/>
                      <a:pt x="13" y="41"/>
                      <a:pt x="15" y="42"/>
                    </a:cubicBezTo>
                    <a:cubicBezTo>
                      <a:pt x="16" y="44"/>
                      <a:pt x="19" y="45"/>
                      <a:pt x="21" y="47"/>
                    </a:cubicBezTo>
                    <a:cubicBezTo>
                      <a:pt x="22" y="49"/>
                      <a:pt x="24" y="50"/>
                      <a:pt x="25" y="52"/>
                    </a:cubicBezTo>
                    <a:cubicBezTo>
                      <a:pt x="26" y="51"/>
                      <a:pt x="26" y="49"/>
                      <a:pt x="28" y="48"/>
                    </a:cubicBezTo>
                    <a:cubicBezTo>
                      <a:pt x="29" y="45"/>
                      <a:pt x="31" y="43"/>
                      <a:pt x="34" y="42"/>
                    </a:cubicBezTo>
                    <a:cubicBezTo>
                      <a:pt x="35" y="41"/>
                      <a:pt x="37" y="42"/>
                      <a:pt x="39" y="42"/>
                    </a:cubicBezTo>
                    <a:cubicBezTo>
                      <a:pt x="40" y="42"/>
                      <a:pt x="40" y="40"/>
                      <a:pt x="41" y="40"/>
                    </a:cubicBezTo>
                    <a:cubicBezTo>
                      <a:pt x="43" y="39"/>
                      <a:pt x="45" y="39"/>
                      <a:pt x="47" y="40"/>
                    </a:cubicBezTo>
                    <a:cubicBezTo>
                      <a:pt x="49" y="40"/>
                      <a:pt x="50" y="41"/>
                      <a:pt x="51" y="42"/>
                    </a:cubicBezTo>
                    <a:cubicBezTo>
                      <a:pt x="52" y="43"/>
                      <a:pt x="52" y="45"/>
                      <a:pt x="52" y="46"/>
                    </a:cubicBezTo>
                    <a:cubicBezTo>
                      <a:pt x="53" y="47"/>
                      <a:pt x="55" y="48"/>
                      <a:pt x="56" y="49"/>
                    </a:cubicBezTo>
                    <a:cubicBezTo>
                      <a:pt x="56" y="50"/>
                      <a:pt x="55" y="52"/>
                      <a:pt x="55" y="53"/>
                    </a:cubicBezTo>
                    <a:cubicBezTo>
                      <a:pt x="56" y="55"/>
                      <a:pt x="58" y="57"/>
                      <a:pt x="58" y="59"/>
                    </a:cubicBezTo>
                    <a:cubicBezTo>
                      <a:pt x="58" y="60"/>
                      <a:pt x="56" y="61"/>
                      <a:pt x="55" y="63"/>
                    </a:cubicBezTo>
                    <a:cubicBezTo>
                      <a:pt x="55" y="64"/>
                      <a:pt x="57" y="65"/>
                      <a:pt x="57" y="65"/>
                    </a:cubicBezTo>
                    <a:cubicBezTo>
                      <a:pt x="59" y="64"/>
                      <a:pt x="60" y="63"/>
                      <a:pt x="62" y="62"/>
                    </a:cubicBezTo>
                    <a:cubicBezTo>
                      <a:pt x="63" y="62"/>
                      <a:pt x="65" y="63"/>
                      <a:pt x="66" y="63"/>
                    </a:cubicBezTo>
                    <a:cubicBezTo>
                      <a:pt x="67" y="63"/>
                      <a:pt x="66" y="61"/>
                      <a:pt x="67" y="61"/>
                    </a:cubicBezTo>
                    <a:cubicBezTo>
                      <a:pt x="69" y="61"/>
                      <a:pt x="70" y="61"/>
                      <a:pt x="71" y="62"/>
                    </a:cubicBezTo>
                    <a:cubicBezTo>
                      <a:pt x="72" y="64"/>
                      <a:pt x="70" y="66"/>
                      <a:pt x="71" y="67"/>
                    </a:cubicBezTo>
                    <a:cubicBezTo>
                      <a:pt x="72" y="69"/>
                      <a:pt x="75" y="70"/>
                      <a:pt x="75" y="72"/>
                    </a:cubicBezTo>
                    <a:cubicBezTo>
                      <a:pt x="75" y="74"/>
                      <a:pt x="72" y="73"/>
                      <a:pt x="71" y="74"/>
                    </a:cubicBezTo>
                    <a:cubicBezTo>
                      <a:pt x="70" y="76"/>
                      <a:pt x="70" y="78"/>
                      <a:pt x="70" y="80"/>
                    </a:cubicBezTo>
                    <a:cubicBezTo>
                      <a:pt x="71" y="81"/>
                      <a:pt x="73" y="81"/>
                      <a:pt x="74" y="81"/>
                    </a:cubicBezTo>
                    <a:cubicBezTo>
                      <a:pt x="76" y="81"/>
                      <a:pt x="77" y="80"/>
                      <a:pt x="78" y="79"/>
                    </a:cubicBezTo>
                    <a:cubicBezTo>
                      <a:pt x="79" y="78"/>
                      <a:pt x="79" y="74"/>
                      <a:pt x="81" y="74"/>
                    </a:cubicBezTo>
                    <a:cubicBezTo>
                      <a:pt x="83" y="74"/>
                      <a:pt x="84" y="77"/>
                      <a:pt x="86" y="79"/>
                    </a:cubicBezTo>
                    <a:cubicBezTo>
                      <a:pt x="87" y="78"/>
                      <a:pt x="88" y="77"/>
                      <a:pt x="88" y="75"/>
                    </a:cubicBezTo>
                    <a:cubicBezTo>
                      <a:pt x="89" y="74"/>
                      <a:pt x="87" y="73"/>
                      <a:pt x="87" y="72"/>
                    </a:cubicBezTo>
                    <a:cubicBezTo>
                      <a:pt x="87" y="70"/>
                      <a:pt x="91" y="69"/>
                      <a:pt x="91" y="67"/>
                    </a:cubicBezTo>
                    <a:cubicBezTo>
                      <a:pt x="91" y="66"/>
                      <a:pt x="85" y="66"/>
                      <a:pt x="86" y="65"/>
                    </a:cubicBezTo>
                    <a:cubicBezTo>
                      <a:pt x="88" y="62"/>
                      <a:pt x="93" y="64"/>
                      <a:pt x="95" y="62"/>
                    </a:cubicBezTo>
                    <a:cubicBezTo>
                      <a:pt x="96" y="60"/>
                      <a:pt x="91" y="60"/>
                      <a:pt x="90" y="58"/>
                    </a:cubicBezTo>
                    <a:cubicBezTo>
                      <a:pt x="90" y="57"/>
                      <a:pt x="92" y="57"/>
                      <a:pt x="93" y="55"/>
                    </a:cubicBezTo>
                    <a:cubicBezTo>
                      <a:pt x="93" y="54"/>
                      <a:pt x="93" y="52"/>
                      <a:pt x="92" y="50"/>
                    </a:cubicBezTo>
                    <a:cubicBezTo>
                      <a:pt x="92" y="48"/>
                      <a:pt x="89" y="46"/>
                      <a:pt x="88" y="43"/>
                    </a:cubicBezTo>
                    <a:cubicBezTo>
                      <a:pt x="88" y="41"/>
                      <a:pt x="91" y="40"/>
                      <a:pt x="92" y="38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44" name="Freeform 2557"/>
              <p:cNvSpPr>
                <a:spLocks noChangeAspect="1"/>
              </p:cNvSpPr>
              <p:nvPr/>
            </p:nvSpPr>
            <p:spPr bwMode="auto">
              <a:xfrm>
                <a:off x="4214855" y="2783346"/>
                <a:ext cx="48095" cy="46517"/>
              </a:xfrm>
              <a:custGeom>
                <a:avLst/>
                <a:gdLst>
                  <a:gd name="T0" fmla="*/ 41 w 36"/>
                  <a:gd name="T1" fmla="*/ 32 h 46"/>
                  <a:gd name="T2" fmla="*/ 42 w 36"/>
                  <a:gd name="T3" fmla="*/ 41 h 46"/>
                  <a:gd name="T4" fmla="*/ 33 w 36"/>
                  <a:gd name="T5" fmla="*/ 46 h 46"/>
                  <a:gd name="T6" fmla="*/ 31 w 36"/>
                  <a:gd name="T7" fmla="*/ 51 h 46"/>
                  <a:gd name="T8" fmla="*/ 27 w 36"/>
                  <a:gd name="T9" fmla="*/ 56 h 46"/>
                  <a:gd name="T10" fmla="*/ 13 w 36"/>
                  <a:gd name="T11" fmla="*/ 49 h 46"/>
                  <a:gd name="T12" fmla="*/ 13 w 36"/>
                  <a:gd name="T13" fmla="*/ 44 h 46"/>
                  <a:gd name="T14" fmla="*/ 5 w 36"/>
                  <a:gd name="T15" fmla="*/ 39 h 46"/>
                  <a:gd name="T16" fmla="*/ 5 w 36"/>
                  <a:gd name="T17" fmla="*/ 32 h 46"/>
                  <a:gd name="T18" fmla="*/ 0 w 36"/>
                  <a:gd name="T19" fmla="*/ 28 h 46"/>
                  <a:gd name="T20" fmla="*/ 1 w 36"/>
                  <a:gd name="T21" fmla="*/ 21 h 46"/>
                  <a:gd name="T22" fmla="*/ 2 w 36"/>
                  <a:gd name="T23" fmla="*/ 16 h 46"/>
                  <a:gd name="T24" fmla="*/ 6 w 36"/>
                  <a:gd name="T25" fmla="*/ 11 h 46"/>
                  <a:gd name="T26" fmla="*/ 13 w 36"/>
                  <a:gd name="T27" fmla="*/ 4 h 46"/>
                  <a:gd name="T28" fmla="*/ 19 w 36"/>
                  <a:gd name="T29" fmla="*/ 4 h 46"/>
                  <a:gd name="T30" fmla="*/ 22 w 36"/>
                  <a:gd name="T31" fmla="*/ 1 h 46"/>
                  <a:gd name="T32" fmla="*/ 29 w 36"/>
                  <a:gd name="T33" fmla="*/ 1 h 46"/>
                  <a:gd name="T34" fmla="*/ 33 w 36"/>
                  <a:gd name="T35" fmla="*/ 4 h 46"/>
                  <a:gd name="T36" fmla="*/ 35 w 36"/>
                  <a:gd name="T37" fmla="*/ 9 h 46"/>
                  <a:gd name="T38" fmla="*/ 39 w 36"/>
                  <a:gd name="T39" fmla="*/ 12 h 46"/>
                  <a:gd name="T40" fmla="*/ 38 w 36"/>
                  <a:gd name="T41" fmla="*/ 17 h 46"/>
                  <a:gd name="T42" fmla="*/ 42 w 36"/>
                  <a:gd name="T43" fmla="*/ 24 h 46"/>
                  <a:gd name="T44" fmla="*/ 38 w 36"/>
                  <a:gd name="T45" fmla="*/ 29 h 46"/>
                  <a:gd name="T46" fmla="*/ 41 w 36"/>
                  <a:gd name="T47" fmla="*/ 32 h 4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36"/>
                  <a:gd name="T73" fmla="*/ 0 h 46"/>
                  <a:gd name="T74" fmla="*/ 36 w 36"/>
                  <a:gd name="T75" fmla="*/ 46 h 4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36" h="46">
                    <a:moveTo>
                      <a:pt x="34" y="26"/>
                    </a:moveTo>
                    <a:cubicBezTo>
                      <a:pt x="34" y="29"/>
                      <a:pt x="36" y="31"/>
                      <a:pt x="35" y="34"/>
                    </a:cubicBezTo>
                    <a:cubicBezTo>
                      <a:pt x="33" y="36"/>
                      <a:pt x="30" y="36"/>
                      <a:pt x="28" y="38"/>
                    </a:cubicBezTo>
                    <a:cubicBezTo>
                      <a:pt x="27" y="39"/>
                      <a:pt x="27" y="41"/>
                      <a:pt x="26" y="42"/>
                    </a:cubicBezTo>
                    <a:cubicBezTo>
                      <a:pt x="25" y="44"/>
                      <a:pt x="24" y="45"/>
                      <a:pt x="23" y="46"/>
                    </a:cubicBezTo>
                    <a:cubicBezTo>
                      <a:pt x="19" y="45"/>
                      <a:pt x="15" y="43"/>
                      <a:pt x="11" y="40"/>
                    </a:cubicBezTo>
                    <a:cubicBezTo>
                      <a:pt x="10" y="39"/>
                      <a:pt x="12" y="37"/>
                      <a:pt x="11" y="36"/>
                    </a:cubicBezTo>
                    <a:cubicBezTo>
                      <a:pt x="9" y="34"/>
                      <a:pt x="6" y="34"/>
                      <a:pt x="4" y="32"/>
                    </a:cubicBezTo>
                    <a:cubicBezTo>
                      <a:pt x="3" y="30"/>
                      <a:pt x="5" y="27"/>
                      <a:pt x="4" y="26"/>
                    </a:cubicBezTo>
                    <a:cubicBezTo>
                      <a:pt x="3" y="24"/>
                      <a:pt x="1" y="24"/>
                      <a:pt x="0" y="23"/>
                    </a:cubicBezTo>
                    <a:cubicBezTo>
                      <a:pt x="0" y="21"/>
                      <a:pt x="1" y="19"/>
                      <a:pt x="1" y="17"/>
                    </a:cubicBezTo>
                    <a:cubicBezTo>
                      <a:pt x="1" y="16"/>
                      <a:pt x="2" y="15"/>
                      <a:pt x="2" y="13"/>
                    </a:cubicBezTo>
                    <a:cubicBezTo>
                      <a:pt x="3" y="12"/>
                      <a:pt x="3" y="10"/>
                      <a:pt x="5" y="9"/>
                    </a:cubicBezTo>
                    <a:cubicBezTo>
                      <a:pt x="6" y="6"/>
                      <a:pt x="8" y="4"/>
                      <a:pt x="11" y="3"/>
                    </a:cubicBezTo>
                    <a:cubicBezTo>
                      <a:pt x="12" y="2"/>
                      <a:pt x="14" y="3"/>
                      <a:pt x="16" y="3"/>
                    </a:cubicBezTo>
                    <a:cubicBezTo>
                      <a:pt x="17" y="3"/>
                      <a:pt x="17" y="1"/>
                      <a:pt x="18" y="1"/>
                    </a:cubicBezTo>
                    <a:cubicBezTo>
                      <a:pt x="20" y="0"/>
                      <a:pt x="22" y="0"/>
                      <a:pt x="24" y="1"/>
                    </a:cubicBezTo>
                    <a:cubicBezTo>
                      <a:pt x="26" y="1"/>
                      <a:pt x="27" y="2"/>
                      <a:pt x="28" y="3"/>
                    </a:cubicBezTo>
                    <a:cubicBezTo>
                      <a:pt x="29" y="4"/>
                      <a:pt x="29" y="6"/>
                      <a:pt x="29" y="7"/>
                    </a:cubicBezTo>
                    <a:cubicBezTo>
                      <a:pt x="30" y="8"/>
                      <a:pt x="32" y="9"/>
                      <a:pt x="33" y="10"/>
                    </a:cubicBezTo>
                    <a:cubicBezTo>
                      <a:pt x="33" y="11"/>
                      <a:pt x="32" y="13"/>
                      <a:pt x="32" y="14"/>
                    </a:cubicBezTo>
                    <a:cubicBezTo>
                      <a:pt x="33" y="16"/>
                      <a:pt x="35" y="18"/>
                      <a:pt x="35" y="20"/>
                    </a:cubicBezTo>
                    <a:cubicBezTo>
                      <a:pt x="35" y="21"/>
                      <a:pt x="33" y="22"/>
                      <a:pt x="32" y="24"/>
                    </a:cubicBezTo>
                    <a:cubicBezTo>
                      <a:pt x="32" y="25"/>
                      <a:pt x="34" y="26"/>
                      <a:pt x="34" y="26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45" name="Freeform 2558"/>
              <p:cNvSpPr>
                <a:spLocks noChangeAspect="1"/>
              </p:cNvSpPr>
              <p:nvPr/>
            </p:nvSpPr>
            <p:spPr bwMode="auto">
              <a:xfrm>
                <a:off x="4245054" y="2805775"/>
                <a:ext cx="70466" cy="61470"/>
              </a:xfrm>
              <a:custGeom>
                <a:avLst/>
                <a:gdLst>
                  <a:gd name="T0" fmla="*/ 59 w 52"/>
                  <a:gd name="T1" fmla="*/ 74 h 62"/>
                  <a:gd name="T2" fmla="*/ 52 w 52"/>
                  <a:gd name="T3" fmla="*/ 69 h 62"/>
                  <a:gd name="T4" fmla="*/ 42 w 52"/>
                  <a:gd name="T5" fmla="*/ 64 h 62"/>
                  <a:gd name="T6" fmla="*/ 30 w 52"/>
                  <a:gd name="T7" fmla="*/ 56 h 62"/>
                  <a:gd name="T8" fmla="*/ 19 w 52"/>
                  <a:gd name="T9" fmla="*/ 45 h 62"/>
                  <a:gd name="T10" fmla="*/ 10 w 52"/>
                  <a:gd name="T11" fmla="*/ 38 h 62"/>
                  <a:gd name="T12" fmla="*/ 1 w 52"/>
                  <a:gd name="T13" fmla="*/ 33 h 62"/>
                  <a:gd name="T14" fmla="*/ 0 w 52"/>
                  <a:gd name="T15" fmla="*/ 29 h 62"/>
                  <a:gd name="T16" fmla="*/ 4 w 52"/>
                  <a:gd name="T17" fmla="*/ 24 h 62"/>
                  <a:gd name="T18" fmla="*/ 6 w 52"/>
                  <a:gd name="T19" fmla="*/ 19 h 62"/>
                  <a:gd name="T20" fmla="*/ 15 w 52"/>
                  <a:gd name="T21" fmla="*/ 14 h 62"/>
                  <a:gd name="T22" fmla="*/ 13 w 52"/>
                  <a:gd name="T23" fmla="*/ 5 h 62"/>
                  <a:gd name="T24" fmla="*/ 19 w 52"/>
                  <a:gd name="T25" fmla="*/ 1 h 62"/>
                  <a:gd name="T26" fmla="*/ 24 w 52"/>
                  <a:gd name="T27" fmla="*/ 2 h 62"/>
                  <a:gd name="T28" fmla="*/ 25 w 52"/>
                  <a:gd name="T29" fmla="*/ 0 h 62"/>
                  <a:gd name="T30" fmla="*/ 30 w 52"/>
                  <a:gd name="T31" fmla="*/ 1 h 62"/>
                  <a:gd name="T32" fmla="*/ 30 w 52"/>
                  <a:gd name="T33" fmla="*/ 7 h 62"/>
                  <a:gd name="T34" fmla="*/ 35 w 52"/>
                  <a:gd name="T35" fmla="*/ 13 h 62"/>
                  <a:gd name="T36" fmla="*/ 30 w 52"/>
                  <a:gd name="T37" fmla="*/ 16 h 62"/>
                  <a:gd name="T38" fmla="*/ 29 w 52"/>
                  <a:gd name="T39" fmla="*/ 23 h 62"/>
                  <a:gd name="T40" fmla="*/ 34 w 52"/>
                  <a:gd name="T41" fmla="*/ 24 h 62"/>
                  <a:gd name="T42" fmla="*/ 39 w 52"/>
                  <a:gd name="T43" fmla="*/ 21 h 62"/>
                  <a:gd name="T44" fmla="*/ 42 w 52"/>
                  <a:gd name="T45" fmla="*/ 16 h 62"/>
                  <a:gd name="T46" fmla="*/ 48 w 52"/>
                  <a:gd name="T47" fmla="*/ 21 h 62"/>
                  <a:gd name="T48" fmla="*/ 50 w 52"/>
                  <a:gd name="T49" fmla="*/ 27 h 62"/>
                  <a:gd name="T50" fmla="*/ 45 w 52"/>
                  <a:gd name="T51" fmla="*/ 33 h 62"/>
                  <a:gd name="T52" fmla="*/ 50 w 52"/>
                  <a:gd name="T53" fmla="*/ 39 h 62"/>
                  <a:gd name="T54" fmla="*/ 56 w 52"/>
                  <a:gd name="T55" fmla="*/ 41 h 62"/>
                  <a:gd name="T56" fmla="*/ 56 w 52"/>
                  <a:gd name="T57" fmla="*/ 45 h 62"/>
                  <a:gd name="T58" fmla="*/ 62 w 52"/>
                  <a:gd name="T59" fmla="*/ 47 h 62"/>
                  <a:gd name="T60" fmla="*/ 62 w 52"/>
                  <a:gd name="T61" fmla="*/ 55 h 62"/>
                  <a:gd name="T62" fmla="*/ 58 w 52"/>
                  <a:gd name="T63" fmla="*/ 61 h 62"/>
                  <a:gd name="T64" fmla="*/ 59 w 52"/>
                  <a:gd name="T65" fmla="*/ 74 h 6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52"/>
                  <a:gd name="T100" fmla="*/ 0 h 62"/>
                  <a:gd name="T101" fmla="*/ 52 w 52"/>
                  <a:gd name="T102" fmla="*/ 62 h 62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52" h="62">
                    <a:moveTo>
                      <a:pt x="49" y="62"/>
                    </a:moveTo>
                    <a:cubicBezTo>
                      <a:pt x="47" y="61"/>
                      <a:pt x="45" y="59"/>
                      <a:pt x="43" y="58"/>
                    </a:cubicBezTo>
                    <a:cubicBezTo>
                      <a:pt x="40" y="57"/>
                      <a:pt x="38" y="56"/>
                      <a:pt x="35" y="54"/>
                    </a:cubicBezTo>
                    <a:cubicBezTo>
                      <a:pt x="32" y="52"/>
                      <a:pt x="28" y="50"/>
                      <a:pt x="25" y="47"/>
                    </a:cubicBezTo>
                    <a:cubicBezTo>
                      <a:pt x="21" y="44"/>
                      <a:pt x="19" y="41"/>
                      <a:pt x="16" y="38"/>
                    </a:cubicBezTo>
                    <a:cubicBezTo>
                      <a:pt x="14" y="36"/>
                      <a:pt x="11" y="33"/>
                      <a:pt x="8" y="32"/>
                    </a:cubicBezTo>
                    <a:cubicBezTo>
                      <a:pt x="6" y="30"/>
                      <a:pt x="3" y="30"/>
                      <a:pt x="1" y="28"/>
                    </a:cubicBezTo>
                    <a:cubicBezTo>
                      <a:pt x="0" y="28"/>
                      <a:pt x="0" y="26"/>
                      <a:pt x="0" y="24"/>
                    </a:cubicBezTo>
                    <a:cubicBezTo>
                      <a:pt x="1" y="23"/>
                      <a:pt x="2" y="22"/>
                      <a:pt x="3" y="20"/>
                    </a:cubicBezTo>
                    <a:cubicBezTo>
                      <a:pt x="4" y="19"/>
                      <a:pt x="4" y="17"/>
                      <a:pt x="5" y="16"/>
                    </a:cubicBezTo>
                    <a:cubicBezTo>
                      <a:pt x="7" y="14"/>
                      <a:pt x="10" y="14"/>
                      <a:pt x="12" y="12"/>
                    </a:cubicBezTo>
                    <a:cubicBezTo>
                      <a:pt x="13" y="9"/>
                      <a:pt x="11" y="7"/>
                      <a:pt x="11" y="4"/>
                    </a:cubicBezTo>
                    <a:cubicBezTo>
                      <a:pt x="13" y="3"/>
                      <a:pt x="14" y="2"/>
                      <a:pt x="16" y="1"/>
                    </a:cubicBezTo>
                    <a:cubicBezTo>
                      <a:pt x="17" y="1"/>
                      <a:pt x="19" y="2"/>
                      <a:pt x="20" y="2"/>
                    </a:cubicBezTo>
                    <a:cubicBezTo>
                      <a:pt x="21" y="2"/>
                      <a:pt x="20" y="0"/>
                      <a:pt x="21" y="0"/>
                    </a:cubicBezTo>
                    <a:cubicBezTo>
                      <a:pt x="23" y="0"/>
                      <a:pt x="24" y="0"/>
                      <a:pt x="25" y="1"/>
                    </a:cubicBezTo>
                    <a:cubicBezTo>
                      <a:pt x="26" y="3"/>
                      <a:pt x="24" y="5"/>
                      <a:pt x="25" y="6"/>
                    </a:cubicBezTo>
                    <a:cubicBezTo>
                      <a:pt x="26" y="8"/>
                      <a:pt x="29" y="9"/>
                      <a:pt x="29" y="11"/>
                    </a:cubicBezTo>
                    <a:cubicBezTo>
                      <a:pt x="29" y="13"/>
                      <a:pt x="26" y="12"/>
                      <a:pt x="25" y="13"/>
                    </a:cubicBezTo>
                    <a:cubicBezTo>
                      <a:pt x="24" y="15"/>
                      <a:pt x="24" y="17"/>
                      <a:pt x="24" y="19"/>
                    </a:cubicBezTo>
                    <a:cubicBezTo>
                      <a:pt x="25" y="20"/>
                      <a:pt x="27" y="20"/>
                      <a:pt x="28" y="20"/>
                    </a:cubicBezTo>
                    <a:cubicBezTo>
                      <a:pt x="30" y="20"/>
                      <a:pt x="31" y="19"/>
                      <a:pt x="32" y="18"/>
                    </a:cubicBezTo>
                    <a:cubicBezTo>
                      <a:pt x="33" y="17"/>
                      <a:pt x="33" y="13"/>
                      <a:pt x="35" y="13"/>
                    </a:cubicBezTo>
                    <a:cubicBezTo>
                      <a:pt x="37" y="13"/>
                      <a:pt x="38" y="16"/>
                      <a:pt x="40" y="18"/>
                    </a:cubicBezTo>
                    <a:cubicBezTo>
                      <a:pt x="40" y="20"/>
                      <a:pt x="41" y="21"/>
                      <a:pt x="41" y="23"/>
                    </a:cubicBezTo>
                    <a:cubicBezTo>
                      <a:pt x="40" y="25"/>
                      <a:pt x="37" y="26"/>
                      <a:pt x="37" y="28"/>
                    </a:cubicBezTo>
                    <a:cubicBezTo>
                      <a:pt x="37" y="30"/>
                      <a:pt x="39" y="32"/>
                      <a:pt x="41" y="33"/>
                    </a:cubicBezTo>
                    <a:cubicBezTo>
                      <a:pt x="43" y="34"/>
                      <a:pt x="45" y="33"/>
                      <a:pt x="46" y="34"/>
                    </a:cubicBezTo>
                    <a:cubicBezTo>
                      <a:pt x="47" y="35"/>
                      <a:pt x="45" y="37"/>
                      <a:pt x="46" y="38"/>
                    </a:cubicBezTo>
                    <a:cubicBezTo>
                      <a:pt x="47" y="39"/>
                      <a:pt x="50" y="38"/>
                      <a:pt x="51" y="39"/>
                    </a:cubicBezTo>
                    <a:cubicBezTo>
                      <a:pt x="52" y="41"/>
                      <a:pt x="51" y="44"/>
                      <a:pt x="51" y="46"/>
                    </a:cubicBezTo>
                    <a:cubicBezTo>
                      <a:pt x="50" y="48"/>
                      <a:pt x="48" y="49"/>
                      <a:pt x="48" y="51"/>
                    </a:cubicBezTo>
                    <a:cubicBezTo>
                      <a:pt x="48" y="54"/>
                      <a:pt x="49" y="58"/>
                      <a:pt x="49" y="6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46" name="Freeform 2559"/>
              <p:cNvSpPr>
                <a:spLocks noChangeAspect="1"/>
              </p:cNvSpPr>
              <p:nvPr/>
            </p:nvSpPr>
            <p:spPr bwMode="auto">
              <a:xfrm>
                <a:off x="4295386" y="2775870"/>
                <a:ext cx="101783" cy="91373"/>
              </a:xfrm>
              <a:custGeom>
                <a:avLst/>
                <a:gdLst>
                  <a:gd name="T0" fmla="*/ 86 w 76"/>
                  <a:gd name="T1" fmla="*/ 97 h 92"/>
                  <a:gd name="T2" fmla="*/ 72 w 76"/>
                  <a:gd name="T3" fmla="*/ 94 h 92"/>
                  <a:gd name="T4" fmla="*/ 68 w 76"/>
                  <a:gd name="T5" fmla="*/ 97 h 92"/>
                  <a:gd name="T6" fmla="*/ 63 w 76"/>
                  <a:gd name="T7" fmla="*/ 94 h 92"/>
                  <a:gd name="T8" fmla="*/ 46 w 76"/>
                  <a:gd name="T9" fmla="*/ 96 h 92"/>
                  <a:gd name="T10" fmla="*/ 28 w 76"/>
                  <a:gd name="T11" fmla="*/ 102 h 92"/>
                  <a:gd name="T12" fmla="*/ 14 w 76"/>
                  <a:gd name="T13" fmla="*/ 110 h 92"/>
                  <a:gd name="T14" fmla="*/ 13 w 76"/>
                  <a:gd name="T15" fmla="*/ 97 h 92"/>
                  <a:gd name="T16" fmla="*/ 17 w 76"/>
                  <a:gd name="T17" fmla="*/ 91 h 92"/>
                  <a:gd name="T18" fmla="*/ 17 w 76"/>
                  <a:gd name="T19" fmla="*/ 83 h 92"/>
                  <a:gd name="T20" fmla="*/ 11 w 76"/>
                  <a:gd name="T21" fmla="*/ 81 h 92"/>
                  <a:gd name="T22" fmla="*/ 11 w 76"/>
                  <a:gd name="T23" fmla="*/ 77 h 92"/>
                  <a:gd name="T24" fmla="*/ 5 w 76"/>
                  <a:gd name="T25" fmla="*/ 75 h 92"/>
                  <a:gd name="T26" fmla="*/ 0 w 76"/>
                  <a:gd name="T27" fmla="*/ 69 h 92"/>
                  <a:gd name="T28" fmla="*/ 5 w 76"/>
                  <a:gd name="T29" fmla="*/ 63 h 92"/>
                  <a:gd name="T30" fmla="*/ 4 w 76"/>
                  <a:gd name="T31" fmla="*/ 57 h 92"/>
                  <a:gd name="T32" fmla="*/ 6 w 76"/>
                  <a:gd name="T33" fmla="*/ 53 h 92"/>
                  <a:gd name="T34" fmla="*/ 5 w 76"/>
                  <a:gd name="T35" fmla="*/ 49 h 92"/>
                  <a:gd name="T36" fmla="*/ 10 w 76"/>
                  <a:gd name="T37" fmla="*/ 43 h 92"/>
                  <a:gd name="T38" fmla="*/ 4 w 76"/>
                  <a:gd name="T39" fmla="*/ 41 h 92"/>
                  <a:gd name="T40" fmla="*/ 14 w 76"/>
                  <a:gd name="T41" fmla="*/ 37 h 92"/>
                  <a:gd name="T42" fmla="*/ 8 w 76"/>
                  <a:gd name="T43" fmla="*/ 32 h 92"/>
                  <a:gd name="T44" fmla="*/ 12 w 76"/>
                  <a:gd name="T45" fmla="*/ 29 h 92"/>
                  <a:gd name="T46" fmla="*/ 11 w 76"/>
                  <a:gd name="T47" fmla="*/ 23 h 92"/>
                  <a:gd name="T48" fmla="*/ 6 w 76"/>
                  <a:gd name="T49" fmla="*/ 14 h 92"/>
                  <a:gd name="T50" fmla="*/ 11 w 76"/>
                  <a:gd name="T51" fmla="*/ 8 h 92"/>
                  <a:gd name="T52" fmla="*/ 13 w 76"/>
                  <a:gd name="T53" fmla="*/ 4 h 92"/>
                  <a:gd name="T54" fmla="*/ 19 w 76"/>
                  <a:gd name="T55" fmla="*/ 5 h 92"/>
                  <a:gd name="T56" fmla="*/ 25 w 76"/>
                  <a:gd name="T57" fmla="*/ 6 h 92"/>
                  <a:gd name="T58" fmla="*/ 26 w 76"/>
                  <a:gd name="T59" fmla="*/ 0 h 92"/>
                  <a:gd name="T60" fmla="*/ 30 w 76"/>
                  <a:gd name="T61" fmla="*/ 2 h 92"/>
                  <a:gd name="T62" fmla="*/ 35 w 76"/>
                  <a:gd name="T63" fmla="*/ 0 h 92"/>
                  <a:gd name="T64" fmla="*/ 35 w 76"/>
                  <a:gd name="T65" fmla="*/ 7 h 92"/>
                  <a:gd name="T66" fmla="*/ 40 w 76"/>
                  <a:gd name="T67" fmla="*/ 6 h 92"/>
                  <a:gd name="T68" fmla="*/ 49 w 76"/>
                  <a:gd name="T69" fmla="*/ 4 h 92"/>
                  <a:gd name="T70" fmla="*/ 49 w 76"/>
                  <a:gd name="T71" fmla="*/ 8 h 92"/>
                  <a:gd name="T72" fmla="*/ 53 w 76"/>
                  <a:gd name="T73" fmla="*/ 10 h 92"/>
                  <a:gd name="T74" fmla="*/ 53 w 76"/>
                  <a:gd name="T75" fmla="*/ 14 h 92"/>
                  <a:gd name="T76" fmla="*/ 56 w 76"/>
                  <a:gd name="T77" fmla="*/ 16 h 92"/>
                  <a:gd name="T78" fmla="*/ 60 w 76"/>
                  <a:gd name="T79" fmla="*/ 17 h 92"/>
                  <a:gd name="T80" fmla="*/ 67 w 76"/>
                  <a:gd name="T81" fmla="*/ 14 h 92"/>
                  <a:gd name="T82" fmla="*/ 77 w 76"/>
                  <a:gd name="T83" fmla="*/ 13 h 92"/>
                  <a:gd name="T84" fmla="*/ 83 w 76"/>
                  <a:gd name="T85" fmla="*/ 14 h 92"/>
                  <a:gd name="T86" fmla="*/ 86 w 76"/>
                  <a:gd name="T87" fmla="*/ 18 h 92"/>
                  <a:gd name="T88" fmla="*/ 87 w 76"/>
                  <a:gd name="T89" fmla="*/ 25 h 92"/>
                  <a:gd name="T90" fmla="*/ 89 w 76"/>
                  <a:gd name="T91" fmla="*/ 30 h 92"/>
                  <a:gd name="T92" fmla="*/ 90 w 76"/>
                  <a:gd name="T93" fmla="*/ 36 h 92"/>
                  <a:gd name="T94" fmla="*/ 90 w 76"/>
                  <a:gd name="T95" fmla="*/ 42 h 92"/>
                  <a:gd name="T96" fmla="*/ 87 w 76"/>
                  <a:gd name="T97" fmla="*/ 48 h 92"/>
                  <a:gd name="T98" fmla="*/ 86 w 76"/>
                  <a:gd name="T99" fmla="*/ 59 h 92"/>
                  <a:gd name="T100" fmla="*/ 81 w 76"/>
                  <a:gd name="T101" fmla="*/ 66 h 92"/>
                  <a:gd name="T102" fmla="*/ 84 w 76"/>
                  <a:gd name="T103" fmla="*/ 75 h 92"/>
                  <a:gd name="T104" fmla="*/ 83 w 76"/>
                  <a:gd name="T105" fmla="*/ 84 h 92"/>
                  <a:gd name="T106" fmla="*/ 87 w 76"/>
                  <a:gd name="T107" fmla="*/ 87 h 92"/>
                  <a:gd name="T108" fmla="*/ 87 w 76"/>
                  <a:gd name="T109" fmla="*/ 94 h 92"/>
                  <a:gd name="T110" fmla="*/ 86 w 76"/>
                  <a:gd name="T111" fmla="*/ 97 h 92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76"/>
                  <a:gd name="T169" fmla="*/ 0 h 92"/>
                  <a:gd name="T170" fmla="*/ 76 w 76"/>
                  <a:gd name="T171" fmla="*/ 92 h 92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76" h="92">
                    <a:moveTo>
                      <a:pt x="72" y="81"/>
                    </a:moveTo>
                    <a:cubicBezTo>
                      <a:pt x="68" y="80"/>
                      <a:pt x="64" y="79"/>
                      <a:pt x="60" y="79"/>
                    </a:cubicBezTo>
                    <a:cubicBezTo>
                      <a:pt x="59" y="79"/>
                      <a:pt x="58" y="81"/>
                      <a:pt x="57" y="81"/>
                    </a:cubicBezTo>
                    <a:cubicBezTo>
                      <a:pt x="56" y="81"/>
                      <a:pt x="54" y="79"/>
                      <a:pt x="53" y="79"/>
                    </a:cubicBezTo>
                    <a:cubicBezTo>
                      <a:pt x="48" y="79"/>
                      <a:pt x="42" y="79"/>
                      <a:pt x="38" y="80"/>
                    </a:cubicBezTo>
                    <a:cubicBezTo>
                      <a:pt x="32" y="81"/>
                      <a:pt x="28" y="83"/>
                      <a:pt x="23" y="85"/>
                    </a:cubicBezTo>
                    <a:cubicBezTo>
                      <a:pt x="19" y="87"/>
                      <a:pt x="16" y="89"/>
                      <a:pt x="12" y="92"/>
                    </a:cubicBezTo>
                    <a:cubicBezTo>
                      <a:pt x="12" y="88"/>
                      <a:pt x="11" y="84"/>
                      <a:pt x="11" y="81"/>
                    </a:cubicBezTo>
                    <a:cubicBezTo>
                      <a:pt x="11" y="79"/>
                      <a:pt x="13" y="78"/>
                      <a:pt x="14" y="76"/>
                    </a:cubicBezTo>
                    <a:cubicBezTo>
                      <a:pt x="14" y="74"/>
                      <a:pt x="15" y="71"/>
                      <a:pt x="14" y="69"/>
                    </a:cubicBezTo>
                    <a:cubicBezTo>
                      <a:pt x="13" y="68"/>
                      <a:pt x="10" y="69"/>
                      <a:pt x="9" y="68"/>
                    </a:cubicBezTo>
                    <a:cubicBezTo>
                      <a:pt x="8" y="67"/>
                      <a:pt x="10" y="65"/>
                      <a:pt x="9" y="64"/>
                    </a:cubicBezTo>
                    <a:cubicBezTo>
                      <a:pt x="8" y="63"/>
                      <a:pt x="6" y="64"/>
                      <a:pt x="4" y="63"/>
                    </a:cubicBezTo>
                    <a:cubicBezTo>
                      <a:pt x="2" y="62"/>
                      <a:pt x="0" y="60"/>
                      <a:pt x="0" y="58"/>
                    </a:cubicBezTo>
                    <a:cubicBezTo>
                      <a:pt x="0" y="56"/>
                      <a:pt x="3" y="55"/>
                      <a:pt x="4" y="53"/>
                    </a:cubicBezTo>
                    <a:cubicBezTo>
                      <a:pt x="4" y="51"/>
                      <a:pt x="3" y="50"/>
                      <a:pt x="3" y="48"/>
                    </a:cubicBezTo>
                    <a:cubicBezTo>
                      <a:pt x="4" y="47"/>
                      <a:pt x="5" y="46"/>
                      <a:pt x="5" y="44"/>
                    </a:cubicBezTo>
                    <a:cubicBezTo>
                      <a:pt x="6" y="43"/>
                      <a:pt x="4" y="42"/>
                      <a:pt x="4" y="41"/>
                    </a:cubicBezTo>
                    <a:cubicBezTo>
                      <a:pt x="4" y="39"/>
                      <a:pt x="8" y="38"/>
                      <a:pt x="8" y="36"/>
                    </a:cubicBezTo>
                    <a:cubicBezTo>
                      <a:pt x="8" y="35"/>
                      <a:pt x="2" y="35"/>
                      <a:pt x="3" y="34"/>
                    </a:cubicBezTo>
                    <a:cubicBezTo>
                      <a:pt x="5" y="31"/>
                      <a:pt x="10" y="33"/>
                      <a:pt x="12" y="31"/>
                    </a:cubicBezTo>
                    <a:cubicBezTo>
                      <a:pt x="13" y="29"/>
                      <a:pt x="8" y="29"/>
                      <a:pt x="7" y="27"/>
                    </a:cubicBezTo>
                    <a:cubicBezTo>
                      <a:pt x="7" y="26"/>
                      <a:pt x="9" y="26"/>
                      <a:pt x="10" y="24"/>
                    </a:cubicBezTo>
                    <a:cubicBezTo>
                      <a:pt x="10" y="23"/>
                      <a:pt x="10" y="21"/>
                      <a:pt x="9" y="19"/>
                    </a:cubicBezTo>
                    <a:cubicBezTo>
                      <a:pt x="9" y="17"/>
                      <a:pt x="6" y="15"/>
                      <a:pt x="5" y="12"/>
                    </a:cubicBezTo>
                    <a:cubicBezTo>
                      <a:pt x="5" y="10"/>
                      <a:pt x="8" y="9"/>
                      <a:pt x="9" y="7"/>
                    </a:cubicBezTo>
                    <a:cubicBezTo>
                      <a:pt x="10" y="6"/>
                      <a:pt x="10" y="4"/>
                      <a:pt x="11" y="3"/>
                    </a:cubicBezTo>
                    <a:cubicBezTo>
                      <a:pt x="13" y="3"/>
                      <a:pt x="15" y="4"/>
                      <a:pt x="16" y="4"/>
                    </a:cubicBezTo>
                    <a:cubicBezTo>
                      <a:pt x="18" y="5"/>
                      <a:pt x="19" y="6"/>
                      <a:pt x="21" y="5"/>
                    </a:cubicBezTo>
                    <a:cubicBezTo>
                      <a:pt x="22" y="4"/>
                      <a:pt x="21" y="1"/>
                      <a:pt x="22" y="0"/>
                    </a:cubicBezTo>
                    <a:cubicBezTo>
                      <a:pt x="23" y="0"/>
                      <a:pt x="24" y="2"/>
                      <a:pt x="25" y="2"/>
                    </a:cubicBezTo>
                    <a:cubicBezTo>
                      <a:pt x="27" y="2"/>
                      <a:pt x="28" y="0"/>
                      <a:pt x="29" y="0"/>
                    </a:cubicBezTo>
                    <a:cubicBezTo>
                      <a:pt x="30" y="2"/>
                      <a:pt x="28" y="5"/>
                      <a:pt x="29" y="6"/>
                    </a:cubicBezTo>
                    <a:cubicBezTo>
                      <a:pt x="30" y="7"/>
                      <a:pt x="32" y="5"/>
                      <a:pt x="33" y="5"/>
                    </a:cubicBezTo>
                    <a:cubicBezTo>
                      <a:pt x="36" y="4"/>
                      <a:pt x="39" y="4"/>
                      <a:pt x="41" y="3"/>
                    </a:cubicBezTo>
                    <a:cubicBezTo>
                      <a:pt x="41" y="4"/>
                      <a:pt x="40" y="6"/>
                      <a:pt x="41" y="7"/>
                    </a:cubicBezTo>
                    <a:cubicBezTo>
                      <a:pt x="41" y="8"/>
                      <a:pt x="43" y="7"/>
                      <a:pt x="44" y="8"/>
                    </a:cubicBezTo>
                    <a:cubicBezTo>
                      <a:pt x="44" y="9"/>
                      <a:pt x="43" y="11"/>
                      <a:pt x="44" y="12"/>
                    </a:cubicBezTo>
                    <a:cubicBezTo>
                      <a:pt x="44" y="13"/>
                      <a:pt x="46" y="12"/>
                      <a:pt x="47" y="13"/>
                    </a:cubicBezTo>
                    <a:cubicBezTo>
                      <a:pt x="48" y="13"/>
                      <a:pt x="49" y="15"/>
                      <a:pt x="50" y="14"/>
                    </a:cubicBezTo>
                    <a:cubicBezTo>
                      <a:pt x="52" y="14"/>
                      <a:pt x="54" y="12"/>
                      <a:pt x="56" y="12"/>
                    </a:cubicBezTo>
                    <a:cubicBezTo>
                      <a:pt x="58" y="11"/>
                      <a:pt x="61" y="11"/>
                      <a:pt x="64" y="11"/>
                    </a:cubicBezTo>
                    <a:cubicBezTo>
                      <a:pt x="66" y="11"/>
                      <a:pt x="68" y="11"/>
                      <a:pt x="69" y="12"/>
                    </a:cubicBezTo>
                    <a:cubicBezTo>
                      <a:pt x="70" y="13"/>
                      <a:pt x="71" y="14"/>
                      <a:pt x="72" y="15"/>
                    </a:cubicBezTo>
                    <a:cubicBezTo>
                      <a:pt x="72" y="17"/>
                      <a:pt x="72" y="19"/>
                      <a:pt x="73" y="21"/>
                    </a:cubicBezTo>
                    <a:cubicBezTo>
                      <a:pt x="73" y="22"/>
                      <a:pt x="73" y="23"/>
                      <a:pt x="74" y="25"/>
                    </a:cubicBezTo>
                    <a:cubicBezTo>
                      <a:pt x="74" y="27"/>
                      <a:pt x="75" y="28"/>
                      <a:pt x="75" y="30"/>
                    </a:cubicBezTo>
                    <a:cubicBezTo>
                      <a:pt x="76" y="32"/>
                      <a:pt x="76" y="34"/>
                      <a:pt x="75" y="35"/>
                    </a:cubicBezTo>
                    <a:cubicBezTo>
                      <a:pt x="75" y="37"/>
                      <a:pt x="73" y="38"/>
                      <a:pt x="73" y="40"/>
                    </a:cubicBezTo>
                    <a:cubicBezTo>
                      <a:pt x="72" y="43"/>
                      <a:pt x="73" y="46"/>
                      <a:pt x="72" y="49"/>
                    </a:cubicBezTo>
                    <a:cubicBezTo>
                      <a:pt x="71" y="51"/>
                      <a:pt x="68" y="53"/>
                      <a:pt x="68" y="55"/>
                    </a:cubicBezTo>
                    <a:cubicBezTo>
                      <a:pt x="67" y="58"/>
                      <a:pt x="70" y="60"/>
                      <a:pt x="70" y="63"/>
                    </a:cubicBezTo>
                    <a:cubicBezTo>
                      <a:pt x="70" y="65"/>
                      <a:pt x="69" y="68"/>
                      <a:pt x="69" y="70"/>
                    </a:cubicBezTo>
                    <a:cubicBezTo>
                      <a:pt x="70" y="71"/>
                      <a:pt x="72" y="71"/>
                      <a:pt x="73" y="73"/>
                    </a:cubicBezTo>
                    <a:cubicBezTo>
                      <a:pt x="74" y="75"/>
                      <a:pt x="73" y="77"/>
                      <a:pt x="73" y="79"/>
                    </a:cubicBezTo>
                    <a:cubicBezTo>
                      <a:pt x="73" y="79"/>
                      <a:pt x="72" y="80"/>
                      <a:pt x="72" y="8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47" name="Freeform 2560"/>
              <p:cNvSpPr>
                <a:spLocks noChangeAspect="1"/>
              </p:cNvSpPr>
              <p:nvPr/>
            </p:nvSpPr>
            <p:spPr bwMode="auto">
              <a:xfrm>
                <a:off x="4231632" y="2558236"/>
                <a:ext cx="279622" cy="224280"/>
              </a:xfrm>
              <a:custGeom>
                <a:avLst/>
                <a:gdLst>
                  <a:gd name="T0" fmla="*/ 96 w 208"/>
                  <a:gd name="T1" fmla="*/ 268 h 225"/>
                  <a:gd name="T2" fmla="*/ 91 w 208"/>
                  <a:gd name="T3" fmla="*/ 262 h 225"/>
                  <a:gd name="T4" fmla="*/ 83 w 208"/>
                  <a:gd name="T5" fmla="*/ 262 h 225"/>
                  <a:gd name="T6" fmla="*/ 76 w 208"/>
                  <a:gd name="T7" fmla="*/ 266 h 225"/>
                  <a:gd name="T8" fmla="*/ 67 w 208"/>
                  <a:gd name="T9" fmla="*/ 270 h 225"/>
                  <a:gd name="T10" fmla="*/ 59 w 208"/>
                  <a:gd name="T11" fmla="*/ 256 h 225"/>
                  <a:gd name="T12" fmla="*/ 58 w 208"/>
                  <a:gd name="T13" fmla="*/ 247 h 225"/>
                  <a:gd name="T14" fmla="*/ 52 w 208"/>
                  <a:gd name="T15" fmla="*/ 233 h 225"/>
                  <a:gd name="T16" fmla="*/ 42 w 208"/>
                  <a:gd name="T17" fmla="*/ 234 h 225"/>
                  <a:gd name="T18" fmla="*/ 32 w 208"/>
                  <a:gd name="T19" fmla="*/ 234 h 225"/>
                  <a:gd name="T20" fmla="*/ 19 w 208"/>
                  <a:gd name="T21" fmla="*/ 232 h 225"/>
                  <a:gd name="T22" fmla="*/ 11 w 208"/>
                  <a:gd name="T23" fmla="*/ 235 h 225"/>
                  <a:gd name="T24" fmla="*/ 12 w 208"/>
                  <a:gd name="T25" fmla="*/ 221 h 225"/>
                  <a:gd name="T26" fmla="*/ 5 w 208"/>
                  <a:gd name="T27" fmla="*/ 214 h 225"/>
                  <a:gd name="T28" fmla="*/ 4 w 208"/>
                  <a:gd name="T29" fmla="*/ 198 h 225"/>
                  <a:gd name="T30" fmla="*/ 6 w 208"/>
                  <a:gd name="T31" fmla="*/ 187 h 225"/>
                  <a:gd name="T32" fmla="*/ 14 w 208"/>
                  <a:gd name="T33" fmla="*/ 178 h 225"/>
                  <a:gd name="T34" fmla="*/ 25 w 208"/>
                  <a:gd name="T35" fmla="*/ 179 h 225"/>
                  <a:gd name="T36" fmla="*/ 44 w 208"/>
                  <a:gd name="T37" fmla="*/ 174 h 225"/>
                  <a:gd name="T38" fmla="*/ 103 w 208"/>
                  <a:gd name="T39" fmla="*/ 179 h 225"/>
                  <a:gd name="T40" fmla="*/ 102 w 208"/>
                  <a:gd name="T41" fmla="*/ 160 h 225"/>
                  <a:gd name="T42" fmla="*/ 112 w 208"/>
                  <a:gd name="T43" fmla="*/ 7 h 225"/>
                  <a:gd name="T44" fmla="*/ 203 w 208"/>
                  <a:gd name="T45" fmla="*/ 86 h 225"/>
                  <a:gd name="T46" fmla="*/ 215 w 208"/>
                  <a:gd name="T47" fmla="*/ 95 h 225"/>
                  <a:gd name="T48" fmla="*/ 233 w 208"/>
                  <a:gd name="T49" fmla="*/ 102 h 225"/>
                  <a:gd name="T50" fmla="*/ 236 w 208"/>
                  <a:gd name="T51" fmla="*/ 116 h 225"/>
                  <a:gd name="T52" fmla="*/ 250 w 208"/>
                  <a:gd name="T53" fmla="*/ 167 h 225"/>
                  <a:gd name="T54" fmla="*/ 243 w 208"/>
                  <a:gd name="T55" fmla="*/ 173 h 225"/>
                  <a:gd name="T56" fmla="*/ 236 w 208"/>
                  <a:gd name="T57" fmla="*/ 179 h 225"/>
                  <a:gd name="T58" fmla="*/ 198 w 208"/>
                  <a:gd name="T59" fmla="*/ 187 h 225"/>
                  <a:gd name="T60" fmla="*/ 177 w 208"/>
                  <a:gd name="T61" fmla="*/ 184 h 225"/>
                  <a:gd name="T62" fmla="*/ 155 w 208"/>
                  <a:gd name="T63" fmla="*/ 200 h 225"/>
                  <a:gd name="T64" fmla="*/ 144 w 208"/>
                  <a:gd name="T65" fmla="*/ 204 h 225"/>
                  <a:gd name="T66" fmla="*/ 138 w 208"/>
                  <a:gd name="T67" fmla="*/ 209 h 225"/>
                  <a:gd name="T68" fmla="*/ 133 w 208"/>
                  <a:gd name="T69" fmla="*/ 217 h 225"/>
                  <a:gd name="T70" fmla="*/ 121 w 208"/>
                  <a:gd name="T71" fmla="*/ 216 h 225"/>
                  <a:gd name="T72" fmla="*/ 119 w 208"/>
                  <a:gd name="T73" fmla="*/ 227 h 225"/>
                  <a:gd name="T74" fmla="*/ 118 w 208"/>
                  <a:gd name="T75" fmla="*/ 232 h 225"/>
                  <a:gd name="T76" fmla="*/ 103 w 208"/>
                  <a:gd name="T77" fmla="*/ 239 h 225"/>
                  <a:gd name="T78" fmla="*/ 105 w 208"/>
                  <a:gd name="T79" fmla="*/ 254 h 225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208"/>
                  <a:gd name="T121" fmla="*/ 0 h 225"/>
                  <a:gd name="T122" fmla="*/ 208 w 208"/>
                  <a:gd name="T123" fmla="*/ 225 h 225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208" h="225">
                    <a:moveTo>
                      <a:pt x="88" y="221"/>
                    </a:moveTo>
                    <a:cubicBezTo>
                      <a:pt x="86" y="222"/>
                      <a:pt x="83" y="222"/>
                      <a:pt x="80" y="223"/>
                    </a:cubicBezTo>
                    <a:cubicBezTo>
                      <a:pt x="79" y="223"/>
                      <a:pt x="77" y="225"/>
                      <a:pt x="76" y="224"/>
                    </a:cubicBezTo>
                    <a:cubicBezTo>
                      <a:pt x="75" y="223"/>
                      <a:pt x="77" y="220"/>
                      <a:pt x="76" y="218"/>
                    </a:cubicBezTo>
                    <a:cubicBezTo>
                      <a:pt x="75" y="218"/>
                      <a:pt x="74" y="220"/>
                      <a:pt x="72" y="220"/>
                    </a:cubicBezTo>
                    <a:cubicBezTo>
                      <a:pt x="71" y="220"/>
                      <a:pt x="70" y="218"/>
                      <a:pt x="69" y="218"/>
                    </a:cubicBezTo>
                    <a:cubicBezTo>
                      <a:pt x="68" y="219"/>
                      <a:pt x="69" y="222"/>
                      <a:pt x="68" y="223"/>
                    </a:cubicBezTo>
                    <a:cubicBezTo>
                      <a:pt x="66" y="224"/>
                      <a:pt x="65" y="223"/>
                      <a:pt x="63" y="222"/>
                    </a:cubicBezTo>
                    <a:cubicBezTo>
                      <a:pt x="62" y="222"/>
                      <a:pt x="60" y="221"/>
                      <a:pt x="58" y="221"/>
                    </a:cubicBezTo>
                    <a:cubicBezTo>
                      <a:pt x="57" y="222"/>
                      <a:pt x="57" y="224"/>
                      <a:pt x="56" y="225"/>
                    </a:cubicBezTo>
                    <a:cubicBezTo>
                      <a:pt x="54" y="223"/>
                      <a:pt x="50" y="222"/>
                      <a:pt x="49" y="219"/>
                    </a:cubicBezTo>
                    <a:cubicBezTo>
                      <a:pt x="48" y="218"/>
                      <a:pt x="50" y="215"/>
                      <a:pt x="49" y="213"/>
                    </a:cubicBezTo>
                    <a:cubicBezTo>
                      <a:pt x="48" y="212"/>
                      <a:pt x="44" y="215"/>
                      <a:pt x="44" y="214"/>
                    </a:cubicBezTo>
                    <a:cubicBezTo>
                      <a:pt x="44" y="211"/>
                      <a:pt x="48" y="209"/>
                      <a:pt x="48" y="206"/>
                    </a:cubicBezTo>
                    <a:cubicBezTo>
                      <a:pt x="48" y="204"/>
                      <a:pt x="45" y="204"/>
                      <a:pt x="44" y="202"/>
                    </a:cubicBezTo>
                    <a:cubicBezTo>
                      <a:pt x="43" y="200"/>
                      <a:pt x="44" y="196"/>
                      <a:pt x="43" y="194"/>
                    </a:cubicBezTo>
                    <a:cubicBezTo>
                      <a:pt x="41" y="192"/>
                      <a:pt x="38" y="191"/>
                      <a:pt x="35" y="192"/>
                    </a:cubicBezTo>
                    <a:cubicBezTo>
                      <a:pt x="34" y="192"/>
                      <a:pt x="36" y="194"/>
                      <a:pt x="35" y="195"/>
                    </a:cubicBezTo>
                    <a:cubicBezTo>
                      <a:pt x="34" y="196"/>
                      <a:pt x="33" y="196"/>
                      <a:pt x="31" y="196"/>
                    </a:cubicBezTo>
                    <a:cubicBezTo>
                      <a:pt x="30" y="196"/>
                      <a:pt x="28" y="194"/>
                      <a:pt x="27" y="195"/>
                    </a:cubicBezTo>
                    <a:cubicBezTo>
                      <a:pt x="24" y="195"/>
                      <a:pt x="22" y="199"/>
                      <a:pt x="20" y="199"/>
                    </a:cubicBezTo>
                    <a:cubicBezTo>
                      <a:pt x="18" y="198"/>
                      <a:pt x="18" y="194"/>
                      <a:pt x="16" y="193"/>
                    </a:cubicBezTo>
                    <a:cubicBezTo>
                      <a:pt x="15" y="193"/>
                      <a:pt x="14" y="195"/>
                      <a:pt x="13" y="196"/>
                    </a:cubicBezTo>
                    <a:cubicBezTo>
                      <a:pt x="12" y="196"/>
                      <a:pt x="10" y="197"/>
                      <a:pt x="9" y="196"/>
                    </a:cubicBezTo>
                    <a:cubicBezTo>
                      <a:pt x="8" y="195"/>
                      <a:pt x="8" y="192"/>
                      <a:pt x="8" y="190"/>
                    </a:cubicBezTo>
                    <a:lnTo>
                      <a:pt x="10" y="184"/>
                    </a:lnTo>
                    <a:lnTo>
                      <a:pt x="7" y="178"/>
                    </a:lnTo>
                    <a:lnTo>
                      <a:pt x="4" y="178"/>
                    </a:lnTo>
                    <a:lnTo>
                      <a:pt x="1" y="174"/>
                    </a:lnTo>
                    <a:lnTo>
                      <a:pt x="3" y="165"/>
                    </a:lnTo>
                    <a:lnTo>
                      <a:pt x="0" y="157"/>
                    </a:lnTo>
                    <a:cubicBezTo>
                      <a:pt x="2" y="157"/>
                      <a:pt x="4" y="158"/>
                      <a:pt x="5" y="156"/>
                    </a:cubicBezTo>
                    <a:cubicBezTo>
                      <a:pt x="7" y="154"/>
                      <a:pt x="6" y="150"/>
                      <a:pt x="8" y="148"/>
                    </a:cubicBezTo>
                    <a:cubicBezTo>
                      <a:pt x="8" y="147"/>
                      <a:pt x="11" y="147"/>
                      <a:pt x="12" y="148"/>
                    </a:cubicBezTo>
                    <a:cubicBezTo>
                      <a:pt x="14" y="149"/>
                      <a:pt x="14" y="153"/>
                      <a:pt x="17" y="154"/>
                    </a:cubicBezTo>
                    <a:cubicBezTo>
                      <a:pt x="19" y="154"/>
                      <a:pt x="19" y="149"/>
                      <a:pt x="21" y="149"/>
                    </a:cubicBezTo>
                    <a:cubicBezTo>
                      <a:pt x="25" y="147"/>
                      <a:pt x="30" y="150"/>
                      <a:pt x="34" y="149"/>
                    </a:cubicBezTo>
                    <a:cubicBezTo>
                      <a:pt x="36" y="148"/>
                      <a:pt x="35" y="145"/>
                      <a:pt x="37" y="145"/>
                    </a:cubicBezTo>
                    <a:cubicBezTo>
                      <a:pt x="38" y="145"/>
                      <a:pt x="38" y="149"/>
                      <a:pt x="39" y="149"/>
                    </a:cubicBezTo>
                    <a:lnTo>
                      <a:pt x="86" y="149"/>
                    </a:lnTo>
                    <a:lnTo>
                      <a:pt x="89" y="135"/>
                    </a:lnTo>
                    <a:lnTo>
                      <a:pt x="85" y="133"/>
                    </a:lnTo>
                    <a:lnTo>
                      <a:pt x="74" y="6"/>
                    </a:lnTo>
                    <a:cubicBezTo>
                      <a:pt x="73" y="0"/>
                      <a:pt x="86" y="6"/>
                      <a:pt x="93" y="6"/>
                    </a:cubicBezTo>
                    <a:lnTo>
                      <a:pt x="169" y="65"/>
                    </a:lnTo>
                    <a:cubicBezTo>
                      <a:pt x="169" y="68"/>
                      <a:pt x="168" y="70"/>
                      <a:pt x="169" y="72"/>
                    </a:cubicBezTo>
                    <a:cubicBezTo>
                      <a:pt x="170" y="74"/>
                      <a:pt x="173" y="73"/>
                      <a:pt x="175" y="74"/>
                    </a:cubicBezTo>
                    <a:cubicBezTo>
                      <a:pt x="176" y="76"/>
                      <a:pt x="177" y="78"/>
                      <a:pt x="179" y="79"/>
                    </a:cubicBezTo>
                    <a:cubicBezTo>
                      <a:pt x="181" y="80"/>
                      <a:pt x="183" y="79"/>
                      <a:pt x="185" y="80"/>
                    </a:cubicBezTo>
                    <a:cubicBezTo>
                      <a:pt x="188" y="81"/>
                      <a:pt x="192" y="82"/>
                      <a:pt x="194" y="85"/>
                    </a:cubicBezTo>
                    <a:cubicBezTo>
                      <a:pt x="195" y="88"/>
                      <a:pt x="192" y="92"/>
                      <a:pt x="193" y="96"/>
                    </a:cubicBezTo>
                    <a:cubicBezTo>
                      <a:pt x="193" y="97"/>
                      <a:pt x="195" y="97"/>
                      <a:pt x="196" y="97"/>
                    </a:cubicBezTo>
                    <a:cubicBezTo>
                      <a:pt x="201" y="97"/>
                      <a:pt x="204" y="95"/>
                      <a:pt x="208" y="94"/>
                    </a:cubicBezTo>
                    <a:lnTo>
                      <a:pt x="208" y="139"/>
                    </a:lnTo>
                    <a:cubicBezTo>
                      <a:pt x="207" y="139"/>
                      <a:pt x="205" y="139"/>
                      <a:pt x="204" y="140"/>
                    </a:cubicBezTo>
                    <a:cubicBezTo>
                      <a:pt x="203" y="141"/>
                      <a:pt x="203" y="143"/>
                      <a:pt x="202" y="144"/>
                    </a:cubicBezTo>
                    <a:cubicBezTo>
                      <a:pt x="201" y="145"/>
                      <a:pt x="199" y="144"/>
                      <a:pt x="198" y="145"/>
                    </a:cubicBezTo>
                    <a:lnTo>
                      <a:pt x="196" y="149"/>
                    </a:lnTo>
                    <a:lnTo>
                      <a:pt x="169" y="152"/>
                    </a:lnTo>
                    <a:cubicBezTo>
                      <a:pt x="168" y="153"/>
                      <a:pt x="167" y="156"/>
                      <a:pt x="165" y="156"/>
                    </a:cubicBezTo>
                    <a:lnTo>
                      <a:pt x="156" y="155"/>
                    </a:lnTo>
                    <a:cubicBezTo>
                      <a:pt x="153" y="155"/>
                      <a:pt x="150" y="152"/>
                      <a:pt x="147" y="153"/>
                    </a:cubicBezTo>
                    <a:cubicBezTo>
                      <a:pt x="141" y="155"/>
                      <a:pt x="136" y="159"/>
                      <a:pt x="131" y="162"/>
                    </a:cubicBezTo>
                    <a:cubicBezTo>
                      <a:pt x="130" y="163"/>
                      <a:pt x="131" y="166"/>
                      <a:pt x="129" y="167"/>
                    </a:cubicBezTo>
                    <a:cubicBezTo>
                      <a:pt x="128" y="168"/>
                      <a:pt x="127" y="165"/>
                      <a:pt x="126" y="166"/>
                    </a:cubicBezTo>
                    <a:cubicBezTo>
                      <a:pt x="124" y="166"/>
                      <a:pt x="121" y="168"/>
                      <a:pt x="120" y="170"/>
                    </a:cubicBezTo>
                    <a:cubicBezTo>
                      <a:pt x="119" y="171"/>
                      <a:pt x="122" y="174"/>
                      <a:pt x="120" y="175"/>
                    </a:cubicBezTo>
                    <a:cubicBezTo>
                      <a:pt x="119" y="176"/>
                      <a:pt x="117" y="173"/>
                      <a:pt x="115" y="174"/>
                    </a:cubicBezTo>
                    <a:cubicBezTo>
                      <a:pt x="114" y="175"/>
                      <a:pt x="116" y="177"/>
                      <a:pt x="115" y="179"/>
                    </a:cubicBezTo>
                    <a:cubicBezTo>
                      <a:pt x="114" y="180"/>
                      <a:pt x="112" y="181"/>
                      <a:pt x="111" y="181"/>
                    </a:cubicBezTo>
                    <a:cubicBezTo>
                      <a:pt x="108" y="181"/>
                      <a:pt x="107" y="177"/>
                      <a:pt x="105" y="177"/>
                    </a:cubicBezTo>
                    <a:cubicBezTo>
                      <a:pt x="103" y="177"/>
                      <a:pt x="103" y="179"/>
                      <a:pt x="101" y="180"/>
                    </a:cubicBezTo>
                    <a:cubicBezTo>
                      <a:pt x="100" y="181"/>
                      <a:pt x="97" y="180"/>
                      <a:pt x="97" y="182"/>
                    </a:cubicBezTo>
                    <a:cubicBezTo>
                      <a:pt x="96" y="184"/>
                      <a:pt x="100" y="186"/>
                      <a:pt x="99" y="189"/>
                    </a:cubicBezTo>
                    <a:cubicBezTo>
                      <a:pt x="99" y="190"/>
                      <a:pt x="97" y="188"/>
                      <a:pt x="96" y="189"/>
                    </a:cubicBezTo>
                    <a:cubicBezTo>
                      <a:pt x="96" y="190"/>
                      <a:pt x="99" y="191"/>
                      <a:pt x="98" y="193"/>
                    </a:cubicBezTo>
                    <a:cubicBezTo>
                      <a:pt x="97" y="195"/>
                      <a:pt x="95" y="197"/>
                      <a:pt x="93" y="199"/>
                    </a:cubicBezTo>
                    <a:cubicBezTo>
                      <a:pt x="91" y="200"/>
                      <a:pt x="87" y="197"/>
                      <a:pt x="86" y="199"/>
                    </a:cubicBezTo>
                    <a:cubicBezTo>
                      <a:pt x="85" y="201"/>
                      <a:pt x="89" y="202"/>
                      <a:pt x="89" y="205"/>
                    </a:cubicBezTo>
                    <a:cubicBezTo>
                      <a:pt x="89" y="207"/>
                      <a:pt x="87" y="210"/>
                      <a:pt x="87" y="212"/>
                    </a:cubicBezTo>
                    <a:cubicBezTo>
                      <a:pt x="87" y="215"/>
                      <a:pt x="88" y="218"/>
                      <a:pt x="88" y="22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48" name="Freeform 2561"/>
              <p:cNvSpPr>
                <a:spLocks noChangeAspect="1"/>
              </p:cNvSpPr>
              <p:nvPr/>
            </p:nvSpPr>
            <p:spPr bwMode="auto">
              <a:xfrm>
                <a:off x="4345719" y="2710248"/>
                <a:ext cx="133100" cy="80576"/>
              </a:xfrm>
              <a:custGeom>
                <a:avLst/>
                <a:gdLst>
                  <a:gd name="T0" fmla="*/ 41 w 99"/>
                  <a:gd name="T1" fmla="*/ 97 h 81"/>
                  <a:gd name="T2" fmla="*/ 37 w 99"/>
                  <a:gd name="T3" fmla="*/ 93 h 81"/>
                  <a:gd name="T4" fmla="*/ 31 w 99"/>
                  <a:gd name="T5" fmla="*/ 92 h 81"/>
                  <a:gd name="T6" fmla="*/ 22 w 99"/>
                  <a:gd name="T7" fmla="*/ 93 h 81"/>
                  <a:gd name="T8" fmla="*/ 14 w 99"/>
                  <a:gd name="T9" fmla="*/ 96 h 81"/>
                  <a:gd name="T10" fmla="*/ 11 w 99"/>
                  <a:gd name="T11" fmla="*/ 95 h 81"/>
                  <a:gd name="T12" fmla="*/ 7 w 99"/>
                  <a:gd name="T13" fmla="*/ 93 h 81"/>
                  <a:gd name="T14" fmla="*/ 7 w 99"/>
                  <a:gd name="T15" fmla="*/ 89 h 81"/>
                  <a:gd name="T16" fmla="*/ 4 w 99"/>
                  <a:gd name="T17" fmla="*/ 87 h 81"/>
                  <a:gd name="T18" fmla="*/ 4 w 99"/>
                  <a:gd name="T19" fmla="*/ 83 h 81"/>
                  <a:gd name="T20" fmla="*/ 2 w 99"/>
                  <a:gd name="T21" fmla="*/ 72 h 81"/>
                  <a:gd name="T22" fmla="*/ 5 w 99"/>
                  <a:gd name="T23" fmla="*/ 63 h 81"/>
                  <a:gd name="T24" fmla="*/ 1 w 99"/>
                  <a:gd name="T25" fmla="*/ 56 h 81"/>
                  <a:gd name="T26" fmla="*/ 10 w 99"/>
                  <a:gd name="T27" fmla="*/ 56 h 81"/>
                  <a:gd name="T28" fmla="*/ 16 w 99"/>
                  <a:gd name="T29" fmla="*/ 49 h 81"/>
                  <a:gd name="T30" fmla="*/ 13 w 99"/>
                  <a:gd name="T31" fmla="*/ 44 h 81"/>
                  <a:gd name="T32" fmla="*/ 17 w 99"/>
                  <a:gd name="T33" fmla="*/ 44 h 81"/>
                  <a:gd name="T34" fmla="*/ 14 w 99"/>
                  <a:gd name="T35" fmla="*/ 36 h 81"/>
                  <a:gd name="T36" fmla="*/ 19 w 99"/>
                  <a:gd name="T37" fmla="*/ 34 h 81"/>
                  <a:gd name="T38" fmla="*/ 24 w 99"/>
                  <a:gd name="T39" fmla="*/ 30 h 81"/>
                  <a:gd name="T40" fmla="*/ 31 w 99"/>
                  <a:gd name="T41" fmla="*/ 35 h 81"/>
                  <a:gd name="T42" fmla="*/ 36 w 99"/>
                  <a:gd name="T43" fmla="*/ 32 h 81"/>
                  <a:gd name="T44" fmla="*/ 36 w 99"/>
                  <a:gd name="T45" fmla="*/ 26 h 81"/>
                  <a:gd name="T46" fmla="*/ 42 w 99"/>
                  <a:gd name="T47" fmla="*/ 28 h 81"/>
                  <a:gd name="T48" fmla="*/ 42 w 99"/>
                  <a:gd name="T49" fmla="*/ 22 h 81"/>
                  <a:gd name="T50" fmla="*/ 49 w 99"/>
                  <a:gd name="T51" fmla="*/ 17 h 81"/>
                  <a:gd name="T52" fmla="*/ 53 w 99"/>
                  <a:gd name="T53" fmla="*/ 18 h 81"/>
                  <a:gd name="T54" fmla="*/ 55 w 99"/>
                  <a:gd name="T55" fmla="*/ 12 h 81"/>
                  <a:gd name="T56" fmla="*/ 75 w 99"/>
                  <a:gd name="T57" fmla="*/ 1 h 81"/>
                  <a:gd name="T58" fmla="*/ 85 w 99"/>
                  <a:gd name="T59" fmla="*/ 4 h 81"/>
                  <a:gd name="T60" fmla="*/ 84 w 99"/>
                  <a:gd name="T61" fmla="*/ 14 h 81"/>
                  <a:gd name="T62" fmla="*/ 87 w 99"/>
                  <a:gd name="T63" fmla="*/ 23 h 81"/>
                  <a:gd name="T64" fmla="*/ 94 w 99"/>
                  <a:gd name="T65" fmla="*/ 29 h 81"/>
                  <a:gd name="T66" fmla="*/ 97 w 99"/>
                  <a:gd name="T67" fmla="*/ 30 h 81"/>
                  <a:gd name="T68" fmla="*/ 94 w 99"/>
                  <a:gd name="T69" fmla="*/ 38 h 81"/>
                  <a:gd name="T70" fmla="*/ 108 w 99"/>
                  <a:gd name="T71" fmla="*/ 44 h 81"/>
                  <a:gd name="T72" fmla="*/ 113 w 99"/>
                  <a:gd name="T73" fmla="*/ 43 h 81"/>
                  <a:gd name="T74" fmla="*/ 118 w 99"/>
                  <a:gd name="T75" fmla="*/ 47 h 81"/>
                  <a:gd name="T76" fmla="*/ 115 w 99"/>
                  <a:gd name="T77" fmla="*/ 50 h 81"/>
                  <a:gd name="T78" fmla="*/ 117 w 99"/>
                  <a:gd name="T79" fmla="*/ 57 h 81"/>
                  <a:gd name="T80" fmla="*/ 119 w 99"/>
                  <a:gd name="T81" fmla="*/ 59 h 81"/>
                  <a:gd name="T82" fmla="*/ 118 w 99"/>
                  <a:gd name="T83" fmla="*/ 63 h 81"/>
                  <a:gd name="T84" fmla="*/ 112 w 99"/>
                  <a:gd name="T85" fmla="*/ 66 h 81"/>
                  <a:gd name="T86" fmla="*/ 105 w 99"/>
                  <a:gd name="T87" fmla="*/ 66 h 81"/>
                  <a:gd name="T88" fmla="*/ 100 w 99"/>
                  <a:gd name="T89" fmla="*/ 67 h 81"/>
                  <a:gd name="T90" fmla="*/ 100 w 99"/>
                  <a:gd name="T91" fmla="*/ 73 h 81"/>
                  <a:gd name="T92" fmla="*/ 96 w 99"/>
                  <a:gd name="T93" fmla="*/ 72 h 81"/>
                  <a:gd name="T94" fmla="*/ 95 w 99"/>
                  <a:gd name="T95" fmla="*/ 77 h 81"/>
                  <a:gd name="T96" fmla="*/ 89 w 99"/>
                  <a:gd name="T97" fmla="*/ 75 h 81"/>
                  <a:gd name="T98" fmla="*/ 83 w 99"/>
                  <a:gd name="T99" fmla="*/ 73 h 81"/>
                  <a:gd name="T100" fmla="*/ 78 w 99"/>
                  <a:gd name="T101" fmla="*/ 71 h 81"/>
                  <a:gd name="T102" fmla="*/ 73 w 99"/>
                  <a:gd name="T103" fmla="*/ 73 h 81"/>
                  <a:gd name="T104" fmla="*/ 53 w 99"/>
                  <a:gd name="T105" fmla="*/ 73 h 81"/>
                  <a:gd name="T106" fmla="*/ 41 w 99"/>
                  <a:gd name="T107" fmla="*/ 73 h 81"/>
                  <a:gd name="T108" fmla="*/ 38 w 99"/>
                  <a:gd name="T109" fmla="*/ 78 h 81"/>
                  <a:gd name="T110" fmla="*/ 41 w 99"/>
                  <a:gd name="T111" fmla="*/ 81 h 81"/>
                  <a:gd name="T112" fmla="*/ 40 w 99"/>
                  <a:gd name="T113" fmla="*/ 84 h 81"/>
                  <a:gd name="T114" fmla="*/ 42 w 99"/>
                  <a:gd name="T115" fmla="*/ 86 h 81"/>
                  <a:gd name="T116" fmla="*/ 40 w 99"/>
                  <a:gd name="T117" fmla="*/ 87 h 81"/>
                  <a:gd name="T118" fmla="*/ 41 w 99"/>
                  <a:gd name="T119" fmla="*/ 97 h 81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99"/>
                  <a:gd name="T181" fmla="*/ 0 h 81"/>
                  <a:gd name="T182" fmla="*/ 99 w 99"/>
                  <a:gd name="T183" fmla="*/ 81 h 81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99" h="81">
                    <a:moveTo>
                      <a:pt x="34" y="81"/>
                    </a:moveTo>
                    <a:cubicBezTo>
                      <a:pt x="33" y="80"/>
                      <a:pt x="32" y="79"/>
                      <a:pt x="31" y="78"/>
                    </a:cubicBezTo>
                    <a:cubicBezTo>
                      <a:pt x="30" y="77"/>
                      <a:pt x="28" y="77"/>
                      <a:pt x="26" y="77"/>
                    </a:cubicBezTo>
                    <a:cubicBezTo>
                      <a:pt x="23" y="77"/>
                      <a:pt x="20" y="77"/>
                      <a:pt x="18" y="78"/>
                    </a:cubicBezTo>
                    <a:cubicBezTo>
                      <a:pt x="16" y="78"/>
                      <a:pt x="14" y="80"/>
                      <a:pt x="12" y="80"/>
                    </a:cubicBezTo>
                    <a:cubicBezTo>
                      <a:pt x="11" y="81"/>
                      <a:pt x="10" y="79"/>
                      <a:pt x="9" y="79"/>
                    </a:cubicBezTo>
                    <a:cubicBezTo>
                      <a:pt x="8" y="78"/>
                      <a:pt x="6" y="79"/>
                      <a:pt x="6" y="78"/>
                    </a:cubicBezTo>
                    <a:cubicBezTo>
                      <a:pt x="5" y="77"/>
                      <a:pt x="6" y="75"/>
                      <a:pt x="6" y="74"/>
                    </a:cubicBezTo>
                    <a:cubicBezTo>
                      <a:pt x="5" y="73"/>
                      <a:pt x="3" y="74"/>
                      <a:pt x="3" y="73"/>
                    </a:cubicBezTo>
                    <a:cubicBezTo>
                      <a:pt x="2" y="72"/>
                      <a:pt x="3" y="70"/>
                      <a:pt x="3" y="69"/>
                    </a:cubicBezTo>
                    <a:cubicBezTo>
                      <a:pt x="3" y="66"/>
                      <a:pt x="2" y="63"/>
                      <a:pt x="2" y="60"/>
                    </a:cubicBezTo>
                    <a:cubicBezTo>
                      <a:pt x="2" y="58"/>
                      <a:pt x="4" y="55"/>
                      <a:pt x="4" y="53"/>
                    </a:cubicBezTo>
                    <a:cubicBezTo>
                      <a:pt x="4" y="50"/>
                      <a:pt x="0" y="49"/>
                      <a:pt x="1" y="47"/>
                    </a:cubicBezTo>
                    <a:cubicBezTo>
                      <a:pt x="2" y="45"/>
                      <a:pt x="6" y="48"/>
                      <a:pt x="8" y="47"/>
                    </a:cubicBezTo>
                    <a:cubicBezTo>
                      <a:pt x="10" y="45"/>
                      <a:pt x="12" y="43"/>
                      <a:pt x="13" y="41"/>
                    </a:cubicBezTo>
                    <a:cubicBezTo>
                      <a:pt x="14" y="39"/>
                      <a:pt x="11" y="38"/>
                      <a:pt x="11" y="37"/>
                    </a:cubicBezTo>
                    <a:cubicBezTo>
                      <a:pt x="12" y="36"/>
                      <a:pt x="14" y="38"/>
                      <a:pt x="14" y="37"/>
                    </a:cubicBezTo>
                    <a:cubicBezTo>
                      <a:pt x="15" y="34"/>
                      <a:pt x="11" y="32"/>
                      <a:pt x="12" y="30"/>
                    </a:cubicBezTo>
                    <a:cubicBezTo>
                      <a:pt x="12" y="28"/>
                      <a:pt x="15" y="29"/>
                      <a:pt x="16" y="28"/>
                    </a:cubicBezTo>
                    <a:cubicBezTo>
                      <a:pt x="18" y="27"/>
                      <a:pt x="18" y="25"/>
                      <a:pt x="20" y="25"/>
                    </a:cubicBezTo>
                    <a:cubicBezTo>
                      <a:pt x="22" y="25"/>
                      <a:pt x="23" y="29"/>
                      <a:pt x="26" y="29"/>
                    </a:cubicBezTo>
                    <a:cubicBezTo>
                      <a:pt x="27" y="29"/>
                      <a:pt x="29" y="28"/>
                      <a:pt x="30" y="27"/>
                    </a:cubicBezTo>
                    <a:cubicBezTo>
                      <a:pt x="31" y="25"/>
                      <a:pt x="29" y="23"/>
                      <a:pt x="30" y="22"/>
                    </a:cubicBezTo>
                    <a:cubicBezTo>
                      <a:pt x="32" y="21"/>
                      <a:pt x="34" y="24"/>
                      <a:pt x="35" y="23"/>
                    </a:cubicBezTo>
                    <a:cubicBezTo>
                      <a:pt x="37" y="22"/>
                      <a:pt x="34" y="19"/>
                      <a:pt x="35" y="18"/>
                    </a:cubicBezTo>
                    <a:cubicBezTo>
                      <a:pt x="36" y="16"/>
                      <a:pt x="39" y="14"/>
                      <a:pt x="41" y="14"/>
                    </a:cubicBezTo>
                    <a:cubicBezTo>
                      <a:pt x="42" y="13"/>
                      <a:pt x="43" y="16"/>
                      <a:pt x="44" y="15"/>
                    </a:cubicBezTo>
                    <a:cubicBezTo>
                      <a:pt x="46" y="14"/>
                      <a:pt x="45" y="11"/>
                      <a:pt x="46" y="10"/>
                    </a:cubicBezTo>
                    <a:cubicBezTo>
                      <a:pt x="51" y="7"/>
                      <a:pt x="56" y="3"/>
                      <a:pt x="62" y="1"/>
                    </a:cubicBezTo>
                    <a:cubicBezTo>
                      <a:pt x="65" y="0"/>
                      <a:pt x="68" y="3"/>
                      <a:pt x="71" y="3"/>
                    </a:cubicBezTo>
                    <a:cubicBezTo>
                      <a:pt x="70" y="6"/>
                      <a:pt x="70" y="9"/>
                      <a:pt x="70" y="12"/>
                    </a:cubicBezTo>
                    <a:cubicBezTo>
                      <a:pt x="70" y="15"/>
                      <a:pt x="71" y="17"/>
                      <a:pt x="72" y="19"/>
                    </a:cubicBezTo>
                    <a:cubicBezTo>
                      <a:pt x="74" y="21"/>
                      <a:pt x="76" y="22"/>
                      <a:pt x="78" y="24"/>
                    </a:cubicBezTo>
                    <a:cubicBezTo>
                      <a:pt x="79" y="25"/>
                      <a:pt x="81" y="24"/>
                      <a:pt x="81" y="25"/>
                    </a:cubicBezTo>
                    <a:cubicBezTo>
                      <a:pt x="82" y="28"/>
                      <a:pt x="77" y="30"/>
                      <a:pt x="78" y="32"/>
                    </a:cubicBezTo>
                    <a:cubicBezTo>
                      <a:pt x="81" y="36"/>
                      <a:pt x="86" y="36"/>
                      <a:pt x="90" y="37"/>
                    </a:cubicBezTo>
                    <a:cubicBezTo>
                      <a:pt x="91" y="38"/>
                      <a:pt x="93" y="35"/>
                      <a:pt x="94" y="36"/>
                    </a:cubicBezTo>
                    <a:cubicBezTo>
                      <a:pt x="96" y="36"/>
                      <a:pt x="97" y="38"/>
                      <a:pt x="98" y="39"/>
                    </a:cubicBezTo>
                    <a:cubicBezTo>
                      <a:pt x="98" y="40"/>
                      <a:pt x="96" y="41"/>
                      <a:pt x="96" y="42"/>
                    </a:cubicBezTo>
                    <a:cubicBezTo>
                      <a:pt x="96" y="44"/>
                      <a:pt x="96" y="46"/>
                      <a:pt x="97" y="48"/>
                    </a:cubicBezTo>
                    <a:cubicBezTo>
                      <a:pt x="97" y="49"/>
                      <a:pt x="98" y="48"/>
                      <a:pt x="99" y="49"/>
                    </a:cubicBezTo>
                    <a:cubicBezTo>
                      <a:pt x="99" y="50"/>
                      <a:pt x="99" y="52"/>
                      <a:pt x="98" y="53"/>
                    </a:cubicBezTo>
                    <a:cubicBezTo>
                      <a:pt x="97" y="55"/>
                      <a:pt x="95" y="55"/>
                      <a:pt x="93" y="55"/>
                    </a:cubicBezTo>
                    <a:cubicBezTo>
                      <a:pt x="91" y="55"/>
                      <a:pt x="89" y="54"/>
                      <a:pt x="87" y="55"/>
                    </a:cubicBezTo>
                    <a:cubicBezTo>
                      <a:pt x="85" y="55"/>
                      <a:pt x="84" y="55"/>
                      <a:pt x="83" y="56"/>
                    </a:cubicBezTo>
                    <a:cubicBezTo>
                      <a:pt x="82" y="58"/>
                      <a:pt x="84" y="60"/>
                      <a:pt x="83" y="61"/>
                    </a:cubicBezTo>
                    <a:cubicBezTo>
                      <a:pt x="82" y="62"/>
                      <a:pt x="81" y="60"/>
                      <a:pt x="80" y="60"/>
                    </a:cubicBezTo>
                    <a:cubicBezTo>
                      <a:pt x="79" y="61"/>
                      <a:pt x="79" y="62"/>
                      <a:pt x="79" y="64"/>
                    </a:cubicBezTo>
                    <a:cubicBezTo>
                      <a:pt x="77" y="63"/>
                      <a:pt x="76" y="63"/>
                      <a:pt x="74" y="63"/>
                    </a:cubicBezTo>
                    <a:cubicBezTo>
                      <a:pt x="72" y="62"/>
                      <a:pt x="71" y="62"/>
                      <a:pt x="69" y="61"/>
                    </a:cubicBezTo>
                    <a:cubicBezTo>
                      <a:pt x="68" y="60"/>
                      <a:pt x="67" y="59"/>
                      <a:pt x="65" y="59"/>
                    </a:cubicBezTo>
                    <a:cubicBezTo>
                      <a:pt x="63" y="59"/>
                      <a:pt x="62" y="61"/>
                      <a:pt x="61" y="61"/>
                    </a:cubicBezTo>
                    <a:cubicBezTo>
                      <a:pt x="55" y="62"/>
                      <a:pt x="49" y="61"/>
                      <a:pt x="44" y="61"/>
                    </a:cubicBezTo>
                    <a:cubicBezTo>
                      <a:pt x="41" y="61"/>
                      <a:pt x="37" y="60"/>
                      <a:pt x="34" y="61"/>
                    </a:cubicBezTo>
                    <a:cubicBezTo>
                      <a:pt x="33" y="61"/>
                      <a:pt x="32" y="63"/>
                      <a:pt x="32" y="65"/>
                    </a:cubicBezTo>
                    <a:cubicBezTo>
                      <a:pt x="32" y="66"/>
                      <a:pt x="34" y="67"/>
                      <a:pt x="34" y="68"/>
                    </a:cubicBezTo>
                    <a:cubicBezTo>
                      <a:pt x="34" y="69"/>
                      <a:pt x="33" y="70"/>
                      <a:pt x="33" y="70"/>
                    </a:cubicBezTo>
                    <a:cubicBezTo>
                      <a:pt x="33" y="71"/>
                      <a:pt x="35" y="71"/>
                      <a:pt x="35" y="72"/>
                    </a:cubicBezTo>
                    <a:cubicBezTo>
                      <a:pt x="35" y="73"/>
                      <a:pt x="33" y="73"/>
                      <a:pt x="33" y="73"/>
                    </a:cubicBezTo>
                    <a:cubicBezTo>
                      <a:pt x="33" y="76"/>
                      <a:pt x="34" y="78"/>
                      <a:pt x="34" y="8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49" name="Freeform 2562"/>
              <p:cNvSpPr>
                <a:spLocks noChangeAspect="1"/>
              </p:cNvSpPr>
              <p:nvPr/>
            </p:nvSpPr>
            <p:spPr bwMode="auto">
              <a:xfrm>
                <a:off x="4384866" y="2768395"/>
                <a:ext cx="78294" cy="92204"/>
              </a:xfrm>
              <a:custGeom>
                <a:avLst/>
                <a:gdLst>
                  <a:gd name="T0" fmla="*/ 6 w 58"/>
                  <a:gd name="T1" fmla="*/ 106 h 92"/>
                  <a:gd name="T2" fmla="*/ 21 w 58"/>
                  <a:gd name="T3" fmla="*/ 111 h 92"/>
                  <a:gd name="T4" fmla="*/ 25 w 58"/>
                  <a:gd name="T5" fmla="*/ 106 h 92"/>
                  <a:gd name="T6" fmla="*/ 35 w 58"/>
                  <a:gd name="T7" fmla="*/ 106 h 92"/>
                  <a:gd name="T8" fmla="*/ 41 w 58"/>
                  <a:gd name="T9" fmla="*/ 103 h 92"/>
                  <a:gd name="T10" fmla="*/ 46 w 58"/>
                  <a:gd name="T11" fmla="*/ 98 h 92"/>
                  <a:gd name="T12" fmla="*/ 57 w 58"/>
                  <a:gd name="T13" fmla="*/ 95 h 92"/>
                  <a:gd name="T14" fmla="*/ 63 w 58"/>
                  <a:gd name="T15" fmla="*/ 92 h 92"/>
                  <a:gd name="T16" fmla="*/ 70 w 58"/>
                  <a:gd name="T17" fmla="*/ 89 h 92"/>
                  <a:gd name="T18" fmla="*/ 59 w 58"/>
                  <a:gd name="T19" fmla="*/ 83 h 92"/>
                  <a:gd name="T20" fmla="*/ 56 w 58"/>
                  <a:gd name="T21" fmla="*/ 78 h 92"/>
                  <a:gd name="T22" fmla="*/ 58 w 58"/>
                  <a:gd name="T23" fmla="*/ 70 h 92"/>
                  <a:gd name="T24" fmla="*/ 57 w 58"/>
                  <a:gd name="T25" fmla="*/ 65 h 92"/>
                  <a:gd name="T26" fmla="*/ 58 w 58"/>
                  <a:gd name="T27" fmla="*/ 56 h 92"/>
                  <a:gd name="T28" fmla="*/ 59 w 58"/>
                  <a:gd name="T29" fmla="*/ 51 h 92"/>
                  <a:gd name="T30" fmla="*/ 57 w 58"/>
                  <a:gd name="T31" fmla="*/ 45 h 92"/>
                  <a:gd name="T32" fmla="*/ 57 w 58"/>
                  <a:gd name="T33" fmla="*/ 31 h 92"/>
                  <a:gd name="T34" fmla="*/ 53 w 58"/>
                  <a:gd name="T35" fmla="*/ 28 h 92"/>
                  <a:gd name="T36" fmla="*/ 54 w 58"/>
                  <a:gd name="T37" fmla="*/ 17 h 92"/>
                  <a:gd name="T38" fmla="*/ 51 w 58"/>
                  <a:gd name="T39" fmla="*/ 14 h 92"/>
                  <a:gd name="T40" fmla="*/ 51 w 58"/>
                  <a:gd name="T41" fmla="*/ 11 h 92"/>
                  <a:gd name="T42" fmla="*/ 47 w 58"/>
                  <a:gd name="T43" fmla="*/ 7 h 92"/>
                  <a:gd name="T44" fmla="*/ 48 w 58"/>
                  <a:gd name="T45" fmla="*/ 2 h 92"/>
                  <a:gd name="T46" fmla="*/ 43 w 58"/>
                  <a:gd name="T47" fmla="*/ 0 h 92"/>
                  <a:gd name="T48" fmla="*/ 39 w 58"/>
                  <a:gd name="T49" fmla="*/ 2 h 92"/>
                  <a:gd name="T50" fmla="*/ 18 w 58"/>
                  <a:gd name="T51" fmla="*/ 2 h 92"/>
                  <a:gd name="T52" fmla="*/ 6 w 58"/>
                  <a:gd name="T53" fmla="*/ 2 h 92"/>
                  <a:gd name="T54" fmla="*/ 4 w 58"/>
                  <a:gd name="T55" fmla="*/ 7 h 92"/>
                  <a:gd name="T56" fmla="*/ 6 w 58"/>
                  <a:gd name="T57" fmla="*/ 11 h 92"/>
                  <a:gd name="T58" fmla="*/ 5 w 58"/>
                  <a:gd name="T59" fmla="*/ 13 h 92"/>
                  <a:gd name="T60" fmla="*/ 7 w 58"/>
                  <a:gd name="T61" fmla="*/ 16 h 92"/>
                  <a:gd name="T62" fmla="*/ 5 w 58"/>
                  <a:gd name="T63" fmla="*/ 17 h 92"/>
                  <a:gd name="T64" fmla="*/ 6 w 58"/>
                  <a:gd name="T65" fmla="*/ 27 h 92"/>
                  <a:gd name="T66" fmla="*/ 7 w 58"/>
                  <a:gd name="T67" fmla="*/ 34 h 92"/>
                  <a:gd name="T68" fmla="*/ 8 w 58"/>
                  <a:gd name="T69" fmla="*/ 39 h 92"/>
                  <a:gd name="T70" fmla="*/ 10 w 58"/>
                  <a:gd name="T71" fmla="*/ 45 h 92"/>
                  <a:gd name="T72" fmla="*/ 10 w 58"/>
                  <a:gd name="T73" fmla="*/ 51 h 92"/>
                  <a:gd name="T74" fmla="*/ 7 w 58"/>
                  <a:gd name="T75" fmla="*/ 57 h 92"/>
                  <a:gd name="T76" fmla="*/ 6 w 58"/>
                  <a:gd name="T77" fmla="*/ 68 h 92"/>
                  <a:gd name="T78" fmla="*/ 1 w 58"/>
                  <a:gd name="T79" fmla="*/ 75 h 92"/>
                  <a:gd name="T80" fmla="*/ 4 w 58"/>
                  <a:gd name="T81" fmla="*/ 84 h 92"/>
                  <a:gd name="T82" fmla="*/ 2 w 58"/>
                  <a:gd name="T83" fmla="*/ 93 h 92"/>
                  <a:gd name="T84" fmla="*/ 7 w 58"/>
                  <a:gd name="T85" fmla="*/ 97 h 92"/>
                  <a:gd name="T86" fmla="*/ 7 w 58"/>
                  <a:gd name="T87" fmla="*/ 104 h 92"/>
                  <a:gd name="T88" fmla="*/ 6 w 58"/>
                  <a:gd name="T89" fmla="*/ 106 h 9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58"/>
                  <a:gd name="T136" fmla="*/ 0 h 92"/>
                  <a:gd name="T137" fmla="*/ 58 w 58"/>
                  <a:gd name="T138" fmla="*/ 92 h 92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58" h="92">
                    <a:moveTo>
                      <a:pt x="5" y="88"/>
                    </a:moveTo>
                    <a:cubicBezTo>
                      <a:pt x="9" y="89"/>
                      <a:pt x="13" y="92"/>
                      <a:pt x="17" y="92"/>
                    </a:cubicBezTo>
                    <a:cubicBezTo>
                      <a:pt x="19" y="92"/>
                      <a:pt x="19" y="88"/>
                      <a:pt x="21" y="88"/>
                    </a:cubicBezTo>
                    <a:cubicBezTo>
                      <a:pt x="24" y="87"/>
                      <a:pt x="27" y="88"/>
                      <a:pt x="29" y="88"/>
                    </a:cubicBezTo>
                    <a:cubicBezTo>
                      <a:pt x="31" y="87"/>
                      <a:pt x="32" y="86"/>
                      <a:pt x="34" y="85"/>
                    </a:cubicBezTo>
                    <a:cubicBezTo>
                      <a:pt x="35" y="84"/>
                      <a:pt x="36" y="82"/>
                      <a:pt x="38" y="81"/>
                    </a:cubicBezTo>
                    <a:cubicBezTo>
                      <a:pt x="41" y="80"/>
                      <a:pt x="44" y="80"/>
                      <a:pt x="47" y="79"/>
                    </a:cubicBezTo>
                    <a:cubicBezTo>
                      <a:pt x="49" y="79"/>
                      <a:pt x="51" y="77"/>
                      <a:pt x="52" y="76"/>
                    </a:cubicBezTo>
                    <a:cubicBezTo>
                      <a:pt x="54" y="75"/>
                      <a:pt x="56" y="75"/>
                      <a:pt x="58" y="74"/>
                    </a:cubicBezTo>
                    <a:cubicBezTo>
                      <a:pt x="55" y="73"/>
                      <a:pt x="51" y="71"/>
                      <a:pt x="49" y="69"/>
                    </a:cubicBezTo>
                    <a:cubicBezTo>
                      <a:pt x="47" y="68"/>
                      <a:pt x="46" y="66"/>
                      <a:pt x="46" y="65"/>
                    </a:cubicBezTo>
                    <a:cubicBezTo>
                      <a:pt x="46" y="62"/>
                      <a:pt x="48" y="60"/>
                      <a:pt x="48" y="58"/>
                    </a:cubicBezTo>
                    <a:cubicBezTo>
                      <a:pt x="48" y="57"/>
                      <a:pt x="47" y="55"/>
                      <a:pt x="47" y="54"/>
                    </a:cubicBezTo>
                    <a:cubicBezTo>
                      <a:pt x="47" y="51"/>
                      <a:pt x="47" y="48"/>
                      <a:pt x="48" y="46"/>
                    </a:cubicBezTo>
                    <a:cubicBezTo>
                      <a:pt x="48" y="45"/>
                      <a:pt x="49" y="44"/>
                      <a:pt x="49" y="42"/>
                    </a:cubicBezTo>
                    <a:cubicBezTo>
                      <a:pt x="49" y="40"/>
                      <a:pt x="47" y="39"/>
                      <a:pt x="47" y="37"/>
                    </a:cubicBezTo>
                    <a:cubicBezTo>
                      <a:pt x="46" y="33"/>
                      <a:pt x="48" y="30"/>
                      <a:pt x="47" y="26"/>
                    </a:cubicBezTo>
                    <a:cubicBezTo>
                      <a:pt x="47" y="25"/>
                      <a:pt x="45" y="25"/>
                      <a:pt x="44" y="23"/>
                    </a:cubicBezTo>
                    <a:cubicBezTo>
                      <a:pt x="44" y="20"/>
                      <a:pt x="45" y="17"/>
                      <a:pt x="45" y="14"/>
                    </a:cubicBezTo>
                    <a:cubicBezTo>
                      <a:pt x="44" y="13"/>
                      <a:pt x="42" y="13"/>
                      <a:pt x="42" y="12"/>
                    </a:cubicBezTo>
                    <a:cubicBezTo>
                      <a:pt x="41" y="11"/>
                      <a:pt x="42" y="10"/>
                      <a:pt x="42" y="9"/>
                    </a:cubicBezTo>
                    <a:cubicBezTo>
                      <a:pt x="41" y="8"/>
                      <a:pt x="40" y="7"/>
                      <a:pt x="39" y="6"/>
                    </a:cubicBezTo>
                    <a:cubicBezTo>
                      <a:pt x="39" y="5"/>
                      <a:pt x="40" y="3"/>
                      <a:pt x="40" y="2"/>
                    </a:cubicBezTo>
                    <a:cubicBezTo>
                      <a:pt x="39" y="1"/>
                      <a:pt x="38" y="0"/>
                      <a:pt x="36" y="0"/>
                    </a:cubicBezTo>
                    <a:cubicBezTo>
                      <a:pt x="34" y="0"/>
                      <a:pt x="33" y="2"/>
                      <a:pt x="32" y="2"/>
                    </a:cubicBezTo>
                    <a:cubicBezTo>
                      <a:pt x="26" y="3"/>
                      <a:pt x="20" y="2"/>
                      <a:pt x="15" y="2"/>
                    </a:cubicBezTo>
                    <a:cubicBezTo>
                      <a:pt x="12" y="2"/>
                      <a:pt x="8" y="1"/>
                      <a:pt x="5" y="2"/>
                    </a:cubicBezTo>
                    <a:cubicBezTo>
                      <a:pt x="4" y="2"/>
                      <a:pt x="3" y="4"/>
                      <a:pt x="3" y="6"/>
                    </a:cubicBezTo>
                    <a:cubicBezTo>
                      <a:pt x="3" y="7"/>
                      <a:pt x="5" y="8"/>
                      <a:pt x="5" y="9"/>
                    </a:cubicBezTo>
                    <a:cubicBezTo>
                      <a:pt x="5" y="10"/>
                      <a:pt x="4" y="11"/>
                      <a:pt x="4" y="11"/>
                    </a:cubicBezTo>
                    <a:cubicBezTo>
                      <a:pt x="4" y="12"/>
                      <a:pt x="6" y="12"/>
                      <a:pt x="6" y="13"/>
                    </a:cubicBezTo>
                    <a:cubicBezTo>
                      <a:pt x="6" y="14"/>
                      <a:pt x="4" y="14"/>
                      <a:pt x="4" y="14"/>
                    </a:cubicBezTo>
                    <a:cubicBezTo>
                      <a:pt x="4" y="17"/>
                      <a:pt x="5" y="19"/>
                      <a:pt x="5" y="22"/>
                    </a:cubicBezTo>
                    <a:cubicBezTo>
                      <a:pt x="5" y="24"/>
                      <a:pt x="5" y="26"/>
                      <a:pt x="6" y="28"/>
                    </a:cubicBezTo>
                    <a:cubicBezTo>
                      <a:pt x="6" y="29"/>
                      <a:pt x="6" y="30"/>
                      <a:pt x="7" y="32"/>
                    </a:cubicBezTo>
                    <a:cubicBezTo>
                      <a:pt x="7" y="34"/>
                      <a:pt x="8" y="35"/>
                      <a:pt x="8" y="37"/>
                    </a:cubicBezTo>
                    <a:cubicBezTo>
                      <a:pt x="9" y="39"/>
                      <a:pt x="9" y="41"/>
                      <a:pt x="8" y="42"/>
                    </a:cubicBezTo>
                    <a:cubicBezTo>
                      <a:pt x="8" y="44"/>
                      <a:pt x="6" y="45"/>
                      <a:pt x="6" y="47"/>
                    </a:cubicBezTo>
                    <a:cubicBezTo>
                      <a:pt x="5" y="50"/>
                      <a:pt x="6" y="53"/>
                      <a:pt x="5" y="56"/>
                    </a:cubicBezTo>
                    <a:cubicBezTo>
                      <a:pt x="4" y="58"/>
                      <a:pt x="1" y="60"/>
                      <a:pt x="1" y="62"/>
                    </a:cubicBezTo>
                    <a:cubicBezTo>
                      <a:pt x="0" y="65"/>
                      <a:pt x="3" y="67"/>
                      <a:pt x="3" y="70"/>
                    </a:cubicBezTo>
                    <a:cubicBezTo>
                      <a:pt x="3" y="72"/>
                      <a:pt x="2" y="75"/>
                      <a:pt x="2" y="77"/>
                    </a:cubicBezTo>
                    <a:cubicBezTo>
                      <a:pt x="3" y="78"/>
                      <a:pt x="5" y="78"/>
                      <a:pt x="6" y="80"/>
                    </a:cubicBezTo>
                    <a:cubicBezTo>
                      <a:pt x="7" y="82"/>
                      <a:pt x="6" y="84"/>
                      <a:pt x="6" y="86"/>
                    </a:cubicBezTo>
                    <a:cubicBezTo>
                      <a:pt x="6" y="86"/>
                      <a:pt x="5" y="87"/>
                      <a:pt x="5" y="88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50" name="Freeform 2563"/>
              <p:cNvSpPr>
                <a:spLocks noChangeAspect="1"/>
              </p:cNvSpPr>
              <p:nvPr/>
            </p:nvSpPr>
            <p:spPr bwMode="auto">
              <a:xfrm>
                <a:off x="4437435" y="2770887"/>
                <a:ext cx="32437" cy="71437"/>
              </a:xfrm>
              <a:custGeom>
                <a:avLst/>
                <a:gdLst>
                  <a:gd name="T0" fmla="*/ 23 w 24"/>
                  <a:gd name="T1" fmla="*/ 86 h 72"/>
                  <a:gd name="T2" fmla="*/ 12 w 24"/>
                  <a:gd name="T3" fmla="*/ 80 h 72"/>
                  <a:gd name="T4" fmla="*/ 8 w 24"/>
                  <a:gd name="T5" fmla="*/ 75 h 72"/>
                  <a:gd name="T6" fmla="*/ 11 w 24"/>
                  <a:gd name="T7" fmla="*/ 67 h 72"/>
                  <a:gd name="T8" fmla="*/ 10 w 24"/>
                  <a:gd name="T9" fmla="*/ 62 h 72"/>
                  <a:gd name="T10" fmla="*/ 11 w 24"/>
                  <a:gd name="T11" fmla="*/ 53 h 72"/>
                  <a:gd name="T12" fmla="*/ 12 w 24"/>
                  <a:gd name="T13" fmla="*/ 48 h 72"/>
                  <a:gd name="T14" fmla="*/ 10 w 24"/>
                  <a:gd name="T15" fmla="*/ 42 h 72"/>
                  <a:gd name="T16" fmla="*/ 10 w 24"/>
                  <a:gd name="T17" fmla="*/ 29 h 72"/>
                  <a:gd name="T18" fmla="*/ 6 w 24"/>
                  <a:gd name="T19" fmla="*/ 25 h 72"/>
                  <a:gd name="T20" fmla="*/ 7 w 24"/>
                  <a:gd name="T21" fmla="*/ 14 h 72"/>
                  <a:gd name="T22" fmla="*/ 4 w 24"/>
                  <a:gd name="T23" fmla="*/ 12 h 72"/>
                  <a:gd name="T24" fmla="*/ 4 w 24"/>
                  <a:gd name="T25" fmla="*/ 8 h 72"/>
                  <a:gd name="T26" fmla="*/ 0 w 24"/>
                  <a:gd name="T27" fmla="*/ 5 h 72"/>
                  <a:gd name="T28" fmla="*/ 1 w 24"/>
                  <a:gd name="T29" fmla="*/ 0 h 72"/>
                  <a:gd name="T30" fmla="*/ 7 w 24"/>
                  <a:gd name="T31" fmla="*/ 2 h 72"/>
                  <a:gd name="T32" fmla="*/ 13 w 24"/>
                  <a:gd name="T33" fmla="*/ 4 h 72"/>
                  <a:gd name="T34" fmla="*/ 15 w 24"/>
                  <a:gd name="T35" fmla="*/ 11 h 72"/>
                  <a:gd name="T36" fmla="*/ 21 w 24"/>
                  <a:gd name="T37" fmla="*/ 18 h 72"/>
                  <a:gd name="T38" fmla="*/ 22 w 24"/>
                  <a:gd name="T39" fmla="*/ 29 h 72"/>
                  <a:gd name="T40" fmla="*/ 25 w 24"/>
                  <a:gd name="T41" fmla="*/ 33 h 72"/>
                  <a:gd name="T42" fmla="*/ 25 w 24"/>
                  <a:gd name="T43" fmla="*/ 74 h 72"/>
                  <a:gd name="T44" fmla="*/ 29 w 24"/>
                  <a:gd name="T45" fmla="*/ 82 h 72"/>
                  <a:gd name="T46" fmla="*/ 23 w 24"/>
                  <a:gd name="T47" fmla="*/ 86 h 72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24"/>
                  <a:gd name="T73" fmla="*/ 0 h 72"/>
                  <a:gd name="T74" fmla="*/ 24 w 24"/>
                  <a:gd name="T75" fmla="*/ 72 h 72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24" h="72">
                    <a:moveTo>
                      <a:pt x="19" y="72"/>
                    </a:moveTo>
                    <a:cubicBezTo>
                      <a:pt x="16" y="71"/>
                      <a:pt x="12" y="69"/>
                      <a:pt x="10" y="67"/>
                    </a:cubicBezTo>
                    <a:cubicBezTo>
                      <a:pt x="8" y="66"/>
                      <a:pt x="7" y="64"/>
                      <a:pt x="7" y="63"/>
                    </a:cubicBezTo>
                    <a:cubicBezTo>
                      <a:pt x="7" y="60"/>
                      <a:pt x="9" y="58"/>
                      <a:pt x="9" y="56"/>
                    </a:cubicBezTo>
                    <a:cubicBezTo>
                      <a:pt x="9" y="55"/>
                      <a:pt x="8" y="53"/>
                      <a:pt x="8" y="52"/>
                    </a:cubicBezTo>
                    <a:cubicBezTo>
                      <a:pt x="8" y="49"/>
                      <a:pt x="8" y="46"/>
                      <a:pt x="9" y="44"/>
                    </a:cubicBezTo>
                    <a:cubicBezTo>
                      <a:pt x="9" y="43"/>
                      <a:pt x="10" y="42"/>
                      <a:pt x="10" y="40"/>
                    </a:cubicBezTo>
                    <a:cubicBezTo>
                      <a:pt x="10" y="38"/>
                      <a:pt x="8" y="37"/>
                      <a:pt x="8" y="35"/>
                    </a:cubicBezTo>
                    <a:cubicBezTo>
                      <a:pt x="7" y="31"/>
                      <a:pt x="9" y="28"/>
                      <a:pt x="8" y="24"/>
                    </a:cubicBezTo>
                    <a:cubicBezTo>
                      <a:pt x="8" y="23"/>
                      <a:pt x="6" y="23"/>
                      <a:pt x="5" y="21"/>
                    </a:cubicBezTo>
                    <a:cubicBezTo>
                      <a:pt x="5" y="18"/>
                      <a:pt x="6" y="15"/>
                      <a:pt x="6" y="12"/>
                    </a:cubicBezTo>
                    <a:cubicBezTo>
                      <a:pt x="5" y="11"/>
                      <a:pt x="3" y="11"/>
                      <a:pt x="3" y="10"/>
                    </a:cubicBezTo>
                    <a:cubicBezTo>
                      <a:pt x="2" y="9"/>
                      <a:pt x="3" y="8"/>
                      <a:pt x="3" y="7"/>
                    </a:cubicBezTo>
                    <a:cubicBezTo>
                      <a:pt x="2" y="6"/>
                      <a:pt x="1" y="5"/>
                      <a:pt x="0" y="4"/>
                    </a:cubicBezTo>
                    <a:cubicBezTo>
                      <a:pt x="0" y="3"/>
                      <a:pt x="1" y="1"/>
                      <a:pt x="1" y="0"/>
                    </a:cubicBezTo>
                    <a:cubicBezTo>
                      <a:pt x="3" y="1"/>
                      <a:pt x="4" y="1"/>
                      <a:pt x="6" y="2"/>
                    </a:cubicBezTo>
                    <a:cubicBezTo>
                      <a:pt x="8" y="2"/>
                      <a:pt x="9" y="2"/>
                      <a:pt x="11" y="3"/>
                    </a:cubicBezTo>
                    <a:cubicBezTo>
                      <a:pt x="11" y="5"/>
                      <a:pt x="11" y="7"/>
                      <a:pt x="12" y="9"/>
                    </a:cubicBezTo>
                    <a:cubicBezTo>
                      <a:pt x="13" y="12"/>
                      <a:pt x="16" y="13"/>
                      <a:pt x="17" y="15"/>
                    </a:cubicBezTo>
                    <a:cubicBezTo>
                      <a:pt x="18" y="18"/>
                      <a:pt x="17" y="21"/>
                      <a:pt x="18" y="24"/>
                    </a:cubicBezTo>
                    <a:cubicBezTo>
                      <a:pt x="18" y="26"/>
                      <a:pt x="21" y="27"/>
                      <a:pt x="21" y="28"/>
                    </a:cubicBezTo>
                    <a:cubicBezTo>
                      <a:pt x="22" y="39"/>
                      <a:pt x="20" y="51"/>
                      <a:pt x="21" y="62"/>
                    </a:cubicBezTo>
                    <a:cubicBezTo>
                      <a:pt x="21" y="64"/>
                      <a:pt x="23" y="67"/>
                      <a:pt x="24" y="69"/>
                    </a:cubicBezTo>
                    <a:cubicBezTo>
                      <a:pt x="22" y="70"/>
                      <a:pt x="20" y="71"/>
                      <a:pt x="19" y="7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51" name="Freeform 2564"/>
              <p:cNvSpPr>
                <a:spLocks noChangeAspect="1"/>
              </p:cNvSpPr>
              <p:nvPr/>
            </p:nvSpPr>
            <p:spPr bwMode="auto">
              <a:xfrm>
                <a:off x="4451975" y="2748459"/>
                <a:ext cx="52569" cy="91373"/>
              </a:xfrm>
              <a:custGeom>
                <a:avLst/>
                <a:gdLst>
                  <a:gd name="T0" fmla="*/ 16 w 39"/>
                  <a:gd name="T1" fmla="*/ 110 h 91"/>
                  <a:gd name="T2" fmla="*/ 23 w 39"/>
                  <a:gd name="T3" fmla="*/ 109 h 91"/>
                  <a:gd name="T4" fmla="*/ 31 w 39"/>
                  <a:gd name="T5" fmla="*/ 109 h 91"/>
                  <a:gd name="T6" fmla="*/ 29 w 39"/>
                  <a:gd name="T7" fmla="*/ 88 h 91"/>
                  <a:gd name="T8" fmla="*/ 30 w 39"/>
                  <a:gd name="T9" fmla="*/ 76 h 91"/>
                  <a:gd name="T10" fmla="*/ 31 w 39"/>
                  <a:gd name="T11" fmla="*/ 60 h 91"/>
                  <a:gd name="T12" fmla="*/ 36 w 39"/>
                  <a:gd name="T13" fmla="*/ 59 h 91"/>
                  <a:gd name="T14" fmla="*/ 40 w 39"/>
                  <a:gd name="T15" fmla="*/ 50 h 91"/>
                  <a:gd name="T16" fmla="*/ 45 w 39"/>
                  <a:gd name="T17" fmla="*/ 44 h 91"/>
                  <a:gd name="T18" fmla="*/ 42 w 39"/>
                  <a:gd name="T19" fmla="*/ 37 h 91"/>
                  <a:gd name="T20" fmla="*/ 47 w 39"/>
                  <a:gd name="T21" fmla="*/ 35 h 91"/>
                  <a:gd name="T22" fmla="*/ 43 w 39"/>
                  <a:gd name="T23" fmla="*/ 29 h 91"/>
                  <a:gd name="T24" fmla="*/ 41 w 39"/>
                  <a:gd name="T25" fmla="*/ 21 h 91"/>
                  <a:gd name="T26" fmla="*/ 45 w 39"/>
                  <a:gd name="T27" fmla="*/ 12 h 91"/>
                  <a:gd name="T28" fmla="*/ 40 w 39"/>
                  <a:gd name="T29" fmla="*/ 11 h 91"/>
                  <a:gd name="T30" fmla="*/ 31 w 39"/>
                  <a:gd name="T31" fmla="*/ 1 h 91"/>
                  <a:gd name="T32" fmla="*/ 27 w 39"/>
                  <a:gd name="T33" fmla="*/ 4 h 91"/>
                  <a:gd name="T34" fmla="*/ 25 w 39"/>
                  <a:gd name="T35" fmla="*/ 10 h 91"/>
                  <a:gd name="T36" fmla="*/ 24 w 39"/>
                  <a:gd name="T37" fmla="*/ 12 h 91"/>
                  <a:gd name="T38" fmla="*/ 23 w 39"/>
                  <a:gd name="T39" fmla="*/ 17 h 91"/>
                  <a:gd name="T40" fmla="*/ 17 w 39"/>
                  <a:gd name="T41" fmla="*/ 19 h 91"/>
                  <a:gd name="T42" fmla="*/ 10 w 39"/>
                  <a:gd name="T43" fmla="*/ 19 h 91"/>
                  <a:gd name="T44" fmla="*/ 5 w 39"/>
                  <a:gd name="T45" fmla="*/ 21 h 91"/>
                  <a:gd name="T46" fmla="*/ 5 w 39"/>
                  <a:gd name="T47" fmla="*/ 27 h 91"/>
                  <a:gd name="T48" fmla="*/ 1 w 39"/>
                  <a:gd name="T49" fmla="*/ 25 h 91"/>
                  <a:gd name="T50" fmla="*/ 0 w 39"/>
                  <a:gd name="T51" fmla="*/ 30 h 91"/>
                  <a:gd name="T52" fmla="*/ 1 w 39"/>
                  <a:gd name="T53" fmla="*/ 37 h 91"/>
                  <a:gd name="T54" fmla="*/ 7 w 39"/>
                  <a:gd name="T55" fmla="*/ 45 h 91"/>
                  <a:gd name="T56" fmla="*/ 8 w 39"/>
                  <a:gd name="T57" fmla="*/ 56 h 91"/>
                  <a:gd name="T58" fmla="*/ 12 w 39"/>
                  <a:gd name="T59" fmla="*/ 60 h 91"/>
                  <a:gd name="T60" fmla="*/ 12 w 39"/>
                  <a:gd name="T61" fmla="*/ 102 h 91"/>
                  <a:gd name="T62" fmla="*/ 16 w 39"/>
                  <a:gd name="T63" fmla="*/ 110 h 91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39"/>
                  <a:gd name="T97" fmla="*/ 0 h 91"/>
                  <a:gd name="T98" fmla="*/ 39 w 39"/>
                  <a:gd name="T99" fmla="*/ 91 h 91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39" h="91">
                    <a:moveTo>
                      <a:pt x="13" y="91"/>
                    </a:moveTo>
                    <a:cubicBezTo>
                      <a:pt x="15" y="91"/>
                      <a:pt x="17" y="90"/>
                      <a:pt x="19" y="90"/>
                    </a:cubicBezTo>
                    <a:cubicBezTo>
                      <a:pt x="21" y="89"/>
                      <a:pt x="23" y="90"/>
                      <a:pt x="26" y="90"/>
                    </a:cubicBezTo>
                    <a:cubicBezTo>
                      <a:pt x="25" y="84"/>
                      <a:pt x="25" y="79"/>
                      <a:pt x="24" y="73"/>
                    </a:cubicBezTo>
                    <a:cubicBezTo>
                      <a:pt x="24" y="70"/>
                      <a:pt x="25" y="66"/>
                      <a:pt x="25" y="63"/>
                    </a:cubicBezTo>
                    <a:cubicBezTo>
                      <a:pt x="25" y="59"/>
                      <a:pt x="24" y="54"/>
                      <a:pt x="26" y="50"/>
                    </a:cubicBezTo>
                    <a:cubicBezTo>
                      <a:pt x="26" y="49"/>
                      <a:pt x="30" y="50"/>
                      <a:pt x="30" y="49"/>
                    </a:cubicBezTo>
                    <a:cubicBezTo>
                      <a:pt x="32" y="46"/>
                      <a:pt x="31" y="43"/>
                      <a:pt x="33" y="41"/>
                    </a:cubicBezTo>
                    <a:cubicBezTo>
                      <a:pt x="34" y="39"/>
                      <a:pt x="37" y="38"/>
                      <a:pt x="37" y="36"/>
                    </a:cubicBezTo>
                    <a:cubicBezTo>
                      <a:pt x="38" y="34"/>
                      <a:pt x="34" y="33"/>
                      <a:pt x="35" y="31"/>
                    </a:cubicBezTo>
                    <a:cubicBezTo>
                      <a:pt x="35" y="29"/>
                      <a:pt x="39" y="31"/>
                      <a:pt x="39" y="29"/>
                    </a:cubicBezTo>
                    <a:cubicBezTo>
                      <a:pt x="39" y="27"/>
                      <a:pt x="36" y="26"/>
                      <a:pt x="36" y="24"/>
                    </a:cubicBezTo>
                    <a:cubicBezTo>
                      <a:pt x="35" y="22"/>
                      <a:pt x="34" y="20"/>
                      <a:pt x="34" y="17"/>
                    </a:cubicBezTo>
                    <a:cubicBezTo>
                      <a:pt x="34" y="15"/>
                      <a:pt x="36" y="13"/>
                      <a:pt x="37" y="10"/>
                    </a:cubicBezTo>
                    <a:cubicBezTo>
                      <a:pt x="35" y="10"/>
                      <a:pt x="34" y="10"/>
                      <a:pt x="33" y="9"/>
                    </a:cubicBezTo>
                    <a:cubicBezTo>
                      <a:pt x="30" y="7"/>
                      <a:pt x="29" y="2"/>
                      <a:pt x="26" y="1"/>
                    </a:cubicBezTo>
                    <a:cubicBezTo>
                      <a:pt x="25" y="0"/>
                      <a:pt x="23" y="1"/>
                      <a:pt x="22" y="3"/>
                    </a:cubicBezTo>
                    <a:cubicBezTo>
                      <a:pt x="21" y="4"/>
                      <a:pt x="22" y="7"/>
                      <a:pt x="21" y="8"/>
                    </a:cubicBezTo>
                    <a:cubicBezTo>
                      <a:pt x="21" y="9"/>
                      <a:pt x="20" y="9"/>
                      <a:pt x="20" y="10"/>
                    </a:cubicBezTo>
                    <a:cubicBezTo>
                      <a:pt x="20" y="11"/>
                      <a:pt x="20" y="13"/>
                      <a:pt x="19" y="14"/>
                    </a:cubicBezTo>
                    <a:cubicBezTo>
                      <a:pt x="18" y="16"/>
                      <a:pt x="16" y="16"/>
                      <a:pt x="14" y="16"/>
                    </a:cubicBezTo>
                    <a:cubicBezTo>
                      <a:pt x="12" y="16"/>
                      <a:pt x="10" y="15"/>
                      <a:pt x="8" y="16"/>
                    </a:cubicBezTo>
                    <a:cubicBezTo>
                      <a:pt x="6" y="16"/>
                      <a:pt x="5" y="16"/>
                      <a:pt x="4" y="17"/>
                    </a:cubicBezTo>
                    <a:cubicBezTo>
                      <a:pt x="3" y="19"/>
                      <a:pt x="5" y="21"/>
                      <a:pt x="4" y="22"/>
                    </a:cubicBezTo>
                    <a:cubicBezTo>
                      <a:pt x="3" y="23"/>
                      <a:pt x="2" y="21"/>
                      <a:pt x="1" y="21"/>
                    </a:cubicBezTo>
                    <a:cubicBezTo>
                      <a:pt x="0" y="22"/>
                      <a:pt x="0" y="23"/>
                      <a:pt x="0" y="25"/>
                    </a:cubicBezTo>
                    <a:cubicBezTo>
                      <a:pt x="0" y="27"/>
                      <a:pt x="0" y="29"/>
                      <a:pt x="1" y="31"/>
                    </a:cubicBezTo>
                    <a:cubicBezTo>
                      <a:pt x="2" y="34"/>
                      <a:pt x="5" y="35"/>
                      <a:pt x="6" y="37"/>
                    </a:cubicBezTo>
                    <a:cubicBezTo>
                      <a:pt x="7" y="40"/>
                      <a:pt x="6" y="43"/>
                      <a:pt x="7" y="46"/>
                    </a:cubicBezTo>
                    <a:cubicBezTo>
                      <a:pt x="7" y="48"/>
                      <a:pt x="10" y="49"/>
                      <a:pt x="10" y="50"/>
                    </a:cubicBezTo>
                    <a:cubicBezTo>
                      <a:pt x="11" y="61"/>
                      <a:pt x="9" y="73"/>
                      <a:pt x="10" y="84"/>
                    </a:cubicBezTo>
                    <a:cubicBezTo>
                      <a:pt x="10" y="86"/>
                      <a:pt x="12" y="89"/>
                      <a:pt x="13" y="9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52" name="Freeform 2565"/>
              <p:cNvSpPr>
                <a:spLocks noChangeAspect="1"/>
              </p:cNvSpPr>
              <p:nvPr/>
            </p:nvSpPr>
            <p:spPr bwMode="auto">
              <a:xfrm>
                <a:off x="4484410" y="2731015"/>
                <a:ext cx="205803" cy="136229"/>
              </a:xfrm>
              <a:custGeom>
                <a:avLst/>
                <a:gdLst>
                  <a:gd name="T0" fmla="*/ 94 w 153"/>
                  <a:gd name="T1" fmla="*/ 148 h 137"/>
                  <a:gd name="T2" fmla="*/ 97 w 153"/>
                  <a:gd name="T3" fmla="*/ 129 h 137"/>
                  <a:gd name="T4" fmla="*/ 113 w 153"/>
                  <a:gd name="T5" fmla="*/ 116 h 137"/>
                  <a:gd name="T6" fmla="*/ 120 w 153"/>
                  <a:gd name="T7" fmla="*/ 119 h 137"/>
                  <a:gd name="T8" fmla="*/ 129 w 153"/>
                  <a:gd name="T9" fmla="*/ 124 h 137"/>
                  <a:gd name="T10" fmla="*/ 141 w 153"/>
                  <a:gd name="T11" fmla="*/ 114 h 137"/>
                  <a:gd name="T12" fmla="*/ 146 w 153"/>
                  <a:gd name="T13" fmla="*/ 96 h 137"/>
                  <a:gd name="T14" fmla="*/ 156 w 153"/>
                  <a:gd name="T15" fmla="*/ 75 h 137"/>
                  <a:gd name="T16" fmla="*/ 161 w 153"/>
                  <a:gd name="T17" fmla="*/ 65 h 137"/>
                  <a:gd name="T18" fmla="*/ 171 w 153"/>
                  <a:gd name="T19" fmla="*/ 44 h 137"/>
                  <a:gd name="T20" fmla="*/ 180 w 153"/>
                  <a:gd name="T21" fmla="*/ 28 h 137"/>
                  <a:gd name="T22" fmla="*/ 176 w 153"/>
                  <a:gd name="T23" fmla="*/ 17 h 137"/>
                  <a:gd name="T24" fmla="*/ 166 w 153"/>
                  <a:gd name="T25" fmla="*/ 2 h 137"/>
                  <a:gd name="T26" fmla="*/ 152 w 153"/>
                  <a:gd name="T27" fmla="*/ 8 h 137"/>
                  <a:gd name="T28" fmla="*/ 129 w 153"/>
                  <a:gd name="T29" fmla="*/ 8 h 137"/>
                  <a:gd name="T30" fmla="*/ 105 w 153"/>
                  <a:gd name="T31" fmla="*/ 17 h 137"/>
                  <a:gd name="T32" fmla="*/ 88 w 153"/>
                  <a:gd name="T33" fmla="*/ 11 h 137"/>
                  <a:gd name="T34" fmla="*/ 67 w 153"/>
                  <a:gd name="T35" fmla="*/ 11 h 137"/>
                  <a:gd name="T36" fmla="*/ 38 w 153"/>
                  <a:gd name="T37" fmla="*/ 0 h 137"/>
                  <a:gd name="T38" fmla="*/ 19 w 153"/>
                  <a:gd name="T39" fmla="*/ 14 h 137"/>
                  <a:gd name="T40" fmla="*/ 16 w 153"/>
                  <a:gd name="T41" fmla="*/ 34 h 137"/>
                  <a:gd name="T42" fmla="*/ 14 w 153"/>
                  <a:gd name="T43" fmla="*/ 50 h 137"/>
                  <a:gd name="T44" fmla="*/ 13 w 153"/>
                  <a:gd name="T45" fmla="*/ 59 h 137"/>
                  <a:gd name="T46" fmla="*/ 11 w 153"/>
                  <a:gd name="T47" fmla="*/ 71 h 137"/>
                  <a:gd name="T48" fmla="*/ 2 w 153"/>
                  <a:gd name="T49" fmla="*/ 81 h 137"/>
                  <a:gd name="T50" fmla="*/ 0 w 153"/>
                  <a:gd name="T51" fmla="*/ 109 h 137"/>
                  <a:gd name="T52" fmla="*/ 14 w 153"/>
                  <a:gd name="T53" fmla="*/ 127 h 137"/>
                  <a:gd name="T54" fmla="*/ 36 w 153"/>
                  <a:gd name="T55" fmla="*/ 135 h 137"/>
                  <a:gd name="T56" fmla="*/ 43 w 153"/>
                  <a:gd name="T57" fmla="*/ 146 h 137"/>
                  <a:gd name="T58" fmla="*/ 44 w 153"/>
                  <a:gd name="T59" fmla="*/ 160 h 137"/>
                  <a:gd name="T60" fmla="*/ 67 w 153"/>
                  <a:gd name="T61" fmla="*/ 163 h 137"/>
                  <a:gd name="T62" fmla="*/ 83 w 153"/>
                  <a:gd name="T63" fmla="*/ 153 h 137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53"/>
                  <a:gd name="T97" fmla="*/ 0 h 137"/>
                  <a:gd name="T98" fmla="*/ 153 w 153"/>
                  <a:gd name="T99" fmla="*/ 137 h 137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53" h="137">
                    <a:moveTo>
                      <a:pt x="73" y="130"/>
                    </a:moveTo>
                    <a:cubicBezTo>
                      <a:pt x="75" y="128"/>
                      <a:pt x="77" y="126"/>
                      <a:pt x="78" y="124"/>
                    </a:cubicBezTo>
                    <a:cubicBezTo>
                      <a:pt x="78" y="121"/>
                      <a:pt x="76" y="117"/>
                      <a:pt x="77" y="114"/>
                    </a:cubicBezTo>
                    <a:cubicBezTo>
                      <a:pt x="78" y="112"/>
                      <a:pt x="80" y="110"/>
                      <a:pt x="81" y="108"/>
                    </a:cubicBezTo>
                    <a:cubicBezTo>
                      <a:pt x="83" y="106"/>
                      <a:pt x="86" y="105"/>
                      <a:pt x="88" y="104"/>
                    </a:cubicBezTo>
                    <a:cubicBezTo>
                      <a:pt x="90" y="102"/>
                      <a:pt x="91" y="98"/>
                      <a:pt x="94" y="97"/>
                    </a:cubicBezTo>
                    <a:cubicBezTo>
                      <a:pt x="95" y="97"/>
                      <a:pt x="96" y="99"/>
                      <a:pt x="98" y="100"/>
                    </a:cubicBezTo>
                    <a:cubicBezTo>
                      <a:pt x="99" y="100"/>
                      <a:pt x="100" y="100"/>
                      <a:pt x="100" y="99"/>
                    </a:cubicBezTo>
                    <a:cubicBezTo>
                      <a:pt x="101" y="99"/>
                      <a:pt x="101" y="96"/>
                      <a:pt x="101" y="97"/>
                    </a:cubicBezTo>
                    <a:cubicBezTo>
                      <a:pt x="104" y="98"/>
                      <a:pt x="105" y="102"/>
                      <a:pt x="107" y="104"/>
                    </a:cubicBezTo>
                    <a:cubicBezTo>
                      <a:pt x="108" y="105"/>
                      <a:pt x="111" y="106"/>
                      <a:pt x="112" y="105"/>
                    </a:cubicBezTo>
                    <a:cubicBezTo>
                      <a:pt x="115" y="103"/>
                      <a:pt x="116" y="98"/>
                      <a:pt x="117" y="95"/>
                    </a:cubicBezTo>
                    <a:cubicBezTo>
                      <a:pt x="119" y="92"/>
                      <a:pt x="120" y="89"/>
                      <a:pt x="121" y="86"/>
                    </a:cubicBezTo>
                    <a:cubicBezTo>
                      <a:pt x="121" y="84"/>
                      <a:pt x="120" y="82"/>
                      <a:pt x="121" y="80"/>
                    </a:cubicBezTo>
                    <a:cubicBezTo>
                      <a:pt x="123" y="77"/>
                      <a:pt x="126" y="76"/>
                      <a:pt x="128" y="73"/>
                    </a:cubicBezTo>
                    <a:cubicBezTo>
                      <a:pt x="129" y="70"/>
                      <a:pt x="128" y="66"/>
                      <a:pt x="130" y="63"/>
                    </a:cubicBezTo>
                    <a:cubicBezTo>
                      <a:pt x="131" y="61"/>
                      <a:pt x="133" y="60"/>
                      <a:pt x="134" y="58"/>
                    </a:cubicBezTo>
                    <a:cubicBezTo>
                      <a:pt x="135" y="57"/>
                      <a:pt x="134" y="55"/>
                      <a:pt x="134" y="54"/>
                    </a:cubicBezTo>
                    <a:cubicBezTo>
                      <a:pt x="134" y="52"/>
                      <a:pt x="136" y="50"/>
                      <a:pt x="137" y="48"/>
                    </a:cubicBezTo>
                    <a:cubicBezTo>
                      <a:pt x="138" y="44"/>
                      <a:pt x="139" y="40"/>
                      <a:pt x="142" y="37"/>
                    </a:cubicBezTo>
                    <a:cubicBezTo>
                      <a:pt x="144" y="35"/>
                      <a:pt x="150" y="36"/>
                      <a:pt x="152" y="33"/>
                    </a:cubicBezTo>
                    <a:cubicBezTo>
                      <a:pt x="153" y="30"/>
                      <a:pt x="151" y="26"/>
                      <a:pt x="150" y="23"/>
                    </a:cubicBezTo>
                    <a:cubicBezTo>
                      <a:pt x="149" y="21"/>
                      <a:pt x="145" y="22"/>
                      <a:pt x="144" y="20"/>
                    </a:cubicBezTo>
                    <a:cubicBezTo>
                      <a:pt x="144" y="18"/>
                      <a:pt x="145" y="15"/>
                      <a:pt x="146" y="14"/>
                    </a:cubicBezTo>
                    <a:cubicBezTo>
                      <a:pt x="145" y="13"/>
                      <a:pt x="144" y="11"/>
                      <a:pt x="143" y="10"/>
                    </a:cubicBezTo>
                    <a:cubicBezTo>
                      <a:pt x="141" y="8"/>
                      <a:pt x="140" y="4"/>
                      <a:pt x="138" y="2"/>
                    </a:cubicBezTo>
                    <a:cubicBezTo>
                      <a:pt x="136" y="2"/>
                      <a:pt x="133" y="2"/>
                      <a:pt x="131" y="3"/>
                    </a:cubicBezTo>
                    <a:cubicBezTo>
                      <a:pt x="129" y="4"/>
                      <a:pt x="127" y="6"/>
                      <a:pt x="126" y="7"/>
                    </a:cubicBezTo>
                    <a:cubicBezTo>
                      <a:pt x="124" y="8"/>
                      <a:pt x="122" y="9"/>
                      <a:pt x="120" y="9"/>
                    </a:cubicBezTo>
                    <a:cubicBezTo>
                      <a:pt x="115" y="9"/>
                      <a:pt x="111" y="7"/>
                      <a:pt x="107" y="7"/>
                    </a:cubicBezTo>
                    <a:cubicBezTo>
                      <a:pt x="103" y="6"/>
                      <a:pt x="98" y="6"/>
                      <a:pt x="95" y="8"/>
                    </a:cubicBezTo>
                    <a:cubicBezTo>
                      <a:pt x="92" y="9"/>
                      <a:pt x="90" y="13"/>
                      <a:pt x="87" y="14"/>
                    </a:cubicBezTo>
                    <a:cubicBezTo>
                      <a:pt x="85" y="15"/>
                      <a:pt x="83" y="15"/>
                      <a:pt x="81" y="15"/>
                    </a:cubicBezTo>
                    <a:cubicBezTo>
                      <a:pt x="78" y="13"/>
                      <a:pt x="76" y="10"/>
                      <a:pt x="73" y="9"/>
                    </a:cubicBezTo>
                    <a:cubicBezTo>
                      <a:pt x="70" y="7"/>
                      <a:pt x="66" y="7"/>
                      <a:pt x="63" y="7"/>
                    </a:cubicBezTo>
                    <a:cubicBezTo>
                      <a:pt x="60" y="7"/>
                      <a:pt x="58" y="10"/>
                      <a:pt x="56" y="9"/>
                    </a:cubicBezTo>
                    <a:cubicBezTo>
                      <a:pt x="53" y="9"/>
                      <a:pt x="51" y="6"/>
                      <a:pt x="48" y="5"/>
                    </a:cubicBezTo>
                    <a:cubicBezTo>
                      <a:pt x="43" y="3"/>
                      <a:pt x="38" y="1"/>
                      <a:pt x="32" y="0"/>
                    </a:cubicBezTo>
                    <a:cubicBezTo>
                      <a:pt x="28" y="0"/>
                      <a:pt x="23" y="0"/>
                      <a:pt x="19" y="2"/>
                    </a:cubicBezTo>
                    <a:cubicBezTo>
                      <a:pt x="17" y="4"/>
                      <a:pt x="18" y="9"/>
                      <a:pt x="16" y="12"/>
                    </a:cubicBezTo>
                    <a:cubicBezTo>
                      <a:pt x="15" y="15"/>
                      <a:pt x="12" y="16"/>
                      <a:pt x="12" y="18"/>
                    </a:cubicBezTo>
                    <a:cubicBezTo>
                      <a:pt x="11" y="21"/>
                      <a:pt x="12" y="25"/>
                      <a:pt x="13" y="28"/>
                    </a:cubicBezTo>
                    <a:cubicBezTo>
                      <a:pt x="12" y="31"/>
                      <a:pt x="10" y="33"/>
                      <a:pt x="10" y="35"/>
                    </a:cubicBezTo>
                    <a:cubicBezTo>
                      <a:pt x="10" y="38"/>
                      <a:pt x="11" y="40"/>
                      <a:pt x="12" y="42"/>
                    </a:cubicBezTo>
                    <a:cubicBezTo>
                      <a:pt x="12" y="44"/>
                      <a:pt x="15" y="45"/>
                      <a:pt x="15" y="47"/>
                    </a:cubicBezTo>
                    <a:cubicBezTo>
                      <a:pt x="15" y="49"/>
                      <a:pt x="11" y="47"/>
                      <a:pt x="11" y="49"/>
                    </a:cubicBezTo>
                    <a:cubicBezTo>
                      <a:pt x="10" y="51"/>
                      <a:pt x="14" y="52"/>
                      <a:pt x="13" y="54"/>
                    </a:cubicBezTo>
                    <a:cubicBezTo>
                      <a:pt x="13" y="56"/>
                      <a:pt x="10" y="57"/>
                      <a:pt x="9" y="59"/>
                    </a:cubicBezTo>
                    <a:cubicBezTo>
                      <a:pt x="7" y="61"/>
                      <a:pt x="8" y="64"/>
                      <a:pt x="6" y="67"/>
                    </a:cubicBezTo>
                    <a:cubicBezTo>
                      <a:pt x="6" y="68"/>
                      <a:pt x="2" y="67"/>
                      <a:pt x="2" y="68"/>
                    </a:cubicBezTo>
                    <a:cubicBezTo>
                      <a:pt x="0" y="72"/>
                      <a:pt x="1" y="77"/>
                      <a:pt x="1" y="81"/>
                    </a:cubicBezTo>
                    <a:cubicBezTo>
                      <a:pt x="1" y="84"/>
                      <a:pt x="0" y="88"/>
                      <a:pt x="0" y="91"/>
                    </a:cubicBezTo>
                    <a:cubicBezTo>
                      <a:pt x="1" y="97"/>
                      <a:pt x="1" y="102"/>
                      <a:pt x="2" y="108"/>
                    </a:cubicBezTo>
                    <a:cubicBezTo>
                      <a:pt x="5" y="107"/>
                      <a:pt x="8" y="106"/>
                      <a:pt x="12" y="106"/>
                    </a:cubicBezTo>
                    <a:cubicBezTo>
                      <a:pt x="15" y="106"/>
                      <a:pt x="18" y="107"/>
                      <a:pt x="21" y="108"/>
                    </a:cubicBezTo>
                    <a:cubicBezTo>
                      <a:pt x="25" y="109"/>
                      <a:pt x="28" y="111"/>
                      <a:pt x="30" y="113"/>
                    </a:cubicBezTo>
                    <a:cubicBezTo>
                      <a:pt x="32" y="115"/>
                      <a:pt x="32" y="119"/>
                      <a:pt x="34" y="122"/>
                    </a:cubicBezTo>
                    <a:cubicBezTo>
                      <a:pt x="34" y="122"/>
                      <a:pt x="36" y="121"/>
                      <a:pt x="36" y="122"/>
                    </a:cubicBezTo>
                    <a:cubicBezTo>
                      <a:pt x="36" y="123"/>
                      <a:pt x="34" y="124"/>
                      <a:pt x="34" y="125"/>
                    </a:cubicBezTo>
                    <a:cubicBezTo>
                      <a:pt x="34" y="128"/>
                      <a:pt x="35" y="132"/>
                      <a:pt x="37" y="134"/>
                    </a:cubicBezTo>
                    <a:cubicBezTo>
                      <a:pt x="39" y="136"/>
                      <a:pt x="42" y="136"/>
                      <a:pt x="44" y="136"/>
                    </a:cubicBezTo>
                    <a:cubicBezTo>
                      <a:pt x="48" y="137"/>
                      <a:pt x="52" y="137"/>
                      <a:pt x="56" y="136"/>
                    </a:cubicBezTo>
                    <a:cubicBezTo>
                      <a:pt x="61" y="136"/>
                      <a:pt x="66" y="136"/>
                      <a:pt x="71" y="133"/>
                    </a:cubicBezTo>
                    <a:cubicBezTo>
                      <a:pt x="72" y="132"/>
                      <a:pt x="68" y="129"/>
                      <a:pt x="69" y="128"/>
                    </a:cubicBezTo>
                    <a:cubicBezTo>
                      <a:pt x="70" y="127"/>
                      <a:pt x="72" y="129"/>
                      <a:pt x="73" y="13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53" name="Freeform 2566"/>
              <p:cNvSpPr>
                <a:spLocks noChangeAspect="1"/>
              </p:cNvSpPr>
              <p:nvPr/>
            </p:nvSpPr>
            <p:spPr bwMode="auto">
              <a:xfrm>
                <a:off x="4439672" y="2587309"/>
                <a:ext cx="269557" cy="171117"/>
              </a:xfrm>
              <a:custGeom>
                <a:avLst/>
                <a:gdLst>
                  <a:gd name="T0" fmla="*/ 206 w 200"/>
                  <a:gd name="T1" fmla="*/ 175 h 172"/>
                  <a:gd name="T2" fmla="*/ 206 w 200"/>
                  <a:gd name="T3" fmla="*/ 157 h 172"/>
                  <a:gd name="T4" fmla="*/ 234 w 200"/>
                  <a:gd name="T5" fmla="*/ 122 h 172"/>
                  <a:gd name="T6" fmla="*/ 233 w 200"/>
                  <a:gd name="T7" fmla="*/ 98 h 172"/>
                  <a:gd name="T8" fmla="*/ 233 w 200"/>
                  <a:gd name="T9" fmla="*/ 72 h 172"/>
                  <a:gd name="T10" fmla="*/ 241 w 200"/>
                  <a:gd name="T11" fmla="*/ 55 h 172"/>
                  <a:gd name="T12" fmla="*/ 233 w 200"/>
                  <a:gd name="T13" fmla="*/ 49 h 172"/>
                  <a:gd name="T14" fmla="*/ 234 w 200"/>
                  <a:gd name="T15" fmla="*/ 42 h 172"/>
                  <a:gd name="T16" fmla="*/ 229 w 200"/>
                  <a:gd name="T17" fmla="*/ 36 h 172"/>
                  <a:gd name="T18" fmla="*/ 230 w 200"/>
                  <a:gd name="T19" fmla="*/ 25 h 172"/>
                  <a:gd name="T20" fmla="*/ 225 w 200"/>
                  <a:gd name="T21" fmla="*/ 11 h 172"/>
                  <a:gd name="T22" fmla="*/ 208 w 200"/>
                  <a:gd name="T23" fmla="*/ 18 h 172"/>
                  <a:gd name="T24" fmla="*/ 201 w 200"/>
                  <a:gd name="T25" fmla="*/ 7 h 172"/>
                  <a:gd name="T26" fmla="*/ 187 w 200"/>
                  <a:gd name="T27" fmla="*/ 6 h 172"/>
                  <a:gd name="T28" fmla="*/ 178 w 200"/>
                  <a:gd name="T29" fmla="*/ 0 h 172"/>
                  <a:gd name="T30" fmla="*/ 83 w 200"/>
                  <a:gd name="T31" fmla="*/ 71 h 172"/>
                  <a:gd name="T32" fmla="*/ 64 w 200"/>
                  <a:gd name="T33" fmla="*/ 78 h 172"/>
                  <a:gd name="T34" fmla="*/ 64 w 200"/>
                  <a:gd name="T35" fmla="*/ 132 h 172"/>
                  <a:gd name="T36" fmla="*/ 59 w 200"/>
                  <a:gd name="T37" fmla="*/ 133 h 172"/>
                  <a:gd name="T38" fmla="*/ 57 w 200"/>
                  <a:gd name="T39" fmla="*/ 138 h 172"/>
                  <a:gd name="T40" fmla="*/ 52 w 200"/>
                  <a:gd name="T41" fmla="*/ 139 h 172"/>
                  <a:gd name="T42" fmla="*/ 49 w 200"/>
                  <a:gd name="T43" fmla="*/ 144 h 172"/>
                  <a:gd name="T44" fmla="*/ 17 w 200"/>
                  <a:gd name="T45" fmla="*/ 147 h 172"/>
                  <a:gd name="T46" fmla="*/ 12 w 200"/>
                  <a:gd name="T47" fmla="*/ 152 h 172"/>
                  <a:gd name="T48" fmla="*/ 1 w 200"/>
                  <a:gd name="T49" fmla="*/ 151 h 172"/>
                  <a:gd name="T50" fmla="*/ 0 w 200"/>
                  <a:gd name="T51" fmla="*/ 162 h 172"/>
                  <a:gd name="T52" fmla="*/ 2 w 200"/>
                  <a:gd name="T53" fmla="*/ 170 h 172"/>
                  <a:gd name="T54" fmla="*/ 10 w 200"/>
                  <a:gd name="T55" fmla="*/ 176 h 172"/>
                  <a:gd name="T56" fmla="*/ 13 w 200"/>
                  <a:gd name="T57" fmla="*/ 177 h 172"/>
                  <a:gd name="T58" fmla="*/ 10 w 200"/>
                  <a:gd name="T59" fmla="*/ 186 h 172"/>
                  <a:gd name="T60" fmla="*/ 24 w 200"/>
                  <a:gd name="T61" fmla="*/ 192 h 172"/>
                  <a:gd name="T62" fmla="*/ 29 w 200"/>
                  <a:gd name="T63" fmla="*/ 190 h 172"/>
                  <a:gd name="T64" fmla="*/ 34 w 200"/>
                  <a:gd name="T65" fmla="*/ 194 h 172"/>
                  <a:gd name="T66" fmla="*/ 31 w 200"/>
                  <a:gd name="T67" fmla="*/ 198 h 172"/>
                  <a:gd name="T68" fmla="*/ 33 w 200"/>
                  <a:gd name="T69" fmla="*/ 205 h 172"/>
                  <a:gd name="T70" fmla="*/ 35 w 200"/>
                  <a:gd name="T71" fmla="*/ 206 h 172"/>
                  <a:gd name="T72" fmla="*/ 36 w 200"/>
                  <a:gd name="T73" fmla="*/ 204 h 172"/>
                  <a:gd name="T74" fmla="*/ 37 w 200"/>
                  <a:gd name="T75" fmla="*/ 198 h 172"/>
                  <a:gd name="T76" fmla="*/ 42 w 200"/>
                  <a:gd name="T77" fmla="*/ 195 h 172"/>
                  <a:gd name="T78" fmla="*/ 51 w 200"/>
                  <a:gd name="T79" fmla="*/ 205 h 172"/>
                  <a:gd name="T80" fmla="*/ 55 w 200"/>
                  <a:gd name="T81" fmla="*/ 206 h 172"/>
                  <a:gd name="T82" fmla="*/ 54 w 200"/>
                  <a:gd name="T83" fmla="*/ 194 h 172"/>
                  <a:gd name="T84" fmla="*/ 59 w 200"/>
                  <a:gd name="T85" fmla="*/ 187 h 172"/>
                  <a:gd name="T86" fmla="*/ 63 w 200"/>
                  <a:gd name="T87" fmla="*/ 175 h 172"/>
                  <a:gd name="T88" fmla="*/ 78 w 200"/>
                  <a:gd name="T89" fmla="*/ 172 h 172"/>
                  <a:gd name="T90" fmla="*/ 98 w 200"/>
                  <a:gd name="T91" fmla="*/ 178 h 172"/>
                  <a:gd name="T92" fmla="*/ 107 w 200"/>
                  <a:gd name="T93" fmla="*/ 183 h 172"/>
                  <a:gd name="T94" fmla="*/ 116 w 200"/>
                  <a:gd name="T95" fmla="*/ 181 h 172"/>
                  <a:gd name="T96" fmla="*/ 128 w 200"/>
                  <a:gd name="T97" fmla="*/ 183 h 172"/>
                  <a:gd name="T98" fmla="*/ 137 w 200"/>
                  <a:gd name="T99" fmla="*/ 190 h 172"/>
                  <a:gd name="T100" fmla="*/ 145 w 200"/>
                  <a:gd name="T101" fmla="*/ 189 h 172"/>
                  <a:gd name="T102" fmla="*/ 154 w 200"/>
                  <a:gd name="T103" fmla="*/ 182 h 172"/>
                  <a:gd name="T104" fmla="*/ 169 w 200"/>
                  <a:gd name="T105" fmla="*/ 181 h 172"/>
                  <a:gd name="T106" fmla="*/ 184 w 200"/>
                  <a:gd name="T107" fmla="*/ 183 h 172"/>
                  <a:gd name="T108" fmla="*/ 192 w 200"/>
                  <a:gd name="T109" fmla="*/ 181 h 172"/>
                  <a:gd name="T110" fmla="*/ 198 w 200"/>
                  <a:gd name="T111" fmla="*/ 176 h 172"/>
                  <a:gd name="T112" fmla="*/ 206 w 200"/>
                  <a:gd name="T113" fmla="*/ 175 h 17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200"/>
                  <a:gd name="T172" fmla="*/ 0 h 172"/>
                  <a:gd name="T173" fmla="*/ 200 w 200"/>
                  <a:gd name="T174" fmla="*/ 172 h 172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200" h="172">
                    <a:moveTo>
                      <a:pt x="171" y="146"/>
                    </a:moveTo>
                    <a:lnTo>
                      <a:pt x="171" y="131"/>
                    </a:lnTo>
                    <a:lnTo>
                      <a:pt x="194" y="102"/>
                    </a:lnTo>
                    <a:lnTo>
                      <a:pt x="193" y="82"/>
                    </a:lnTo>
                    <a:lnTo>
                      <a:pt x="193" y="60"/>
                    </a:lnTo>
                    <a:lnTo>
                      <a:pt x="200" y="46"/>
                    </a:lnTo>
                    <a:lnTo>
                      <a:pt x="193" y="41"/>
                    </a:lnTo>
                    <a:lnTo>
                      <a:pt x="194" y="35"/>
                    </a:lnTo>
                    <a:lnTo>
                      <a:pt x="190" y="30"/>
                    </a:lnTo>
                    <a:lnTo>
                      <a:pt x="191" y="21"/>
                    </a:lnTo>
                    <a:lnTo>
                      <a:pt x="187" y="9"/>
                    </a:lnTo>
                    <a:cubicBezTo>
                      <a:pt x="182" y="11"/>
                      <a:pt x="178" y="14"/>
                      <a:pt x="173" y="15"/>
                    </a:cubicBezTo>
                    <a:cubicBezTo>
                      <a:pt x="172" y="13"/>
                      <a:pt x="171" y="8"/>
                      <a:pt x="167" y="6"/>
                    </a:cubicBezTo>
                    <a:cubicBezTo>
                      <a:pt x="164" y="4"/>
                      <a:pt x="159" y="7"/>
                      <a:pt x="155" y="5"/>
                    </a:cubicBezTo>
                    <a:cubicBezTo>
                      <a:pt x="152" y="5"/>
                      <a:pt x="150" y="2"/>
                      <a:pt x="148" y="0"/>
                    </a:cubicBezTo>
                    <a:lnTo>
                      <a:pt x="69" y="59"/>
                    </a:lnTo>
                    <a:lnTo>
                      <a:pt x="53" y="65"/>
                    </a:lnTo>
                    <a:lnTo>
                      <a:pt x="53" y="110"/>
                    </a:lnTo>
                    <a:cubicBezTo>
                      <a:pt x="52" y="110"/>
                      <a:pt x="50" y="110"/>
                      <a:pt x="49" y="111"/>
                    </a:cubicBezTo>
                    <a:cubicBezTo>
                      <a:pt x="48" y="112"/>
                      <a:pt x="48" y="114"/>
                      <a:pt x="47" y="115"/>
                    </a:cubicBezTo>
                    <a:cubicBezTo>
                      <a:pt x="46" y="116"/>
                      <a:pt x="44" y="115"/>
                      <a:pt x="43" y="116"/>
                    </a:cubicBezTo>
                    <a:lnTo>
                      <a:pt x="41" y="120"/>
                    </a:lnTo>
                    <a:lnTo>
                      <a:pt x="14" y="123"/>
                    </a:lnTo>
                    <a:cubicBezTo>
                      <a:pt x="13" y="124"/>
                      <a:pt x="12" y="127"/>
                      <a:pt x="10" y="127"/>
                    </a:cubicBezTo>
                    <a:lnTo>
                      <a:pt x="1" y="126"/>
                    </a:lnTo>
                    <a:cubicBezTo>
                      <a:pt x="0" y="129"/>
                      <a:pt x="0" y="132"/>
                      <a:pt x="0" y="135"/>
                    </a:cubicBezTo>
                    <a:cubicBezTo>
                      <a:pt x="0" y="138"/>
                      <a:pt x="1" y="140"/>
                      <a:pt x="2" y="142"/>
                    </a:cubicBezTo>
                    <a:cubicBezTo>
                      <a:pt x="4" y="144"/>
                      <a:pt x="6" y="145"/>
                      <a:pt x="8" y="147"/>
                    </a:cubicBezTo>
                    <a:cubicBezTo>
                      <a:pt x="9" y="148"/>
                      <a:pt x="11" y="147"/>
                      <a:pt x="11" y="148"/>
                    </a:cubicBezTo>
                    <a:cubicBezTo>
                      <a:pt x="12" y="151"/>
                      <a:pt x="7" y="153"/>
                      <a:pt x="8" y="155"/>
                    </a:cubicBezTo>
                    <a:cubicBezTo>
                      <a:pt x="11" y="159"/>
                      <a:pt x="16" y="159"/>
                      <a:pt x="20" y="160"/>
                    </a:cubicBezTo>
                    <a:cubicBezTo>
                      <a:pt x="21" y="161"/>
                      <a:pt x="23" y="158"/>
                      <a:pt x="24" y="159"/>
                    </a:cubicBezTo>
                    <a:cubicBezTo>
                      <a:pt x="26" y="159"/>
                      <a:pt x="27" y="161"/>
                      <a:pt x="28" y="162"/>
                    </a:cubicBezTo>
                    <a:cubicBezTo>
                      <a:pt x="28" y="163"/>
                      <a:pt x="26" y="164"/>
                      <a:pt x="26" y="165"/>
                    </a:cubicBezTo>
                    <a:cubicBezTo>
                      <a:pt x="26" y="167"/>
                      <a:pt x="26" y="169"/>
                      <a:pt x="27" y="171"/>
                    </a:cubicBezTo>
                    <a:cubicBezTo>
                      <a:pt x="27" y="172"/>
                      <a:pt x="28" y="171"/>
                      <a:pt x="29" y="172"/>
                    </a:cubicBezTo>
                    <a:cubicBezTo>
                      <a:pt x="29" y="171"/>
                      <a:pt x="30" y="171"/>
                      <a:pt x="30" y="170"/>
                    </a:cubicBezTo>
                    <a:cubicBezTo>
                      <a:pt x="31" y="169"/>
                      <a:pt x="30" y="166"/>
                      <a:pt x="31" y="165"/>
                    </a:cubicBezTo>
                    <a:cubicBezTo>
                      <a:pt x="32" y="163"/>
                      <a:pt x="34" y="162"/>
                      <a:pt x="35" y="163"/>
                    </a:cubicBezTo>
                    <a:cubicBezTo>
                      <a:pt x="38" y="164"/>
                      <a:pt x="39" y="169"/>
                      <a:pt x="42" y="171"/>
                    </a:cubicBezTo>
                    <a:cubicBezTo>
                      <a:pt x="43" y="172"/>
                      <a:pt x="44" y="172"/>
                      <a:pt x="46" y="172"/>
                    </a:cubicBezTo>
                    <a:cubicBezTo>
                      <a:pt x="45" y="169"/>
                      <a:pt x="44" y="165"/>
                      <a:pt x="45" y="162"/>
                    </a:cubicBezTo>
                    <a:cubicBezTo>
                      <a:pt x="45" y="160"/>
                      <a:pt x="48" y="159"/>
                      <a:pt x="49" y="156"/>
                    </a:cubicBezTo>
                    <a:cubicBezTo>
                      <a:pt x="51" y="153"/>
                      <a:pt x="50" y="148"/>
                      <a:pt x="52" y="146"/>
                    </a:cubicBezTo>
                    <a:cubicBezTo>
                      <a:pt x="56" y="144"/>
                      <a:pt x="61" y="144"/>
                      <a:pt x="65" y="144"/>
                    </a:cubicBezTo>
                    <a:cubicBezTo>
                      <a:pt x="71" y="145"/>
                      <a:pt x="76" y="147"/>
                      <a:pt x="81" y="149"/>
                    </a:cubicBezTo>
                    <a:cubicBezTo>
                      <a:pt x="84" y="150"/>
                      <a:pt x="86" y="153"/>
                      <a:pt x="89" y="153"/>
                    </a:cubicBezTo>
                    <a:cubicBezTo>
                      <a:pt x="91" y="154"/>
                      <a:pt x="93" y="151"/>
                      <a:pt x="96" y="151"/>
                    </a:cubicBezTo>
                    <a:cubicBezTo>
                      <a:pt x="99" y="151"/>
                      <a:pt x="103" y="151"/>
                      <a:pt x="106" y="153"/>
                    </a:cubicBezTo>
                    <a:cubicBezTo>
                      <a:pt x="109" y="154"/>
                      <a:pt x="111" y="157"/>
                      <a:pt x="114" y="159"/>
                    </a:cubicBezTo>
                    <a:cubicBezTo>
                      <a:pt x="116" y="159"/>
                      <a:pt x="118" y="159"/>
                      <a:pt x="120" y="158"/>
                    </a:cubicBezTo>
                    <a:cubicBezTo>
                      <a:pt x="123" y="157"/>
                      <a:pt x="125" y="153"/>
                      <a:pt x="128" y="152"/>
                    </a:cubicBezTo>
                    <a:cubicBezTo>
                      <a:pt x="131" y="150"/>
                      <a:pt x="136" y="150"/>
                      <a:pt x="140" y="151"/>
                    </a:cubicBezTo>
                    <a:cubicBezTo>
                      <a:pt x="144" y="151"/>
                      <a:pt x="148" y="153"/>
                      <a:pt x="153" y="153"/>
                    </a:cubicBezTo>
                    <a:cubicBezTo>
                      <a:pt x="155" y="153"/>
                      <a:pt x="157" y="152"/>
                      <a:pt x="159" y="151"/>
                    </a:cubicBezTo>
                    <a:cubicBezTo>
                      <a:pt x="160" y="150"/>
                      <a:pt x="162" y="148"/>
                      <a:pt x="164" y="147"/>
                    </a:cubicBezTo>
                    <a:cubicBezTo>
                      <a:pt x="166" y="146"/>
                      <a:pt x="169" y="146"/>
                      <a:pt x="171" y="146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54" name="Freeform 2568"/>
              <p:cNvSpPr>
                <a:spLocks noChangeAspect="1"/>
              </p:cNvSpPr>
              <p:nvPr/>
            </p:nvSpPr>
            <p:spPr bwMode="auto">
              <a:xfrm>
                <a:off x="4561587" y="2373828"/>
                <a:ext cx="70466" cy="110479"/>
              </a:xfrm>
              <a:custGeom>
                <a:avLst/>
                <a:gdLst>
                  <a:gd name="T0" fmla="*/ 31 w 53"/>
                  <a:gd name="T1" fmla="*/ 133 h 111"/>
                  <a:gd name="T2" fmla="*/ 39 w 53"/>
                  <a:gd name="T3" fmla="*/ 128 h 111"/>
                  <a:gd name="T4" fmla="*/ 42 w 53"/>
                  <a:gd name="T5" fmla="*/ 121 h 111"/>
                  <a:gd name="T6" fmla="*/ 39 w 53"/>
                  <a:gd name="T7" fmla="*/ 108 h 111"/>
                  <a:gd name="T8" fmla="*/ 45 w 53"/>
                  <a:gd name="T9" fmla="*/ 104 h 111"/>
                  <a:gd name="T10" fmla="*/ 52 w 53"/>
                  <a:gd name="T11" fmla="*/ 97 h 111"/>
                  <a:gd name="T12" fmla="*/ 62 w 53"/>
                  <a:gd name="T13" fmla="*/ 91 h 111"/>
                  <a:gd name="T14" fmla="*/ 59 w 53"/>
                  <a:gd name="T15" fmla="*/ 87 h 111"/>
                  <a:gd name="T16" fmla="*/ 61 w 53"/>
                  <a:gd name="T17" fmla="*/ 78 h 111"/>
                  <a:gd name="T18" fmla="*/ 45 w 53"/>
                  <a:gd name="T19" fmla="*/ 69 h 111"/>
                  <a:gd name="T20" fmla="*/ 40 w 53"/>
                  <a:gd name="T21" fmla="*/ 66 h 111"/>
                  <a:gd name="T22" fmla="*/ 38 w 53"/>
                  <a:gd name="T23" fmla="*/ 58 h 111"/>
                  <a:gd name="T24" fmla="*/ 46 w 53"/>
                  <a:gd name="T25" fmla="*/ 54 h 111"/>
                  <a:gd name="T26" fmla="*/ 52 w 53"/>
                  <a:gd name="T27" fmla="*/ 42 h 111"/>
                  <a:gd name="T28" fmla="*/ 52 w 53"/>
                  <a:gd name="T29" fmla="*/ 30 h 111"/>
                  <a:gd name="T30" fmla="*/ 45 w 53"/>
                  <a:gd name="T31" fmla="*/ 25 h 111"/>
                  <a:gd name="T32" fmla="*/ 44 w 53"/>
                  <a:gd name="T33" fmla="*/ 20 h 111"/>
                  <a:gd name="T34" fmla="*/ 50 w 53"/>
                  <a:gd name="T35" fmla="*/ 17 h 111"/>
                  <a:gd name="T36" fmla="*/ 53 w 53"/>
                  <a:gd name="T37" fmla="*/ 10 h 111"/>
                  <a:gd name="T38" fmla="*/ 52 w 53"/>
                  <a:gd name="T39" fmla="*/ 5 h 111"/>
                  <a:gd name="T40" fmla="*/ 46 w 53"/>
                  <a:gd name="T41" fmla="*/ 11 h 111"/>
                  <a:gd name="T42" fmla="*/ 40 w 53"/>
                  <a:gd name="T43" fmla="*/ 10 h 111"/>
                  <a:gd name="T44" fmla="*/ 43 w 53"/>
                  <a:gd name="T45" fmla="*/ 4 h 111"/>
                  <a:gd name="T46" fmla="*/ 36 w 53"/>
                  <a:gd name="T47" fmla="*/ 1 h 111"/>
                  <a:gd name="T48" fmla="*/ 26 w 53"/>
                  <a:gd name="T49" fmla="*/ 1 h 111"/>
                  <a:gd name="T50" fmla="*/ 17 w 53"/>
                  <a:gd name="T51" fmla="*/ 7 h 111"/>
                  <a:gd name="T52" fmla="*/ 17 w 53"/>
                  <a:gd name="T53" fmla="*/ 11 h 111"/>
                  <a:gd name="T54" fmla="*/ 13 w 53"/>
                  <a:gd name="T55" fmla="*/ 14 h 111"/>
                  <a:gd name="T56" fmla="*/ 11 w 53"/>
                  <a:gd name="T57" fmla="*/ 17 h 111"/>
                  <a:gd name="T58" fmla="*/ 14 w 53"/>
                  <a:gd name="T59" fmla="*/ 22 h 111"/>
                  <a:gd name="T60" fmla="*/ 13 w 53"/>
                  <a:gd name="T61" fmla="*/ 26 h 111"/>
                  <a:gd name="T62" fmla="*/ 14 w 53"/>
                  <a:gd name="T63" fmla="*/ 40 h 111"/>
                  <a:gd name="T64" fmla="*/ 12 w 53"/>
                  <a:gd name="T65" fmla="*/ 50 h 111"/>
                  <a:gd name="T66" fmla="*/ 7 w 53"/>
                  <a:gd name="T67" fmla="*/ 55 h 111"/>
                  <a:gd name="T68" fmla="*/ 1 w 53"/>
                  <a:gd name="T69" fmla="*/ 62 h 111"/>
                  <a:gd name="T70" fmla="*/ 1 w 53"/>
                  <a:gd name="T71" fmla="*/ 68 h 111"/>
                  <a:gd name="T72" fmla="*/ 5 w 53"/>
                  <a:gd name="T73" fmla="*/ 78 h 111"/>
                  <a:gd name="T74" fmla="*/ 13 w 53"/>
                  <a:gd name="T75" fmla="*/ 84 h 111"/>
                  <a:gd name="T76" fmla="*/ 13 w 53"/>
                  <a:gd name="T77" fmla="*/ 91 h 111"/>
                  <a:gd name="T78" fmla="*/ 19 w 53"/>
                  <a:gd name="T79" fmla="*/ 96 h 111"/>
                  <a:gd name="T80" fmla="*/ 25 w 53"/>
                  <a:gd name="T81" fmla="*/ 98 h 111"/>
                  <a:gd name="T82" fmla="*/ 31 w 53"/>
                  <a:gd name="T83" fmla="*/ 133 h 111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53"/>
                  <a:gd name="T127" fmla="*/ 0 h 111"/>
                  <a:gd name="T128" fmla="*/ 53 w 53"/>
                  <a:gd name="T129" fmla="*/ 111 h 111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53" h="111">
                    <a:moveTo>
                      <a:pt x="26" y="111"/>
                    </a:moveTo>
                    <a:cubicBezTo>
                      <a:pt x="28" y="110"/>
                      <a:pt x="31" y="109"/>
                      <a:pt x="33" y="107"/>
                    </a:cubicBezTo>
                    <a:cubicBezTo>
                      <a:pt x="34" y="105"/>
                      <a:pt x="35" y="103"/>
                      <a:pt x="35" y="101"/>
                    </a:cubicBezTo>
                    <a:cubicBezTo>
                      <a:pt x="35" y="97"/>
                      <a:pt x="33" y="94"/>
                      <a:pt x="33" y="90"/>
                    </a:cubicBezTo>
                    <a:cubicBezTo>
                      <a:pt x="34" y="88"/>
                      <a:pt x="37" y="89"/>
                      <a:pt x="38" y="87"/>
                    </a:cubicBezTo>
                    <a:cubicBezTo>
                      <a:pt x="40" y="86"/>
                      <a:pt x="42" y="83"/>
                      <a:pt x="44" y="81"/>
                    </a:cubicBezTo>
                    <a:cubicBezTo>
                      <a:pt x="46" y="79"/>
                      <a:pt x="50" y="78"/>
                      <a:pt x="52" y="76"/>
                    </a:cubicBezTo>
                    <a:cubicBezTo>
                      <a:pt x="53" y="75"/>
                      <a:pt x="50" y="74"/>
                      <a:pt x="50" y="73"/>
                    </a:cubicBezTo>
                    <a:cubicBezTo>
                      <a:pt x="49" y="70"/>
                      <a:pt x="50" y="67"/>
                      <a:pt x="51" y="65"/>
                    </a:cubicBezTo>
                    <a:cubicBezTo>
                      <a:pt x="47" y="63"/>
                      <a:pt x="42" y="61"/>
                      <a:pt x="38" y="58"/>
                    </a:cubicBezTo>
                    <a:cubicBezTo>
                      <a:pt x="37" y="58"/>
                      <a:pt x="35" y="57"/>
                      <a:pt x="34" y="55"/>
                    </a:cubicBezTo>
                    <a:cubicBezTo>
                      <a:pt x="33" y="53"/>
                      <a:pt x="31" y="51"/>
                      <a:pt x="32" y="48"/>
                    </a:cubicBezTo>
                    <a:cubicBezTo>
                      <a:pt x="33" y="46"/>
                      <a:pt x="37" y="47"/>
                      <a:pt x="39" y="45"/>
                    </a:cubicBezTo>
                    <a:cubicBezTo>
                      <a:pt x="41" y="42"/>
                      <a:pt x="43" y="39"/>
                      <a:pt x="44" y="35"/>
                    </a:cubicBezTo>
                    <a:cubicBezTo>
                      <a:pt x="45" y="32"/>
                      <a:pt x="46" y="28"/>
                      <a:pt x="44" y="25"/>
                    </a:cubicBezTo>
                    <a:cubicBezTo>
                      <a:pt x="43" y="22"/>
                      <a:pt x="39" y="23"/>
                      <a:pt x="38" y="21"/>
                    </a:cubicBezTo>
                    <a:cubicBezTo>
                      <a:pt x="36" y="20"/>
                      <a:pt x="36" y="18"/>
                      <a:pt x="37" y="17"/>
                    </a:cubicBezTo>
                    <a:cubicBezTo>
                      <a:pt x="38" y="15"/>
                      <a:pt x="41" y="15"/>
                      <a:pt x="42" y="14"/>
                    </a:cubicBezTo>
                    <a:cubicBezTo>
                      <a:pt x="43" y="12"/>
                      <a:pt x="45" y="10"/>
                      <a:pt x="45" y="8"/>
                    </a:cubicBezTo>
                    <a:cubicBezTo>
                      <a:pt x="45" y="7"/>
                      <a:pt x="46" y="3"/>
                      <a:pt x="44" y="4"/>
                    </a:cubicBezTo>
                    <a:cubicBezTo>
                      <a:pt x="42" y="4"/>
                      <a:pt x="41" y="8"/>
                      <a:pt x="39" y="9"/>
                    </a:cubicBezTo>
                    <a:cubicBezTo>
                      <a:pt x="38" y="10"/>
                      <a:pt x="35" y="10"/>
                      <a:pt x="34" y="8"/>
                    </a:cubicBezTo>
                    <a:cubicBezTo>
                      <a:pt x="33" y="7"/>
                      <a:pt x="37" y="5"/>
                      <a:pt x="36" y="3"/>
                    </a:cubicBezTo>
                    <a:cubicBezTo>
                      <a:pt x="35" y="1"/>
                      <a:pt x="32" y="2"/>
                      <a:pt x="30" y="1"/>
                    </a:cubicBezTo>
                    <a:cubicBezTo>
                      <a:pt x="27" y="1"/>
                      <a:pt x="25" y="0"/>
                      <a:pt x="22" y="1"/>
                    </a:cubicBezTo>
                    <a:cubicBezTo>
                      <a:pt x="19" y="2"/>
                      <a:pt x="17" y="4"/>
                      <a:pt x="14" y="6"/>
                    </a:cubicBezTo>
                    <a:cubicBezTo>
                      <a:pt x="14" y="6"/>
                      <a:pt x="14" y="8"/>
                      <a:pt x="14" y="9"/>
                    </a:cubicBezTo>
                    <a:cubicBezTo>
                      <a:pt x="13" y="10"/>
                      <a:pt x="12" y="11"/>
                      <a:pt x="11" y="12"/>
                    </a:cubicBezTo>
                    <a:cubicBezTo>
                      <a:pt x="11" y="13"/>
                      <a:pt x="9" y="13"/>
                      <a:pt x="9" y="14"/>
                    </a:cubicBezTo>
                    <a:cubicBezTo>
                      <a:pt x="9" y="15"/>
                      <a:pt x="11" y="16"/>
                      <a:pt x="12" y="18"/>
                    </a:cubicBezTo>
                    <a:cubicBezTo>
                      <a:pt x="12" y="20"/>
                      <a:pt x="11" y="21"/>
                      <a:pt x="11" y="22"/>
                    </a:cubicBezTo>
                    <a:cubicBezTo>
                      <a:pt x="11" y="26"/>
                      <a:pt x="12" y="29"/>
                      <a:pt x="12" y="33"/>
                    </a:cubicBezTo>
                    <a:cubicBezTo>
                      <a:pt x="12" y="36"/>
                      <a:pt x="12" y="40"/>
                      <a:pt x="10" y="42"/>
                    </a:cubicBezTo>
                    <a:cubicBezTo>
                      <a:pt x="10" y="44"/>
                      <a:pt x="7" y="45"/>
                      <a:pt x="6" y="46"/>
                    </a:cubicBezTo>
                    <a:cubicBezTo>
                      <a:pt x="4" y="48"/>
                      <a:pt x="2" y="50"/>
                      <a:pt x="1" y="52"/>
                    </a:cubicBezTo>
                    <a:cubicBezTo>
                      <a:pt x="0" y="54"/>
                      <a:pt x="0" y="56"/>
                      <a:pt x="1" y="57"/>
                    </a:cubicBezTo>
                    <a:cubicBezTo>
                      <a:pt x="1" y="60"/>
                      <a:pt x="2" y="63"/>
                      <a:pt x="4" y="65"/>
                    </a:cubicBezTo>
                    <a:cubicBezTo>
                      <a:pt x="6" y="67"/>
                      <a:pt x="9" y="68"/>
                      <a:pt x="11" y="70"/>
                    </a:cubicBezTo>
                    <a:cubicBezTo>
                      <a:pt x="12" y="72"/>
                      <a:pt x="10" y="74"/>
                      <a:pt x="11" y="76"/>
                    </a:cubicBezTo>
                    <a:cubicBezTo>
                      <a:pt x="12" y="78"/>
                      <a:pt x="14" y="79"/>
                      <a:pt x="16" y="80"/>
                    </a:cubicBezTo>
                    <a:cubicBezTo>
                      <a:pt x="17" y="81"/>
                      <a:pt x="20" y="81"/>
                      <a:pt x="21" y="82"/>
                    </a:cubicBezTo>
                    <a:lnTo>
                      <a:pt x="26" y="111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55" name="Freeform 2569"/>
              <p:cNvSpPr>
                <a:spLocks noChangeAspect="1"/>
              </p:cNvSpPr>
              <p:nvPr/>
            </p:nvSpPr>
            <p:spPr bwMode="auto">
              <a:xfrm>
                <a:off x="4591787" y="2896317"/>
                <a:ext cx="98429" cy="89712"/>
              </a:xfrm>
              <a:custGeom>
                <a:avLst/>
                <a:gdLst>
                  <a:gd name="T0" fmla="*/ 69 w 73"/>
                  <a:gd name="T1" fmla="*/ 2 h 90"/>
                  <a:gd name="T2" fmla="*/ 60 w 73"/>
                  <a:gd name="T3" fmla="*/ 0 h 90"/>
                  <a:gd name="T4" fmla="*/ 36 w 73"/>
                  <a:gd name="T5" fmla="*/ 0 h 90"/>
                  <a:gd name="T6" fmla="*/ 35 w 73"/>
                  <a:gd name="T7" fmla="*/ 4 h 90"/>
                  <a:gd name="T8" fmla="*/ 36 w 73"/>
                  <a:gd name="T9" fmla="*/ 19 h 90"/>
                  <a:gd name="T10" fmla="*/ 33 w 73"/>
                  <a:gd name="T11" fmla="*/ 22 h 90"/>
                  <a:gd name="T12" fmla="*/ 11 w 73"/>
                  <a:gd name="T13" fmla="*/ 20 h 90"/>
                  <a:gd name="T14" fmla="*/ 10 w 73"/>
                  <a:gd name="T15" fmla="*/ 30 h 90"/>
                  <a:gd name="T16" fmla="*/ 7 w 73"/>
                  <a:gd name="T17" fmla="*/ 41 h 90"/>
                  <a:gd name="T18" fmla="*/ 4 w 73"/>
                  <a:gd name="T19" fmla="*/ 54 h 90"/>
                  <a:gd name="T20" fmla="*/ 0 w 73"/>
                  <a:gd name="T21" fmla="*/ 52 h 90"/>
                  <a:gd name="T22" fmla="*/ 4 w 73"/>
                  <a:gd name="T23" fmla="*/ 62 h 90"/>
                  <a:gd name="T24" fmla="*/ 11 w 73"/>
                  <a:gd name="T25" fmla="*/ 68 h 90"/>
                  <a:gd name="T26" fmla="*/ 6 w 73"/>
                  <a:gd name="T27" fmla="*/ 70 h 90"/>
                  <a:gd name="T28" fmla="*/ 11 w 73"/>
                  <a:gd name="T29" fmla="*/ 74 h 90"/>
                  <a:gd name="T30" fmla="*/ 10 w 73"/>
                  <a:gd name="T31" fmla="*/ 79 h 90"/>
                  <a:gd name="T32" fmla="*/ 18 w 73"/>
                  <a:gd name="T33" fmla="*/ 84 h 90"/>
                  <a:gd name="T34" fmla="*/ 14 w 73"/>
                  <a:gd name="T35" fmla="*/ 85 h 90"/>
                  <a:gd name="T36" fmla="*/ 20 w 73"/>
                  <a:gd name="T37" fmla="*/ 92 h 90"/>
                  <a:gd name="T38" fmla="*/ 28 w 73"/>
                  <a:gd name="T39" fmla="*/ 103 h 90"/>
                  <a:gd name="T40" fmla="*/ 34 w 73"/>
                  <a:gd name="T41" fmla="*/ 108 h 90"/>
                  <a:gd name="T42" fmla="*/ 36 w 73"/>
                  <a:gd name="T43" fmla="*/ 102 h 90"/>
                  <a:gd name="T44" fmla="*/ 43 w 73"/>
                  <a:gd name="T45" fmla="*/ 103 h 90"/>
                  <a:gd name="T46" fmla="*/ 45 w 73"/>
                  <a:gd name="T47" fmla="*/ 95 h 90"/>
                  <a:gd name="T48" fmla="*/ 39 w 73"/>
                  <a:gd name="T49" fmla="*/ 89 h 90"/>
                  <a:gd name="T50" fmla="*/ 40 w 73"/>
                  <a:gd name="T51" fmla="*/ 80 h 90"/>
                  <a:gd name="T52" fmla="*/ 51 w 73"/>
                  <a:gd name="T53" fmla="*/ 82 h 90"/>
                  <a:gd name="T54" fmla="*/ 53 w 73"/>
                  <a:gd name="T55" fmla="*/ 73 h 90"/>
                  <a:gd name="T56" fmla="*/ 60 w 73"/>
                  <a:gd name="T57" fmla="*/ 79 h 90"/>
                  <a:gd name="T58" fmla="*/ 70 w 73"/>
                  <a:gd name="T59" fmla="*/ 78 h 90"/>
                  <a:gd name="T60" fmla="*/ 72 w 73"/>
                  <a:gd name="T61" fmla="*/ 82 h 90"/>
                  <a:gd name="T62" fmla="*/ 77 w 73"/>
                  <a:gd name="T63" fmla="*/ 82 h 90"/>
                  <a:gd name="T64" fmla="*/ 78 w 73"/>
                  <a:gd name="T65" fmla="*/ 71 h 90"/>
                  <a:gd name="T66" fmla="*/ 78 w 73"/>
                  <a:gd name="T67" fmla="*/ 59 h 90"/>
                  <a:gd name="T68" fmla="*/ 81 w 73"/>
                  <a:gd name="T69" fmla="*/ 50 h 90"/>
                  <a:gd name="T70" fmla="*/ 74 w 73"/>
                  <a:gd name="T71" fmla="*/ 48 h 90"/>
                  <a:gd name="T72" fmla="*/ 76 w 73"/>
                  <a:gd name="T73" fmla="*/ 35 h 90"/>
                  <a:gd name="T74" fmla="*/ 84 w 73"/>
                  <a:gd name="T75" fmla="*/ 30 h 90"/>
                  <a:gd name="T76" fmla="*/ 84 w 73"/>
                  <a:gd name="T77" fmla="*/ 18 h 90"/>
                  <a:gd name="T78" fmla="*/ 68 w 73"/>
                  <a:gd name="T79" fmla="*/ 17 h 90"/>
                  <a:gd name="T80" fmla="*/ 65 w 73"/>
                  <a:gd name="T81" fmla="*/ 11 h 90"/>
                  <a:gd name="T82" fmla="*/ 69 w 73"/>
                  <a:gd name="T83" fmla="*/ 2 h 90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73"/>
                  <a:gd name="T127" fmla="*/ 0 h 90"/>
                  <a:gd name="T128" fmla="*/ 73 w 73"/>
                  <a:gd name="T129" fmla="*/ 90 h 90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73" h="90">
                    <a:moveTo>
                      <a:pt x="57" y="2"/>
                    </a:moveTo>
                    <a:cubicBezTo>
                      <a:pt x="54" y="1"/>
                      <a:pt x="52" y="1"/>
                      <a:pt x="50" y="0"/>
                    </a:cubicBezTo>
                    <a:cubicBezTo>
                      <a:pt x="43" y="0"/>
                      <a:pt x="36" y="0"/>
                      <a:pt x="30" y="0"/>
                    </a:cubicBezTo>
                    <a:cubicBezTo>
                      <a:pt x="29" y="1"/>
                      <a:pt x="29" y="2"/>
                      <a:pt x="29" y="3"/>
                    </a:cubicBezTo>
                    <a:cubicBezTo>
                      <a:pt x="29" y="7"/>
                      <a:pt x="31" y="12"/>
                      <a:pt x="30" y="16"/>
                    </a:cubicBezTo>
                    <a:cubicBezTo>
                      <a:pt x="29" y="17"/>
                      <a:pt x="28" y="18"/>
                      <a:pt x="27" y="18"/>
                    </a:cubicBezTo>
                    <a:cubicBezTo>
                      <a:pt x="21" y="18"/>
                      <a:pt x="15" y="17"/>
                      <a:pt x="9" y="17"/>
                    </a:cubicBezTo>
                    <a:cubicBezTo>
                      <a:pt x="9" y="20"/>
                      <a:pt x="9" y="22"/>
                      <a:pt x="8" y="25"/>
                    </a:cubicBezTo>
                    <a:cubicBezTo>
                      <a:pt x="8" y="28"/>
                      <a:pt x="7" y="31"/>
                      <a:pt x="6" y="34"/>
                    </a:cubicBezTo>
                    <a:cubicBezTo>
                      <a:pt x="5" y="38"/>
                      <a:pt x="5" y="42"/>
                      <a:pt x="3" y="45"/>
                    </a:cubicBezTo>
                    <a:cubicBezTo>
                      <a:pt x="2" y="46"/>
                      <a:pt x="0" y="42"/>
                      <a:pt x="0" y="43"/>
                    </a:cubicBezTo>
                    <a:cubicBezTo>
                      <a:pt x="0" y="47"/>
                      <a:pt x="1" y="50"/>
                      <a:pt x="3" y="52"/>
                    </a:cubicBezTo>
                    <a:cubicBezTo>
                      <a:pt x="4" y="54"/>
                      <a:pt x="8" y="55"/>
                      <a:pt x="9" y="57"/>
                    </a:cubicBezTo>
                    <a:cubicBezTo>
                      <a:pt x="9" y="58"/>
                      <a:pt x="5" y="57"/>
                      <a:pt x="5" y="58"/>
                    </a:cubicBezTo>
                    <a:cubicBezTo>
                      <a:pt x="5" y="60"/>
                      <a:pt x="8" y="61"/>
                      <a:pt x="9" y="62"/>
                    </a:cubicBezTo>
                    <a:cubicBezTo>
                      <a:pt x="9" y="64"/>
                      <a:pt x="7" y="65"/>
                      <a:pt x="8" y="66"/>
                    </a:cubicBezTo>
                    <a:cubicBezTo>
                      <a:pt x="10" y="68"/>
                      <a:pt x="13" y="68"/>
                      <a:pt x="15" y="70"/>
                    </a:cubicBezTo>
                    <a:cubicBezTo>
                      <a:pt x="15" y="71"/>
                      <a:pt x="11" y="70"/>
                      <a:pt x="12" y="71"/>
                    </a:cubicBezTo>
                    <a:cubicBezTo>
                      <a:pt x="12" y="74"/>
                      <a:pt x="15" y="75"/>
                      <a:pt x="17" y="77"/>
                    </a:cubicBezTo>
                    <a:cubicBezTo>
                      <a:pt x="19" y="80"/>
                      <a:pt x="21" y="83"/>
                      <a:pt x="23" y="86"/>
                    </a:cubicBezTo>
                    <a:cubicBezTo>
                      <a:pt x="25" y="88"/>
                      <a:pt x="26" y="88"/>
                      <a:pt x="28" y="90"/>
                    </a:cubicBezTo>
                    <a:cubicBezTo>
                      <a:pt x="29" y="88"/>
                      <a:pt x="29" y="86"/>
                      <a:pt x="30" y="85"/>
                    </a:cubicBezTo>
                    <a:cubicBezTo>
                      <a:pt x="32" y="84"/>
                      <a:pt x="35" y="87"/>
                      <a:pt x="36" y="86"/>
                    </a:cubicBezTo>
                    <a:cubicBezTo>
                      <a:pt x="37" y="84"/>
                      <a:pt x="37" y="81"/>
                      <a:pt x="37" y="79"/>
                    </a:cubicBezTo>
                    <a:cubicBezTo>
                      <a:pt x="36" y="77"/>
                      <a:pt x="32" y="76"/>
                      <a:pt x="32" y="74"/>
                    </a:cubicBezTo>
                    <a:cubicBezTo>
                      <a:pt x="31" y="71"/>
                      <a:pt x="31" y="68"/>
                      <a:pt x="33" y="67"/>
                    </a:cubicBezTo>
                    <a:cubicBezTo>
                      <a:pt x="36" y="65"/>
                      <a:pt x="40" y="70"/>
                      <a:pt x="42" y="68"/>
                    </a:cubicBezTo>
                    <a:cubicBezTo>
                      <a:pt x="44" y="67"/>
                      <a:pt x="42" y="62"/>
                      <a:pt x="44" y="61"/>
                    </a:cubicBezTo>
                    <a:cubicBezTo>
                      <a:pt x="47" y="60"/>
                      <a:pt x="48" y="65"/>
                      <a:pt x="50" y="66"/>
                    </a:cubicBezTo>
                    <a:cubicBezTo>
                      <a:pt x="53" y="67"/>
                      <a:pt x="56" y="65"/>
                      <a:pt x="58" y="65"/>
                    </a:cubicBezTo>
                    <a:cubicBezTo>
                      <a:pt x="59" y="66"/>
                      <a:pt x="59" y="68"/>
                      <a:pt x="60" y="68"/>
                    </a:cubicBezTo>
                    <a:cubicBezTo>
                      <a:pt x="61" y="69"/>
                      <a:pt x="63" y="70"/>
                      <a:pt x="64" y="68"/>
                    </a:cubicBezTo>
                    <a:cubicBezTo>
                      <a:pt x="66" y="66"/>
                      <a:pt x="65" y="62"/>
                      <a:pt x="65" y="59"/>
                    </a:cubicBezTo>
                    <a:cubicBezTo>
                      <a:pt x="65" y="56"/>
                      <a:pt x="65" y="52"/>
                      <a:pt x="65" y="49"/>
                    </a:cubicBezTo>
                    <a:cubicBezTo>
                      <a:pt x="65" y="47"/>
                      <a:pt x="68" y="44"/>
                      <a:pt x="67" y="42"/>
                    </a:cubicBezTo>
                    <a:cubicBezTo>
                      <a:pt x="66" y="40"/>
                      <a:pt x="62" y="42"/>
                      <a:pt x="61" y="40"/>
                    </a:cubicBezTo>
                    <a:cubicBezTo>
                      <a:pt x="60" y="36"/>
                      <a:pt x="61" y="32"/>
                      <a:pt x="63" y="29"/>
                    </a:cubicBezTo>
                    <a:cubicBezTo>
                      <a:pt x="64" y="27"/>
                      <a:pt x="68" y="27"/>
                      <a:pt x="70" y="25"/>
                    </a:cubicBezTo>
                    <a:cubicBezTo>
                      <a:pt x="71" y="22"/>
                      <a:pt x="73" y="17"/>
                      <a:pt x="70" y="15"/>
                    </a:cubicBezTo>
                    <a:cubicBezTo>
                      <a:pt x="67" y="12"/>
                      <a:pt x="60" y="16"/>
                      <a:pt x="56" y="14"/>
                    </a:cubicBezTo>
                    <a:cubicBezTo>
                      <a:pt x="54" y="14"/>
                      <a:pt x="54" y="11"/>
                      <a:pt x="54" y="9"/>
                    </a:cubicBezTo>
                    <a:cubicBezTo>
                      <a:pt x="54" y="7"/>
                      <a:pt x="56" y="4"/>
                      <a:pt x="57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56" name="Freeform 2570"/>
              <p:cNvSpPr>
                <a:spLocks noChangeAspect="1"/>
              </p:cNvSpPr>
              <p:nvPr/>
            </p:nvSpPr>
            <p:spPr bwMode="auto">
              <a:xfrm>
                <a:off x="4602971" y="2897978"/>
                <a:ext cx="30200" cy="16614"/>
              </a:xfrm>
              <a:custGeom>
                <a:avLst/>
                <a:gdLst>
                  <a:gd name="T0" fmla="*/ 1 w 23"/>
                  <a:gd name="T1" fmla="*/ 19 h 16"/>
                  <a:gd name="T2" fmla="*/ 1 w 23"/>
                  <a:gd name="T3" fmla="*/ 7 h 16"/>
                  <a:gd name="T4" fmla="*/ 2 w 23"/>
                  <a:gd name="T5" fmla="*/ 0 h 16"/>
                  <a:gd name="T6" fmla="*/ 25 w 23"/>
                  <a:gd name="T7" fmla="*/ 1 h 16"/>
                  <a:gd name="T8" fmla="*/ 26 w 23"/>
                  <a:gd name="T9" fmla="*/ 17 h 16"/>
                  <a:gd name="T10" fmla="*/ 22 w 23"/>
                  <a:gd name="T11" fmla="*/ 20 h 16"/>
                  <a:gd name="T12" fmla="*/ 1 w 23"/>
                  <a:gd name="T13" fmla="*/ 19 h 1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3"/>
                  <a:gd name="T22" fmla="*/ 0 h 16"/>
                  <a:gd name="T23" fmla="*/ 23 w 23"/>
                  <a:gd name="T24" fmla="*/ 16 h 1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3" h="16">
                    <a:moveTo>
                      <a:pt x="1" y="15"/>
                    </a:moveTo>
                    <a:cubicBezTo>
                      <a:pt x="1" y="12"/>
                      <a:pt x="0" y="9"/>
                      <a:pt x="1" y="6"/>
                    </a:cubicBezTo>
                    <a:cubicBezTo>
                      <a:pt x="1" y="4"/>
                      <a:pt x="2" y="2"/>
                      <a:pt x="2" y="0"/>
                    </a:cubicBezTo>
                    <a:lnTo>
                      <a:pt x="21" y="1"/>
                    </a:lnTo>
                    <a:cubicBezTo>
                      <a:pt x="21" y="5"/>
                      <a:pt x="23" y="10"/>
                      <a:pt x="22" y="14"/>
                    </a:cubicBezTo>
                    <a:cubicBezTo>
                      <a:pt x="21" y="15"/>
                      <a:pt x="20" y="16"/>
                      <a:pt x="19" y="16"/>
                    </a:cubicBezTo>
                    <a:cubicBezTo>
                      <a:pt x="13" y="16"/>
                      <a:pt x="7" y="15"/>
                      <a:pt x="1" y="15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57" name="Freeform 2571"/>
              <p:cNvSpPr>
                <a:spLocks noChangeAspect="1"/>
              </p:cNvSpPr>
              <p:nvPr/>
            </p:nvSpPr>
            <p:spPr bwMode="auto">
              <a:xfrm>
                <a:off x="4582839" y="2743474"/>
                <a:ext cx="133100" cy="161980"/>
              </a:xfrm>
              <a:custGeom>
                <a:avLst/>
                <a:gdLst>
                  <a:gd name="T0" fmla="*/ 23 w 99"/>
                  <a:gd name="T1" fmla="*/ 175 h 162"/>
                  <a:gd name="T2" fmla="*/ 19 w 99"/>
                  <a:gd name="T3" fmla="*/ 158 h 162"/>
                  <a:gd name="T4" fmla="*/ 16 w 99"/>
                  <a:gd name="T5" fmla="*/ 156 h 162"/>
                  <a:gd name="T6" fmla="*/ 7 w 99"/>
                  <a:gd name="T7" fmla="*/ 144 h 162"/>
                  <a:gd name="T8" fmla="*/ 0 w 99"/>
                  <a:gd name="T9" fmla="*/ 141 h 162"/>
                  <a:gd name="T10" fmla="*/ 5 w 99"/>
                  <a:gd name="T11" fmla="*/ 122 h 162"/>
                  <a:gd name="T12" fmla="*/ 18 w 99"/>
                  <a:gd name="T13" fmla="*/ 110 h 162"/>
                  <a:gd name="T14" fmla="*/ 30 w 99"/>
                  <a:gd name="T15" fmla="*/ 105 h 162"/>
                  <a:gd name="T16" fmla="*/ 34 w 99"/>
                  <a:gd name="T17" fmla="*/ 101 h 162"/>
                  <a:gd name="T18" fmla="*/ 47 w 99"/>
                  <a:gd name="T19" fmla="*/ 111 h 162"/>
                  <a:gd name="T20" fmla="*/ 58 w 99"/>
                  <a:gd name="T21" fmla="*/ 88 h 162"/>
                  <a:gd name="T22" fmla="*/ 66 w 99"/>
                  <a:gd name="T23" fmla="*/ 72 h 162"/>
                  <a:gd name="T24" fmla="*/ 73 w 99"/>
                  <a:gd name="T25" fmla="*/ 54 h 162"/>
                  <a:gd name="T26" fmla="*/ 77 w 99"/>
                  <a:gd name="T27" fmla="*/ 42 h 162"/>
                  <a:gd name="T28" fmla="*/ 95 w 99"/>
                  <a:gd name="T29" fmla="*/ 24 h 162"/>
                  <a:gd name="T30" fmla="*/ 85 w 99"/>
                  <a:gd name="T31" fmla="*/ 8 h 162"/>
                  <a:gd name="T32" fmla="*/ 93 w 99"/>
                  <a:gd name="T33" fmla="*/ 0 h 162"/>
                  <a:gd name="T34" fmla="*/ 101 w 99"/>
                  <a:gd name="T35" fmla="*/ 30 h 162"/>
                  <a:gd name="T36" fmla="*/ 112 w 99"/>
                  <a:gd name="T37" fmla="*/ 52 h 162"/>
                  <a:gd name="T38" fmla="*/ 97 w 99"/>
                  <a:gd name="T39" fmla="*/ 51 h 162"/>
                  <a:gd name="T40" fmla="*/ 85 w 99"/>
                  <a:gd name="T41" fmla="*/ 57 h 162"/>
                  <a:gd name="T42" fmla="*/ 101 w 99"/>
                  <a:gd name="T43" fmla="*/ 75 h 162"/>
                  <a:gd name="T44" fmla="*/ 109 w 99"/>
                  <a:gd name="T45" fmla="*/ 90 h 162"/>
                  <a:gd name="T46" fmla="*/ 103 w 99"/>
                  <a:gd name="T47" fmla="*/ 102 h 162"/>
                  <a:gd name="T48" fmla="*/ 93 w 99"/>
                  <a:gd name="T49" fmla="*/ 119 h 162"/>
                  <a:gd name="T50" fmla="*/ 96 w 99"/>
                  <a:gd name="T51" fmla="*/ 144 h 162"/>
                  <a:gd name="T52" fmla="*/ 105 w 99"/>
                  <a:gd name="T53" fmla="*/ 153 h 162"/>
                  <a:gd name="T54" fmla="*/ 109 w 99"/>
                  <a:gd name="T55" fmla="*/ 170 h 162"/>
                  <a:gd name="T56" fmla="*/ 119 w 99"/>
                  <a:gd name="T57" fmla="*/ 182 h 162"/>
                  <a:gd name="T58" fmla="*/ 118 w 99"/>
                  <a:gd name="T59" fmla="*/ 195 h 162"/>
                  <a:gd name="T60" fmla="*/ 77 w 99"/>
                  <a:gd name="T61" fmla="*/ 187 h 162"/>
                  <a:gd name="T62" fmla="*/ 44 w 99"/>
                  <a:gd name="T63" fmla="*/ 184 h 162"/>
                  <a:gd name="T64" fmla="*/ 20 w 99"/>
                  <a:gd name="T65" fmla="*/ 187 h 16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99"/>
                  <a:gd name="T100" fmla="*/ 0 h 162"/>
                  <a:gd name="T101" fmla="*/ 99 w 99"/>
                  <a:gd name="T102" fmla="*/ 162 h 162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99" h="162">
                    <a:moveTo>
                      <a:pt x="17" y="155"/>
                    </a:moveTo>
                    <a:cubicBezTo>
                      <a:pt x="18" y="152"/>
                      <a:pt x="18" y="149"/>
                      <a:pt x="19" y="145"/>
                    </a:cubicBezTo>
                    <a:cubicBezTo>
                      <a:pt x="19" y="143"/>
                      <a:pt x="18" y="141"/>
                      <a:pt x="18" y="139"/>
                    </a:cubicBezTo>
                    <a:cubicBezTo>
                      <a:pt x="18" y="137"/>
                      <a:pt x="16" y="134"/>
                      <a:pt x="16" y="131"/>
                    </a:cubicBezTo>
                    <a:cubicBezTo>
                      <a:pt x="16" y="130"/>
                      <a:pt x="17" y="128"/>
                      <a:pt x="16" y="128"/>
                    </a:cubicBezTo>
                    <a:cubicBezTo>
                      <a:pt x="15" y="127"/>
                      <a:pt x="14" y="130"/>
                      <a:pt x="13" y="130"/>
                    </a:cubicBezTo>
                    <a:cubicBezTo>
                      <a:pt x="11" y="129"/>
                      <a:pt x="8" y="128"/>
                      <a:pt x="7" y="127"/>
                    </a:cubicBezTo>
                    <a:cubicBezTo>
                      <a:pt x="6" y="125"/>
                      <a:pt x="8" y="121"/>
                      <a:pt x="6" y="120"/>
                    </a:cubicBezTo>
                    <a:cubicBezTo>
                      <a:pt x="5" y="119"/>
                      <a:pt x="3" y="123"/>
                      <a:pt x="2" y="122"/>
                    </a:cubicBezTo>
                    <a:cubicBezTo>
                      <a:pt x="0" y="121"/>
                      <a:pt x="1" y="119"/>
                      <a:pt x="0" y="117"/>
                    </a:cubicBezTo>
                    <a:cubicBezTo>
                      <a:pt x="2" y="115"/>
                      <a:pt x="4" y="113"/>
                      <a:pt x="5" y="111"/>
                    </a:cubicBezTo>
                    <a:cubicBezTo>
                      <a:pt x="5" y="108"/>
                      <a:pt x="3" y="104"/>
                      <a:pt x="4" y="101"/>
                    </a:cubicBezTo>
                    <a:cubicBezTo>
                      <a:pt x="5" y="99"/>
                      <a:pt x="7" y="97"/>
                      <a:pt x="8" y="95"/>
                    </a:cubicBezTo>
                    <a:cubicBezTo>
                      <a:pt x="10" y="93"/>
                      <a:pt x="13" y="92"/>
                      <a:pt x="15" y="91"/>
                    </a:cubicBezTo>
                    <a:cubicBezTo>
                      <a:pt x="17" y="89"/>
                      <a:pt x="18" y="85"/>
                      <a:pt x="21" y="84"/>
                    </a:cubicBezTo>
                    <a:cubicBezTo>
                      <a:pt x="22" y="84"/>
                      <a:pt x="23" y="86"/>
                      <a:pt x="25" y="87"/>
                    </a:cubicBezTo>
                    <a:cubicBezTo>
                      <a:pt x="26" y="87"/>
                      <a:pt x="27" y="87"/>
                      <a:pt x="27" y="86"/>
                    </a:cubicBezTo>
                    <a:cubicBezTo>
                      <a:pt x="28" y="86"/>
                      <a:pt x="28" y="83"/>
                      <a:pt x="28" y="84"/>
                    </a:cubicBezTo>
                    <a:cubicBezTo>
                      <a:pt x="31" y="85"/>
                      <a:pt x="32" y="89"/>
                      <a:pt x="34" y="91"/>
                    </a:cubicBezTo>
                    <a:cubicBezTo>
                      <a:pt x="35" y="92"/>
                      <a:pt x="38" y="93"/>
                      <a:pt x="39" y="92"/>
                    </a:cubicBezTo>
                    <a:cubicBezTo>
                      <a:pt x="42" y="90"/>
                      <a:pt x="43" y="85"/>
                      <a:pt x="44" y="82"/>
                    </a:cubicBezTo>
                    <a:cubicBezTo>
                      <a:pt x="46" y="79"/>
                      <a:pt x="47" y="76"/>
                      <a:pt x="48" y="73"/>
                    </a:cubicBezTo>
                    <a:cubicBezTo>
                      <a:pt x="48" y="71"/>
                      <a:pt x="47" y="69"/>
                      <a:pt x="48" y="67"/>
                    </a:cubicBezTo>
                    <a:cubicBezTo>
                      <a:pt x="50" y="64"/>
                      <a:pt x="53" y="63"/>
                      <a:pt x="55" y="60"/>
                    </a:cubicBezTo>
                    <a:cubicBezTo>
                      <a:pt x="56" y="57"/>
                      <a:pt x="55" y="53"/>
                      <a:pt x="57" y="50"/>
                    </a:cubicBezTo>
                    <a:cubicBezTo>
                      <a:pt x="58" y="48"/>
                      <a:pt x="60" y="47"/>
                      <a:pt x="61" y="45"/>
                    </a:cubicBezTo>
                    <a:cubicBezTo>
                      <a:pt x="62" y="44"/>
                      <a:pt x="61" y="42"/>
                      <a:pt x="61" y="41"/>
                    </a:cubicBezTo>
                    <a:cubicBezTo>
                      <a:pt x="61" y="39"/>
                      <a:pt x="63" y="37"/>
                      <a:pt x="64" y="35"/>
                    </a:cubicBezTo>
                    <a:cubicBezTo>
                      <a:pt x="65" y="31"/>
                      <a:pt x="66" y="27"/>
                      <a:pt x="69" y="24"/>
                    </a:cubicBezTo>
                    <a:cubicBezTo>
                      <a:pt x="71" y="22"/>
                      <a:pt x="77" y="23"/>
                      <a:pt x="79" y="20"/>
                    </a:cubicBezTo>
                    <a:cubicBezTo>
                      <a:pt x="80" y="17"/>
                      <a:pt x="78" y="13"/>
                      <a:pt x="77" y="10"/>
                    </a:cubicBezTo>
                    <a:cubicBezTo>
                      <a:pt x="76" y="8"/>
                      <a:pt x="72" y="9"/>
                      <a:pt x="71" y="7"/>
                    </a:cubicBezTo>
                    <a:cubicBezTo>
                      <a:pt x="71" y="5"/>
                      <a:pt x="72" y="2"/>
                      <a:pt x="73" y="1"/>
                    </a:cubicBezTo>
                    <a:cubicBezTo>
                      <a:pt x="74" y="1"/>
                      <a:pt x="76" y="0"/>
                      <a:pt x="77" y="0"/>
                    </a:cubicBezTo>
                    <a:cubicBezTo>
                      <a:pt x="80" y="4"/>
                      <a:pt x="82" y="8"/>
                      <a:pt x="83" y="12"/>
                    </a:cubicBezTo>
                    <a:cubicBezTo>
                      <a:pt x="84" y="16"/>
                      <a:pt x="83" y="21"/>
                      <a:pt x="84" y="25"/>
                    </a:cubicBezTo>
                    <a:cubicBezTo>
                      <a:pt x="84" y="29"/>
                      <a:pt x="84" y="32"/>
                      <a:pt x="86" y="35"/>
                    </a:cubicBezTo>
                    <a:cubicBezTo>
                      <a:pt x="88" y="38"/>
                      <a:pt x="91" y="39"/>
                      <a:pt x="93" y="43"/>
                    </a:cubicBezTo>
                    <a:cubicBezTo>
                      <a:pt x="90" y="43"/>
                      <a:pt x="87" y="42"/>
                      <a:pt x="84" y="42"/>
                    </a:cubicBezTo>
                    <a:cubicBezTo>
                      <a:pt x="83" y="42"/>
                      <a:pt x="82" y="43"/>
                      <a:pt x="81" y="42"/>
                    </a:cubicBezTo>
                    <a:cubicBezTo>
                      <a:pt x="78" y="42"/>
                      <a:pt x="76" y="40"/>
                      <a:pt x="73" y="41"/>
                    </a:cubicBezTo>
                    <a:cubicBezTo>
                      <a:pt x="71" y="42"/>
                      <a:pt x="70" y="45"/>
                      <a:pt x="71" y="47"/>
                    </a:cubicBezTo>
                    <a:cubicBezTo>
                      <a:pt x="71" y="49"/>
                      <a:pt x="75" y="51"/>
                      <a:pt x="76" y="53"/>
                    </a:cubicBezTo>
                    <a:cubicBezTo>
                      <a:pt x="79" y="56"/>
                      <a:pt x="81" y="59"/>
                      <a:pt x="84" y="62"/>
                    </a:cubicBezTo>
                    <a:cubicBezTo>
                      <a:pt x="85" y="64"/>
                      <a:pt x="87" y="66"/>
                      <a:pt x="88" y="69"/>
                    </a:cubicBezTo>
                    <a:cubicBezTo>
                      <a:pt x="89" y="71"/>
                      <a:pt x="90" y="73"/>
                      <a:pt x="91" y="75"/>
                    </a:cubicBezTo>
                    <a:cubicBezTo>
                      <a:pt x="91" y="75"/>
                      <a:pt x="91" y="76"/>
                      <a:pt x="91" y="77"/>
                    </a:cubicBezTo>
                    <a:cubicBezTo>
                      <a:pt x="89" y="79"/>
                      <a:pt x="88" y="82"/>
                      <a:pt x="86" y="85"/>
                    </a:cubicBezTo>
                    <a:cubicBezTo>
                      <a:pt x="85" y="89"/>
                      <a:pt x="85" y="93"/>
                      <a:pt x="82" y="96"/>
                    </a:cubicBezTo>
                    <a:cubicBezTo>
                      <a:pt x="81" y="98"/>
                      <a:pt x="77" y="97"/>
                      <a:pt x="77" y="99"/>
                    </a:cubicBezTo>
                    <a:cubicBezTo>
                      <a:pt x="76" y="102"/>
                      <a:pt x="80" y="103"/>
                      <a:pt x="81" y="105"/>
                    </a:cubicBezTo>
                    <a:cubicBezTo>
                      <a:pt x="81" y="110"/>
                      <a:pt x="79" y="115"/>
                      <a:pt x="80" y="120"/>
                    </a:cubicBezTo>
                    <a:cubicBezTo>
                      <a:pt x="80" y="122"/>
                      <a:pt x="81" y="123"/>
                      <a:pt x="82" y="124"/>
                    </a:cubicBezTo>
                    <a:cubicBezTo>
                      <a:pt x="83" y="125"/>
                      <a:pt x="86" y="125"/>
                      <a:pt x="87" y="127"/>
                    </a:cubicBezTo>
                    <a:cubicBezTo>
                      <a:pt x="88" y="128"/>
                      <a:pt x="87" y="130"/>
                      <a:pt x="87" y="131"/>
                    </a:cubicBezTo>
                    <a:cubicBezTo>
                      <a:pt x="88" y="135"/>
                      <a:pt x="89" y="138"/>
                      <a:pt x="91" y="141"/>
                    </a:cubicBezTo>
                    <a:cubicBezTo>
                      <a:pt x="92" y="142"/>
                      <a:pt x="95" y="142"/>
                      <a:pt x="95" y="143"/>
                    </a:cubicBezTo>
                    <a:cubicBezTo>
                      <a:pt x="97" y="145"/>
                      <a:pt x="98" y="148"/>
                      <a:pt x="99" y="151"/>
                    </a:cubicBezTo>
                    <a:cubicBezTo>
                      <a:pt x="98" y="153"/>
                      <a:pt x="98" y="155"/>
                      <a:pt x="98" y="157"/>
                    </a:cubicBezTo>
                    <a:cubicBezTo>
                      <a:pt x="97" y="159"/>
                      <a:pt x="99" y="162"/>
                      <a:pt x="98" y="162"/>
                    </a:cubicBezTo>
                    <a:cubicBezTo>
                      <a:pt x="91" y="161"/>
                      <a:pt x="85" y="156"/>
                      <a:pt x="78" y="155"/>
                    </a:cubicBezTo>
                    <a:cubicBezTo>
                      <a:pt x="73" y="154"/>
                      <a:pt x="69" y="155"/>
                      <a:pt x="64" y="155"/>
                    </a:cubicBezTo>
                    <a:cubicBezTo>
                      <a:pt x="61" y="154"/>
                      <a:pt x="59" y="154"/>
                      <a:pt x="57" y="153"/>
                    </a:cubicBezTo>
                    <a:cubicBezTo>
                      <a:pt x="50" y="153"/>
                      <a:pt x="43" y="153"/>
                      <a:pt x="37" y="153"/>
                    </a:cubicBezTo>
                    <a:cubicBezTo>
                      <a:pt x="36" y="154"/>
                      <a:pt x="36" y="155"/>
                      <a:pt x="36" y="156"/>
                    </a:cubicBezTo>
                    <a:lnTo>
                      <a:pt x="17" y="155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58" name="Freeform 2572"/>
              <p:cNvSpPr>
                <a:spLocks noChangeAspect="1"/>
              </p:cNvSpPr>
              <p:nvPr/>
            </p:nvSpPr>
            <p:spPr bwMode="auto">
              <a:xfrm>
                <a:off x="4670082" y="2588972"/>
                <a:ext cx="174484" cy="231756"/>
              </a:xfrm>
              <a:custGeom>
                <a:avLst/>
                <a:gdLst>
                  <a:gd name="T0" fmla="*/ 31 w 130"/>
                  <a:gd name="T1" fmla="*/ 279 h 232"/>
                  <a:gd name="T2" fmla="*/ 40 w 130"/>
                  <a:gd name="T3" fmla="*/ 278 h 232"/>
                  <a:gd name="T4" fmla="*/ 47 w 130"/>
                  <a:gd name="T5" fmla="*/ 274 h 232"/>
                  <a:gd name="T6" fmla="*/ 54 w 130"/>
                  <a:gd name="T7" fmla="*/ 278 h 232"/>
                  <a:gd name="T8" fmla="*/ 58 w 130"/>
                  <a:gd name="T9" fmla="*/ 273 h 232"/>
                  <a:gd name="T10" fmla="*/ 71 w 130"/>
                  <a:gd name="T11" fmla="*/ 271 h 232"/>
                  <a:gd name="T12" fmla="*/ 76 w 130"/>
                  <a:gd name="T13" fmla="*/ 271 h 232"/>
                  <a:gd name="T14" fmla="*/ 80 w 130"/>
                  <a:gd name="T15" fmla="*/ 266 h 232"/>
                  <a:gd name="T16" fmla="*/ 85 w 130"/>
                  <a:gd name="T17" fmla="*/ 260 h 232"/>
                  <a:gd name="T18" fmla="*/ 80 w 130"/>
                  <a:gd name="T19" fmla="*/ 257 h 232"/>
                  <a:gd name="T20" fmla="*/ 85 w 130"/>
                  <a:gd name="T21" fmla="*/ 254 h 232"/>
                  <a:gd name="T22" fmla="*/ 98 w 130"/>
                  <a:gd name="T23" fmla="*/ 254 h 232"/>
                  <a:gd name="T24" fmla="*/ 112 w 130"/>
                  <a:gd name="T25" fmla="*/ 248 h 232"/>
                  <a:gd name="T26" fmla="*/ 114 w 130"/>
                  <a:gd name="T27" fmla="*/ 238 h 232"/>
                  <a:gd name="T28" fmla="*/ 120 w 130"/>
                  <a:gd name="T29" fmla="*/ 238 h 232"/>
                  <a:gd name="T30" fmla="*/ 126 w 130"/>
                  <a:gd name="T31" fmla="*/ 231 h 232"/>
                  <a:gd name="T32" fmla="*/ 126 w 130"/>
                  <a:gd name="T33" fmla="*/ 222 h 232"/>
                  <a:gd name="T34" fmla="*/ 139 w 130"/>
                  <a:gd name="T35" fmla="*/ 220 h 232"/>
                  <a:gd name="T36" fmla="*/ 140 w 130"/>
                  <a:gd name="T37" fmla="*/ 215 h 232"/>
                  <a:gd name="T38" fmla="*/ 134 w 130"/>
                  <a:gd name="T39" fmla="*/ 208 h 232"/>
                  <a:gd name="T40" fmla="*/ 138 w 130"/>
                  <a:gd name="T41" fmla="*/ 203 h 232"/>
                  <a:gd name="T42" fmla="*/ 134 w 130"/>
                  <a:gd name="T43" fmla="*/ 202 h 232"/>
                  <a:gd name="T44" fmla="*/ 133 w 130"/>
                  <a:gd name="T45" fmla="*/ 190 h 232"/>
                  <a:gd name="T46" fmla="*/ 125 w 130"/>
                  <a:gd name="T47" fmla="*/ 192 h 232"/>
                  <a:gd name="T48" fmla="*/ 125 w 130"/>
                  <a:gd name="T49" fmla="*/ 186 h 232"/>
                  <a:gd name="T50" fmla="*/ 131 w 130"/>
                  <a:gd name="T51" fmla="*/ 179 h 232"/>
                  <a:gd name="T52" fmla="*/ 130 w 130"/>
                  <a:gd name="T53" fmla="*/ 168 h 232"/>
                  <a:gd name="T54" fmla="*/ 136 w 130"/>
                  <a:gd name="T55" fmla="*/ 165 h 232"/>
                  <a:gd name="T56" fmla="*/ 132 w 130"/>
                  <a:gd name="T57" fmla="*/ 158 h 232"/>
                  <a:gd name="T58" fmla="*/ 136 w 130"/>
                  <a:gd name="T59" fmla="*/ 154 h 232"/>
                  <a:gd name="T60" fmla="*/ 142 w 130"/>
                  <a:gd name="T61" fmla="*/ 146 h 232"/>
                  <a:gd name="T62" fmla="*/ 140 w 130"/>
                  <a:gd name="T63" fmla="*/ 140 h 232"/>
                  <a:gd name="T64" fmla="*/ 146 w 130"/>
                  <a:gd name="T65" fmla="*/ 136 h 232"/>
                  <a:gd name="T66" fmla="*/ 154 w 130"/>
                  <a:gd name="T67" fmla="*/ 136 h 232"/>
                  <a:gd name="T68" fmla="*/ 154 w 130"/>
                  <a:gd name="T69" fmla="*/ 72 h 232"/>
                  <a:gd name="T70" fmla="*/ 29 w 130"/>
                  <a:gd name="T71" fmla="*/ 0 h 232"/>
                  <a:gd name="T72" fmla="*/ 19 w 130"/>
                  <a:gd name="T73" fmla="*/ 8 h 232"/>
                  <a:gd name="T74" fmla="*/ 24 w 130"/>
                  <a:gd name="T75" fmla="*/ 23 h 232"/>
                  <a:gd name="T76" fmla="*/ 23 w 130"/>
                  <a:gd name="T77" fmla="*/ 34 h 232"/>
                  <a:gd name="T78" fmla="*/ 28 w 130"/>
                  <a:gd name="T79" fmla="*/ 40 h 232"/>
                  <a:gd name="T80" fmla="*/ 26 w 130"/>
                  <a:gd name="T81" fmla="*/ 47 h 232"/>
                  <a:gd name="T82" fmla="*/ 35 w 130"/>
                  <a:gd name="T83" fmla="*/ 53 h 232"/>
                  <a:gd name="T84" fmla="*/ 26 w 130"/>
                  <a:gd name="T85" fmla="*/ 70 h 232"/>
                  <a:gd name="T86" fmla="*/ 26 w 130"/>
                  <a:gd name="T87" fmla="*/ 96 h 232"/>
                  <a:gd name="T88" fmla="*/ 28 w 130"/>
                  <a:gd name="T89" fmla="*/ 120 h 232"/>
                  <a:gd name="T90" fmla="*/ 0 w 130"/>
                  <a:gd name="T91" fmla="*/ 155 h 232"/>
                  <a:gd name="T92" fmla="*/ 0 w 130"/>
                  <a:gd name="T93" fmla="*/ 173 h 232"/>
                  <a:gd name="T94" fmla="*/ 6 w 130"/>
                  <a:gd name="T95" fmla="*/ 183 h 232"/>
                  <a:gd name="T96" fmla="*/ 10 w 130"/>
                  <a:gd name="T97" fmla="*/ 188 h 232"/>
                  <a:gd name="T98" fmla="*/ 14 w 130"/>
                  <a:gd name="T99" fmla="*/ 186 h 232"/>
                  <a:gd name="T100" fmla="*/ 22 w 130"/>
                  <a:gd name="T101" fmla="*/ 201 h 232"/>
                  <a:gd name="T102" fmla="*/ 23 w 130"/>
                  <a:gd name="T103" fmla="*/ 216 h 232"/>
                  <a:gd name="T104" fmla="*/ 25 w 130"/>
                  <a:gd name="T105" fmla="*/ 228 h 232"/>
                  <a:gd name="T106" fmla="*/ 34 w 130"/>
                  <a:gd name="T107" fmla="*/ 238 h 232"/>
                  <a:gd name="T108" fmla="*/ 23 w 130"/>
                  <a:gd name="T109" fmla="*/ 237 h 232"/>
                  <a:gd name="T110" fmla="*/ 19 w 130"/>
                  <a:gd name="T111" fmla="*/ 237 h 232"/>
                  <a:gd name="T112" fmla="*/ 10 w 130"/>
                  <a:gd name="T113" fmla="*/ 236 h 232"/>
                  <a:gd name="T114" fmla="*/ 7 w 130"/>
                  <a:gd name="T115" fmla="*/ 243 h 232"/>
                  <a:gd name="T116" fmla="*/ 13 w 130"/>
                  <a:gd name="T117" fmla="*/ 250 h 232"/>
                  <a:gd name="T118" fmla="*/ 23 w 130"/>
                  <a:gd name="T119" fmla="*/ 261 h 232"/>
                  <a:gd name="T120" fmla="*/ 28 w 130"/>
                  <a:gd name="T121" fmla="*/ 269 h 232"/>
                  <a:gd name="T122" fmla="*/ 31 w 130"/>
                  <a:gd name="T123" fmla="*/ 277 h 232"/>
                  <a:gd name="T124" fmla="*/ 31 w 130"/>
                  <a:gd name="T125" fmla="*/ 279 h 232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30"/>
                  <a:gd name="T190" fmla="*/ 0 h 232"/>
                  <a:gd name="T191" fmla="*/ 130 w 130"/>
                  <a:gd name="T192" fmla="*/ 232 h 232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30" h="232">
                    <a:moveTo>
                      <a:pt x="26" y="232"/>
                    </a:moveTo>
                    <a:cubicBezTo>
                      <a:pt x="28" y="231"/>
                      <a:pt x="31" y="231"/>
                      <a:pt x="33" y="231"/>
                    </a:cubicBezTo>
                    <a:cubicBezTo>
                      <a:pt x="35" y="230"/>
                      <a:pt x="37" y="228"/>
                      <a:pt x="39" y="228"/>
                    </a:cubicBezTo>
                    <a:cubicBezTo>
                      <a:pt x="41" y="228"/>
                      <a:pt x="43" y="231"/>
                      <a:pt x="45" y="231"/>
                    </a:cubicBezTo>
                    <a:cubicBezTo>
                      <a:pt x="47" y="231"/>
                      <a:pt x="47" y="228"/>
                      <a:pt x="48" y="227"/>
                    </a:cubicBezTo>
                    <a:cubicBezTo>
                      <a:pt x="52" y="226"/>
                      <a:pt x="55" y="225"/>
                      <a:pt x="59" y="225"/>
                    </a:cubicBezTo>
                    <a:cubicBezTo>
                      <a:pt x="60" y="225"/>
                      <a:pt x="61" y="225"/>
                      <a:pt x="63" y="225"/>
                    </a:cubicBezTo>
                    <a:cubicBezTo>
                      <a:pt x="64" y="224"/>
                      <a:pt x="65" y="223"/>
                      <a:pt x="67" y="221"/>
                    </a:cubicBezTo>
                    <a:cubicBezTo>
                      <a:pt x="68" y="220"/>
                      <a:pt x="71" y="218"/>
                      <a:pt x="71" y="216"/>
                    </a:cubicBezTo>
                    <a:cubicBezTo>
                      <a:pt x="71" y="214"/>
                      <a:pt x="67" y="215"/>
                      <a:pt x="67" y="214"/>
                    </a:cubicBezTo>
                    <a:cubicBezTo>
                      <a:pt x="67" y="212"/>
                      <a:pt x="70" y="212"/>
                      <a:pt x="71" y="211"/>
                    </a:cubicBezTo>
                    <a:cubicBezTo>
                      <a:pt x="75" y="211"/>
                      <a:pt x="78" y="212"/>
                      <a:pt x="82" y="211"/>
                    </a:cubicBezTo>
                    <a:cubicBezTo>
                      <a:pt x="86" y="210"/>
                      <a:pt x="90" y="209"/>
                      <a:pt x="93" y="206"/>
                    </a:cubicBezTo>
                    <a:cubicBezTo>
                      <a:pt x="95" y="204"/>
                      <a:pt x="93" y="200"/>
                      <a:pt x="95" y="198"/>
                    </a:cubicBezTo>
                    <a:cubicBezTo>
                      <a:pt x="96" y="197"/>
                      <a:pt x="99" y="199"/>
                      <a:pt x="100" y="198"/>
                    </a:cubicBezTo>
                    <a:cubicBezTo>
                      <a:pt x="102" y="197"/>
                      <a:pt x="104" y="195"/>
                      <a:pt x="105" y="192"/>
                    </a:cubicBezTo>
                    <a:cubicBezTo>
                      <a:pt x="106" y="190"/>
                      <a:pt x="103" y="186"/>
                      <a:pt x="105" y="185"/>
                    </a:cubicBezTo>
                    <a:cubicBezTo>
                      <a:pt x="108" y="182"/>
                      <a:pt x="113" y="184"/>
                      <a:pt x="116" y="183"/>
                    </a:cubicBezTo>
                    <a:cubicBezTo>
                      <a:pt x="117" y="182"/>
                      <a:pt x="118" y="180"/>
                      <a:pt x="117" y="179"/>
                    </a:cubicBezTo>
                    <a:cubicBezTo>
                      <a:pt x="116" y="177"/>
                      <a:pt x="113" y="176"/>
                      <a:pt x="112" y="173"/>
                    </a:cubicBezTo>
                    <a:cubicBezTo>
                      <a:pt x="112" y="171"/>
                      <a:pt x="115" y="170"/>
                      <a:pt x="115" y="169"/>
                    </a:cubicBezTo>
                    <a:cubicBezTo>
                      <a:pt x="115" y="168"/>
                      <a:pt x="113" y="169"/>
                      <a:pt x="112" y="168"/>
                    </a:cubicBezTo>
                    <a:cubicBezTo>
                      <a:pt x="111" y="165"/>
                      <a:pt x="113" y="161"/>
                      <a:pt x="111" y="158"/>
                    </a:cubicBezTo>
                    <a:cubicBezTo>
                      <a:pt x="109" y="157"/>
                      <a:pt x="106" y="161"/>
                      <a:pt x="104" y="160"/>
                    </a:cubicBezTo>
                    <a:cubicBezTo>
                      <a:pt x="103" y="159"/>
                      <a:pt x="103" y="156"/>
                      <a:pt x="104" y="155"/>
                    </a:cubicBezTo>
                    <a:cubicBezTo>
                      <a:pt x="105" y="153"/>
                      <a:pt x="109" y="152"/>
                      <a:pt x="109" y="149"/>
                    </a:cubicBezTo>
                    <a:cubicBezTo>
                      <a:pt x="110" y="146"/>
                      <a:pt x="107" y="143"/>
                      <a:pt x="108" y="140"/>
                    </a:cubicBezTo>
                    <a:cubicBezTo>
                      <a:pt x="108" y="138"/>
                      <a:pt x="113" y="139"/>
                      <a:pt x="113" y="137"/>
                    </a:cubicBezTo>
                    <a:cubicBezTo>
                      <a:pt x="114" y="135"/>
                      <a:pt x="110" y="133"/>
                      <a:pt x="110" y="131"/>
                    </a:cubicBezTo>
                    <a:cubicBezTo>
                      <a:pt x="109" y="130"/>
                      <a:pt x="112" y="129"/>
                      <a:pt x="113" y="128"/>
                    </a:cubicBezTo>
                    <a:cubicBezTo>
                      <a:pt x="115" y="126"/>
                      <a:pt x="117" y="124"/>
                      <a:pt x="118" y="121"/>
                    </a:cubicBezTo>
                    <a:cubicBezTo>
                      <a:pt x="119" y="119"/>
                      <a:pt x="116" y="117"/>
                      <a:pt x="117" y="116"/>
                    </a:cubicBezTo>
                    <a:cubicBezTo>
                      <a:pt x="118" y="114"/>
                      <a:pt x="120" y="113"/>
                      <a:pt x="122" y="113"/>
                    </a:cubicBezTo>
                    <a:cubicBezTo>
                      <a:pt x="124" y="112"/>
                      <a:pt x="128" y="115"/>
                      <a:pt x="128" y="113"/>
                    </a:cubicBezTo>
                    <a:cubicBezTo>
                      <a:pt x="130" y="96"/>
                      <a:pt x="128" y="78"/>
                      <a:pt x="128" y="60"/>
                    </a:cubicBezTo>
                    <a:lnTo>
                      <a:pt x="24" y="0"/>
                    </a:lnTo>
                    <a:lnTo>
                      <a:pt x="16" y="7"/>
                    </a:lnTo>
                    <a:lnTo>
                      <a:pt x="20" y="19"/>
                    </a:lnTo>
                    <a:lnTo>
                      <a:pt x="19" y="28"/>
                    </a:lnTo>
                    <a:lnTo>
                      <a:pt x="23" y="33"/>
                    </a:lnTo>
                    <a:lnTo>
                      <a:pt x="22" y="39"/>
                    </a:lnTo>
                    <a:lnTo>
                      <a:pt x="29" y="44"/>
                    </a:lnTo>
                    <a:lnTo>
                      <a:pt x="22" y="58"/>
                    </a:lnTo>
                    <a:lnTo>
                      <a:pt x="22" y="80"/>
                    </a:lnTo>
                    <a:lnTo>
                      <a:pt x="23" y="100"/>
                    </a:lnTo>
                    <a:lnTo>
                      <a:pt x="0" y="129"/>
                    </a:lnTo>
                    <a:lnTo>
                      <a:pt x="0" y="144"/>
                    </a:lnTo>
                    <a:cubicBezTo>
                      <a:pt x="2" y="146"/>
                      <a:pt x="3" y="150"/>
                      <a:pt x="5" y="152"/>
                    </a:cubicBezTo>
                    <a:cubicBezTo>
                      <a:pt x="6" y="153"/>
                      <a:pt x="7" y="155"/>
                      <a:pt x="8" y="156"/>
                    </a:cubicBezTo>
                    <a:cubicBezTo>
                      <a:pt x="9" y="156"/>
                      <a:pt x="11" y="155"/>
                      <a:pt x="12" y="155"/>
                    </a:cubicBezTo>
                    <a:cubicBezTo>
                      <a:pt x="15" y="159"/>
                      <a:pt x="17" y="163"/>
                      <a:pt x="18" y="167"/>
                    </a:cubicBezTo>
                    <a:cubicBezTo>
                      <a:pt x="19" y="171"/>
                      <a:pt x="18" y="176"/>
                      <a:pt x="19" y="180"/>
                    </a:cubicBezTo>
                    <a:cubicBezTo>
                      <a:pt x="19" y="184"/>
                      <a:pt x="19" y="187"/>
                      <a:pt x="21" y="190"/>
                    </a:cubicBezTo>
                    <a:cubicBezTo>
                      <a:pt x="23" y="193"/>
                      <a:pt x="26" y="194"/>
                      <a:pt x="28" y="198"/>
                    </a:cubicBezTo>
                    <a:cubicBezTo>
                      <a:pt x="25" y="198"/>
                      <a:pt x="22" y="197"/>
                      <a:pt x="19" y="197"/>
                    </a:cubicBezTo>
                    <a:cubicBezTo>
                      <a:pt x="18" y="197"/>
                      <a:pt x="17" y="198"/>
                      <a:pt x="16" y="197"/>
                    </a:cubicBezTo>
                    <a:cubicBezTo>
                      <a:pt x="13" y="197"/>
                      <a:pt x="11" y="195"/>
                      <a:pt x="8" y="196"/>
                    </a:cubicBezTo>
                    <a:cubicBezTo>
                      <a:pt x="6" y="197"/>
                      <a:pt x="5" y="200"/>
                      <a:pt x="6" y="202"/>
                    </a:cubicBezTo>
                    <a:cubicBezTo>
                      <a:pt x="6" y="204"/>
                      <a:pt x="10" y="206"/>
                      <a:pt x="11" y="208"/>
                    </a:cubicBezTo>
                    <a:cubicBezTo>
                      <a:pt x="14" y="211"/>
                      <a:pt x="16" y="214"/>
                      <a:pt x="19" y="217"/>
                    </a:cubicBezTo>
                    <a:cubicBezTo>
                      <a:pt x="20" y="219"/>
                      <a:pt x="22" y="221"/>
                      <a:pt x="23" y="224"/>
                    </a:cubicBezTo>
                    <a:cubicBezTo>
                      <a:pt x="24" y="226"/>
                      <a:pt x="25" y="228"/>
                      <a:pt x="26" y="230"/>
                    </a:cubicBezTo>
                    <a:cubicBezTo>
                      <a:pt x="26" y="230"/>
                      <a:pt x="26" y="231"/>
                      <a:pt x="26" y="23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59" name="Freeform 2573"/>
              <p:cNvSpPr>
                <a:spLocks noChangeAspect="1"/>
              </p:cNvSpPr>
              <p:nvPr/>
            </p:nvSpPr>
            <p:spPr bwMode="auto">
              <a:xfrm>
                <a:off x="4684622" y="2770887"/>
                <a:ext cx="221462" cy="123769"/>
              </a:xfrm>
              <a:custGeom>
                <a:avLst/>
                <a:gdLst>
                  <a:gd name="T0" fmla="*/ 198 w 165"/>
                  <a:gd name="T1" fmla="*/ 97 h 124"/>
                  <a:gd name="T2" fmla="*/ 190 w 165"/>
                  <a:gd name="T3" fmla="*/ 87 h 124"/>
                  <a:gd name="T4" fmla="*/ 185 w 165"/>
                  <a:gd name="T5" fmla="*/ 78 h 124"/>
                  <a:gd name="T6" fmla="*/ 170 w 165"/>
                  <a:gd name="T7" fmla="*/ 68 h 124"/>
                  <a:gd name="T8" fmla="*/ 166 w 165"/>
                  <a:gd name="T9" fmla="*/ 55 h 124"/>
                  <a:gd name="T10" fmla="*/ 160 w 165"/>
                  <a:gd name="T11" fmla="*/ 49 h 124"/>
                  <a:gd name="T12" fmla="*/ 149 w 165"/>
                  <a:gd name="T13" fmla="*/ 41 h 124"/>
                  <a:gd name="T14" fmla="*/ 136 w 165"/>
                  <a:gd name="T15" fmla="*/ 35 h 124"/>
                  <a:gd name="T16" fmla="*/ 140 w 165"/>
                  <a:gd name="T17" fmla="*/ 22 h 124"/>
                  <a:gd name="T18" fmla="*/ 126 w 165"/>
                  <a:gd name="T19" fmla="*/ 1 h 124"/>
                  <a:gd name="T20" fmla="*/ 113 w 165"/>
                  <a:gd name="T21" fmla="*/ 12 h 124"/>
                  <a:gd name="T22" fmla="*/ 101 w 165"/>
                  <a:gd name="T23" fmla="*/ 19 h 124"/>
                  <a:gd name="T24" fmla="*/ 85 w 165"/>
                  <a:gd name="T25" fmla="*/ 35 h 124"/>
                  <a:gd name="T26" fmla="*/ 67 w 165"/>
                  <a:gd name="T27" fmla="*/ 38 h 124"/>
                  <a:gd name="T28" fmla="*/ 67 w 165"/>
                  <a:gd name="T29" fmla="*/ 47 h 124"/>
                  <a:gd name="T30" fmla="*/ 58 w 165"/>
                  <a:gd name="T31" fmla="*/ 52 h 124"/>
                  <a:gd name="T32" fmla="*/ 41 w 165"/>
                  <a:gd name="T33" fmla="*/ 59 h 124"/>
                  <a:gd name="T34" fmla="*/ 26 w 165"/>
                  <a:gd name="T35" fmla="*/ 59 h 124"/>
                  <a:gd name="T36" fmla="*/ 12 w 165"/>
                  <a:gd name="T37" fmla="*/ 70 h 124"/>
                  <a:gd name="T38" fmla="*/ 1 w 165"/>
                  <a:gd name="T39" fmla="*/ 87 h 124"/>
                  <a:gd name="T40" fmla="*/ 5 w 165"/>
                  <a:gd name="T41" fmla="*/ 112 h 124"/>
                  <a:gd name="T42" fmla="*/ 13 w 165"/>
                  <a:gd name="T43" fmla="*/ 120 h 124"/>
                  <a:gd name="T44" fmla="*/ 18 w 165"/>
                  <a:gd name="T45" fmla="*/ 137 h 124"/>
                  <a:gd name="T46" fmla="*/ 28 w 165"/>
                  <a:gd name="T47" fmla="*/ 149 h 124"/>
                  <a:gd name="T48" fmla="*/ 32 w 165"/>
                  <a:gd name="T49" fmla="*/ 136 h 124"/>
                  <a:gd name="T50" fmla="*/ 44 w 165"/>
                  <a:gd name="T51" fmla="*/ 130 h 124"/>
                  <a:gd name="T52" fmla="*/ 56 w 165"/>
                  <a:gd name="T53" fmla="*/ 130 h 124"/>
                  <a:gd name="T54" fmla="*/ 65 w 165"/>
                  <a:gd name="T55" fmla="*/ 117 h 124"/>
                  <a:gd name="T56" fmla="*/ 74 w 165"/>
                  <a:gd name="T57" fmla="*/ 103 h 124"/>
                  <a:gd name="T58" fmla="*/ 94 w 165"/>
                  <a:gd name="T59" fmla="*/ 113 h 124"/>
                  <a:gd name="T60" fmla="*/ 120 w 165"/>
                  <a:gd name="T61" fmla="*/ 119 h 124"/>
                  <a:gd name="T62" fmla="*/ 130 w 165"/>
                  <a:gd name="T63" fmla="*/ 107 h 124"/>
                  <a:gd name="T64" fmla="*/ 150 w 165"/>
                  <a:gd name="T65" fmla="*/ 107 h 124"/>
                  <a:gd name="T66" fmla="*/ 157 w 165"/>
                  <a:gd name="T67" fmla="*/ 106 h 124"/>
                  <a:gd name="T68" fmla="*/ 168 w 165"/>
                  <a:gd name="T69" fmla="*/ 100 h 124"/>
                  <a:gd name="T70" fmla="*/ 180 w 165"/>
                  <a:gd name="T71" fmla="*/ 102 h 124"/>
                  <a:gd name="T72" fmla="*/ 192 w 165"/>
                  <a:gd name="T73" fmla="*/ 102 h 124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165"/>
                  <a:gd name="T112" fmla="*/ 0 h 124"/>
                  <a:gd name="T113" fmla="*/ 165 w 165"/>
                  <a:gd name="T114" fmla="*/ 124 h 124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165" h="124">
                    <a:moveTo>
                      <a:pt x="164" y="88"/>
                    </a:moveTo>
                    <a:cubicBezTo>
                      <a:pt x="164" y="85"/>
                      <a:pt x="165" y="83"/>
                      <a:pt x="165" y="81"/>
                    </a:cubicBezTo>
                    <a:cubicBezTo>
                      <a:pt x="165" y="78"/>
                      <a:pt x="163" y="76"/>
                      <a:pt x="162" y="74"/>
                    </a:cubicBezTo>
                    <a:cubicBezTo>
                      <a:pt x="161" y="73"/>
                      <a:pt x="159" y="72"/>
                      <a:pt x="158" y="72"/>
                    </a:cubicBezTo>
                    <a:cubicBezTo>
                      <a:pt x="156" y="70"/>
                      <a:pt x="153" y="70"/>
                      <a:pt x="151" y="67"/>
                    </a:cubicBezTo>
                    <a:cubicBezTo>
                      <a:pt x="151" y="66"/>
                      <a:pt x="155" y="66"/>
                      <a:pt x="154" y="65"/>
                    </a:cubicBezTo>
                    <a:cubicBezTo>
                      <a:pt x="153" y="63"/>
                      <a:pt x="149" y="61"/>
                      <a:pt x="147" y="57"/>
                    </a:cubicBezTo>
                    <a:cubicBezTo>
                      <a:pt x="146" y="56"/>
                      <a:pt x="144" y="58"/>
                      <a:pt x="142" y="57"/>
                    </a:cubicBezTo>
                    <a:cubicBezTo>
                      <a:pt x="140" y="55"/>
                      <a:pt x="138" y="53"/>
                      <a:pt x="137" y="51"/>
                    </a:cubicBezTo>
                    <a:cubicBezTo>
                      <a:pt x="137" y="50"/>
                      <a:pt x="139" y="47"/>
                      <a:pt x="138" y="46"/>
                    </a:cubicBezTo>
                    <a:cubicBezTo>
                      <a:pt x="137" y="45"/>
                      <a:pt x="135" y="47"/>
                      <a:pt x="134" y="46"/>
                    </a:cubicBezTo>
                    <a:cubicBezTo>
                      <a:pt x="133" y="45"/>
                      <a:pt x="134" y="42"/>
                      <a:pt x="133" y="41"/>
                    </a:cubicBezTo>
                    <a:cubicBezTo>
                      <a:pt x="130" y="39"/>
                      <a:pt x="126" y="41"/>
                      <a:pt x="123" y="39"/>
                    </a:cubicBezTo>
                    <a:cubicBezTo>
                      <a:pt x="122" y="37"/>
                      <a:pt x="126" y="35"/>
                      <a:pt x="124" y="34"/>
                    </a:cubicBezTo>
                    <a:cubicBezTo>
                      <a:pt x="122" y="32"/>
                      <a:pt x="119" y="35"/>
                      <a:pt x="117" y="34"/>
                    </a:cubicBezTo>
                    <a:cubicBezTo>
                      <a:pt x="115" y="33"/>
                      <a:pt x="113" y="31"/>
                      <a:pt x="113" y="29"/>
                    </a:cubicBezTo>
                    <a:cubicBezTo>
                      <a:pt x="113" y="28"/>
                      <a:pt x="116" y="27"/>
                      <a:pt x="117" y="25"/>
                    </a:cubicBezTo>
                    <a:cubicBezTo>
                      <a:pt x="117" y="23"/>
                      <a:pt x="118" y="20"/>
                      <a:pt x="117" y="18"/>
                    </a:cubicBezTo>
                    <a:cubicBezTo>
                      <a:pt x="116" y="14"/>
                      <a:pt x="114" y="10"/>
                      <a:pt x="111" y="7"/>
                    </a:cubicBezTo>
                    <a:cubicBezTo>
                      <a:pt x="110" y="5"/>
                      <a:pt x="107" y="3"/>
                      <a:pt x="105" y="1"/>
                    </a:cubicBezTo>
                    <a:cubicBezTo>
                      <a:pt x="102" y="2"/>
                      <a:pt x="97" y="0"/>
                      <a:pt x="94" y="3"/>
                    </a:cubicBezTo>
                    <a:cubicBezTo>
                      <a:pt x="92" y="4"/>
                      <a:pt x="95" y="8"/>
                      <a:pt x="94" y="10"/>
                    </a:cubicBezTo>
                    <a:cubicBezTo>
                      <a:pt x="93" y="13"/>
                      <a:pt x="91" y="15"/>
                      <a:pt x="89" y="16"/>
                    </a:cubicBezTo>
                    <a:cubicBezTo>
                      <a:pt x="88" y="17"/>
                      <a:pt x="85" y="15"/>
                      <a:pt x="84" y="16"/>
                    </a:cubicBezTo>
                    <a:cubicBezTo>
                      <a:pt x="82" y="18"/>
                      <a:pt x="84" y="22"/>
                      <a:pt x="82" y="24"/>
                    </a:cubicBezTo>
                    <a:cubicBezTo>
                      <a:pt x="79" y="27"/>
                      <a:pt x="75" y="28"/>
                      <a:pt x="71" y="29"/>
                    </a:cubicBezTo>
                    <a:cubicBezTo>
                      <a:pt x="67" y="30"/>
                      <a:pt x="64" y="29"/>
                      <a:pt x="60" y="29"/>
                    </a:cubicBezTo>
                    <a:cubicBezTo>
                      <a:pt x="59" y="30"/>
                      <a:pt x="56" y="30"/>
                      <a:pt x="56" y="32"/>
                    </a:cubicBezTo>
                    <a:cubicBezTo>
                      <a:pt x="56" y="33"/>
                      <a:pt x="60" y="32"/>
                      <a:pt x="60" y="34"/>
                    </a:cubicBezTo>
                    <a:cubicBezTo>
                      <a:pt x="60" y="36"/>
                      <a:pt x="57" y="38"/>
                      <a:pt x="56" y="39"/>
                    </a:cubicBezTo>
                    <a:cubicBezTo>
                      <a:pt x="54" y="41"/>
                      <a:pt x="53" y="42"/>
                      <a:pt x="52" y="43"/>
                    </a:cubicBezTo>
                    <a:cubicBezTo>
                      <a:pt x="50" y="43"/>
                      <a:pt x="49" y="43"/>
                      <a:pt x="48" y="43"/>
                    </a:cubicBezTo>
                    <a:cubicBezTo>
                      <a:pt x="44" y="43"/>
                      <a:pt x="41" y="44"/>
                      <a:pt x="37" y="45"/>
                    </a:cubicBezTo>
                    <a:cubicBezTo>
                      <a:pt x="36" y="46"/>
                      <a:pt x="36" y="49"/>
                      <a:pt x="34" y="49"/>
                    </a:cubicBezTo>
                    <a:cubicBezTo>
                      <a:pt x="32" y="49"/>
                      <a:pt x="30" y="46"/>
                      <a:pt x="28" y="46"/>
                    </a:cubicBezTo>
                    <a:cubicBezTo>
                      <a:pt x="26" y="46"/>
                      <a:pt x="24" y="48"/>
                      <a:pt x="22" y="49"/>
                    </a:cubicBezTo>
                    <a:cubicBezTo>
                      <a:pt x="20" y="49"/>
                      <a:pt x="17" y="49"/>
                      <a:pt x="15" y="50"/>
                    </a:cubicBezTo>
                    <a:cubicBezTo>
                      <a:pt x="13" y="52"/>
                      <a:pt x="12" y="55"/>
                      <a:pt x="10" y="58"/>
                    </a:cubicBezTo>
                    <a:cubicBezTo>
                      <a:pt x="9" y="62"/>
                      <a:pt x="9" y="66"/>
                      <a:pt x="6" y="69"/>
                    </a:cubicBezTo>
                    <a:cubicBezTo>
                      <a:pt x="5" y="71"/>
                      <a:pt x="1" y="70"/>
                      <a:pt x="1" y="72"/>
                    </a:cubicBezTo>
                    <a:cubicBezTo>
                      <a:pt x="0" y="75"/>
                      <a:pt x="4" y="76"/>
                      <a:pt x="5" y="78"/>
                    </a:cubicBezTo>
                    <a:cubicBezTo>
                      <a:pt x="5" y="83"/>
                      <a:pt x="3" y="88"/>
                      <a:pt x="4" y="93"/>
                    </a:cubicBezTo>
                    <a:cubicBezTo>
                      <a:pt x="4" y="95"/>
                      <a:pt x="5" y="96"/>
                      <a:pt x="6" y="97"/>
                    </a:cubicBezTo>
                    <a:cubicBezTo>
                      <a:pt x="7" y="98"/>
                      <a:pt x="10" y="98"/>
                      <a:pt x="11" y="100"/>
                    </a:cubicBezTo>
                    <a:cubicBezTo>
                      <a:pt x="12" y="101"/>
                      <a:pt x="11" y="103"/>
                      <a:pt x="11" y="104"/>
                    </a:cubicBezTo>
                    <a:cubicBezTo>
                      <a:pt x="12" y="108"/>
                      <a:pt x="13" y="111"/>
                      <a:pt x="15" y="114"/>
                    </a:cubicBezTo>
                    <a:cubicBezTo>
                      <a:pt x="16" y="115"/>
                      <a:pt x="19" y="115"/>
                      <a:pt x="19" y="116"/>
                    </a:cubicBezTo>
                    <a:cubicBezTo>
                      <a:pt x="21" y="118"/>
                      <a:pt x="22" y="121"/>
                      <a:pt x="23" y="124"/>
                    </a:cubicBezTo>
                    <a:cubicBezTo>
                      <a:pt x="24" y="123"/>
                      <a:pt x="26" y="123"/>
                      <a:pt x="26" y="121"/>
                    </a:cubicBezTo>
                    <a:cubicBezTo>
                      <a:pt x="27" y="119"/>
                      <a:pt x="27" y="116"/>
                      <a:pt x="27" y="113"/>
                    </a:cubicBezTo>
                    <a:cubicBezTo>
                      <a:pt x="27" y="112"/>
                      <a:pt x="27" y="109"/>
                      <a:pt x="28" y="108"/>
                    </a:cubicBezTo>
                    <a:cubicBezTo>
                      <a:pt x="31" y="107"/>
                      <a:pt x="34" y="108"/>
                      <a:pt x="37" y="108"/>
                    </a:cubicBezTo>
                    <a:cubicBezTo>
                      <a:pt x="38" y="108"/>
                      <a:pt x="39" y="106"/>
                      <a:pt x="41" y="106"/>
                    </a:cubicBezTo>
                    <a:cubicBezTo>
                      <a:pt x="43" y="107"/>
                      <a:pt x="45" y="108"/>
                      <a:pt x="47" y="108"/>
                    </a:cubicBezTo>
                    <a:cubicBezTo>
                      <a:pt x="49" y="109"/>
                      <a:pt x="51" y="108"/>
                      <a:pt x="54" y="107"/>
                    </a:cubicBezTo>
                    <a:cubicBezTo>
                      <a:pt x="54" y="104"/>
                      <a:pt x="53" y="101"/>
                      <a:pt x="54" y="97"/>
                    </a:cubicBezTo>
                    <a:cubicBezTo>
                      <a:pt x="54" y="95"/>
                      <a:pt x="56" y="92"/>
                      <a:pt x="57" y="90"/>
                    </a:cubicBezTo>
                    <a:cubicBezTo>
                      <a:pt x="58" y="88"/>
                      <a:pt x="60" y="87"/>
                      <a:pt x="62" y="86"/>
                    </a:cubicBezTo>
                    <a:cubicBezTo>
                      <a:pt x="63" y="86"/>
                      <a:pt x="66" y="85"/>
                      <a:pt x="67" y="86"/>
                    </a:cubicBezTo>
                    <a:cubicBezTo>
                      <a:pt x="71" y="88"/>
                      <a:pt x="74" y="92"/>
                      <a:pt x="78" y="94"/>
                    </a:cubicBezTo>
                    <a:cubicBezTo>
                      <a:pt x="81" y="96"/>
                      <a:pt x="84" y="95"/>
                      <a:pt x="87" y="96"/>
                    </a:cubicBezTo>
                    <a:cubicBezTo>
                      <a:pt x="92" y="97"/>
                      <a:pt x="96" y="100"/>
                      <a:pt x="100" y="99"/>
                    </a:cubicBezTo>
                    <a:cubicBezTo>
                      <a:pt x="103" y="99"/>
                      <a:pt x="103" y="94"/>
                      <a:pt x="104" y="92"/>
                    </a:cubicBezTo>
                    <a:cubicBezTo>
                      <a:pt x="105" y="91"/>
                      <a:pt x="107" y="89"/>
                      <a:pt x="108" y="89"/>
                    </a:cubicBezTo>
                    <a:cubicBezTo>
                      <a:pt x="111" y="89"/>
                      <a:pt x="113" y="92"/>
                      <a:pt x="115" y="92"/>
                    </a:cubicBezTo>
                    <a:cubicBezTo>
                      <a:pt x="118" y="92"/>
                      <a:pt x="122" y="90"/>
                      <a:pt x="125" y="89"/>
                    </a:cubicBezTo>
                    <a:cubicBezTo>
                      <a:pt x="126" y="88"/>
                      <a:pt x="127" y="85"/>
                      <a:pt x="128" y="85"/>
                    </a:cubicBezTo>
                    <a:cubicBezTo>
                      <a:pt x="130" y="85"/>
                      <a:pt x="130" y="88"/>
                      <a:pt x="131" y="88"/>
                    </a:cubicBezTo>
                    <a:cubicBezTo>
                      <a:pt x="133" y="89"/>
                      <a:pt x="135" y="89"/>
                      <a:pt x="137" y="88"/>
                    </a:cubicBezTo>
                    <a:cubicBezTo>
                      <a:pt x="139" y="87"/>
                      <a:pt x="138" y="83"/>
                      <a:pt x="140" y="83"/>
                    </a:cubicBezTo>
                    <a:cubicBezTo>
                      <a:pt x="143" y="83"/>
                      <a:pt x="144" y="87"/>
                      <a:pt x="146" y="87"/>
                    </a:cubicBezTo>
                    <a:cubicBezTo>
                      <a:pt x="148" y="87"/>
                      <a:pt x="149" y="85"/>
                      <a:pt x="150" y="85"/>
                    </a:cubicBezTo>
                    <a:cubicBezTo>
                      <a:pt x="152" y="85"/>
                      <a:pt x="151" y="89"/>
                      <a:pt x="153" y="89"/>
                    </a:cubicBezTo>
                    <a:cubicBezTo>
                      <a:pt x="156" y="88"/>
                      <a:pt x="157" y="85"/>
                      <a:pt x="160" y="85"/>
                    </a:cubicBezTo>
                    <a:cubicBezTo>
                      <a:pt x="161" y="85"/>
                      <a:pt x="163" y="87"/>
                      <a:pt x="164" y="88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60" name="Freeform 2574"/>
              <p:cNvSpPr>
                <a:spLocks noChangeAspect="1"/>
              </p:cNvSpPr>
              <p:nvPr/>
            </p:nvSpPr>
            <p:spPr bwMode="auto">
              <a:xfrm>
                <a:off x="5011222" y="2851461"/>
                <a:ext cx="135338" cy="146197"/>
              </a:xfrm>
              <a:custGeom>
                <a:avLst/>
                <a:gdLst>
                  <a:gd name="T0" fmla="*/ 121 w 101"/>
                  <a:gd name="T1" fmla="*/ 26 h 147"/>
                  <a:gd name="T2" fmla="*/ 115 w 101"/>
                  <a:gd name="T3" fmla="*/ 26 h 147"/>
                  <a:gd name="T4" fmla="*/ 108 w 101"/>
                  <a:gd name="T5" fmla="*/ 19 h 147"/>
                  <a:gd name="T6" fmla="*/ 93 w 101"/>
                  <a:gd name="T7" fmla="*/ 26 h 147"/>
                  <a:gd name="T8" fmla="*/ 91 w 101"/>
                  <a:gd name="T9" fmla="*/ 34 h 147"/>
                  <a:gd name="T10" fmla="*/ 69 w 101"/>
                  <a:gd name="T11" fmla="*/ 32 h 147"/>
                  <a:gd name="T12" fmla="*/ 53 w 101"/>
                  <a:gd name="T13" fmla="*/ 18 h 147"/>
                  <a:gd name="T14" fmla="*/ 43 w 101"/>
                  <a:gd name="T15" fmla="*/ 17 h 147"/>
                  <a:gd name="T16" fmla="*/ 35 w 101"/>
                  <a:gd name="T17" fmla="*/ 14 h 147"/>
                  <a:gd name="T18" fmla="*/ 34 w 101"/>
                  <a:gd name="T19" fmla="*/ 2 h 147"/>
                  <a:gd name="T20" fmla="*/ 25 w 101"/>
                  <a:gd name="T21" fmla="*/ 0 h 147"/>
                  <a:gd name="T22" fmla="*/ 6 w 101"/>
                  <a:gd name="T23" fmla="*/ 20 h 147"/>
                  <a:gd name="T24" fmla="*/ 8 w 101"/>
                  <a:gd name="T25" fmla="*/ 26 h 147"/>
                  <a:gd name="T26" fmla="*/ 13 w 101"/>
                  <a:gd name="T27" fmla="*/ 29 h 147"/>
                  <a:gd name="T28" fmla="*/ 14 w 101"/>
                  <a:gd name="T29" fmla="*/ 40 h 147"/>
                  <a:gd name="T30" fmla="*/ 22 w 101"/>
                  <a:gd name="T31" fmla="*/ 50 h 147"/>
                  <a:gd name="T32" fmla="*/ 23 w 101"/>
                  <a:gd name="T33" fmla="*/ 63 h 147"/>
                  <a:gd name="T34" fmla="*/ 16 w 101"/>
                  <a:gd name="T35" fmla="*/ 74 h 147"/>
                  <a:gd name="T36" fmla="*/ 6 w 101"/>
                  <a:gd name="T37" fmla="*/ 86 h 147"/>
                  <a:gd name="T38" fmla="*/ 0 w 101"/>
                  <a:gd name="T39" fmla="*/ 107 h 147"/>
                  <a:gd name="T40" fmla="*/ 60 w 101"/>
                  <a:gd name="T41" fmla="*/ 146 h 147"/>
                  <a:gd name="T42" fmla="*/ 61 w 101"/>
                  <a:gd name="T43" fmla="*/ 153 h 147"/>
                  <a:gd name="T44" fmla="*/ 86 w 101"/>
                  <a:gd name="T45" fmla="*/ 176 h 147"/>
                  <a:gd name="T46" fmla="*/ 87 w 101"/>
                  <a:gd name="T47" fmla="*/ 170 h 147"/>
                  <a:gd name="T48" fmla="*/ 90 w 101"/>
                  <a:gd name="T49" fmla="*/ 163 h 147"/>
                  <a:gd name="T50" fmla="*/ 96 w 101"/>
                  <a:gd name="T51" fmla="*/ 152 h 147"/>
                  <a:gd name="T52" fmla="*/ 99 w 101"/>
                  <a:gd name="T53" fmla="*/ 144 h 147"/>
                  <a:gd name="T54" fmla="*/ 99 w 101"/>
                  <a:gd name="T55" fmla="*/ 138 h 147"/>
                  <a:gd name="T56" fmla="*/ 105 w 101"/>
                  <a:gd name="T57" fmla="*/ 136 h 147"/>
                  <a:gd name="T58" fmla="*/ 109 w 101"/>
                  <a:gd name="T59" fmla="*/ 131 h 147"/>
                  <a:gd name="T60" fmla="*/ 114 w 101"/>
                  <a:gd name="T61" fmla="*/ 126 h 147"/>
                  <a:gd name="T62" fmla="*/ 120 w 101"/>
                  <a:gd name="T63" fmla="*/ 122 h 147"/>
                  <a:gd name="T64" fmla="*/ 110 w 101"/>
                  <a:gd name="T65" fmla="*/ 110 h 147"/>
                  <a:gd name="T66" fmla="*/ 110 w 101"/>
                  <a:gd name="T67" fmla="*/ 45 h 147"/>
                  <a:gd name="T68" fmla="*/ 117 w 101"/>
                  <a:gd name="T69" fmla="*/ 37 h 147"/>
                  <a:gd name="T70" fmla="*/ 121 w 101"/>
                  <a:gd name="T71" fmla="*/ 26 h 147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01"/>
                  <a:gd name="T109" fmla="*/ 0 h 147"/>
                  <a:gd name="T110" fmla="*/ 101 w 101"/>
                  <a:gd name="T111" fmla="*/ 147 h 147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01" h="147">
                    <a:moveTo>
                      <a:pt x="101" y="22"/>
                    </a:moveTo>
                    <a:cubicBezTo>
                      <a:pt x="100" y="22"/>
                      <a:pt x="97" y="23"/>
                      <a:pt x="96" y="22"/>
                    </a:cubicBezTo>
                    <a:cubicBezTo>
                      <a:pt x="93" y="21"/>
                      <a:pt x="93" y="16"/>
                      <a:pt x="90" y="16"/>
                    </a:cubicBezTo>
                    <a:cubicBezTo>
                      <a:pt x="85" y="16"/>
                      <a:pt x="82" y="19"/>
                      <a:pt x="78" y="22"/>
                    </a:cubicBezTo>
                    <a:cubicBezTo>
                      <a:pt x="77" y="23"/>
                      <a:pt x="78" y="28"/>
                      <a:pt x="76" y="28"/>
                    </a:cubicBezTo>
                    <a:lnTo>
                      <a:pt x="58" y="27"/>
                    </a:lnTo>
                    <a:cubicBezTo>
                      <a:pt x="52" y="26"/>
                      <a:pt x="49" y="18"/>
                      <a:pt x="44" y="15"/>
                    </a:cubicBezTo>
                    <a:cubicBezTo>
                      <a:pt x="41" y="14"/>
                      <a:pt x="38" y="15"/>
                      <a:pt x="36" y="14"/>
                    </a:cubicBezTo>
                    <a:cubicBezTo>
                      <a:pt x="33" y="14"/>
                      <a:pt x="30" y="14"/>
                      <a:pt x="29" y="12"/>
                    </a:cubicBezTo>
                    <a:cubicBezTo>
                      <a:pt x="27" y="9"/>
                      <a:pt x="30" y="5"/>
                      <a:pt x="28" y="2"/>
                    </a:cubicBezTo>
                    <a:cubicBezTo>
                      <a:pt x="27" y="0"/>
                      <a:pt x="23" y="1"/>
                      <a:pt x="21" y="0"/>
                    </a:cubicBezTo>
                    <a:lnTo>
                      <a:pt x="5" y="17"/>
                    </a:lnTo>
                    <a:cubicBezTo>
                      <a:pt x="6" y="19"/>
                      <a:pt x="6" y="20"/>
                      <a:pt x="7" y="22"/>
                    </a:cubicBezTo>
                    <a:cubicBezTo>
                      <a:pt x="8" y="23"/>
                      <a:pt x="10" y="23"/>
                      <a:pt x="11" y="24"/>
                    </a:cubicBezTo>
                    <a:cubicBezTo>
                      <a:pt x="12" y="27"/>
                      <a:pt x="11" y="30"/>
                      <a:pt x="12" y="33"/>
                    </a:cubicBezTo>
                    <a:cubicBezTo>
                      <a:pt x="13" y="36"/>
                      <a:pt x="17" y="39"/>
                      <a:pt x="18" y="42"/>
                    </a:cubicBezTo>
                    <a:cubicBezTo>
                      <a:pt x="19" y="46"/>
                      <a:pt x="20" y="50"/>
                      <a:pt x="19" y="53"/>
                    </a:cubicBezTo>
                    <a:cubicBezTo>
                      <a:pt x="18" y="57"/>
                      <a:pt x="15" y="59"/>
                      <a:pt x="13" y="62"/>
                    </a:cubicBezTo>
                    <a:cubicBezTo>
                      <a:pt x="11" y="65"/>
                      <a:pt x="7" y="69"/>
                      <a:pt x="5" y="72"/>
                    </a:cubicBezTo>
                    <a:cubicBezTo>
                      <a:pt x="3" y="77"/>
                      <a:pt x="2" y="83"/>
                      <a:pt x="0" y="89"/>
                    </a:cubicBezTo>
                    <a:lnTo>
                      <a:pt x="50" y="122"/>
                    </a:lnTo>
                    <a:lnTo>
                      <a:pt x="51" y="128"/>
                    </a:lnTo>
                    <a:lnTo>
                      <a:pt x="72" y="147"/>
                    </a:lnTo>
                    <a:cubicBezTo>
                      <a:pt x="72" y="145"/>
                      <a:pt x="72" y="144"/>
                      <a:pt x="73" y="142"/>
                    </a:cubicBezTo>
                    <a:cubicBezTo>
                      <a:pt x="73" y="140"/>
                      <a:pt x="74" y="138"/>
                      <a:pt x="75" y="136"/>
                    </a:cubicBezTo>
                    <a:cubicBezTo>
                      <a:pt x="77" y="133"/>
                      <a:pt x="78" y="130"/>
                      <a:pt x="80" y="127"/>
                    </a:cubicBezTo>
                    <a:cubicBezTo>
                      <a:pt x="81" y="124"/>
                      <a:pt x="82" y="122"/>
                      <a:pt x="83" y="120"/>
                    </a:cubicBezTo>
                    <a:cubicBezTo>
                      <a:pt x="83" y="118"/>
                      <a:pt x="81" y="116"/>
                      <a:pt x="83" y="115"/>
                    </a:cubicBezTo>
                    <a:cubicBezTo>
                      <a:pt x="84" y="113"/>
                      <a:pt x="86" y="115"/>
                      <a:pt x="88" y="114"/>
                    </a:cubicBezTo>
                    <a:cubicBezTo>
                      <a:pt x="89" y="113"/>
                      <a:pt x="89" y="110"/>
                      <a:pt x="91" y="109"/>
                    </a:cubicBezTo>
                    <a:cubicBezTo>
                      <a:pt x="92" y="107"/>
                      <a:pt x="94" y="106"/>
                      <a:pt x="95" y="105"/>
                    </a:cubicBezTo>
                    <a:cubicBezTo>
                      <a:pt x="96" y="104"/>
                      <a:pt x="98" y="103"/>
                      <a:pt x="100" y="102"/>
                    </a:cubicBezTo>
                    <a:lnTo>
                      <a:pt x="92" y="92"/>
                    </a:lnTo>
                    <a:lnTo>
                      <a:pt x="92" y="38"/>
                    </a:lnTo>
                    <a:lnTo>
                      <a:pt x="98" y="31"/>
                    </a:lnTo>
                    <a:cubicBezTo>
                      <a:pt x="101" y="29"/>
                      <a:pt x="100" y="25"/>
                      <a:pt x="101" y="2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61" name="Freeform 2575"/>
              <p:cNvSpPr>
                <a:spLocks noChangeAspect="1"/>
              </p:cNvSpPr>
              <p:nvPr/>
            </p:nvSpPr>
            <p:spPr bwMode="auto">
              <a:xfrm>
                <a:off x="4941874" y="2868075"/>
                <a:ext cx="96189" cy="81405"/>
              </a:xfrm>
              <a:custGeom>
                <a:avLst/>
                <a:gdLst>
                  <a:gd name="T0" fmla="*/ 62 w 71"/>
                  <a:gd name="T1" fmla="*/ 87 h 81"/>
                  <a:gd name="T2" fmla="*/ 56 w 71"/>
                  <a:gd name="T3" fmla="*/ 91 h 81"/>
                  <a:gd name="T4" fmla="*/ 41 w 71"/>
                  <a:gd name="T5" fmla="*/ 91 h 81"/>
                  <a:gd name="T6" fmla="*/ 23 w 71"/>
                  <a:gd name="T7" fmla="*/ 90 h 81"/>
                  <a:gd name="T8" fmla="*/ 13 w 71"/>
                  <a:gd name="T9" fmla="*/ 92 h 81"/>
                  <a:gd name="T10" fmla="*/ 7 w 71"/>
                  <a:gd name="T11" fmla="*/ 97 h 81"/>
                  <a:gd name="T12" fmla="*/ 0 w 71"/>
                  <a:gd name="T13" fmla="*/ 96 h 81"/>
                  <a:gd name="T14" fmla="*/ 1 w 71"/>
                  <a:gd name="T15" fmla="*/ 82 h 81"/>
                  <a:gd name="T16" fmla="*/ 2 w 71"/>
                  <a:gd name="T17" fmla="*/ 75 h 81"/>
                  <a:gd name="T18" fmla="*/ 6 w 71"/>
                  <a:gd name="T19" fmla="*/ 64 h 81"/>
                  <a:gd name="T20" fmla="*/ 10 w 71"/>
                  <a:gd name="T21" fmla="*/ 56 h 81"/>
                  <a:gd name="T22" fmla="*/ 13 w 71"/>
                  <a:gd name="T23" fmla="*/ 52 h 81"/>
                  <a:gd name="T24" fmla="*/ 15 w 71"/>
                  <a:gd name="T25" fmla="*/ 46 h 81"/>
                  <a:gd name="T26" fmla="*/ 21 w 71"/>
                  <a:gd name="T27" fmla="*/ 41 h 81"/>
                  <a:gd name="T28" fmla="*/ 27 w 71"/>
                  <a:gd name="T29" fmla="*/ 36 h 81"/>
                  <a:gd name="T30" fmla="*/ 19 w 71"/>
                  <a:gd name="T31" fmla="*/ 34 h 81"/>
                  <a:gd name="T32" fmla="*/ 22 w 71"/>
                  <a:gd name="T33" fmla="*/ 25 h 81"/>
                  <a:gd name="T34" fmla="*/ 17 w 71"/>
                  <a:gd name="T35" fmla="*/ 22 h 81"/>
                  <a:gd name="T36" fmla="*/ 19 w 71"/>
                  <a:gd name="T37" fmla="*/ 18 h 81"/>
                  <a:gd name="T38" fmla="*/ 17 w 71"/>
                  <a:gd name="T39" fmla="*/ 13 h 81"/>
                  <a:gd name="T40" fmla="*/ 21 w 71"/>
                  <a:gd name="T41" fmla="*/ 10 h 81"/>
                  <a:gd name="T42" fmla="*/ 29 w 71"/>
                  <a:gd name="T43" fmla="*/ 10 h 81"/>
                  <a:gd name="T44" fmla="*/ 35 w 71"/>
                  <a:gd name="T45" fmla="*/ 6 h 81"/>
                  <a:gd name="T46" fmla="*/ 39 w 71"/>
                  <a:gd name="T47" fmla="*/ 11 h 81"/>
                  <a:gd name="T48" fmla="*/ 44 w 71"/>
                  <a:gd name="T49" fmla="*/ 8 h 81"/>
                  <a:gd name="T50" fmla="*/ 52 w 71"/>
                  <a:gd name="T51" fmla="*/ 5 h 81"/>
                  <a:gd name="T52" fmla="*/ 56 w 71"/>
                  <a:gd name="T53" fmla="*/ 7 h 81"/>
                  <a:gd name="T54" fmla="*/ 62 w 71"/>
                  <a:gd name="T55" fmla="*/ 7 h 81"/>
                  <a:gd name="T56" fmla="*/ 68 w 71"/>
                  <a:gd name="T57" fmla="*/ 0 h 81"/>
                  <a:gd name="T58" fmla="*/ 70 w 71"/>
                  <a:gd name="T59" fmla="*/ 6 h 81"/>
                  <a:gd name="T60" fmla="*/ 75 w 71"/>
                  <a:gd name="T61" fmla="*/ 8 h 81"/>
                  <a:gd name="T62" fmla="*/ 76 w 71"/>
                  <a:gd name="T63" fmla="*/ 19 h 81"/>
                  <a:gd name="T64" fmla="*/ 84 w 71"/>
                  <a:gd name="T65" fmla="*/ 30 h 81"/>
                  <a:gd name="T66" fmla="*/ 85 w 71"/>
                  <a:gd name="T67" fmla="*/ 44 h 81"/>
                  <a:gd name="T68" fmla="*/ 78 w 71"/>
                  <a:gd name="T69" fmla="*/ 54 h 81"/>
                  <a:gd name="T70" fmla="*/ 68 w 71"/>
                  <a:gd name="T71" fmla="*/ 67 h 81"/>
                  <a:gd name="T72" fmla="*/ 62 w 71"/>
                  <a:gd name="T73" fmla="*/ 87 h 81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71"/>
                  <a:gd name="T112" fmla="*/ 0 h 81"/>
                  <a:gd name="T113" fmla="*/ 71 w 71"/>
                  <a:gd name="T114" fmla="*/ 81 h 81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71" h="81">
                    <a:moveTo>
                      <a:pt x="51" y="72"/>
                    </a:moveTo>
                    <a:cubicBezTo>
                      <a:pt x="49" y="73"/>
                      <a:pt x="48" y="74"/>
                      <a:pt x="46" y="75"/>
                    </a:cubicBezTo>
                    <a:cubicBezTo>
                      <a:pt x="42" y="76"/>
                      <a:pt x="38" y="76"/>
                      <a:pt x="34" y="75"/>
                    </a:cubicBezTo>
                    <a:cubicBezTo>
                      <a:pt x="29" y="75"/>
                      <a:pt x="24" y="74"/>
                      <a:pt x="19" y="74"/>
                    </a:cubicBezTo>
                    <a:cubicBezTo>
                      <a:pt x="16" y="74"/>
                      <a:pt x="14" y="76"/>
                      <a:pt x="11" y="76"/>
                    </a:cubicBezTo>
                    <a:cubicBezTo>
                      <a:pt x="10" y="77"/>
                      <a:pt x="9" y="80"/>
                      <a:pt x="6" y="80"/>
                    </a:cubicBezTo>
                    <a:cubicBezTo>
                      <a:pt x="4" y="81"/>
                      <a:pt x="2" y="80"/>
                      <a:pt x="0" y="79"/>
                    </a:cubicBezTo>
                    <a:cubicBezTo>
                      <a:pt x="0" y="75"/>
                      <a:pt x="1" y="72"/>
                      <a:pt x="1" y="68"/>
                    </a:cubicBezTo>
                    <a:cubicBezTo>
                      <a:pt x="1" y="66"/>
                      <a:pt x="1" y="64"/>
                      <a:pt x="2" y="62"/>
                    </a:cubicBezTo>
                    <a:cubicBezTo>
                      <a:pt x="3" y="59"/>
                      <a:pt x="4" y="56"/>
                      <a:pt x="5" y="53"/>
                    </a:cubicBezTo>
                    <a:cubicBezTo>
                      <a:pt x="6" y="50"/>
                      <a:pt x="6" y="48"/>
                      <a:pt x="8" y="46"/>
                    </a:cubicBezTo>
                    <a:cubicBezTo>
                      <a:pt x="8" y="44"/>
                      <a:pt x="10" y="44"/>
                      <a:pt x="11" y="43"/>
                    </a:cubicBezTo>
                    <a:cubicBezTo>
                      <a:pt x="12" y="41"/>
                      <a:pt x="11" y="39"/>
                      <a:pt x="12" y="38"/>
                    </a:cubicBezTo>
                    <a:cubicBezTo>
                      <a:pt x="13" y="36"/>
                      <a:pt x="15" y="35"/>
                      <a:pt x="17" y="34"/>
                    </a:cubicBezTo>
                    <a:cubicBezTo>
                      <a:pt x="18" y="32"/>
                      <a:pt x="22" y="32"/>
                      <a:pt x="22" y="30"/>
                    </a:cubicBezTo>
                    <a:cubicBezTo>
                      <a:pt x="21" y="28"/>
                      <a:pt x="17" y="29"/>
                      <a:pt x="16" y="28"/>
                    </a:cubicBezTo>
                    <a:cubicBezTo>
                      <a:pt x="15" y="26"/>
                      <a:pt x="18" y="24"/>
                      <a:pt x="18" y="21"/>
                    </a:cubicBezTo>
                    <a:cubicBezTo>
                      <a:pt x="17" y="20"/>
                      <a:pt x="14" y="20"/>
                      <a:pt x="14" y="18"/>
                    </a:cubicBezTo>
                    <a:cubicBezTo>
                      <a:pt x="14" y="17"/>
                      <a:pt x="16" y="16"/>
                      <a:pt x="16" y="15"/>
                    </a:cubicBezTo>
                    <a:cubicBezTo>
                      <a:pt x="17" y="14"/>
                      <a:pt x="15" y="12"/>
                      <a:pt x="14" y="11"/>
                    </a:cubicBezTo>
                    <a:cubicBezTo>
                      <a:pt x="15" y="10"/>
                      <a:pt x="15" y="8"/>
                      <a:pt x="17" y="8"/>
                    </a:cubicBezTo>
                    <a:cubicBezTo>
                      <a:pt x="19" y="7"/>
                      <a:pt x="22" y="8"/>
                      <a:pt x="24" y="8"/>
                    </a:cubicBezTo>
                    <a:cubicBezTo>
                      <a:pt x="26" y="7"/>
                      <a:pt x="27" y="4"/>
                      <a:pt x="29" y="5"/>
                    </a:cubicBezTo>
                    <a:cubicBezTo>
                      <a:pt x="31" y="5"/>
                      <a:pt x="30" y="9"/>
                      <a:pt x="32" y="9"/>
                    </a:cubicBezTo>
                    <a:cubicBezTo>
                      <a:pt x="33" y="10"/>
                      <a:pt x="34" y="7"/>
                      <a:pt x="36" y="7"/>
                    </a:cubicBezTo>
                    <a:cubicBezTo>
                      <a:pt x="38" y="5"/>
                      <a:pt x="40" y="4"/>
                      <a:pt x="43" y="4"/>
                    </a:cubicBezTo>
                    <a:cubicBezTo>
                      <a:pt x="44" y="4"/>
                      <a:pt x="45" y="6"/>
                      <a:pt x="46" y="6"/>
                    </a:cubicBezTo>
                    <a:cubicBezTo>
                      <a:pt x="48" y="6"/>
                      <a:pt x="50" y="7"/>
                      <a:pt x="51" y="6"/>
                    </a:cubicBezTo>
                    <a:cubicBezTo>
                      <a:pt x="54" y="5"/>
                      <a:pt x="55" y="2"/>
                      <a:pt x="56" y="0"/>
                    </a:cubicBezTo>
                    <a:cubicBezTo>
                      <a:pt x="57" y="2"/>
                      <a:pt x="57" y="3"/>
                      <a:pt x="58" y="5"/>
                    </a:cubicBezTo>
                    <a:cubicBezTo>
                      <a:pt x="59" y="6"/>
                      <a:pt x="61" y="6"/>
                      <a:pt x="62" y="7"/>
                    </a:cubicBezTo>
                    <a:cubicBezTo>
                      <a:pt x="63" y="10"/>
                      <a:pt x="62" y="13"/>
                      <a:pt x="63" y="16"/>
                    </a:cubicBezTo>
                    <a:cubicBezTo>
                      <a:pt x="64" y="19"/>
                      <a:pt x="68" y="22"/>
                      <a:pt x="69" y="25"/>
                    </a:cubicBezTo>
                    <a:cubicBezTo>
                      <a:pt x="70" y="29"/>
                      <a:pt x="71" y="33"/>
                      <a:pt x="70" y="36"/>
                    </a:cubicBezTo>
                    <a:cubicBezTo>
                      <a:pt x="69" y="40"/>
                      <a:pt x="66" y="42"/>
                      <a:pt x="64" y="45"/>
                    </a:cubicBezTo>
                    <a:cubicBezTo>
                      <a:pt x="62" y="48"/>
                      <a:pt x="58" y="52"/>
                      <a:pt x="56" y="55"/>
                    </a:cubicBezTo>
                    <a:cubicBezTo>
                      <a:pt x="54" y="60"/>
                      <a:pt x="53" y="66"/>
                      <a:pt x="51" y="7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62" name="Freeform 2576"/>
              <p:cNvSpPr>
                <a:spLocks noChangeAspect="1"/>
              </p:cNvSpPr>
              <p:nvPr/>
            </p:nvSpPr>
            <p:spPr bwMode="auto">
              <a:xfrm>
                <a:off x="4995562" y="2711909"/>
                <a:ext cx="259490" cy="167794"/>
              </a:xfrm>
              <a:custGeom>
                <a:avLst/>
                <a:gdLst>
                  <a:gd name="T0" fmla="*/ 139 w 193"/>
                  <a:gd name="T1" fmla="*/ 55 h 168"/>
                  <a:gd name="T2" fmla="*/ 135 w 193"/>
                  <a:gd name="T3" fmla="*/ 72 h 168"/>
                  <a:gd name="T4" fmla="*/ 144 w 193"/>
                  <a:gd name="T5" fmla="*/ 72 h 168"/>
                  <a:gd name="T6" fmla="*/ 145 w 193"/>
                  <a:gd name="T7" fmla="*/ 83 h 168"/>
                  <a:gd name="T8" fmla="*/ 157 w 193"/>
                  <a:gd name="T9" fmla="*/ 99 h 168"/>
                  <a:gd name="T10" fmla="*/ 214 w 193"/>
                  <a:gd name="T11" fmla="*/ 125 h 168"/>
                  <a:gd name="T12" fmla="*/ 184 w 193"/>
                  <a:gd name="T13" fmla="*/ 177 h 168"/>
                  <a:gd name="T14" fmla="*/ 150 w 193"/>
                  <a:gd name="T15" fmla="*/ 185 h 168"/>
                  <a:gd name="T16" fmla="*/ 129 w 193"/>
                  <a:gd name="T17" fmla="*/ 195 h 168"/>
                  <a:gd name="T18" fmla="*/ 107 w 193"/>
                  <a:gd name="T19" fmla="*/ 195 h 168"/>
                  <a:gd name="T20" fmla="*/ 83 w 193"/>
                  <a:gd name="T21" fmla="*/ 201 h 168"/>
                  <a:gd name="T22" fmla="*/ 56 w 193"/>
                  <a:gd name="T23" fmla="*/ 185 h 168"/>
                  <a:gd name="T24" fmla="*/ 47 w 193"/>
                  <a:gd name="T25" fmla="*/ 171 h 168"/>
                  <a:gd name="T26" fmla="*/ 35 w 193"/>
                  <a:gd name="T27" fmla="*/ 162 h 168"/>
                  <a:gd name="T28" fmla="*/ 24 w 193"/>
                  <a:gd name="T29" fmla="*/ 141 h 168"/>
                  <a:gd name="T30" fmla="*/ 2 w 193"/>
                  <a:gd name="T31" fmla="*/ 127 h 168"/>
                  <a:gd name="T32" fmla="*/ 13 w 193"/>
                  <a:gd name="T33" fmla="*/ 117 h 168"/>
                  <a:gd name="T34" fmla="*/ 19 w 193"/>
                  <a:gd name="T35" fmla="*/ 100 h 168"/>
                  <a:gd name="T36" fmla="*/ 19 w 193"/>
                  <a:gd name="T37" fmla="*/ 81 h 168"/>
                  <a:gd name="T38" fmla="*/ 28 w 193"/>
                  <a:gd name="T39" fmla="*/ 77 h 168"/>
                  <a:gd name="T40" fmla="*/ 32 w 193"/>
                  <a:gd name="T41" fmla="*/ 55 h 168"/>
                  <a:gd name="T42" fmla="*/ 41 w 193"/>
                  <a:gd name="T43" fmla="*/ 41 h 168"/>
                  <a:gd name="T44" fmla="*/ 49 w 193"/>
                  <a:gd name="T45" fmla="*/ 35 h 168"/>
                  <a:gd name="T46" fmla="*/ 53 w 193"/>
                  <a:gd name="T47" fmla="*/ 19 h 168"/>
                  <a:gd name="T48" fmla="*/ 63 w 193"/>
                  <a:gd name="T49" fmla="*/ 14 h 168"/>
                  <a:gd name="T50" fmla="*/ 71 w 193"/>
                  <a:gd name="T51" fmla="*/ 16 h 168"/>
                  <a:gd name="T52" fmla="*/ 79 w 193"/>
                  <a:gd name="T53" fmla="*/ 7 h 168"/>
                  <a:gd name="T54" fmla="*/ 90 w 193"/>
                  <a:gd name="T55" fmla="*/ 10 h 168"/>
                  <a:gd name="T56" fmla="*/ 99 w 193"/>
                  <a:gd name="T57" fmla="*/ 11 h 168"/>
                  <a:gd name="T58" fmla="*/ 120 w 193"/>
                  <a:gd name="T59" fmla="*/ 18 h 168"/>
                  <a:gd name="T60" fmla="*/ 136 w 193"/>
                  <a:gd name="T61" fmla="*/ 36 h 168"/>
                  <a:gd name="T62" fmla="*/ 143 w 193"/>
                  <a:gd name="T63" fmla="*/ 47 h 168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93"/>
                  <a:gd name="T97" fmla="*/ 0 h 168"/>
                  <a:gd name="T98" fmla="*/ 193 w 193"/>
                  <a:gd name="T99" fmla="*/ 168 h 168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93" h="168">
                    <a:moveTo>
                      <a:pt x="119" y="39"/>
                    </a:moveTo>
                    <a:cubicBezTo>
                      <a:pt x="118" y="41"/>
                      <a:pt x="117" y="44"/>
                      <a:pt x="116" y="46"/>
                    </a:cubicBezTo>
                    <a:cubicBezTo>
                      <a:pt x="115" y="48"/>
                      <a:pt x="113" y="50"/>
                      <a:pt x="112" y="52"/>
                    </a:cubicBezTo>
                    <a:cubicBezTo>
                      <a:pt x="112" y="55"/>
                      <a:pt x="112" y="57"/>
                      <a:pt x="112" y="60"/>
                    </a:cubicBezTo>
                    <a:cubicBezTo>
                      <a:pt x="113" y="61"/>
                      <a:pt x="114" y="62"/>
                      <a:pt x="115" y="62"/>
                    </a:cubicBezTo>
                    <a:cubicBezTo>
                      <a:pt x="117" y="62"/>
                      <a:pt x="118" y="60"/>
                      <a:pt x="120" y="60"/>
                    </a:cubicBezTo>
                    <a:cubicBezTo>
                      <a:pt x="122" y="60"/>
                      <a:pt x="124" y="60"/>
                      <a:pt x="126" y="60"/>
                    </a:cubicBezTo>
                    <a:cubicBezTo>
                      <a:pt x="124" y="63"/>
                      <a:pt x="120" y="66"/>
                      <a:pt x="121" y="69"/>
                    </a:cubicBezTo>
                    <a:cubicBezTo>
                      <a:pt x="122" y="73"/>
                      <a:pt x="127" y="74"/>
                      <a:pt x="129" y="77"/>
                    </a:cubicBezTo>
                    <a:cubicBezTo>
                      <a:pt x="130" y="78"/>
                      <a:pt x="130" y="80"/>
                      <a:pt x="131" y="82"/>
                    </a:cubicBezTo>
                    <a:cubicBezTo>
                      <a:pt x="133" y="84"/>
                      <a:pt x="134" y="87"/>
                      <a:pt x="137" y="88"/>
                    </a:cubicBezTo>
                    <a:lnTo>
                      <a:pt x="178" y="104"/>
                    </a:lnTo>
                    <a:cubicBezTo>
                      <a:pt x="182" y="105"/>
                      <a:pt x="193" y="99"/>
                      <a:pt x="190" y="102"/>
                    </a:cubicBezTo>
                    <a:lnTo>
                      <a:pt x="153" y="147"/>
                    </a:lnTo>
                    <a:cubicBezTo>
                      <a:pt x="150" y="151"/>
                      <a:pt x="143" y="147"/>
                      <a:pt x="139" y="148"/>
                    </a:cubicBezTo>
                    <a:cubicBezTo>
                      <a:pt x="134" y="149"/>
                      <a:pt x="130" y="152"/>
                      <a:pt x="125" y="154"/>
                    </a:cubicBezTo>
                    <a:cubicBezTo>
                      <a:pt x="121" y="156"/>
                      <a:pt x="116" y="160"/>
                      <a:pt x="112" y="162"/>
                    </a:cubicBezTo>
                    <a:cubicBezTo>
                      <a:pt x="111" y="162"/>
                      <a:pt x="108" y="163"/>
                      <a:pt x="107" y="162"/>
                    </a:cubicBezTo>
                    <a:cubicBezTo>
                      <a:pt x="104" y="161"/>
                      <a:pt x="104" y="156"/>
                      <a:pt x="101" y="156"/>
                    </a:cubicBezTo>
                    <a:cubicBezTo>
                      <a:pt x="96" y="156"/>
                      <a:pt x="93" y="159"/>
                      <a:pt x="89" y="162"/>
                    </a:cubicBezTo>
                    <a:cubicBezTo>
                      <a:pt x="88" y="163"/>
                      <a:pt x="89" y="168"/>
                      <a:pt x="87" y="168"/>
                    </a:cubicBezTo>
                    <a:lnTo>
                      <a:pt x="69" y="167"/>
                    </a:lnTo>
                    <a:cubicBezTo>
                      <a:pt x="63" y="166"/>
                      <a:pt x="60" y="158"/>
                      <a:pt x="55" y="155"/>
                    </a:cubicBezTo>
                    <a:cubicBezTo>
                      <a:pt x="52" y="154"/>
                      <a:pt x="49" y="155"/>
                      <a:pt x="47" y="154"/>
                    </a:cubicBezTo>
                    <a:cubicBezTo>
                      <a:pt x="44" y="154"/>
                      <a:pt x="41" y="154"/>
                      <a:pt x="40" y="152"/>
                    </a:cubicBezTo>
                    <a:cubicBezTo>
                      <a:pt x="38" y="149"/>
                      <a:pt x="41" y="145"/>
                      <a:pt x="39" y="142"/>
                    </a:cubicBezTo>
                    <a:cubicBezTo>
                      <a:pt x="38" y="140"/>
                      <a:pt x="34" y="141"/>
                      <a:pt x="32" y="140"/>
                    </a:cubicBezTo>
                    <a:cubicBezTo>
                      <a:pt x="31" y="138"/>
                      <a:pt x="29" y="137"/>
                      <a:pt x="29" y="135"/>
                    </a:cubicBezTo>
                    <a:cubicBezTo>
                      <a:pt x="27" y="132"/>
                      <a:pt x="28" y="128"/>
                      <a:pt x="26" y="125"/>
                    </a:cubicBezTo>
                    <a:cubicBezTo>
                      <a:pt x="25" y="122"/>
                      <a:pt x="22" y="120"/>
                      <a:pt x="20" y="117"/>
                    </a:cubicBezTo>
                    <a:cubicBezTo>
                      <a:pt x="17" y="114"/>
                      <a:pt x="16" y="109"/>
                      <a:pt x="12" y="107"/>
                    </a:cubicBezTo>
                    <a:cubicBezTo>
                      <a:pt x="9" y="105"/>
                      <a:pt x="5" y="108"/>
                      <a:pt x="2" y="106"/>
                    </a:cubicBezTo>
                    <a:cubicBezTo>
                      <a:pt x="0" y="104"/>
                      <a:pt x="1" y="100"/>
                      <a:pt x="3" y="98"/>
                    </a:cubicBezTo>
                    <a:cubicBezTo>
                      <a:pt x="5" y="96"/>
                      <a:pt x="9" y="98"/>
                      <a:pt x="11" y="97"/>
                    </a:cubicBezTo>
                    <a:cubicBezTo>
                      <a:pt x="13" y="97"/>
                      <a:pt x="16" y="97"/>
                      <a:pt x="16" y="96"/>
                    </a:cubicBezTo>
                    <a:cubicBezTo>
                      <a:pt x="18" y="92"/>
                      <a:pt x="15" y="87"/>
                      <a:pt x="16" y="83"/>
                    </a:cubicBezTo>
                    <a:cubicBezTo>
                      <a:pt x="16" y="79"/>
                      <a:pt x="18" y="75"/>
                      <a:pt x="18" y="71"/>
                    </a:cubicBezTo>
                    <a:cubicBezTo>
                      <a:pt x="18" y="70"/>
                      <a:pt x="16" y="69"/>
                      <a:pt x="16" y="67"/>
                    </a:cubicBezTo>
                    <a:cubicBezTo>
                      <a:pt x="16" y="65"/>
                      <a:pt x="17" y="64"/>
                      <a:pt x="19" y="63"/>
                    </a:cubicBezTo>
                    <a:cubicBezTo>
                      <a:pt x="20" y="63"/>
                      <a:pt x="21" y="64"/>
                      <a:pt x="23" y="64"/>
                    </a:cubicBezTo>
                    <a:cubicBezTo>
                      <a:pt x="24" y="64"/>
                      <a:pt x="26" y="65"/>
                      <a:pt x="26" y="64"/>
                    </a:cubicBezTo>
                    <a:cubicBezTo>
                      <a:pt x="27" y="58"/>
                      <a:pt x="25" y="52"/>
                      <a:pt x="27" y="46"/>
                    </a:cubicBezTo>
                    <a:cubicBezTo>
                      <a:pt x="27" y="44"/>
                      <a:pt x="30" y="44"/>
                      <a:pt x="31" y="43"/>
                    </a:cubicBezTo>
                    <a:cubicBezTo>
                      <a:pt x="32" y="40"/>
                      <a:pt x="32" y="36"/>
                      <a:pt x="34" y="34"/>
                    </a:cubicBezTo>
                    <a:cubicBezTo>
                      <a:pt x="36" y="32"/>
                      <a:pt x="39" y="33"/>
                      <a:pt x="41" y="32"/>
                    </a:cubicBezTo>
                    <a:cubicBezTo>
                      <a:pt x="42" y="31"/>
                      <a:pt x="40" y="30"/>
                      <a:pt x="41" y="29"/>
                    </a:cubicBezTo>
                    <a:cubicBezTo>
                      <a:pt x="42" y="26"/>
                      <a:pt x="44" y="24"/>
                      <a:pt x="44" y="22"/>
                    </a:cubicBezTo>
                    <a:cubicBezTo>
                      <a:pt x="45" y="20"/>
                      <a:pt x="43" y="18"/>
                      <a:pt x="44" y="16"/>
                    </a:cubicBezTo>
                    <a:cubicBezTo>
                      <a:pt x="44" y="14"/>
                      <a:pt x="46" y="13"/>
                      <a:pt x="47" y="12"/>
                    </a:cubicBezTo>
                    <a:cubicBezTo>
                      <a:pt x="48" y="12"/>
                      <a:pt x="50" y="12"/>
                      <a:pt x="52" y="12"/>
                    </a:cubicBezTo>
                    <a:cubicBezTo>
                      <a:pt x="53" y="12"/>
                      <a:pt x="54" y="9"/>
                      <a:pt x="55" y="9"/>
                    </a:cubicBezTo>
                    <a:cubicBezTo>
                      <a:pt x="57" y="9"/>
                      <a:pt x="58" y="15"/>
                      <a:pt x="59" y="13"/>
                    </a:cubicBezTo>
                    <a:cubicBezTo>
                      <a:pt x="62" y="11"/>
                      <a:pt x="60" y="5"/>
                      <a:pt x="62" y="2"/>
                    </a:cubicBezTo>
                    <a:cubicBezTo>
                      <a:pt x="63" y="0"/>
                      <a:pt x="64" y="5"/>
                      <a:pt x="66" y="6"/>
                    </a:cubicBezTo>
                    <a:cubicBezTo>
                      <a:pt x="67" y="7"/>
                      <a:pt x="68" y="8"/>
                      <a:pt x="69" y="9"/>
                    </a:cubicBezTo>
                    <a:cubicBezTo>
                      <a:pt x="71" y="9"/>
                      <a:pt x="73" y="8"/>
                      <a:pt x="75" y="8"/>
                    </a:cubicBezTo>
                    <a:cubicBezTo>
                      <a:pt x="76" y="8"/>
                      <a:pt x="77" y="6"/>
                      <a:pt x="78" y="6"/>
                    </a:cubicBezTo>
                    <a:cubicBezTo>
                      <a:pt x="79" y="6"/>
                      <a:pt x="80" y="8"/>
                      <a:pt x="82" y="9"/>
                    </a:cubicBezTo>
                    <a:cubicBezTo>
                      <a:pt x="86" y="10"/>
                      <a:pt x="89" y="9"/>
                      <a:pt x="93" y="10"/>
                    </a:cubicBezTo>
                    <a:cubicBezTo>
                      <a:pt x="95" y="11"/>
                      <a:pt x="98" y="13"/>
                      <a:pt x="100" y="15"/>
                    </a:cubicBezTo>
                    <a:cubicBezTo>
                      <a:pt x="102" y="17"/>
                      <a:pt x="102" y="20"/>
                      <a:pt x="104" y="22"/>
                    </a:cubicBezTo>
                    <a:cubicBezTo>
                      <a:pt x="107" y="25"/>
                      <a:pt x="110" y="27"/>
                      <a:pt x="113" y="30"/>
                    </a:cubicBezTo>
                    <a:cubicBezTo>
                      <a:pt x="114" y="31"/>
                      <a:pt x="114" y="33"/>
                      <a:pt x="115" y="35"/>
                    </a:cubicBezTo>
                    <a:cubicBezTo>
                      <a:pt x="116" y="36"/>
                      <a:pt x="118" y="38"/>
                      <a:pt x="119" y="39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63" name="Freeform 2577"/>
              <p:cNvSpPr>
                <a:spLocks noChangeAspect="1"/>
              </p:cNvSpPr>
              <p:nvPr/>
            </p:nvSpPr>
            <p:spPr bwMode="auto">
              <a:xfrm>
                <a:off x="5146559" y="2747628"/>
                <a:ext cx="29081" cy="25751"/>
              </a:xfrm>
              <a:custGeom>
                <a:avLst/>
                <a:gdLst>
                  <a:gd name="T0" fmla="*/ 17 w 22"/>
                  <a:gd name="T1" fmla="*/ 29 h 26"/>
                  <a:gd name="T2" fmla="*/ 9 w 22"/>
                  <a:gd name="T3" fmla="*/ 29 h 26"/>
                  <a:gd name="T4" fmla="*/ 4 w 22"/>
                  <a:gd name="T5" fmla="*/ 31 h 26"/>
                  <a:gd name="T6" fmla="*/ 0 w 22"/>
                  <a:gd name="T7" fmla="*/ 29 h 26"/>
                  <a:gd name="T8" fmla="*/ 0 w 22"/>
                  <a:gd name="T9" fmla="*/ 19 h 26"/>
                  <a:gd name="T10" fmla="*/ 5 w 22"/>
                  <a:gd name="T11" fmla="*/ 12 h 26"/>
                  <a:gd name="T12" fmla="*/ 8 w 22"/>
                  <a:gd name="T13" fmla="*/ 4 h 26"/>
                  <a:gd name="T14" fmla="*/ 14 w 22"/>
                  <a:gd name="T15" fmla="*/ 5 h 26"/>
                  <a:gd name="T16" fmla="*/ 17 w 22"/>
                  <a:gd name="T17" fmla="*/ 1 h 26"/>
                  <a:gd name="T18" fmla="*/ 20 w 22"/>
                  <a:gd name="T19" fmla="*/ 1 h 26"/>
                  <a:gd name="T20" fmla="*/ 22 w 22"/>
                  <a:gd name="T21" fmla="*/ 6 h 26"/>
                  <a:gd name="T22" fmla="*/ 25 w 22"/>
                  <a:gd name="T23" fmla="*/ 12 h 26"/>
                  <a:gd name="T24" fmla="*/ 18 w 22"/>
                  <a:gd name="T25" fmla="*/ 16 h 26"/>
                  <a:gd name="T26" fmla="*/ 9 w 22"/>
                  <a:gd name="T27" fmla="*/ 23 h 26"/>
                  <a:gd name="T28" fmla="*/ 18 w 22"/>
                  <a:gd name="T29" fmla="*/ 21 h 26"/>
                  <a:gd name="T30" fmla="*/ 24 w 22"/>
                  <a:gd name="T31" fmla="*/ 24 h 26"/>
                  <a:gd name="T32" fmla="*/ 20 w 22"/>
                  <a:gd name="T33" fmla="*/ 26 h 26"/>
                  <a:gd name="T34" fmla="*/ 17 w 22"/>
                  <a:gd name="T35" fmla="*/ 29 h 2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22"/>
                  <a:gd name="T55" fmla="*/ 0 h 26"/>
                  <a:gd name="T56" fmla="*/ 22 w 22"/>
                  <a:gd name="T57" fmla="*/ 26 h 2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22" h="26">
                    <a:moveTo>
                      <a:pt x="14" y="24"/>
                    </a:moveTo>
                    <a:cubicBezTo>
                      <a:pt x="12" y="24"/>
                      <a:pt x="10" y="24"/>
                      <a:pt x="8" y="24"/>
                    </a:cubicBezTo>
                    <a:cubicBezTo>
                      <a:pt x="6" y="24"/>
                      <a:pt x="5" y="26"/>
                      <a:pt x="3" y="26"/>
                    </a:cubicBezTo>
                    <a:cubicBezTo>
                      <a:pt x="2" y="26"/>
                      <a:pt x="1" y="25"/>
                      <a:pt x="0" y="24"/>
                    </a:cubicBezTo>
                    <a:cubicBezTo>
                      <a:pt x="0" y="21"/>
                      <a:pt x="0" y="19"/>
                      <a:pt x="0" y="16"/>
                    </a:cubicBezTo>
                    <a:cubicBezTo>
                      <a:pt x="1" y="14"/>
                      <a:pt x="3" y="12"/>
                      <a:pt x="4" y="10"/>
                    </a:cubicBezTo>
                    <a:cubicBezTo>
                      <a:pt x="5" y="8"/>
                      <a:pt x="6" y="5"/>
                      <a:pt x="7" y="3"/>
                    </a:cubicBezTo>
                    <a:cubicBezTo>
                      <a:pt x="9" y="3"/>
                      <a:pt x="10" y="5"/>
                      <a:pt x="12" y="4"/>
                    </a:cubicBezTo>
                    <a:cubicBezTo>
                      <a:pt x="13" y="4"/>
                      <a:pt x="13" y="2"/>
                      <a:pt x="14" y="1"/>
                    </a:cubicBezTo>
                    <a:cubicBezTo>
                      <a:pt x="14" y="0"/>
                      <a:pt x="16" y="1"/>
                      <a:pt x="17" y="1"/>
                    </a:cubicBezTo>
                    <a:cubicBezTo>
                      <a:pt x="18" y="2"/>
                      <a:pt x="18" y="4"/>
                      <a:pt x="19" y="5"/>
                    </a:cubicBezTo>
                    <a:cubicBezTo>
                      <a:pt x="20" y="6"/>
                      <a:pt x="22" y="8"/>
                      <a:pt x="21" y="10"/>
                    </a:cubicBezTo>
                    <a:cubicBezTo>
                      <a:pt x="20" y="12"/>
                      <a:pt x="17" y="12"/>
                      <a:pt x="15" y="13"/>
                    </a:cubicBezTo>
                    <a:cubicBezTo>
                      <a:pt x="12" y="15"/>
                      <a:pt x="8" y="16"/>
                      <a:pt x="8" y="19"/>
                    </a:cubicBezTo>
                    <a:cubicBezTo>
                      <a:pt x="8" y="21"/>
                      <a:pt x="12" y="18"/>
                      <a:pt x="15" y="18"/>
                    </a:cubicBezTo>
                    <a:cubicBezTo>
                      <a:pt x="16" y="19"/>
                      <a:pt x="18" y="19"/>
                      <a:pt x="20" y="20"/>
                    </a:cubicBezTo>
                    <a:cubicBezTo>
                      <a:pt x="19" y="21"/>
                      <a:pt x="18" y="21"/>
                      <a:pt x="17" y="22"/>
                    </a:cubicBezTo>
                    <a:cubicBezTo>
                      <a:pt x="16" y="23"/>
                      <a:pt x="15" y="24"/>
                      <a:pt x="14" y="24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64" name="Freeform 2578"/>
              <p:cNvSpPr>
                <a:spLocks noChangeAspect="1"/>
              </p:cNvSpPr>
              <p:nvPr/>
            </p:nvSpPr>
            <p:spPr bwMode="auto">
              <a:xfrm>
                <a:off x="5053724" y="2671207"/>
                <a:ext cx="115205" cy="81405"/>
              </a:xfrm>
              <a:custGeom>
                <a:avLst/>
                <a:gdLst>
                  <a:gd name="T0" fmla="*/ 103 w 86"/>
                  <a:gd name="T1" fmla="*/ 93 h 82"/>
                  <a:gd name="T2" fmla="*/ 98 w 86"/>
                  <a:gd name="T3" fmla="*/ 88 h 82"/>
                  <a:gd name="T4" fmla="*/ 92 w 86"/>
                  <a:gd name="T5" fmla="*/ 81 h 82"/>
                  <a:gd name="T6" fmla="*/ 90 w 86"/>
                  <a:gd name="T7" fmla="*/ 78 h 82"/>
                  <a:gd name="T8" fmla="*/ 80 w 86"/>
                  <a:gd name="T9" fmla="*/ 69 h 82"/>
                  <a:gd name="T10" fmla="*/ 73 w 86"/>
                  <a:gd name="T11" fmla="*/ 60 h 82"/>
                  <a:gd name="T12" fmla="*/ 67 w 86"/>
                  <a:gd name="T13" fmla="*/ 56 h 82"/>
                  <a:gd name="T14" fmla="*/ 65 w 86"/>
                  <a:gd name="T15" fmla="*/ 53 h 82"/>
                  <a:gd name="T16" fmla="*/ 60 w 86"/>
                  <a:gd name="T17" fmla="*/ 53 h 82"/>
                  <a:gd name="T18" fmla="*/ 55 w 86"/>
                  <a:gd name="T19" fmla="*/ 50 h 82"/>
                  <a:gd name="T20" fmla="*/ 52 w 86"/>
                  <a:gd name="T21" fmla="*/ 44 h 82"/>
                  <a:gd name="T22" fmla="*/ 48 w 86"/>
                  <a:gd name="T23" fmla="*/ 48 h 82"/>
                  <a:gd name="T24" fmla="*/ 44 w 86"/>
                  <a:gd name="T25" fmla="*/ 39 h 82"/>
                  <a:gd name="T26" fmla="*/ 42 w 86"/>
                  <a:gd name="T27" fmla="*/ 30 h 82"/>
                  <a:gd name="T28" fmla="*/ 38 w 86"/>
                  <a:gd name="T29" fmla="*/ 17 h 82"/>
                  <a:gd name="T30" fmla="*/ 34 w 86"/>
                  <a:gd name="T31" fmla="*/ 0 h 82"/>
                  <a:gd name="T32" fmla="*/ 26 w 86"/>
                  <a:gd name="T33" fmla="*/ 4 h 82"/>
                  <a:gd name="T34" fmla="*/ 22 w 86"/>
                  <a:gd name="T35" fmla="*/ 7 h 82"/>
                  <a:gd name="T36" fmla="*/ 17 w 86"/>
                  <a:gd name="T37" fmla="*/ 5 h 82"/>
                  <a:gd name="T38" fmla="*/ 14 w 86"/>
                  <a:gd name="T39" fmla="*/ 12 h 82"/>
                  <a:gd name="T40" fmla="*/ 8 w 86"/>
                  <a:gd name="T41" fmla="*/ 12 h 82"/>
                  <a:gd name="T42" fmla="*/ 7 w 86"/>
                  <a:gd name="T43" fmla="*/ 18 h 82"/>
                  <a:gd name="T44" fmla="*/ 5 w 86"/>
                  <a:gd name="T45" fmla="*/ 23 h 82"/>
                  <a:gd name="T46" fmla="*/ 8 w 86"/>
                  <a:gd name="T47" fmla="*/ 27 h 82"/>
                  <a:gd name="T48" fmla="*/ 5 w 86"/>
                  <a:gd name="T49" fmla="*/ 38 h 82"/>
                  <a:gd name="T50" fmla="*/ 1 w 86"/>
                  <a:gd name="T51" fmla="*/ 45 h 82"/>
                  <a:gd name="T52" fmla="*/ 2 w 86"/>
                  <a:gd name="T53" fmla="*/ 57 h 82"/>
                  <a:gd name="T54" fmla="*/ 5 w 86"/>
                  <a:gd name="T55" fmla="*/ 63 h 82"/>
                  <a:gd name="T56" fmla="*/ 11 w 86"/>
                  <a:gd name="T57" fmla="*/ 63 h 82"/>
                  <a:gd name="T58" fmla="*/ 14 w 86"/>
                  <a:gd name="T59" fmla="*/ 60 h 82"/>
                  <a:gd name="T60" fmla="*/ 19 w 86"/>
                  <a:gd name="T61" fmla="*/ 65 h 82"/>
                  <a:gd name="T62" fmla="*/ 23 w 86"/>
                  <a:gd name="T63" fmla="*/ 51 h 82"/>
                  <a:gd name="T64" fmla="*/ 28 w 86"/>
                  <a:gd name="T65" fmla="*/ 56 h 82"/>
                  <a:gd name="T66" fmla="*/ 31 w 86"/>
                  <a:gd name="T67" fmla="*/ 60 h 82"/>
                  <a:gd name="T68" fmla="*/ 38 w 86"/>
                  <a:gd name="T69" fmla="*/ 59 h 82"/>
                  <a:gd name="T70" fmla="*/ 42 w 86"/>
                  <a:gd name="T71" fmla="*/ 56 h 82"/>
                  <a:gd name="T72" fmla="*/ 47 w 86"/>
                  <a:gd name="T73" fmla="*/ 60 h 82"/>
                  <a:gd name="T74" fmla="*/ 60 w 86"/>
                  <a:gd name="T75" fmla="*/ 61 h 82"/>
                  <a:gd name="T76" fmla="*/ 68 w 86"/>
                  <a:gd name="T77" fmla="*/ 67 h 82"/>
                  <a:gd name="T78" fmla="*/ 73 w 86"/>
                  <a:gd name="T79" fmla="*/ 75 h 82"/>
                  <a:gd name="T80" fmla="*/ 84 w 86"/>
                  <a:gd name="T81" fmla="*/ 85 h 82"/>
                  <a:gd name="T82" fmla="*/ 86 w 86"/>
                  <a:gd name="T83" fmla="*/ 91 h 82"/>
                  <a:gd name="T84" fmla="*/ 91 w 86"/>
                  <a:gd name="T85" fmla="*/ 96 h 82"/>
                  <a:gd name="T86" fmla="*/ 97 w 86"/>
                  <a:gd name="T87" fmla="*/ 97 h 82"/>
                  <a:gd name="T88" fmla="*/ 99 w 86"/>
                  <a:gd name="T89" fmla="*/ 93 h 82"/>
                  <a:gd name="T90" fmla="*/ 103 w 86"/>
                  <a:gd name="T91" fmla="*/ 93 h 82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86"/>
                  <a:gd name="T139" fmla="*/ 0 h 82"/>
                  <a:gd name="T140" fmla="*/ 86 w 86"/>
                  <a:gd name="T141" fmla="*/ 82 h 82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86" h="82">
                    <a:moveTo>
                      <a:pt x="86" y="78"/>
                    </a:moveTo>
                    <a:cubicBezTo>
                      <a:pt x="85" y="77"/>
                      <a:pt x="83" y="76"/>
                      <a:pt x="82" y="74"/>
                    </a:cubicBezTo>
                    <a:cubicBezTo>
                      <a:pt x="80" y="72"/>
                      <a:pt x="79" y="70"/>
                      <a:pt x="77" y="68"/>
                    </a:cubicBezTo>
                    <a:cubicBezTo>
                      <a:pt x="77" y="67"/>
                      <a:pt x="76" y="66"/>
                      <a:pt x="75" y="65"/>
                    </a:cubicBezTo>
                    <a:cubicBezTo>
                      <a:pt x="73" y="62"/>
                      <a:pt x="69" y="61"/>
                      <a:pt x="67" y="58"/>
                    </a:cubicBezTo>
                    <a:cubicBezTo>
                      <a:pt x="65" y="56"/>
                      <a:pt x="64" y="53"/>
                      <a:pt x="61" y="50"/>
                    </a:cubicBezTo>
                    <a:cubicBezTo>
                      <a:pt x="60" y="49"/>
                      <a:pt x="58" y="49"/>
                      <a:pt x="56" y="47"/>
                    </a:cubicBezTo>
                    <a:cubicBezTo>
                      <a:pt x="55" y="46"/>
                      <a:pt x="55" y="45"/>
                      <a:pt x="54" y="44"/>
                    </a:cubicBezTo>
                    <a:cubicBezTo>
                      <a:pt x="53" y="43"/>
                      <a:pt x="51" y="45"/>
                      <a:pt x="50" y="44"/>
                    </a:cubicBezTo>
                    <a:cubicBezTo>
                      <a:pt x="48" y="44"/>
                      <a:pt x="47" y="43"/>
                      <a:pt x="46" y="42"/>
                    </a:cubicBezTo>
                    <a:cubicBezTo>
                      <a:pt x="45" y="41"/>
                      <a:pt x="45" y="38"/>
                      <a:pt x="43" y="37"/>
                    </a:cubicBezTo>
                    <a:cubicBezTo>
                      <a:pt x="42" y="37"/>
                      <a:pt x="41" y="41"/>
                      <a:pt x="40" y="40"/>
                    </a:cubicBezTo>
                    <a:cubicBezTo>
                      <a:pt x="38" y="39"/>
                      <a:pt x="38" y="36"/>
                      <a:pt x="37" y="33"/>
                    </a:cubicBezTo>
                    <a:cubicBezTo>
                      <a:pt x="37" y="31"/>
                      <a:pt x="36" y="28"/>
                      <a:pt x="35" y="25"/>
                    </a:cubicBezTo>
                    <a:cubicBezTo>
                      <a:pt x="34" y="21"/>
                      <a:pt x="33" y="17"/>
                      <a:pt x="32" y="14"/>
                    </a:cubicBezTo>
                    <a:cubicBezTo>
                      <a:pt x="31" y="9"/>
                      <a:pt x="29" y="4"/>
                      <a:pt x="28" y="0"/>
                    </a:cubicBezTo>
                    <a:cubicBezTo>
                      <a:pt x="26" y="1"/>
                      <a:pt x="24" y="2"/>
                      <a:pt x="22" y="3"/>
                    </a:cubicBezTo>
                    <a:cubicBezTo>
                      <a:pt x="20" y="3"/>
                      <a:pt x="19" y="5"/>
                      <a:pt x="18" y="6"/>
                    </a:cubicBezTo>
                    <a:cubicBezTo>
                      <a:pt x="16" y="6"/>
                      <a:pt x="15" y="3"/>
                      <a:pt x="14" y="4"/>
                    </a:cubicBezTo>
                    <a:cubicBezTo>
                      <a:pt x="13" y="5"/>
                      <a:pt x="14" y="9"/>
                      <a:pt x="12" y="10"/>
                    </a:cubicBezTo>
                    <a:cubicBezTo>
                      <a:pt x="10" y="11"/>
                      <a:pt x="8" y="9"/>
                      <a:pt x="7" y="10"/>
                    </a:cubicBezTo>
                    <a:cubicBezTo>
                      <a:pt x="6" y="11"/>
                      <a:pt x="7" y="13"/>
                      <a:pt x="6" y="15"/>
                    </a:cubicBezTo>
                    <a:cubicBezTo>
                      <a:pt x="6" y="16"/>
                      <a:pt x="4" y="18"/>
                      <a:pt x="4" y="19"/>
                    </a:cubicBezTo>
                    <a:cubicBezTo>
                      <a:pt x="4" y="21"/>
                      <a:pt x="6" y="22"/>
                      <a:pt x="7" y="23"/>
                    </a:cubicBezTo>
                    <a:cubicBezTo>
                      <a:pt x="7" y="26"/>
                      <a:pt x="6" y="29"/>
                      <a:pt x="4" y="32"/>
                    </a:cubicBezTo>
                    <a:cubicBezTo>
                      <a:pt x="4" y="35"/>
                      <a:pt x="1" y="36"/>
                      <a:pt x="1" y="38"/>
                    </a:cubicBezTo>
                    <a:cubicBezTo>
                      <a:pt x="0" y="41"/>
                      <a:pt x="1" y="45"/>
                      <a:pt x="2" y="48"/>
                    </a:cubicBezTo>
                    <a:cubicBezTo>
                      <a:pt x="2" y="50"/>
                      <a:pt x="3" y="51"/>
                      <a:pt x="4" y="53"/>
                    </a:cubicBezTo>
                    <a:cubicBezTo>
                      <a:pt x="5" y="53"/>
                      <a:pt x="7" y="53"/>
                      <a:pt x="9" y="53"/>
                    </a:cubicBezTo>
                    <a:cubicBezTo>
                      <a:pt x="10" y="53"/>
                      <a:pt x="11" y="50"/>
                      <a:pt x="12" y="50"/>
                    </a:cubicBezTo>
                    <a:cubicBezTo>
                      <a:pt x="14" y="50"/>
                      <a:pt x="15" y="56"/>
                      <a:pt x="16" y="54"/>
                    </a:cubicBezTo>
                    <a:cubicBezTo>
                      <a:pt x="19" y="52"/>
                      <a:pt x="17" y="46"/>
                      <a:pt x="19" y="43"/>
                    </a:cubicBezTo>
                    <a:cubicBezTo>
                      <a:pt x="20" y="41"/>
                      <a:pt x="21" y="46"/>
                      <a:pt x="23" y="47"/>
                    </a:cubicBezTo>
                    <a:cubicBezTo>
                      <a:pt x="24" y="48"/>
                      <a:pt x="25" y="49"/>
                      <a:pt x="26" y="50"/>
                    </a:cubicBezTo>
                    <a:cubicBezTo>
                      <a:pt x="28" y="50"/>
                      <a:pt x="30" y="49"/>
                      <a:pt x="32" y="49"/>
                    </a:cubicBezTo>
                    <a:cubicBezTo>
                      <a:pt x="33" y="49"/>
                      <a:pt x="34" y="47"/>
                      <a:pt x="35" y="47"/>
                    </a:cubicBezTo>
                    <a:cubicBezTo>
                      <a:pt x="36" y="47"/>
                      <a:pt x="37" y="49"/>
                      <a:pt x="39" y="50"/>
                    </a:cubicBezTo>
                    <a:cubicBezTo>
                      <a:pt x="43" y="51"/>
                      <a:pt x="46" y="50"/>
                      <a:pt x="50" y="51"/>
                    </a:cubicBezTo>
                    <a:cubicBezTo>
                      <a:pt x="52" y="52"/>
                      <a:pt x="55" y="54"/>
                      <a:pt x="57" y="56"/>
                    </a:cubicBezTo>
                    <a:cubicBezTo>
                      <a:pt x="59" y="58"/>
                      <a:pt x="59" y="61"/>
                      <a:pt x="61" y="63"/>
                    </a:cubicBezTo>
                    <a:cubicBezTo>
                      <a:pt x="64" y="66"/>
                      <a:pt x="67" y="68"/>
                      <a:pt x="70" y="71"/>
                    </a:cubicBezTo>
                    <a:cubicBezTo>
                      <a:pt x="71" y="72"/>
                      <a:pt x="71" y="74"/>
                      <a:pt x="72" y="76"/>
                    </a:cubicBezTo>
                    <a:cubicBezTo>
                      <a:pt x="73" y="77"/>
                      <a:pt x="75" y="79"/>
                      <a:pt x="76" y="80"/>
                    </a:cubicBezTo>
                    <a:cubicBezTo>
                      <a:pt x="78" y="80"/>
                      <a:pt x="79" y="82"/>
                      <a:pt x="81" y="81"/>
                    </a:cubicBezTo>
                    <a:cubicBezTo>
                      <a:pt x="82" y="81"/>
                      <a:pt x="82" y="79"/>
                      <a:pt x="83" y="78"/>
                    </a:cubicBezTo>
                    <a:cubicBezTo>
                      <a:pt x="83" y="77"/>
                      <a:pt x="85" y="78"/>
                      <a:pt x="86" y="78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65" name="Freeform 2579"/>
              <p:cNvSpPr>
                <a:spLocks noChangeAspect="1"/>
              </p:cNvSpPr>
              <p:nvPr/>
            </p:nvSpPr>
            <p:spPr bwMode="auto">
              <a:xfrm>
                <a:off x="4807655" y="2593955"/>
                <a:ext cx="284097" cy="285748"/>
              </a:xfrm>
              <a:custGeom>
                <a:avLst/>
                <a:gdLst>
                  <a:gd name="T0" fmla="*/ 223 w 211"/>
                  <a:gd name="T1" fmla="*/ 150 h 286"/>
                  <a:gd name="T2" fmla="*/ 225 w 211"/>
                  <a:gd name="T3" fmla="*/ 131 h 286"/>
                  <a:gd name="T4" fmla="*/ 225 w 211"/>
                  <a:gd name="T5" fmla="*/ 115 h 286"/>
                  <a:gd name="T6" fmla="*/ 229 w 211"/>
                  <a:gd name="T7" fmla="*/ 105 h 286"/>
                  <a:gd name="T8" fmla="*/ 237 w 211"/>
                  <a:gd name="T9" fmla="*/ 97 h 286"/>
                  <a:gd name="T10" fmla="*/ 247 w 211"/>
                  <a:gd name="T11" fmla="*/ 96 h 286"/>
                  <a:gd name="T12" fmla="*/ 244 w 211"/>
                  <a:gd name="T13" fmla="*/ 87 h 286"/>
                  <a:gd name="T14" fmla="*/ 237 w 211"/>
                  <a:gd name="T15" fmla="*/ 77 h 286"/>
                  <a:gd name="T16" fmla="*/ 230 w 211"/>
                  <a:gd name="T17" fmla="*/ 52 h 286"/>
                  <a:gd name="T18" fmla="*/ 225 w 211"/>
                  <a:gd name="T19" fmla="*/ 26 h 286"/>
                  <a:gd name="T20" fmla="*/ 215 w 211"/>
                  <a:gd name="T21" fmla="*/ 6 h 286"/>
                  <a:gd name="T22" fmla="*/ 206 w 211"/>
                  <a:gd name="T23" fmla="*/ 0 h 286"/>
                  <a:gd name="T24" fmla="*/ 193 w 211"/>
                  <a:gd name="T25" fmla="*/ 7 h 286"/>
                  <a:gd name="T26" fmla="*/ 184 w 211"/>
                  <a:gd name="T27" fmla="*/ 16 h 286"/>
                  <a:gd name="T28" fmla="*/ 176 w 211"/>
                  <a:gd name="T29" fmla="*/ 26 h 286"/>
                  <a:gd name="T30" fmla="*/ 46 w 211"/>
                  <a:gd name="T31" fmla="*/ 19 h 286"/>
                  <a:gd name="T32" fmla="*/ 31 w 211"/>
                  <a:gd name="T33" fmla="*/ 58 h 286"/>
                  <a:gd name="T34" fmla="*/ 30 w 211"/>
                  <a:gd name="T35" fmla="*/ 130 h 286"/>
                  <a:gd name="T36" fmla="*/ 17 w 211"/>
                  <a:gd name="T37" fmla="*/ 134 h 286"/>
                  <a:gd name="T38" fmla="*/ 12 w 211"/>
                  <a:gd name="T39" fmla="*/ 148 h 286"/>
                  <a:gd name="T40" fmla="*/ 12 w 211"/>
                  <a:gd name="T41" fmla="*/ 159 h 286"/>
                  <a:gd name="T42" fmla="*/ 7 w 211"/>
                  <a:gd name="T43" fmla="*/ 173 h 286"/>
                  <a:gd name="T44" fmla="*/ 1 w 211"/>
                  <a:gd name="T45" fmla="*/ 186 h 286"/>
                  <a:gd name="T46" fmla="*/ 11 w 211"/>
                  <a:gd name="T47" fmla="*/ 196 h 286"/>
                  <a:gd name="T48" fmla="*/ 11 w 211"/>
                  <a:gd name="T49" fmla="*/ 202 h 286"/>
                  <a:gd name="T50" fmla="*/ 16 w 211"/>
                  <a:gd name="T51" fmla="*/ 214 h 286"/>
                  <a:gd name="T52" fmla="*/ 30 w 211"/>
                  <a:gd name="T53" fmla="*/ 235 h 286"/>
                  <a:gd name="T54" fmla="*/ 25 w 211"/>
                  <a:gd name="T55" fmla="*/ 248 h 286"/>
                  <a:gd name="T56" fmla="*/ 39 w 211"/>
                  <a:gd name="T57" fmla="*/ 254 h 286"/>
                  <a:gd name="T58" fmla="*/ 49 w 211"/>
                  <a:gd name="T59" fmla="*/ 262 h 286"/>
                  <a:gd name="T60" fmla="*/ 55 w 211"/>
                  <a:gd name="T61" fmla="*/ 268 h 286"/>
                  <a:gd name="T62" fmla="*/ 60 w 211"/>
                  <a:gd name="T63" fmla="*/ 281 h 286"/>
                  <a:gd name="T64" fmla="*/ 75 w 211"/>
                  <a:gd name="T65" fmla="*/ 291 h 286"/>
                  <a:gd name="T66" fmla="*/ 79 w 211"/>
                  <a:gd name="T67" fmla="*/ 299 h 286"/>
                  <a:gd name="T68" fmla="*/ 88 w 211"/>
                  <a:gd name="T69" fmla="*/ 310 h 286"/>
                  <a:gd name="T70" fmla="*/ 94 w 211"/>
                  <a:gd name="T71" fmla="*/ 324 h 286"/>
                  <a:gd name="T72" fmla="*/ 107 w 211"/>
                  <a:gd name="T73" fmla="*/ 325 h 286"/>
                  <a:gd name="T74" fmla="*/ 119 w 211"/>
                  <a:gd name="T75" fmla="*/ 321 h 286"/>
                  <a:gd name="T76" fmla="*/ 134 w 211"/>
                  <a:gd name="T77" fmla="*/ 340 h 286"/>
                  <a:gd name="T78" fmla="*/ 141 w 211"/>
                  <a:gd name="T79" fmla="*/ 340 h 286"/>
                  <a:gd name="T80" fmla="*/ 155 w 211"/>
                  <a:gd name="T81" fmla="*/ 337 h 286"/>
                  <a:gd name="T82" fmla="*/ 164 w 211"/>
                  <a:gd name="T83" fmla="*/ 339 h 286"/>
                  <a:gd name="T84" fmla="*/ 176 w 211"/>
                  <a:gd name="T85" fmla="*/ 338 h 286"/>
                  <a:gd name="T86" fmla="*/ 188 w 211"/>
                  <a:gd name="T87" fmla="*/ 331 h 286"/>
                  <a:gd name="T88" fmla="*/ 203 w 211"/>
                  <a:gd name="T89" fmla="*/ 304 h 286"/>
                  <a:gd name="T90" fmla="*/ 193 w 211"/>
                  <a:gd name="T91" fmla="*/ 283 h 286"/>
                  <a:gd name="T92" fmla="*/ 171 w 211"/>
                  <a:gd name="T93" fmla="*/ 269 h 286"/>
                  <a:gd name="T94" fmla="*/ 182 w 211"/>
                  <a:gd name="T95" fmla="*/ 259 h 286"/>
                  <a:gd name="T96" fmla="*/ 188 w 211"/>
                  <a:gd name="T97" fmla="*/ 242 h 286"/>
                  <a:gd name="T98" fmla="*/ 188 w 211"/>
                  <a:gd name="T99" fmla="*/ 223 h 286"/>
                  <a:gd name="T100" fmla="*/ 196 w 211"/>
                  <a:gd name="T101" fmla="*/ 219 h 286"/>
                  <a:gd name="T102" fmla="*/ 201 w 211"/>
                  <a:gd name="T103" fmla="*/ 197 h 286"/>
                  <a:gd name="T104" fmla="*/ 209 w 211"/>
                  <a:gd name="T105" fmla="*/ 183 h 286"/>
                  <a:gd name="T106" fmla="*/ 218 w 211"/>
                  <a:gd name="T107" fmla="*/ 177 h 286"/>
                  <a:gd name="T108" fmla="*/ 221 w 211"/>
                  <a:gd name="T109" fmla="*/ 161 h 28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211"/>
                  <a:gd name="T166" fmla="*/ 0 h 286"/>
                  <a:gd name="T167" fmla="*/ 211 w 211"/>
                  <a:gd name="T168" fmla="*/ 286 h 28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211" h="286">
                    <a:moveTo>
                      <a:pt x="187" y="130"/>
                    </a:moveTo>
                    <a:cubicBezTo>
                      <a:pt x="186" y="128"/>
                      <a:pt x="185" y="127"/>
                      <a:pt x="185" y="125"/>
                    </a:cubicBezTo>
                    <a:cubicBezTo>
                      <a:pt x="184" y="122"/>
                      <a:pt x="183" y="118"/>
                      <a:pt x="184" y="115"/>
                    </a:cubicBezTo>
                    <a:cubicBezTo>
                      <a:pt x="184" y="113"/>
                      <a:pt x="187" y="112"/>
                      <a:pt x="187" y="109"/>
                    </a:cubicBezTo>
                    <a:cubicBezTo>
                      <a:pt x="189" y="106"/>
                      <a:pt x="190" y="103"/>
                      <a:pt x="190" y="100"/>
                    </a:cubicBezTo>
                    <a:cubicBezTo>
                      <a:pt x="189" y="99"/>
                      <a:pt x="187" y="98"/>
                      <a:pt x="187" y="96"/>
                    </a:cubicBezTo>
                    <a:cubicBezTo>
                      <a:pt x="187" y="95"/>
                      <a:pt x="189" y="93"/>
                      <a:pt x="189" y="92"/>
                    </a:cubicBezTo>
                    <a:cubicBezTo>
                      <a:pt x="190" y="90"/>
                      <a:pt x="189" y="88"/>
                      <a:pt x="190" y="87"/>
                    </a:cubicBezTo>
                    <a:cubicBezTo>
                      <a:pt x="191" y="86"/>
                      <a:pt x="193" y="88"/>
                      <a:pt x="195" y="87"/>
                    </a:cubicBezTo>
                    <a:cubicBezTo>
                      <a:pt x="197" y="86"/>
                      <a:pt x="196" y="82"/>
                      <a:pt x="197" y="81"/>
                    </a:cubicBezTo>
                    <a:cubicBezTo>
                      <a:pt x="198" y="80"/>
                      <a:pt x="199" y="83"/>
                      <a:pt x="201" y="83"/>
                    </a:cubicBezTo>
                    <a:cubicBezTo>
                      <a:pt x="202" y="82"/>
                      <a:pt x="203" y="80"/>
                      <a:pt x="205" y="80"/>
                    </a:cubicBezTo>
                    <a:cubicBezTo>
                      <a:pt x="207" y="79"/>
                      <a:pt x="209" y="78"/>
                      <a:pt x="211" y="77"/>
                    </a:cubicBezTo>
                    <a:cubicBezTo>
                      <a:pt x="208" y="75"/>
                      <a:pt x="205" y="74"/>
                      <a:pt x="203" y="72"/>
                    </a:cubicBezTo>
                    <a:cubicBezTo>
                      <a:pt x="203" y="71"/>
                      <a:pt x="204" y="69"/>
                      <a:pt x="203" y="69"/>
                    </a:cubicBezTo>
                    <a:cubicBezTo>
                      <a:pt x="202" y="67"/>
                      <a:pt x="198" y="66"/>
                      <a:pt x="197" y="64"/>
                    </a:cubicBezTo>
                    <a:cubicBezTo>
                      <a:pt x="195" y="62"/>
                      <a:pt x="193" y="60"/>
                      <a:pt x="192" y="57"/>
                    </a:cubicBezTo>
                    <a:cubicBezTo>
                      <a:pt x="191" y="52"/>
                      <a:pt x="191" y="47"/>
                      <a:pt x="191" y="43"/>
                    </a:cubicBezTo>
                    <a:cubicBezTo>
                      <a:pt x="191" y="38"/>
                      <a:pt x="192" y="34"/>
                      <a:pt x="191" y="30"/>
                    </a:cubicBezTo>
                    <a:cubicBezTo>
                      <a:pt x="191" y="27"/>
                      <a:pt x="187" y="25"/>
                      <a:pt x="187" y="22"/>
                    </a:cubicBezTo>
                    <a:cubicBezTo>
                      <a:pt x="186" y="19"/>
                      <a:pt x="189" y="17"/>
                      <a:pt x="188" y="15"/>
                    </a:cubicBezTo>
                    <a:cubicBezTo>
                      <a:pt x="186" y="11"/>
                      <a:pt x="183" y="8"/>
                      <a:pt x="179" y="5"/>
                    </a:cubicBezTo>
                    <a:cubicBezTo>
                      <a:pt x="178" y="5"/>
                      <a:pt x="176" y="6"/>
                      <a:pt x="175" y="5"/>
                    </a:cubicBezTo>
                    <a:cubicBezTo>
                      <a:pt x="174" y="4"/>
                      <a:pt x="173" y="2"/>
                      <a:pt x="171" y="0"/>
                    </a:cubicBezTo>
                    <a:cubicBezTo>
                      <a:pt x="170" y="2"/>
                      <a:pt x="168" y="4"/>
                      <a:pt x="166" y="6"/>
                    </a:cubicBezTo>
                    <a:cubicBezTo>
                      <a:pt x="164" y="7"/>
                      <a:pt x="162" y="5"/>
                      <a:pt x="160" y="6"/>
                    </a:cubicBezTo>
                    <a:cubicBezTo>
                      <a:pt x="159" y="7"/>
                      <a:pt x="159" y="9"/>
                      <a:pt x="158" y="11"/>
                    </a:cubicBezTo>
                    <a:cubicBezTo>
                      <a:pt x="156" y="12"/>
                      <a:pt x="154" y="11"/>
                      <a:pt x="153" y="13"/>
                    </a:cubicBezTo>
                    <a:cubicBezTo>
                      <a:pt x="152" y="15"/>
                      <a:pt x="153" y="17"/>
                      <a:pt x="152" y="19"/>
                    </a:cubicBezTo>
                    <a:cubicBezTo>
                      <a:pt x="151" y="21"/>
                      <a:pt x="148" y="23"/>
                      <a:pt x="146" y="22"/>
                    </a:cubicBezTo>
                    <a:cubicBezTo>
                      <a:pt x="144" y="21"/>
                      <a:pt x="145" y="16"/>
                      <a:pt x="142" y="16"/>
                    </a:cubicBezTo>
                    <a:cubicBezTo>
                      <a:pt x="107" y="14"/>
                      <a:pt x="73" y="16"/>
                      <a:pt x="38" y="16"/>
                    </a:cubicBezTo>
                    <a:lnTo>
                      <a:pt x="37" y="48"/>
                    </a:lnTo>
                    <a:lnTo>
                      <a:pt x="26" y="48"/>
                    </a:lnTo>
                    <a:lnTo>
                      <a:pt x="25" y="55"/>
                    </a:lnTo>
                    <a:cubicBezTo>
                      <a:pt x="25" y="73"/>
                      <a:pt x="27" y="91"/>
                      <a:pt x="25" y="108"/>
                    </a:cubicBezTo>
                    <a:cubicBezTo>
                      <a:pt x="25" y="110"/>
                      <a:pt x="21" y="107"/>
                      <a:pt x="19" y="108"/>
                    </a:cubicBezTo>
                    <a:cubicBezTo>
                      <a:pt x="17" y="108"/>
                      <a:pt x="15" y="109"/>
                      <a:pt x="14" y="111"/>
                    </a:cubicBezTo>
                    <a:cubicBezTo>
                      <a:pt x="13" y="112"/>
                      <a:pt x="16" y="114"/>
                      <a:pt x="15" y="116"/>
                    </a:cubicBezTo>
                    <a:cubicBezTo>
                      <a:pt x="14" y="119"/>
                      <a:pt x="12" y="121"/>
                      <a:pt x="10" y="123"/>
                    </a:cubicBezTo>
                    <a:cubicBezTo>
                      <a:pt x="9" y="124"/>
                      <a:pt x="6" y="125"/>
                      <a:pt x="7" y="126"/>
                    </a:cubicBezTo>
                    <a:cubicBezTo>
                      <a:pt x="7" y="128"/>
                      <a:pt x="11" y="130"/>
                      <a:pt x="10" y="132"/>
                    </a:cubicBezTo>
                    <a:cubicBezTo>
                      <a:pt x="10" y="134"/>
                      <a:pt x="5" y="133"/>
                      <a:pt x="5" y="135"/>
                    </a:cubicBezTo>
                    <a:cubicBezTo>
                      <a:pt x="4" y="138"/>
                      <a:pt x="7" y="141"/>
                      <a:pt x="6" y="144"/>
                    </a:cubicBezTo>
                    <a:cubicBezTo>
                      <a:pt x="6" y="147"/>
                      <a:pt x="2" y="148"/>
                      <a:pt x="1" y="150"/>
                    </a:cubicBezTo>
                    <a:cubicBezTo>
                      <a:pt x="0" y="151"/>
                      <a:pt x="0" y="154"/>
                      <a:pt x="1" y="155"/>
                    </a:cubicBezTo>
                    <a:cubicBezTo>
                      <a:pt x="3" y="156"/>
                      <a:pt x="6" y="152"/>
                      <a:pt x="8" y="153"/>
                    </a:cubicBezTo>
                    <a:cubicBezTo>
                      <a:pt x="10" y="156"/>
                      <a:pt x="8" y="160"/>
                      <a:pt x="9" y="163"/>
                    </a:cubicBezTo>
                    <a:cubicBezTo>
                      <a:pt x="10" y="164"/>
                      <a:pt x="12" y="163"/>
                      <a:pt x="12" y="164"/>
                    </a:cubicBezTo>
                    <a:cubicBezTo>
                      <a:pt x="12" y="165"/>
                      <a:pt x="9" y="166"/>
                      <a:pt x="9" y="168"/>
                    </a:cubicBezTo>
                    <a:cubicBezTo>
                      <a:pt x="10" y="171"/>
                      <a:pt x="13" y="172"/>
                      <a:pt x="14" y="174"/>
                    </a:cubicBezTo>
                    <a:cubicBezTo>
                      <a:pt x="15" y="175"/>
                      <a:pt x="14" y="177"/>
                      <a:pt x="13" y="178"/>
                    </a:cubicBezTo>
                    <a:cubicBezTo>
                      <a:pt x="15" y="180"/>
                      <a:pt x="18" y="182"/>
                      <a:pt x="19" y="184"/>
                    </a:cubicBezTo>
                    <a:cubicBezTo>
                      <a:pt x="22" y="187"/>
                      <a:pt x="24" y="191"/>
                      <a:pt x="25" y="195"/>
                    </a:cubicBezTo>
                    <a:cubicBezTo>
                      <a:pt x="26" y="197"/>
                      <a:pt x="25" y="200"/>
                      <a:pt x="25" y="202"/>
                    </a:cubicBezTo>
                    <a:cubicBezTo>
                      <a:pt x="24" y="204"/>
                      <a:pt x="21" y="205"/>
                      <a:pt x="21" y="206"/>
                    </a:cubicBezTo>
                    <a:cubicBezTo>
                      <a:pt x="21" y="208"/>
                      <a:pt x="23" y="210"/>
                      <a:pt x="25" y="211"/>
                    </a:cubicBezTo>
                    <a:cubicBezTo>
                      <a:pt x="27" y="212"/>
                      <a:pt x="30" y="209"/>
                      <a:pt x="32" y="211"/>
                    </a:cubicBezTo>
                    <a:cubicBezTo>
                      <a:pt x="34" y="212"/>
                      <a:pt x="30" y="214"/>
                      <a:pt x="31" y="216"/>
                    </a:cubicBezTo>
                    <a:cubicBezTo>
                      <a:pt x="34" y="218"/>
                      <a:pt x="38" y="216"/>
                      <a:pt x="41" y="218"/>
                    </a:cubicBezTo>
                    <a:cubicBezTo>
                      <a:pt x="42" y="219"/>
                      <a:pt x="41" y="222"/>
                      <a:pt x="42" y="223"/>
                    </a:cubicBezTo>
                    <a:cubicBezTo>
                      <a:pt x="43" y="224"/>
                      <a:pt x="45" y="222"/>
                      <a:pt x="46" y="223"/>
                    </a:cubicBezTo>
                    <a:cubicBezTo>
                      <a:pt x="47" y="224"/>
                      <a:pt x="45" y="227"/>
                      <a:pt x="45" y="228"/>
                    </a:cubicBezTo>
                    <a:cubicBezTo>
                      <a:pt x="46" y="230"/>
                      <a:pt x="48" y="232"/>
                      <a:pt x="50" y="234"/>
                    </a:cubicBezTo>
                    <a:cubicBezTo>
                      <a:pt x="52" y="235"/>
                      <a:pt x="54" y="233"/>
                      <a:pt x="55" y="234"/>
                    </a:cubicBezTo>
                    <a:cubicBezTo>
                      <a:pt x="57" y="238"/>
                      <a:pt x="61" y="240"/>
                      <a:pt x="62" y="242"/>
                    </a:cubicBezTo>
                    <a:cubicBezTo>
                      <a:pt x="63" y="243"/>
                      <a:pt x="59" y="243"/>
                      <a:pt x="59" y="244"/>
                    </a:cubicBezTo>
                    <a:cubicBezTo>
                      <a:pt x="61" y="247"/>
                      <a:pt x="64" y="247"/>
                      <a:pt x="66" y="249"/>
                    </a:cubicBezTo>
                    <a:cubicBezTo>
                      <a:pt x="67" y="249"/>
                      <a:pt x="69" y="250"/>
                      <a:pt x="70" y="251"/>
                    </a:cubicBezTo>
                    <a:cubicBezTo>
                      <a:pt x="71" y="253"/>
                      <a:pt x="73" y="255"/>
                      <a:pt x="73" y="258"/>
                    </a:cubicBezTo>
                    <a:cubicBezTo>
                      <a:pt x="73" y="260"/>
                      <a:pt x="72" y="262"/>
                      <a:pt x="72" y="265"/>
                    </a:cubicBezTo>
                    <a:cubicBezTo>
                      <a:pt x="74" y="266"/>
                      <a:pt x="76" y="268"/>
                      <a:pt x="78" y="269"/>
                    </a:cubicBezTo>
                    <a:cubicBezTo>
                      <a:pt x="80" y="270"/>
                      <a:pt x="83" y="272"/>
                      <a:pt x="85" y="272"/>
                    </a:cubicBezTo>
                    <a:cubicBezTo>
                      <a:pt x="87" y="272"/>
                      <a:pt x="88" y="270"/>
                      <a:pt x="89" y="270"/>
                    </a:cubicBezTo>
                    <a:cubicBezTo>
                      <a:pt x="91" y="269"/>
                      <a:pt x="93" y="270"/>
                      <a:pt x="95" y="270"/>
                    </a:cubicBezTo>
                    <a:cubicBezTo>
                      <a:pt x="97" y="269"/>
                      <a:pt x="97" y="267"/>
                      <a:pt x="99" y="267"/>
                    </a:cubicBezTo>
                    <a:cubicBezTo>
                      <a:pt x="102" y="269"/>
                      <a:pt x="105" y="273"/>
                      <a:pt x="107" y="277"/>
                    </a:cubicBezTo>
                    <a:cubicBezTo>
                      <a:pt x="109" y="278"/>
                      <a:pt x="109" y="281"/>
                      <a:pt x="111" y="283"/>
                    </a:cubicBezTo>
                    <a:cubicBezTo>
                      <a:pt x="112" y="284"/>
                      <a:pt x="113" y="285"/>
                      <a:pt x="114" y="286"/>
                    </a:cubicBezTo>
                    <a:cubicBezTo>
                      <a:pt x="115" y="285"/>
                      <a:pt x="115" y="283"/>
                      <a:pt x="117" y="283"/>
                    </a:cubicBezTo>
                    <a:cubicBezTo>
                      <a:pt x="119" y="282"/>
                      <a:pt x="122" y="283"/>
                      <a:pt x="124" y="283"/>
                    </a:cubicBezTo>
                    <a:cubicBezTo>
                      <a:pt x="126" y="282"/>
                      <a:pt x="127" y="279"/>
                      <a:pt x="129" y="280"/>
                    </a:cubicBezTo>
                    <a:cubicBezTo>
                      <a:pt x="131" y="280"/>
                      <a:pt x="130" y="284"/>
                      <a:pt x="132" y="284"/>
                    </a:cubicBezTo>
                    <a:cubicBezTo>
                      <a:pt x="133" y="285"/>
                      <a:pt x="134" y="282"/>
                      <a:pt x="136" y="282"/>
                    </a:cubicBezTo>
                    <a:cubicBezTo>
                      <a:pt x="138" y="280"/>
                      <a:pt x="140" y="279"/>
                      <a:pt x="143" y="279"/>
                    </a:cubicBezTo>
                    <a:cubicBezTo>
                      <a:pt x="144" y="279"/>
                      <a:pt x="145" y="281"/>
                      <a:pt x="146" y="281"/>
                    </a:cubicBezTo>
                    <a:cubicBezTo>
                      <a:pt x="148" y="281"/>
                      <a:pt x="150" y="282"/>
                      <a:pt x="151" y="281"/>
                    </a:cubicBezTo>
                    <a:cubicBezTo>
                      <a:pt x="154" y="280"/>
                      <a:pt x="155" y="277"/>
                      <a:pt x="156" y="275"/>
                    </a:cubicBezTo>
                    <a:lnTo>
                      <a:pt x="172" y="258"/>
                    </a:lnTo>
                    <a:cubicBezTo>
                      <a:pt x="171" y="256"/>
                      <a:pt x="169" y="255"/>
                      <a:pt x="169" y="253"/>
                    </a:cubicBezTo>
                    <a:cubicBezTo>
                      <a:pt x="167" y="250"/>
                      <a:pt x="168" y="246"/>
                      <a:pt x="166" y="243"/>
                    </a:cubicBezTo>
                    <a:cubicBezTo>
                      <a:pt x="165" y="240"/>
                      <a:pt x="162" y="238"/>
                      <a:pt x="160" y="235"/>
                    </a:cubicBezTo>
                    <a:cubicBezTo>
                      <a:pt x="157" y="232"/>
                      <a:pt x="156" y="227"/>
                      <a:pt x="152" y="225"/>
                    </a:cubicBezTo>
                    <a:cubicBezTo>
                      <a:pt x="149" y="223"/>
                      <a:pt x="145" y="226"/>
                      <a:pt x="142" y="224"/>
                    </a:cubicBezTo>
                    <a:cubicBezTo>
                      <a:pt x="140" y="222"/>
                      <a:pt x="141" y="218"/>
                      <a:pt x="143" y="216"/>
                    </a:cubicBezTo>
                    <a:cubicBezTo>
                      <a:pt x="145" y="214"/>
                      <a:pt x="149" y="216"/>
                      <a:pt x="151" y="215"/>
                    </a:cubicBezTo>
                    <a:cubicBezTo>
                      <a:pt x="153" y="215"/>
                      <a:pt x="156" y="215"/>
                      <a:pt x="156" y="214"/>
                    </a:cubicBezTo>
                    <a:cubicBezTo>
                      <a:pt x="158" y="210"/>
                      <a:pt x="155" y="205"/>
                      <a:pt x="156" y="201"/>
                    </a:cubicBezTo>
                    <a:cubicBezTo>
                      <a:pt x="156" y="197"/>
                      <a:pt x="158" y="193"/>
                      <a:pt x="158" y="189"/>
                    </a:cubicBezTo>
                    <a:cubicBezTo>
                      <a:pt x="158" y="188"/>
                      <a:pt x="156" y="187"/>
                      <a:pt x="156" y="185"/>
                    </a:cubicBezTo>
                    <a:cubicBezTo>
                      <a:pt x="156" y="183"/>
                      <a:pt x="157" y="182"/>
                      <a:pt x="159" y="181"/>
                    </a:cubicBezTo>
                    <a:cubicBezTo>
                      <a:pt x="160" y="181"/>
                      <a:pt x="161" y="182"/>
                      <a:pt x="163" y="182"/>
                    </a:cubicBezTo>
                    <a:cubicBezTo>
                      <a:pt x="164" y="182"/>
                      <a:pt x="166" y="183"/>
                      <a:pt x="166" y="182"/>
                    </a:cubicBezTo>
                    <a:cubicBezTo>
                      <a:pt x="167" y="176"/>
                      <a:pt x="165" y="170"/>
                      <a:pt x="167" y="164"/>
                    </a:cubicBezTo>
                    <a:cubicBezTo>
                      <a:pt x="167" y="162"/>
                      <a:pt x="170" y="162"/>
                      <a:pt x="171" y="161"/>
                    </a:cubicBezTo>
                    <a:cubicBezTo>
                      <a:pt x="172" y="158"/>
                      <a:pt x="172" y="154"/>
                      <a:pt x="174" y="152"/>
                    </a:cubicBezTo>
                    <a:cubicBezTo>
                      <a:pt x="176" y="150"/>
                      <a:pt x="179" y="151"/>
                      <a:pt x="181" y="150"/>
                    </a:cubicBezTo>
                    <a:cubicBezTo>
                      <a:pt x="182" y="149"/>
                      <a:pt x="180" y="148"/>
                      <a:pt x="181" y="147"/>
                    </a:cubicBezTo>
                    <a:cubicBezTo>
                      <a:pt x="182" y="144"/>
                      <a:pt x="184" y="142"/>
                      <a:pt x="184" y="140"/>
                    </a:cubicBezTo>
                    <a:cubicBezTo>
                      <a:pt x="185" y="138"/>
                      <a:pt x="183" y="136"/>
                      <a:pt x="184" y="134"/>
                    </a:cubicBezTo>
                    <a:cubicBezTo>
                      <a:pt x="184" y="132"/>
                      <a:pt x="186" y="131"/>
                      <a:pt x="187" y="13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66" name="Freeform 2580"/>
              <p:cNvSpPr>
                <a:spLocks noChangeAspect="1"/>
              </p:cNvSpPr>
              <p:nvPr/>
            </p:nvSpPr>
            <p:spPr bwMode="auto">
              <a:xfrm>
                <a:off x="4591787" y="2438620"/>
                <a:ext cx="267320" cy="210159"/>
              </a:xfrm>
              <a:custGeom>
                <a:avLst/>
                <a:gdLst>
                  <a:gd name="T0" fmla="*/ 239 w 199"/>
                  <a:gd name="T1" fmla="*/ 206 h 211"/>
                  <a:gd name="T2" fmla="*/ 238 w 199"/>
                  <a:gd name="T3" fmla="*/ 245 h 211"/>
                  <a:gd name="T4" fmla="*/ 225 w 199"/>
                  <a:gd name="T5" fmla="*/ 245 h 211"/>
                  <a:gd name="T6" fmla="*/ 223 w 199"/>
                  <a:gd name="T7" fmla="*/ 253 h 211"/>
                  <a:gd name="T8" fmla="*/ 98 w 199"/>
                  <a:gd name="T9" fmla="*/ 181 h 211"/>
                  <a:gd name="T10" fmla="*/ 89 w 199"/>
                  <a:gd name="T11" fmla="*/ 189 h 211"/>
                  <a:gd name="T12" fmla="*/ 72 w 199"/>
                  <a:gd name="T13" fmla="*/ 197 h 211"/>
                  <a:gd name="T14" fmla="*/ 65 w 199"/>
                  <a:gd name="T15" fmla="*/ 186 h 211"/>
                  <a:gd name="T16" fmla="*/ 50 w 199"/>
                  <a:gd name="T17" fmla="*/ 185 h 211"/>
                  <a:gd name="T18" fmla="*/ 42 w 199"/>
                  <a:gd name="T19" fmla="*/ 179 h 211"/>
                  <a:gd name="T20" fmla="*/ 34 w 199"/>
                  <a:gd name="T21" fmla="*/ 173 h 211"/>
                  <a:gd name="T22" fmla="*/ 37 w 199"/>
                  <a:gd name="T23" fmla="*/ 169 h 211"/>
                  <a:gd name="T24" fmla="*/ 25 w 199"/>
                  <a:gd name="T25" fmla="*/ 163 h 211"/>
                  <a:gd name="T26" fmla="*/ 16 w 199"/>
                  <a:gd name="T27" fmla="*/ 164 h 211"/>
                  <a:gd name="T28" fmla="*/ 14 w 199"/>
                  <a:gd name="T29" fmla="*/ 151 h 211"/>
                  <a:gd name="T30" fmla="*/ 4 w 199"/>
                  <a:gd name="T31" fmla="*/ 129 h 211"/>
                  <a:gd name="T32" fmla="*/ 12 w 199"/>
                  <a:gd name="T33" fmla="*/ 124 h 211"/>
                  <a:gd name="T34" fmla="*/ 8 w 199"/>
                  <a:gd name="T35" fmla="*/ 106 h 211"/>
                  <a:gd name="T36" fmla="*/ 10 w 199"/>
                  <a:gd name="T37" fmla="*/ 83 h 211"/>
                  <a:gd name="T38" fmla="*/ 0 w 199"/>
                  <a:gd name="T39" fmla="*/ 58 h 211"/>
                  <a:gd name="T40" fmla="*/ 4 w 199"/>
                  <a:gd name="T41" fmla="*/ 55 h 211"/>
                  <a:gd name="T42" fmla="*/ 12 w 199"/>
                  <a:gd name="T43" fmla="*/ 50 h 211"/>
                  <a:gd name="T44" fmla="*/ 14 w 199"/>
                  <a:gd name="T45" fmla="*/ 43 h 211"/>
                  <a:gd name="T46" fmla="*/ 12 w 199"/>
                  <a:gd name="T47" fmla="*/ 30 h 211"/>
                  <a:gd name="T48" fmla="*/ 18 w 199"/>
                  <a:gd name="T49" fmla="*/ 26 h 211"/>
                  <a:gd name="T50" fmla="*/ 25 w 199"/>
                  <a:gd name="T51" fmla="*/ 19 h 211"/>
                  <a:gd name="T52" fmla="*/ 35 w 199"/>
                  <a:gd name="T53" fmla="*/ 13 h 211"/>
                  <a:gd name="T54" fmla="*/ 32 w 199"/>
                  <a:gd name="T55" fmla="*/ 10 h 211"/>
                  <a:gd name="T56" fmla="*/ 34 w 199"/>
                  <a:gd name="T57" fmla="*/ 0 h 211"/>
                  <a:gd name="T58" fmla="*/ 41 w 199"/>
                  <a:gd name="T59" fmla="*/ 4 h 211"/>
                  <a:gd name="T60" fmla="*/ 58 w 199"/>
                  <a:gd name="T61" fmla="*/ 6 h 211"/>
                  <a:gd name="T62" fmla="*/ 73 w 199"/>
                  <a:gd name="T63" fmla="*/ 10 h 211"/>
                  <a:gd name="T64" fmla="*/ 86 w 199"/>
                  <a:gd name="T65" fmla="*/ 14 h 211"/>
                  <a:gd name="T66" fmla="*/ 92 w 199"/>
                  <a:gd name="T67" fmla="*/ 28 h 211"/>
                  <a:gd name="T68" fmla="*/ 101 w 199"/>
                  <a:gd name="T69" fmla="*/ 36 h 211"/>
                  <a:gd name="T70" fmla="*/ 113 w 199"/>
                  <a:gd name="T71" fmla="*/ 38 h 211"/>
                  <a:gd name="T72" fmla="*/ 131 w 199"/>
                  <a:gd name="T73" fmla="*/ 43 h 211"/>
                  <a:gd name="T74" fmla="*/ 142 w 199"/>
                  <a:gd name="T75" fmla="*/ 53 h 211"/>
                  <a:gd name="T76" fmla="*/ 153 w 199"/>
                  <a:gd name="T77" fmla="*/ 54 h 211"/>
                  <a:gd name="T78" fmla="*/ 159 w 199"/>
                  <a:gd name="T79" fmla="*/ 47 h 211"/>
                  <a:gd name="T80" fmla="*/ 162 w 199"/>
                  <a:gd name="T81" fmla="*/ 38 h 211"/>
                  <a:gd name="T82" fmla="*/ 160 w 199"/>
                  <a:gd name="T83" fmla="*/ 31 h 211"/>
                  <a:gd name="T84" fmla="*/ 160 w 199"/>
                  <a:gd name="T85" fmla="*/ 20 h 211"/>
                  <a:gd name="T86" fmla="*/ 166 w 199"/>
                  <a:gd name="T87" fmla="*/ 12 h 211"/>
                  <a:gd name="T88" fmla="*/ 179 w 199"/>
                  <a:gd name="T89" fmla="*/ 7 h 211"/>
                  <a:gd name="T90" fmla="*/ 189 w 199"/>
                  <a:gd name="T91" fmla="*/ 5 h 211"/>
                  <a:gd name="T92" fmla="*/ 198 w 199"/>
                  <a:gd name="T93" fmla="*/ 8 h 211"/>
                  <a:gd name="T94" fmla="*/ 204 w 199"/>
                  <a:gd name="T95" fmla="*/ 11 h 211"/>
                  <a:gd name="T96" fmla="*/ 209 w 199"/>
                  <a:gd name="T97" fmla="*/ 18 h 211"/>
                  <a:gd name="T98" fmla="*/ 222 w 199"/>
                  <a:gd name="T99" fmla="*/ 23 h 211"/>
                  <a:gd name="T100" fmla="*/ 231 w 199"/>
                  <a:gd name="T101" fmla="*/ 23 h 211"/>
                  <a:gd name="T102" fmla="*/ 235 w 199"/>
                  <a:gd name="T103" fmla="*/ 23 h 211"/>
                  <a:gd name="T104" fmla="*/ 238 w 199"/>
                  <a:gd name="T105" fmla="*/ 26 h 211"/>
                  <a:gd name="T106" fmla="*/ 234 w 199"/>
                  <a:gd name="T107" fmla="*/ 32 h 211"/>
                  <a:gd name="T108" fmla="*/ 234 w 199"/>
                  <a:gd name="T109" fmla="*/ 46 h 211"/>
                  <a:gd name="T110" fmla="*/ 231 w 199"/>
                  <a:gd name="T111" fmla="*/ 55 h 211"/>
                  <a:gd name="T112" fmla="*/ 235 w 199"/>
                  <a:gd name="T113" fmla="*/ 74 h 211"/>
                  <a:gd name="T114" fmla="*/ 239 w 199"/>
                  <a:gd name="T115" fmla="*/ 206 h 211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99"/>
                  <a:gd name="T175" fmla="*/ 0 h 211"/>
                  <a:gd name="T176" fmla="*/ 199 w 199"/>
                  <a:gd name="T177" fmla="*/ 211 h 211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99" h="211">
                    <a:moveTo>
                      <a:pt x="199" y="172"/>
                    </a:moveTo>
                    <a:lnTo>
                      <a:pt x="198" y="204"/>
                    </a:lnTo>
                    <a:lnTo>
                      <a:pt x="187" y="204"/>
                    </a:lnTo>
                    <a:lnTo>
                      <a:pt x="186" y="211"/>
                    </a:lnTo>
                    <a:lnTo>
                      <a:pt x="82" y="151"/>
                    </a:lnTo>
                    <a:lnTo>
                      <a:pt x="74" y="158"/>
                    </a:lnTo>
                    <a:cubicBezTo>
                      <a:pt x="69" y="160"/>
                      <a:pt x="65" y="163"/>
                      <a:pt x="60" y="164"/>
                    </a:cubicBezTo>
                    <a:cubicBezTo>
                      <a:pt x="59" y="162"/>
                      <a:pt x="58" y="157"/>
                      <a:pt x="54" y="155"/>
                    </a:cubicBezTo>
                    <a:cubicBezTo>
                      <a:pt x="51" y="153"/>
                      <a:pt x="46" y="156"/>
                      <a:pt x="42" y="154"/>
                    </a:cubicBezTo>
                    <a:cubicBezTo>
                      <a:pt x="39" y="154"/>
                      <a:pt x="37" y="151"/>
                      <a:pt x="35" y="149"/>
                    </a:cubicBezTo>
                    <a:cubicBezTo>
                      <a:pt x="33" y="148"/>
                      <a:pt x="29" y="147"/>
                      <a:pt x="28" y="144"/>
                    </a:cubicBezTo>
                    <a:cubicBezTo>
                      <a:pt x="28" y="143"/>
                      <a:pt x="32" y="142"/>
                      <a:pt x="31" y="141"/>
                    </a:cubicBezTo>
                    <a:cubicBezTo>
                      <a:pt x="29" y="138"/>
                      <a:pt x="25" y="137"/>
                      <a:pt x="21" y="136"/>
                    </a:cubicBezTo>
                    <a:cubicBezTo>
                      <a:pt x="19" y="136"/>
                      <a:pt x="15" y="139"/>
                      <a:pt x="13" y="137"/>
                    </a:cubicBezTo>
                    <a:cubicBezTo>
                      <a:pt x="11" y="134"/>
                      <a:pt x="13" y="129"/>
                      <a:pt x="12" y="126"/>
                    </a:cubicBezTo>
                    <a:cubicBezTo>
                      <a:pt x="10" y="120"/>
                      <a:pt x="3" y="115"/>
                      <a:pt x="3" y="108"/>
                    </a:cubicBezTo>
                    <a:cubicBezTo>
                      <a:pt x="2" y="105"/>
                      <a:pt x="9" y="106"/>
                      <a:pt x="10" y="103"/>
                    </a:cubicBezTo>
                    <a:cubicBezTo>
                      <a:pt x="11" y="98"/>
                      <a:pt x="7" y="93"/>
                      <a:pt x="7" y="88"/>
                    </a:cubicBezTo>
                    <a:cubicBezTo>
                      <a:pt x="6" y="82"/>
                      <a:pt x="9" y="75"/>
                      <a:pt x="8" y="69"/>
                    </a:cubicBezTo>
                    <a:cubicBezTo>
                      <a:pt x="7" y="62"/>
                      <a:pt x="2" y="55"/>
                      <a:pt x="0" y="48"/>
                    </a:cubicBezTo>
                    <a:cubicBezTo>
                      <a:pt x="0" y="46"/>
                      <a:pt x="2" y="46"/>
                      <a:pt x="3" y="46"/>
                    </a:cubicBezTo>
                    <a:cubicBezTo>
                      <a:pt x="5" y="45"/>
                      <a:pt x="8" y="44"/>
                      <a:pt x="10" y="42"/>
                    </a:cubicBezTo>
                    <a:cubicBezTo>
                      <a:pt x="11" y="40"/>
                      <a:pt x="12" y="38"/>
                      <a:pt x="12" y="36"/>
                    </a:cubicBezTo>
                    <a:cubicBezTo>
                      <a:pt x="12" y="32"/>
                      <a:pt x="10" y="29"/>
                      <a:pt x="10" y="25"/>
                    </a:cubicBezTo>
                    <a:cubicBezTo>
                      <a:pt x="11" y="23"/>
                      <a:pt x="14" y="24"/>
                      <a:pt x="15" y="22"/>
                    </a:cubicBezTo>
                    <a:cubicBezTo>
                      <a:pt x="17" y="21"/>
                      <a:pt x="19" y="18"/>
                      <a:pt x="21" y="16"/>
                    </a:cubicBezTo>
                    <a:cubicBezTo>
                      <a:pt x="23" y="14"/>
                      <a:pt x="27" y="13"/>
                      <a:pt x="29" y="11"/>
                    </a:cubicBezTo>
                    <a:cubicBezTo>
                      <a:pt x="30" y="10"/>
                      <a:pt x="27" y="9"/>
                      <a:pt x="27" y="8"/>
                    </a:cubicBezTo>
                    <a:cubicBezTo>
                      <a:pt x="26" y="5"/>
                      <a:pt x="27" y="2"/>
                      <a:pt x="28" y="0"/>
                    </a:cubicBezTo>
                    <a:cubicBezTo>
                      <a:pt x="30" y="1"/>
                      <a:pt x="32" y="3"/>
                      <a:pt x="34" y="3"/>
                    </a:cubicBezTo>
                    <a:cubicBezTo>
                      <a:pt x="39" y="4"/>
                      <a:pt x="44" y="4"/>
                      <a:pt x="48" y="5"/>
                    </a:cubicBezTo>
                    <a:cubicBezTo>
                      <a:pt x="53" y="5"/>
                      <a:pt x="57" y="6"/>
                      <a:pt x="61" y="8"/>
                    </a:cubicBezTo>
                    <a:cubicBezTo>
                      <a:pt x="65" y="9"/>
                      <a:pt x="69" y="10"/>
                      <a:pt x="72" y="12"/>
                    </a:cubicBezTo>
                    <a:cubicBezTo>
                      <a:pt x="75" y="15"/>
                      <a:pt x="75" y="20"/>
                      <a:pt x="77" y="23"/>
                    </a:cubicBezTo>
                    <a:cubicBezTo>
                      <a:pt x="79" y="26"/>
                      <a:pt x="81" y="29"/>
                      <a:pt x="84" y="30"/>
                    </a:cubicBezTo>
                    <a:cubicBezTo>
                      <a:pt x="87" y="32"/>
                      <a:pt x="91" y="31"/>
                      <a:pt x="94" y="32"/>
                    </a:cubicBezTo>
                    <a:cubicBezTo>
                      <a:pt x="99" y="33"/>
                      <a:pt x="104" y="34"/>
                      <a:pt x="109" y="36"/>
                    </a:cubicBezTo>
                    <a:cubicBezTo>
                      <a:pt x="112" y="38"/>
                      <a:pt x="114" y="43"/>
                      <a:pt x="118" y="44"/>
                    </a:cubicBezTo>
                    <a:cubicBezTo>
                      <a:pt x="121" y="46"/>
                      <a:pt x="124" y="46"/>
                      <a:pt x="127" y="45"/>
                    </a:cubicBezTo>
                    <a:cubicBezTo>
                      <a:pt x="129" y="44"/>
                      <a:pt x="131" y="41"/>
                      <a:pt x="132" y="39"/>
                    </a:cubicBezTo>
                    <a:cubicBezTo>
                      <a:pt x="134" y="37"/>
                      <a:pt x="135" y="35"/>
                      <a:pt x="135" y="32"/>
                    </a:cubicBezTo>
                    <a:cubicBezTo>
                      <a:pt x="135" y="30"/>
                      <a:pt x="133" y="28"/>
                      <a:pt x="133" y="26"/>
                    </a:cubicBezTo>
                    <a:cubicBezTo>
                      <a:pt x="132" y="23"/>
                      <a:pt x="132" y="20"/>
                      <a:pt x="133" y="17"/>
                    </a:cubicBezTo>
                    <a:cubicBezTo>
                      <a:pt x="133" y="14"/>
                      <a:pt x="136" y="12"/>
                      <a:pt x="138" y="10"/>
                    </a:cubicBezTo>
                    <a:cubicBezTo>
                      <a:pt x="141" y="8"/>
                      <a:pt x="145" y="7"/>
                      <a:pt x="149" y="6"/>
                    </a:cubicBezTo>
                    <a:cubicBezTo>
                      <a:pt x="152" y="5"/>
                      <a:pt x="154" y="4"/>
                      <a:pt x="157" y="4"/>
                    </a:cubicBezTo>
                    <a:cubicBezTo>
                      <a:pt x="160" y="4"/>
                      <a:pt x="162" y="6"/>
                      <a:pt x="165" y="7"/>
                    </a:cubicBezTo>
                    <a:cubicBezTo>
                      <a:pt x="166" y="8"/>
                      <a:pt x="169" y="7"/>
                      <a:pt x="170" y="9"/>
                    </a:cubicBezTo>
                    <a:cubicBezTo>
                      <a:pt x="172" y="10"/>
                      <a:pt x="172" y="13"/>
                      <a:pt x="174" y="15"/>
                    </a:cubicBezTo>
                    <a:cubicBezTo>
                      <a:pt x="177" y="17"/>
                      <a:pt x="181" y="18"/>
                      <a:pt x="185" y="19"/>
                    </a:cubicBezTo>
                    <a:cubicBezTo>
                      <a:pt x="187" y="19"/>
                      <a:pt x="190" y="19"/>
                      <a:pt x="192" y="19"/>
                    </a:cubicBezTo>
                    <a:cubicBezTo>
                      <a:pt x="193" y="19"/>
                      <a:pt x="195" y="18"/>
                      <a:pt x="196" y="19"/>
                    </a:cubicBezTo>
                    <a:cubicBezTo>
                      <a:pt x="197" y="20"/>
                      <a:pt x="197" y="21"/>
                      <a:pt x="198" y="22"/>
                    </a:cubicBezTo>
                    <a:cubicBezTo>
                      <a:pt x="197" y="23"/>
                      <a:pt x="195" y="25"/>
                      <a:pt x="195" y="27"/>
                    </a:cubicBezTo>
                    <a:cubicBezTo>
                      <a:pt x="194" y="31"/>
                      <a:pt x="196" y="35"/>
                      <a:pt x="195" y="38"/>
                    </a:cubicBezTo>
                    <a:cubicBezTo>
                      <a:pt x="195" y="41"/>
                      <a:pt x="192" y="43"/>
                      <a:pt x="192" y="46"/>
                    </a:cubicBezTo>
                    <a:cubicBezTo>
                      <a:pt x="192" y="51"/>
                      <a:pt x="195" y="56"/>
                      <a:pt x="196" y="62"/>
                    </a:cubicBezTo>
                    <a:cubicBezTo>
                      <a:pt x="198" y="99"/>
                      <a:pt x="198" y="136"/>
                      <a:pt x="199" y="17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67" name="Freeform 2582"/>
              <p:cNvSpPr>
                <a:spLocks noChangeAspect="1"/>
              </p:cNvSpPr>
              <p:nvPr/>
            </p:nvSpPr>
            <p:spPr bwMode="auto">
              <a:xfrm>
                <a:off x="4359141" y="2138750"/>
                <a:ext cx="210276" cy="149520"/>
              </a:xfrm>
              <a:custGeom>
                <a:avLst/>
                <a:gdLst>
                  <a:gd name="T0" fmla="*/ 181 w 156"/>
                  <a:gd name="T1" fmla="*/ 150 h 150"/>
                  <a:gd name="T2" fmla="*/ 171 w 156"/>
                  <a:gd name="T3" fmla="*/ 142 h 150"/>
                  <a:gd name="T4" fmla="*/ 168 w 156"/>
                  <a:gd name="T5" fmla="*/ 128 h 150"/>
                  <a:gd name="T6" fmla="*/ 172 w 156"/>
                  <a:gd name="T7" fmla="*/ 118 h 150"/>
                  <a:gd name="T8" fmla="*/ 172 w 156"/>
                  <a:gd name="T9" fmla="*/ 109 h 150"/>
                  <a:gd name="T10" fmla="*/ 166 w 156"/>
                  <a:gd name="T11" fmla="*/ 100 h 150"/>
                  <a:gd name="T12" fmla="*/ 159 w 156"/>
                  <a:gd name="T13" fmla="*/ 98 h 150"/>
                  <a:gd name="T14" fmla="*/ 166 w 156"/>
                  <a:gd name="T15" fmla="*/ 85 h 150"/>
                  <a:gd name="T16" fmla="*/ 171 w 156"/>
                  <a:gd name="T17" fmla="*/ 77 h 150"/>
                  <a:gd name="T18" fmla="*/ 180 w 156"/>
                  <a:gd name="T19" fmla="*/ 68 h 150"/>
                  <a:gd name="T20" fmla="*/ 184 w 156"/>
                  <a:gd name="T21" fmla="*/ 48 h 150"/>
                  <a:gd name="T22" fmla="*/ 176 w 156"/>
                  <a:gd name="T23" fmla="*/ 40 h 150"/>
                  <a:gd name="T24" fmla="*/ 164 w 156"/>
                  <a:gd name="T25" fmla="*/ 35 h 150"/>
                  <a:gd name="T26" fmla="*/ 154 w 156"/>
                  <a:gd name="T27" fmla="*/ 32 h 150"/>
                  <a:gd name="T28" fmla="*/ 141 w 156"/>
                  <a:gd name="T29" fmla="*/ 26 h 150"/>
                  <a:gd name="T30" fmla="*/ 131 w 156"/>
                  <a:gd name="T31" fmla="*/ 23 h 150"/>
                  <a:gd name="T32" fmla="*/ 123 w 156"/>
                  <a:gd name="T33" fmla="*/ 16 h 150"/>
                  <a:gd name="T34" fmla="*/ 114 w 156"/>
                  <a:gd name="T35" fmla="*/ 8 h 150"/>
                  <a:gd name="T36" fmla="*/ 106 w 156"/>
                  <a:gd name="T37" fmla="*/ 1 h 150"/>
                  <a:gd name="T38" fmla="*/ 94 w 156"/>
                  <a:gd name="T39" fmla="*/ 22 h 150"/>
                  <a:gd name="T40" fmla="*/ 71 w 156"/>
                  <a:gd name="T41" fmla="*/ 30 h 150"/>
                  <a:gd name="T42" fmla="*/ 71 w 156"/>
                  <a:gd name="T43" fmla="*/ 37 h 150"/>
                  <a:gd name="T44" fmla="*/ 53 w 156"/>
                  <a:gd name="T45" fmla="*/ 37 h 150"/>
                  <a:gd name="T46" fmla="*/ 47 w 156"/>
                  <a:gd name="T47" fmla="*/ 30 h 150"/>
                  <a:gd name="T48" fmla="*/ 46 w 156"/>
                  <a:gd name="T49" fmla="*/ 42 h 150"/>
                  <a:gd name="T50" fmla="*/ 43 w 156"/>
                  <a:gd name="T51" fmla="*/ 53 h 150"/>
                  <a:gd name="T52" fmla="*/ 28 w 156"/>
                  <a:gd name="T53" fmla="*/ 50 h 150"/>
                  <a:gd name="T54" fmla="*/ 17 w 156"/>
                  <a:gd name="T55" fmla="*/ 52 h 150"/>
                  <a:gd name="T56" fmla="*/ 2 w 156"/>
                  <a:gd name="T57" fmla="*/ 54 h 150"/>
                  <a:gd name="T58" fmla="*/ 8 w 156"/>
                  <a:gd name="T59" fmla="*/ 64 h 150"/>
                  <a:gd name="T60" fmla="*/ 7 w 156"/>
                  <a:gd name="T61" fmla="*/ 71 h 150"/>
                  <a:gd name="T62" fmla="*/ 25 w 156"/>
                  <a:gd name="T63" fmla="*/ 76 h 150"/>
                  <a:gd name="T64" fmla="*/ 34 w 156"/>
                  <a:gd name="T65" fmla="*/ 77 h 150"/>
                  <a:gd name="T66" fmla="*/ 41 w 156"/>
                  <a:gd name="T67" fmla="*/ 80 h 150"/>
                  <a:gd name="T68" fmla="*/ 39 w 156"/>
                  <a:gd name="T69" fmla="*/ 90 h 150"/>
                  <a:gd name="T70" fmla="*/ 49 w 156"/>
                  <a:gd name="T71" fmla="*/ 101 h 150"/>
                  <a:gd name="T72" fmla="*/ 54 w 156"/>
                  <a:gd name="T73" fmla="*/ 107 h 150"/>
                  <a:gd name="T74" fmla="*/ 58 w 156"/>
                  <a:gd name="T75" fmla="*/ 116 h 150"/>
                  <a:gd name="T76" fmla="*/ 53 w 156"/>
                  <a:gd name="T77" fmla="*/ 118 h 150"/>
                  <a:gd name="T78" fmla="*/ 55 w 156"/>
                  <a:gd name="T79" fmla="*/ 133 h 150"/>
                  <a:gd name="T80" fmla="*/ 51 w 156"/>
                  <a:gd name="T81" fmla="*/ 154 h 150"/>
                  <a:gd name="T82" fmla="*/ 49 w 156"/>
                  <a:gd name="T83" fmla="*/ 163 h 150"/>
                  <a:gd name="T84" fmla="*/ 66 w 156"/>
                  <a:gd name="T85" fmla="*/ 173 h 150"/>
                  <a:gd name="T86" fmla="*/ 81 w 156"/>
                  <a:gd name="T87" fmla="*/ 170 h 150"/>
                  <a:gd name="T88" fmla="*/ 102 w 156"/>
                  <a:gd name="T89" fmla="*/ 179 h 150"/>
                  <a:gd name="T90" fmla="*/ 113 w 156"/>
                  <a:gd name="T91" fmla="*/ 170 h 150"/>
                  <a:gd name="T92" fmla="*/ 131 w 156"/>
                  <a:gd name="T93" fmla="*/ 160 h 150"/>
                  <a:gd name="T94" fmla="*/ 143 w 156"/>
                  <a:gd name="T95" fmla="*/ 157 h 150"/>
                  <a:gd name="T96" fmla="*/ 159 w 156"/>
                  <a:gd name="T97" fmla="*/ 167 h 150"/>
                  <a:gd name="T98" fmla="*/ 171 w 156"/>
                  <a:gd name="T99" fmla="*/ 160 h 150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56"/>
                  <a:gd name="T151" fmla="*/ 0 h 150"/>
                  <a:gd name="T152" fmla="*/ 156 w 156"/>
                  <a:gd name="T153" fmla="*/ 150 h 150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56" h="150">
                    <a:moveTo>
                      <a:pt x="147" y="129"/>
                    </a:moveTo>
                    <a:cubicBezTo>
                      <a:pt x="147" y="128"/>
                      <a:pt x="146" y="127"/>
                      <a:pt x="146" y="126"/>
                    </a:cubicBezTo>
                    <a:cubicBezTo>
                      <a:pt x="147" y="125"/>
                      <a:pt x="149" y="126"/>
                      <a:pt x="150" y="125"/>
                    </a:cubicBezTo>
                    <a:cubicBezTo>
                      <a:pt x="151" y="124"/>
                      <a:pt x="151" y="123"/>
                      <a:pt x="151" y="122"/>
                    </a:cubicBezTo>
                    <a:cubicBezTo>
                      <a:pt x="150" y="121"/>
                      <a:pt x="148" y="122"/>
                      <a:pt x="147" y="122"/>
                    </a:cubicBezTo>
                    <a:cubicBezTo>
                      <a:pt x="145" y="121"/>
                      <a:pt x="143" y="120"/>
                      <a:pt x="142" y="118"/>
                    </a:cubicBezTo>
                    <a:cubicBezTo>
                      <a:pt x="141" y="117"/>
                      <a:pt x="142" y="115"/>
                      <a:pt x="142" y="113"/>
                    </a:cubicBezTo>
                    <a:cubicBezTo>
                      <a:pt x="142" y="112"/>
                      <a:pt x="143" y="111"/>
                      <a:pt x="142" y="109"/>
                    </a:cubicBezTo>
                    <a:cubicBezTo>
                      <a:pt x="142" y="108"/>
                      <a:pt x="139" y="108"/>
                      <a:pt x="139" y="107"/>
                    </a:cubicBezTo>
                    <a:cubicBezTo>
                      <a:pt x="139" y="106"/>
                      <a:pt x="140" y="105"/>
                      <a:pt x="140" y="104"/>
                    </a:cubicBezTo>
                    <a:cubicBezTo>
                      <a:pt x="141" y="103"/>
                      <a:pt x="143" y="103"/>
                      <a:pt x="144" y="102"/>
                    </a:cubicBezTo>
                    <a:cubicBezTo>
                      <a:pt x="144" y="101"/>
                      <a:pt x="143" y="99"/>
                      <a:pt x="143" y="98"/>
                    </a:cubicBezTo>
                    <a:cubicBezTo>
                      <a:pt x="142" y="97"/>
                      <a:pt x="140" y="96"/>
                      <a:pt x="139" y="94"/>
                    </a:cubicBezTo>
                    <a:cubicBezTo>
                      <a:pt x="139" y="94"/>
                      <a:pt x="139" y="93"/>
                      <a:pt x="140" y="92"/>
                    </a:cubicBezTo>
                    <a:cubicBezTo>
                      <a:pt x="140" y="92"/>
                      <a:pt x="142" y="92"/>
                      <a:pt x="143" y="91"/>
                    </a:cubicBezTo>
                    <a:cubicBezTo>
                      <a:pt x="142" y="90"/>
                      <a:pt x="141" y="89"/>
                      <a:pt x="140" y="88"/>
                    </a:cubicBezTo>
                    <a:cubicBezTo>
                      <a:pt x="140" y="87"/>
                      <a:pt x="140" y="85"/>
                      <a:pt x="140" y="84"/>
                    </a:cubicBezTo>
                    <a:cubicBezTo>
                      <a:pt x="139" y="84"/>
                      <a:pt x="139" y="83"/>
                      <a:pt x="138" y="83"/>
                    </a:cubicBezTo>
                    <a:cubicBezTo>
                      <a:pt x="137" y="83"/>
                      <a:pt x="136" y="83"/>
                      <a:pt x="135" y="83"/>
                    </a:cubicBezTo>
                    <a:cubicBezTo>
                      <a:pt x="134" y="84"/>
                      <a:pt x="133" y="87"/>
                      <a:pt x="131" y="87"/>
                    </a:cubicBezTo>
                    <a:cubicBezTo>
                      <a:pt x="130" y="86"/>
                      <a:pt x="131" y="84"/>
                      <a:pt x="132" y="82"/>
                    </a:cubicBezTo>
                    <a:cubicBezTo>
                      <a:pt x="132" y="81"/>
                      <a:pt x="132" y="79"/>
                      <a:pt x="133" y="78"/>
                    </a:cubicBezTo>
                    <a:cubicBezTo>
                      <a:pt x="133" y="77"/>
                      <a:pt x="134" y="75"/>
                      <a:pt x="135" y="74"/>
                    </a:cubicBezTo>
                    <a:cubicBezTo>
                      <a:pt x="135" y="73"/>
                      <a:pt x="137" y="72"/>
                      <a:pt x="138" y="71"/>
                    </a:cubicBezTo>
                    <a:cubicBezTo>
                      <a:pt x="139" y="70"/>
                      <a:pt x="141" y="68"/>
                      <a:pt x="142" y="67"/>
                    </a:cubicBezTo>
                    <a:cubicBezTo>
                      <a:pt x="142" y="66"/>
                      <a:pt x="140" y="66"/>
                      <a:pt x="140" y="65"/>
                    </a:cubicBezTo>
                    <a:cubicBezTo>
                      <a:pt x="140" y="65"/>
                      <a:pt x="141" y="64"/>
                      <a:pt x="142" y="64"/>
                    </a:cubicBezTo>
                    <a:cubicBezTo>
                      <a:pt x="143" y="63"/>
                      <a:pt x="144" y="65"/>
                      <a:pt x="146" y="65"/>
                    </a:cubicBezTo>
                    <a:cubicBezTo>
                      <a:pt x="147" y="65"/>
                      <a:pt x="148" y="64"/>
                      <a:pt x="149" y="63"/>
                    </a:cubicBezTo>
                    <a:cubicBezTo>
                      <a:pt x="149" y="61"/>
                      <a:pt x="149" y="59"/>
                      <a:pt x="149" y="57"/>
                    </a:cubicBezTo>
                    <a:cubicBezTo>
                      <a:pt x="149" y="55"/>
                      <a:pt x="149" y="53"/>
                      <a:pt x="149" y="52"/>
                    </a:cubicBezTo>
                    <a:cubicBezTo>
                      <a:pt x="149" y="50"/>
                      <a:pt x="150" y="48"/>
                      <a:pt x="151" y="46"/>
                    </a:cubicBezTo>
                    <a:cubicBezTo>
                      <a:pt x="152" y="44"/>
                      <a:pt x="152" y="42"/>
                      <a:pt x="153" y="40"/>
                    </a:cubicBezTo>
                    <a:cubicBezTo>
                      <a:pt x="154" y="39"/>
                      <a:pt x="156" y="39"/>
                      <a:pt x="156" y="37"/>
                    </a:cubicBezTo>
                    <a:cubicBezTo>
                      <a:pt x="155" y="36"/>
                      <a:pt x="152" y="36"/>
                      <a:pt x="150" y="36"/>
                    </a:cubicBezTo>
                    <a:cubicBezTo>
                      <a:pt x="149" y="35"/>
                      <a:pt x="148" y="34"/>
                      <a:pt x="146" y="33"/>
                    </a:cubicBezTo>
                    <a:cubicBezTo>
                      <a:pt x="145" y="33"/>
                      <a:pt x="144" y="34"/>
                      <a:pt x="143" y="34"/>
                    </a:cubicBezTo>
                    <a:cubicBezTo>
                      <a:pt x="141" y="33"/>
                      <a:pt x="140" y="33"/>
                      <a:pt x="139" y="32"/>
                    </a:cubicBezTo>
                    <a:cubicBezTo>
                      <a:pt x="138" y="31"/>
                      <a:pt x="137" y="30"/>
                      <a:pt x="136" y="29"/>
                    </a:cubicBezTo>
                    <a:cubicBezTo>
                      <a:pt x="135" y="29"/>
                      <a:pt x="135" y="28"/>
                      <a:pt x="134" y="28"/>
                    </a:cubicBezTo>
                    <a:cubicBezTo>
                      <a:pt x="133" y="28"/>
                      <a:pt x="132" y="28"/>
                      <a:pt x="131" y="28"/>
                    </a:cubicBezTo>
                    <a:cubicBezTo>
                      <a:pt x="130" y="28"/>
                      <a:pt x="129" y="27"/>
                      <a:pt x="128" y="27"/>
                    </a:cubicBezTo>
                    <a:cubicBezTo>
                      <a:pt x="127" y="27"/>
                      <a:pt x="126" y="27"/>
                      <a:pt x="125" y="27"/>
                    </a:cubicBezTo>
                    <a:cubicBezTo>
                      <a:pt x="124" y="26"/>
                      <a:pt x="122" y="26"/>
                      <a:pt x="121" y="25"/>
                    </a:cubicBezTo>
                    <a:cubicBezTo>
                      <a:pt x="120" y="24"/>
                      <a:pt x="118" y="23"/>
                      <a:pt x="117" y="22"/>
                    </a:cubicBezTo>
                    <a:cubicBezTo>
                      <a:pt x="116" y="21"/>
                      <a:pt x="116" y="19"/>
                      <a:pt x="115" y="19"/>
                    </a:cubicBezTo>
                    <a:cubicBezTo>
                      <a:pt x="114" y="18"/>
                      <a:pt x="113" y="19"/>
                      <a:pt x="113" y="19"/>
                    </a:cubicBezTo>
                    <a:cubicBezTo>
                      <a:pt x="111" y="19"/>
                      <a:pt x="110" y="20"/>
                      <a:pt x="109" y="19"/>
                    </a:cubicBezTo>
                    <a:cubicBezTo>
                      <a:pt x="108" y="19"/>
                      <a:pt x="109" y="17"/>
                      <a:pt x="108" y="16"/>
                    </a:cubicBezTo>
                    <a:cubicBezTo>
                      <a:pt x="108" y="15"/>
                      <a:pt x="108" y="13"/>
                      <a:pt x="106" y="13"/>
                    </a:cubicBezTo>
                    <a:cubicBezTo>
                      <a:pt x="105" y="12"/>
                      <a:pt x="104" y="13"/>
                      <a:pt x="102" y="13"/>
                    </a:cubicBezTo>
                    <a:cubicBezTo>
                      <a:pt x="102" y="12"/>
                      <a:pt x="101" y="11"/>
                      <a:pt x="101" y="11"/>
                    </a:cubicBezTo>
                    <a:cubicBezTo>
                      <a:pt x="100" y="10"/>
                      <a:pt x="98" y="11"/>
                      <a:pt x="97" y="10"/>
                    </a:cubicBezTo>
                    <a:cubicBezTo>
                      <a:pt x="96" y="9"/>
                      <a:pt x="96" y="7"/>
                      <a:pt x="95" y="7"/>
                    </a:cubicBezTo>
                    <a:cubicBezTo>
                      <a:pt x="94" y="6"/>
                      <a:pt x="93" y="6"/>
                      <a:pt x="92" y="6"/>
                    </a:cubicBezTo>
                    <a:cubicBezTo>
                      <a:pt x="91" y="6"/>
                      <a:pt x="90" y="6"/>
                      <a:pt x="90" y="5"/>
                    </a:cubicBezTo>
                    <a:cubicBezTo>
                      <a:pt x="89" y="4"/>
                      <a:pt x="88" y="2"/>
                      <a:pt x="88" y="1"/>
                    </a:cubicBezTo>
                    <a:cubicBezTo>
                      <a:pt x="84" y="2"/>
                      <a:pt x="79" y="0"/>
                      <a:pt x="77" y="3"/>
                    </a:cubicBezTo>
                    <a:cubicBezTo>
                      <a:pt x="75" y="7"/>
                      <a:pt x="76" y="12"/>
                      <a:pt x="76" y="16"/>
                    </a:cubicBezTo>
                    <a:cubicBezTo>
                      <a:pt x="76" y="17"/>
                      <a:pt x="78" y="18"/>
                      <a:pt x="78" y="18"/>
                    </a:cubicBezTo>
                    <a:cubicBezTo>
                      <a:pt x="76" y="19"/>
                      <a:pt x="75" y="18"/>
                      <a:pt x="73" y="18"/>
                    </a:cubicBezTo>
                    <a:cubicBezTo>
                      <a:pt x="71" y="19"/>
                      <a:pt x="69" y="20"/>
                      <a:pt x="67" y="21"/>
                    </a:cubicBezTo>
                    <a:cubicBezTo>
                      <a:pt x="64" y="23"/>
                      <a:pt x="61" y="23"/>
                      <a:pt x="59" y="25"/>
                    </a:cubicBezTo>
                    <a:cubicBezTo>
                      <a:pt x="58" y="26"/>
                      <a:pt x="58" y="27"/>
                      <a:pt x="59" y="28"/>
                    </a:cubicBezTo>
                    <a:cubicBezTo>
                      <a:pt x="60" y="29"/>
                      <a:pt x="63" y="28"/>
                      <a:pt x="63" y="29"/>
                    </a:cubicBezTo>
                    <a:cubicBezTo>
                      <a:pt x="63" y="31"/>
                      <a:pt x="60" y="30"/>
                      <a:pt x="59" y="31"/>
                    </a:cubicBezTo>
                    <a:cubicBezTo>
                      <a:pt x="56" y="31"/>
                      <a:pt x="54" y="31"/>
                      <a:pt x="51" y="30"/>
                    </a:cubicBezTo>
                    <a:cubicBezTo>
                      <a:pt x="49" y="30"/>
                      <a:pt x="47" y="29"/>
                      <a:pt x="46" y="30"/>
                    </a:cubicBezTo>
                    <a:cubicBezTo>
                      <a:pt x="45" y="30"/>
                      <a:pt x="44" y="31"/>
                      <a:pt x="44" y="31"/>
                    </a:cubicBezTo>
                    <a:cubicBezTo>
                      <a:pt x="43" y="31"/>
                      <a:pt x="43" y="29"/>
                      <a:pt x="43" y="28"/>
                    </a:cubicBezTo>
                    <a:cubicBezTo>
                      <a:pt x="43" y="27"/>
                      <a:pt x="44" y="26"/>
                      <a:pt x="43" y="25"/>
                    </a:cubicBezTo>
                    <a:cubicBezTo>
                      <a:pt x="42" y="24"/>
                      <a:pt x="40" y="25"/>
                      <a:pt x="39" y="25"/>
                    </a:cubicBezTo>
                    <a:cubicBezTo>
                      <a:pt x="38" y="25"/>
                      <a:pt x="36" y="23"/>
                      <a:pt x="36" y="24"/>
                    </a:cubicBezTo>
                    <a:cubicBezTo>
                      <a:pt x="35" y="25"/>
                      <a:pt x="36" y="28"/>
                      <a:pt x="36" y="29"/>
                    </a:cubicBezTo>
                    <a:cubicBezTo>
                      <a:pt x="36" y="31"/>
                      <a:pt x="38" y="33"/>
                      <a:pt x="38" y="35"/>
                    </a:cubicBezTo>
                    <a:cubicBezTo>
                      <a:pt x="39" y="37"/>
                      <a:pt x="39" y="40"/>
                      <a:pt x="40" y="42"/>
                    </a:cubicBezTo>
                    <a:cubicBezTo>
                      <a:pt x="40" y="42"/>
                      <a:pt x="41" y="43"/>
                      <a:pt x="40" y="44"/>
                    </a:cubicBezTo>
                    <a:cubicBezTo>
                      <a:pt x="39" y="45"/>
                      <a:pt x="37" y="44"/>
                      <a:pt x="36" y="44"/>
                    </a:cubicBezTo>
                    <a:cubicBezTo>
                      <a:pt x="34" y="44"/>
                      <a:pt x="32" y="43"/>
                      <a:pt x="30" y="43"/>
                    </a:cubicBezTo>
                    <a:cubicBezTo>
                      <a:pt x="29" y="43"/>
                      <a:pt x="28" y="46"/>
                      <a:pt x="27" y="46"/>
                    </a:cubicBezTo>
                    <a:cubicBezTo>
                      <a:pt x="25" y="46"/>
                      <a:pt x="24" y="43"/>
                      <a:pt x="23" y="42"/>
                    </a:cubicBezTo>
                    <a:cubicBezTo>
                      <a:pt x="22" y="41"/>
                      <a:pt x="22" y="40"/>
                      <a:pt x="21" y="40"/>
                    </a:cubicBezTo>
                    <a:cubicBezTo>
                      <a:pt x="19" y="40"/>
                      <a:pt x="17" y="40"/>
                      <a:pt x="15" y="40"/>
                    </a:cubicBezTo>
                    <a:cubicBezTo>
                      <a:pt x="15" y="41"/>
                      <a:pt x="15" y="43"/>
                      <a:pt x="14" y="43"/>
                    </a:cubicBezTo>
                    <a:cubicBezTo>
                      <a:pt x="14" y="44"/>
                      <a:pt x="13" y="43"/>
                      <a:pt x="12" y="43"/>
                    </a:cubicBezTo>
                    <a:cubicBezTo>
                      <a:pt x="10" y="43"/>
                      <a:pt x="9" y="43"/>
                      <a:pt x="8" y="43"/>
                    </a:cubicBezTo>
                    <a:cubicBezTo>
                      <a:pt x="6" y="43"/>
                      <a:pt x="4" y="44"/>
                      <a:pt x="2" y="45"/>
                    </a:cubicBezTo>
                    <a:cubicBezTo>
                      <a:pt x="1" y="46"/>
                      <a:pt x="0" y="47"/>
                      <a:pt x="0" y="49"/>
                    </a:cubicBezTo>
                    <a:cubicBezTo>
                      <a:pt x="1" y="50"/>
                      <a:pt x="3" y="50"/>
                      <a:pt x="4" y="51"/>
                    </a:cubicBezTo>
                    <a:cubicBezTo>
                      <a:pt x="5" y="51"/>
                      <a:pt x="7" y="52"/>
                      <a:pt x="7" y="53"/>
                    </a:cubicBezTo>
                    <a:cubicBezTo>
                      <a:pt x="5" y="54"/>
                      <a:pt x="2" y="52"/>
                      <a:pt x="1" y="54"/>
                    </a:cubicBezTo>
                    <a:cubicBezTo>
                      <a:pt x="0" y="55"/>
                      <a:pt x="3" y="55"/>
                      <a:pt x="4" y="56"/>
                    </a:cubicBezTo>
                    <a:cubicBezTo>
                      <a:pt x="5" y="57"/>
                      <a:pt x="4" y="59"/>
                      <a:pt x="6" y="59"/>
                    </a:cubicBezTo>
                    <a:cubicBezTo>
                      <a:pt x="7" y="60"/>
                      <a:pt x="9" y="57"/>
                      <a:pt x="10" y="57"/>
                    </a:cubicBezTo>
                    <a:cubicBezTo>
                      <a:pt x="13" y="57"/>
                      <a:pt x="16" y="59"/>
                      <a:pt x="18" y="60"/>
                    </a:cubicBezTo>
                    <a:cubicBezTo>
                      <a:pt x="19" y="61"/>
                      <a:pt x="20" y="63"/>
                      <a:pt x="21" y="63"/>
                    </a:cubicBezTo>
                    <a:cubicBezTo>
                      <a:pt x="22" y="64"/>
                      <a:pt x="24" y="62"/>
                      <a:pt x="25" y="62"/>
                    </a:cubicBezTo>
                    <a:cubicBezTo>
                      <a:pt x="26" y="62"/>
                      <a:pt x="25" y="64"/>
                      <a:pt x="25" y="64"/>
                    </a:cubicBezTo>
                    <a:cubicBezTo>
                      <a:pt x="26" y="64"/>
                      <a:pt x="27" y="63"/>
                      <a:pt x="28" y="64"/>
                    </a:cubicBezTo>
                    <a:cubicBezTo>
                      <a:pt x="28" y="65"/>
                      <a:pt x="27" y="67"/>
                      <a:pt x="28" y="67"/>
                    </a:cubicBezTo>
                    <a:cubicBezTo>
                      <a:pt x="28" y="68"/>
                      <a:pt x="30" y="67"/>
                      <a:pt x="31" y="67"/>
                    </a:cubicBezTo>
                    <a:cubicBezTo>
                      <a:pt x="32" y="67"/>
                      <a:pt x="34" y="66"/>
                      <a:pt x="34" y="67"/>
                    </a:cubicBezTo>
                    <a:cubicBezTo>
                      <a:pt x="34" y="69"/>
                      <a:pt x="31" y="69"/>
                      <a:pt x="31" y="70"/>
                    </a:cubicBezTo>
                    <a:cubicBezTo>
                      <a:pt x="31" y="71"/>
                      <a:pt x="33" y="71"/>
                      <a:pt x="34" y="72"/>
                    </a:cubicBezTo>
                    <a:cubicBezTo>
                      <a:pt x="34" y="73"/>
                      <a:pt x="32" y="74"/>
                      <a:pt x="32" y="75"/>
                    </a:cubicBezTo>
                    <a:cubicBezTo>
                      <a:pt x="33" y="77"/>
                      <a:pt x="35" y="77"/>
                      <a:pt x="35" y="78"/>
                    </a:cubicBezTo>
                    <a:cubicBezTo>
                      <a:pt x="36" y="79"/>
                      <a:pt x="36" y="81"/>
                      <a:pt x="37" y="82"/>
                    </a:cubicBezTo>
                    <a:cubicBezTo>
                      <a:pt x="38" y="83"/>
                      <a:pt x="40" y="84"/>
                      <a:pt x="41" y="84"/>
                    </a:cubicBezTo>
                    <a:cubicBezTo>
                      <a:pt x="43" y="85"/>
                      <a:pt x="44" y="83"/>
                      <a:pt x="45" y="84"/>
                    </a:cubicBezTo>
                    <a:cubicBezTo>
                      <a:pt x="46" y="85"/>
                      <a:pt x="44" y="86"/>
                      <a:pt x="44" y="87"/>
                    </a:cubicBezTo>
                    <a:cubicBezTo>
                      <a:pt x="44" y="88"/>
                      <a:pt x="45" y="89"/>
                      <a:pt x="45" y="89"/>
                    </a:cubicBezTo>
                    <a:cubicBezTo>
                      <a:pt x="45" y="91"/>
                      <a:pt x="45" y="92"/>
                      <a:pt x="44" y="93"/>
                    </a:cubicBezTo>
                    <a:cubicBezTo>
                      <a:pt x="44" y="94"/>
                      <a:pt x="43" y="94"/>
                      <a:pt x="44" y="95"/>
                    </a:cubicBezTo>
                    <a:cubicBezTo>
                      <a:pt x="45" y="96"/>
                      <a:pt x="47" y="96"/>
                      <a:pt x="48" y="97"/>
                    </a:cubicBezTo>
                    <a:cubicBezTo>
                      <a:pt x="49" y="99"/>
                      <a:pt x="51" y="102"/>
                      <a:pt x="49" y="103"/>
                    </a:cubicBezTo>
                    <a:cubicBezTo>
                      <a:pt x="48" y="103"/>
                      <a:pt x="47" y="100"/>
                      <a:pt x="46" y="99"/>
                    </a:cubicBezTo>
                    <a:cubicBezTo>
                      <a:pt x="46" y="98"/>
                      <a:pt x="45" y="97"/>
                      <a:pt x="44" y="98"/>
                    </a:cubicBezTo>
                    <a:cubicBezTo>
                      <a:pt x="43" y="100"/>
                      <a:pt x="43" y="103"/>
                      <a:pt x="43" y="105"/>
                    </a:cubicBezTo>
                    <a:cubicBezTo>
                      <a:pt x="43" y="107"/>
                      <a:pt x="42" y="110"/>
                      <a:pt x="42" y="112"/>
                    </a:cubicBezTo>
                    <a:cubicBezTo>
                      <a:pt x="43" y="113"/>
                      <a:pt x="45" y="110"/>
                      <a:pt x="46" y="111"/>
                    </a:cubicBezTo>
                    <a:cubicBezTo>
                      <a:pt x="46" y="112"/>
                      <a:pt x="44" y="113"/>
                      <a:pt x="43" y="114"/>
                    </a:cubicBezTo>
                    <a:cubicBezTo>
                      <a:pt x="43" y="117"/>
                      <a:pt x="42" y="119"/>
                      <a:pt x="42" y="121"/>
                    </a:cubicBezTo>
                    <a:cubicBezTo>
                      <a:pt x="42" y="123"/>
                      <a:pt x="42" y="126"/>
                      <a:pt x="42" y="128"/>
                    </a:cubicBezTo>
                    <a:cubicBezTo>
                      <a:pt x="41" y="129"/>
                      <a:pt x="40" y="130"/>
                      <a:pt x="39" y="132"/>
                    </a:cubicBezTo>
                    <a:cubicBezTo>
                      <a:pt x="38" y="133"/>
                      <a:pt x="37" y="134"/>
                      <a:pt x="36" y="135"/>
                    </a:cubicBezTo>
                    <a:cubicBezTo>
                      <a:pt x="38" y="135"/>
                      <a:pt x="40" y="135"/>
                      <a:pt x="41" y="136"/>
                    </a:cubicBezTo>
                    <a:cubicBezTo>
                      <a:pt x="43" y="137"/>
                      <a:pt x="42" y="139"/>
                      <a:pt x="44" y="140"/>
                    </a:cubicBezTo>
                    <a:cubicBezTo>
                      <a:pt x="45" y="141"/>
                      <a:pt x="47" y="141"/>
                      <a:pt x="49" y="141"/>
                    </a:cubicBezTo>
                    <a:cubicBezTo>
                      <a:pt x="51" y="142"/>
                      <a:pt x="53" y="143"/>
                      <a:pt x="55" y="144"/>
                    </a:cubicBezTo>
                    <a:cubicBezTo>
                      <a:pt x="57" y="144"/>
                      <a:pt x="59" y="144"/>
                      <a:pt x="61" y="145"/>
                    </a:cubicBezTo>
                    <a:cubicBezTo>
                      <a:pt x="63" y="145"/>
                      <a:pt x="65" y="145"/>
                      <a:pt x="66" y="144"/>
                    </a:cubicBezTo>
                    <a:cubicBezTo>
                      <a:pt x="67" y="144"/>
                      <a:pt x="67" y="142"/>
                      <a:pt x="67" y="142"/>
                    </a:cubicBezTo>
                    <a:cubicBezTo>
                      <a:pt x="70" y="143"/>
                      <a:pt x="73" y="145"/>
                      <a:pt x="75" y="146"/>
                    </a:cubicBezTo>
                    <a:cubicBezTo>
                      <a:pt x="77" y="147"/>
                      <a:pt x="78" y="148"/>
                      <a:pt x="80" y="149"/>
                    </a:cubicBezTo>
                    <a:cubicBezTo>
                      <a:pt x="82" y="149"/>
                      <a:pt x="83" y="149"/>
                      <a:pt x="85" y="149"/>
                    </a:cubicBezTo>
                    <a:cubicBezTo>
                      <a:pt x="87" y="150"/>
                      <a:pt x="90" y="150"/>
                      <a:pt x="92" y="150"/>
                    </a:cubicBezTo>
                    <a:cubicBezTo>
                      <a:pt x="93" y="150"/>
                      <a:pt x="94" y="149"/>
                      <a:pt x="95" y="149"/>
                    </a:cubicBezTo>
                    <a:cubicBezTo>
                      <a:pt x="95" y="146"/>
                      <a:pt x="94" y="144"/>
                      <a:pt x="94" y="142"/>
                    </a:cubicBezTo>
                    <a:cubicBezTo>
                      <a:pt x="95" y="140"/>
                      <a:pt x="96" y="139"/>
                      <a:pt x="98" y="137"/>
                    </a:cubicBezTo>
                    <a:cubicBezTo>
                      <a:pt x="100" y="135"/>
                      <a:pt x="103" y="133"/>
                      <a:pt x="106" y="132"/>
                    </a:cubicBezTo>
                    <a:cubicBezTo>
                      <a:pt x="107" y="132"/>
                      <a:pt x="108" y="133"/>
                      <a:pt x="109" y="133"/>
                    </a:cubicBezTo>
                    <a:cubicBezTo>
                      <a:pt x="110" y="133"/>
                      <a:pt x="112" y="132"/>
                      <a:pt x="113" y="132"/>
                    </a:cubicBezTo>
                    <a:cubicBezTo>
                      <a:pt x="114" y="132"/>
                      <a:pt x="115" y="135"/>
                      <a:pt x="116" y="135"/>
                    </a:cubicBezTo>
                    <a:cubicBezTo>
                      <a:pt x="117" y="135"/>
                      <a:pt x="117" y="131"/>
                      <a:pt x="119" y="131"/>
                    </a:cubicBezTo>
                    <a:cubicBezTo>
                      <a:pt x="121" y="131"/>
                      <a:pt x="122" y="133"/>
                      <a:pt x="123" y="135"/>
                    </a:cubicBezTo>
                    <a:cubicBezTo>
                      <a:pt x="125" y="136"/>
                      <a:pt x="125" y="138"/>
                      <a:pt x="127" y="139"/>
                    </a:cubicBezTo>
                    <a:cubicBezTo>
                      <a:pt x="129" y="140"/>
                      <a:pt x="130" y="139"/>
                      <a:pt x="132" y="139"/>
                    </a:cubicBezTo>
                    <a:cubicBezTo>
                      <a:pt x="134" y="139"/>
                      <a:pt x="136" y="139"/>
                      <a:pt x="138" y="138"/>
                    </a:cubicBezTo>
                    <a:cubicBezTo>
                      <a:pt x="139" y="138"/>
                      <a:pt x="137" y="136"/>
                      <a:pt x="138" y="135"/>
                    </a:cubicBezTo>
                    <a:cubicBezTo>
                      <a:pt x="139" y="134"/>
                      <a:pt x="140" y="134"/>
                      <a:pt x="142" y="133"/>
                    </a:cubicBezTo>
                    <a:cubicBezTo>
                      <a:pt x="143" y="132"/>
                      <a:pt x="145" y="130"/>
                      <a:pt x="147" y="129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68" name="Freeform 2583"/>
              <p:cNvSpPr>
                <a:spLocks noChangeAspect="1"/>
              </p:cNvSpPr>
              <p:nvPr/>
            </p:nvSpPr>
            <p:spPr bwMode="auto">
              <a:xfrm>
                <a:off x="4529152" y="2154532"/>
                <a:ext cx="12304" cy="11630"/>
              </a:xfrm>
              <a:custGeom>
                <a:avLst/>
                <a:gdLst>
                  <a:gd name="T0" fmla="*/ 10 w 9"/>
                  <a:gd name="T1" fmla="*/ 14 h 12"/>
                  <a:gd name="T2" fmla="*/ 11 w 9"/>
                  <a:gd name="T3" fmla="*/ 9 h 12"/>
                  <a:gd name="T4" fmla="*/ 10 w 9"/>
                  <a:gd name="T5" fmla="*/ 7 h 12"/>
                  <a:gd name="T6" fmla="*/ 6 w 9"/>
                  <a:gd name="T7" fmla="*/ 4 h 12"/>
                  <a:gd name="T8" fmla="*/ 5 w 9"/>
                  <a:gd name="T9" fmla="*/ 0 h 12"/>
                  <a:gd name="T10" fmla="*/ 2 w 9"/>
                  <a:gd name="T11" fmla="*/ 1 h 12"/>
                  <a:gd name="T12" fmla="*/ 0 w 9"/>
                  <a:gd name="T13" fmla="*/ 5 h 12"/>
                  <a:gd name="T14" fmla="*/ 1 w 9"/>
                  <a:gd name="T15" fmla="*/ 8 h 12"/>
                  <a:gd name="T16" fmla="*/ 2 w 9"/>
                  <a:gd name="T17" fmla="*/ 13 h 12"/>
                  <a:gd name="T18" fmla="*/ 6 w 9"/>
                  <a:gd name="T19" fmla="*/ 14 h 12"/>
                  <a:gd name="T20" fmla="*/ 10 w 9"/>
                  <a:gd name="T21" fmla="*/ 14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9"/>
                  <a:gd name="T34" fmla="*/ 0 h 12"/>
                  <a:gd name="T35" fmla="*/ 9 w 9"/>
                  <a:gd name="T36" fmla="*/ 12 h 12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9" h="12">
                    <a:moveTo>
                      <a:pt x="8" y="12"/>
                    </a:moveTo>
                    <a:cubicBezTo>
                      <a:pt x="8" y="10"/>
                      <a:pt x="9" y="9"/>
                      <a:pt x="9" y="8"/>
                    </a:cubicBezTo>
                    <a:cubicBezTo>
                      <a:pt x="9" y="7"/>
                      <a:pt x="9" y="6"/>
                      <a:pt x="8" y="6"/>
                    </a:cubicBezTo>
                    <a:cubicBezTo>
                      <a:pt x="7" y="5"/>
                      <a:pt x="6" y="4"/>
                      <a:pt x="5" y="3"/>
                    </a:cubicBezTo>
                    <a:cubicBezTo>
                      <a:pt x="5" y="2"/>
                      <a:pt x="4" y="1"/>
                      <a:pt x="4" y="0"/>
                    </a:cubicBezTo>
                    <a:cubicBezTo>
                      <a:pt x="3" y="0"/>
                      <a:pt x="2" y="0"/>
                      <a:pt x="2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5"/>
                      <a:pt x="1" y="6"/>
                      <a:pt x="1" y="7"/>
                    </a:cubicBezTo>
                    <a:cubicBezTo>
                      <a:pt x="1" y="8"/>
                      <a:pt x="2" y="10"/>
                      <a:pt x="2" y="11"/>
                    </a:cubicBezTo>
                    <a:cubicBezTo>
                      <a:pt x="3" y="11"/>
                      <a:pt x="4" y="12"/>
                      <a:pt x="5" y="12"/>
                    </a:cubicBezTo>
                    <a:cubicBezTo>
                      <a:pt x="6" y="12"/>
                      <a:pt x="7" y="12"/>
                      <a:pt x="8" y="1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69" name="Freeform 2585"/>
              <p:cNvSpPr>
                <a:spLocks noChangeAspect="1"/>
              </p:cNvSpPr>
              <p:nvPr/>
            </p:nvSpPr>
            <p:spPr bwMode="auto">
              <a:xfrm>
                <a:off x="4534743" y="2196066"/>
                <a:ext cx="71583" cy="34058"/>
              </a:xfrm>
              <a:custGeom>
                <a:avLst/>
                <a:gdLst>
                  <a:gd name="T0" fmla="*/ 64 w 54"/>
                  <a:gd name="T1" fmla="*/ 21 h 34"/>
                  <a:gd name="T2" fmla="*/ 63 w 54"/>
                  <a:gd name="T3" fmla="*/ 17 h 34"/>
                  <a:gd name="T4" fmla="*/ 58 w 54"/>
                  <a:gd name="T5" fmla="*/ 21 h 34"/>
                  <a:gd name="T6" fmla="*/ 55 w 54"/>
                  <a:gd name="T7" fmla="*/ 17 h 34"/>
                  <a:gd name="T8" fmla="*/ 51 w 54"/>
                  <a:gd name="T9" fmla="*/ 16 h 34"/>
                  <a:gd name="T10" fmla="*/ 51 w 54"/>
                  <a:gd name="T11" fmla="*/ 12 h 34"/>
                  <a:gd name="T12" fmla="*/ 51 w 54"/>
                  <a:gd name="T13" fmla="*/ 10 h 34"/>
                  <a:gd name="T14" fmla="*/ 50 w 54"/>
                  <a:gd name="T15" fmla="*/ 6 h 34"/>
                  <a:gd name="T16" fmla="*/ 46 w 54"/>
                  <a:gd name="T17" fmla="*/ 2 h 34"/>
                  <a:gd name="T18" fmla="*/ 40 w 54"/>
                  <a:gd name="T19" fmla="*/ 2 h 34"/>
                  <a:gd name="T20" fmla="*/ 36 w 54"/>
                  <a:gd name="T21" fmla="*/ 0 h 34"/>
                  <a:gd name="T22" fmla="*/ 36 w 54"/>
                  <a:gd name="T23" fmla="*/ 4 h 34"/>
                  <a:gd name="T24" fmla="*/ 32 w 54"/>
                  <a:gd name="T25" fmla="*/ 5 h 34"/>
                  <a:gd name="T26" fmla="*/ 28 w 54"/>
                  <a:gd name="T27" fmla="*/ 7 h 34"/>
                  <a:gd name="T28" fmla="*/ 23 w 54"/>
                  <a:gd name="T29" fmla="*/ 6 h 34"/>
                  <a:gd name="T30" fmla="*/ 19 w 54"/>
                  <a:gd name="T31" fmla="*/ 8 h 34"/>
                  <a:gd name="T32" fmla="*/ 14 w 54"/>
                  <a:gd name="T33" fmla="*/ 7 h 34"/>
                  <a:gd name="T34" fmla="*/ 12 w 54"/>
                  <a:gd name="T35" fmla="*/ 8 h 34"/>
                  <a:gd name="T36" fmla="*/ 14 w 54"/>
                  <a:gd name="T37" fmla="*/ 11 h 34"/>
                  <a:gd name="T38" fmla="*/ 9 w 54"/>
                  <a:gd name="T39" fmla="*/ 16 h 34"/>
                  <a:gd name="T40" fmla="*/ 6 w 54"/>
                  <a:gd name="T41" fmla="*/ 19 h 34"/>
                  <a:gd name="T42" fmla="*/ 4 w 54"/>
                  <a:gd name="T43" fmla="*/ 24 h 34"/>
                  <a:gd name="T44" fmla="*/ 2 w 54"/>
                  <a:gd name="T45" fmla="*/ 29 h 34"/>
                  <a:gd name="T46" fmla="*/ 1 w 54"/>
                  <a:gd name="T47" fmla="*/ 35 h 34"/>
                  <a:gd name="T48" fmla="*/ 6 w 54"/>
                  <a:gd name="T49" fmla="*/ 30 h 34"/>
                  <a:gd name="T50" fmla="*/ 9 w 54"/>
                  <a:gd name="T51" fmla="*/ 30 h 34"/>
                  <a:gd name="T52" fmla="*/ 12 w 54"/>
                  <a:gd name="T53" fmla="*/ 31 h 34"/>
                  <a:gd name="T54" fmla="*/ 12 w 54"/>
                  <a:gd name="T55" fmla="*/ 36 h 34"/>
                  <a:gd name="T56" fmla="*/ 15 w 54"/>
                  <a:gd name="T57" fmla="*/ 40 h 34"/>
                  <a:gd name="T58" fmla="*/ 19 w 54"/>
                  <a:gd name="T59" fmla="*/ 40 h 34"/>
                  <a:gd name="T60" fmla="*/ 23 w 54"/>
                  <a:gd name="T61" fmla="*/ 39 h 34"/>
                  <a:gd name="T62" fmla="*/ 26 w 54"/>
                  <a:gd name="T63" fmla="*/ 40 h 34"/>
                  <a:gd name="T64" fmla="*/ 31 w 54"/>
                  <a:gd name="T65" fmla="*/ 35 h 34"/>
                  <a:gd name="T66" fmla="*/ 31 w 54"/>
                  <a:gd name="T67" fmla="*/ 31 h 34"/>
                  <a:gd name="T68" fmla="*/ 34 w 54"/>
                  <a:gd name="T69" fmla="*/ 28 h 34"/>
                  <a:gd name="T70" fmla="*/ 36 w 54"/>
                  <a:gd name="T71" fmla="*/ 34 h 34"/>
                  <a:gd name="T72" fmla="*/ 39 w 54"/>
                  <a:gd name="T73" fmla="*/ 36 h 34"/>
                  <a:gd name="T74" fmla="*/ 41 w 54"/>
                  <a:gd name="T75" fmla="*/ 39 h 34"/>
                  <a:gd name="T76" fmla="*/ 45 w 54"/>
                  <a:gd name="T77" fmla="*/ 37 h 34"/>
                  <a:gd name="T78" fmla="*/ 46 w 54"/>
                  <a:gd name="T79" fmla="*/ 31 h 34"/>
                  <a:gd name="T80" fmla="*/ 47 w 54"/>
                  <a:gd name="T81" fmla="*/ 29 h 34"/>
                  <a:gd name="T82" fmla="*/ 51 w 54"/>
                  <a:gd name="T83" fmla="*/ 31 h 34"/>
                  <a:gd name="T84" fmla="*/ 56 w 54"/>
                  <a:gd name="T85" fmla="*/ 31 h 34"/>
                  <a:gd name="T86" fmla="*/ 58 w 54"/>
                  <a:gd name="T87" fmla="*/ 33 h 34"/>
                  <a:gd name="T88" fmla="*/ 58 w 54"/>
                  <a:gd name="T89" fmla="*/ 27 h 34"/>
                  <a:gd name="T90" fmla="*/ 59 w 54"/>
                  <a:gd name="T91" fmla="*/ 25 h 34"/>
                  <a:gd name="T92" fmla="*/ 63 w 54"/>
                  <a:gd name="T93" fmla="*/ 28 h 34"/>
                  <a:gd name="T94" fmla="*/ 63 w 54"/>
                  <a:gd name="T95" fmla="*/ 23 h 34"/>
                  <a:gd name="T96" fmla="*/ 64 w 54"/>
                  <a:gd name="T97" fmla="*/ 21 h 34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54"/>
                  <a:gd name="T148" fmla="*/ 0 h 34"/>
                  <a:gd name="T149" fmla="*/ 54 w 54"/>
                  <a:gd name="T150" fmla="*/ 34 h 34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54" h="34">
                    <a:moveTo>
                      <a:pt x="54" y="17"/>
                    </a:moveTo>
                    <a:cubicBezTo>
                      <a:pt x="53" y="16"/>
                      <a:pt x="54" y="14"/>
                      <a:pt x="53" y="14"/>
                    </a:cubicBezTo>
                    <a:cubicBezTo>
                      <a:pt x="51" y="14"/>
                      <a:pt x="51" y="17"/>
                      <a:pt x="49" y="17"/>
                    </a:cubicBezTo>
                    <a:cubicBezTo>
                      <a:pt x="48" y="17"/>
                      <a:pt x="47" y="15"/>
                      <a:pt x="46" y="14"/>
                    </a:cubicBezTo>
                    <a:cubicBezTo>
                      <a:pt x="45" y="13"/>
                      <a:pt x="43" y="14"/>
                      <a:pt x="43" y="13"/>
                    </a:cubicBezTo>
                    <a:cubicBezTo>
                      <a:pt x="42" y="13"/>
                      <a:pt x="43" y="11"/>
                      <a:pt x="43" y="10"/>
                    </a:cubicBezTo>
                    <a:cubicBezTo>
                      <a:pt x="43" y="10"/>
                      <a:pt x="43" y="9"/>
                      <a:pt x="43" y="8"/>
                    </a:cubicBezTo>
                    <a:cubicBezTo>
                      <a:pt x="42" y="7"/>
                      <a:pt x="42" y="6"/>
                      <a:pt x="42" y="5"/>
                    </a:cubicBezTo>
                    <a:cubicBezTo>
                      <a:pt x="41" y="4"/>
                      <a:pt x="40" y="3"/>
                      <a:pt x="39" y="2"/>
                    </a:cubicBezTo>
                    <a:cubicBezTo>
                      <a:pt x="37" y="2"/>
                      <a:pt x="36" y="2"/>
                      <a:pt x="34" y="2"/>
                    </a:cubicBezTo>
                    <a:cubicBezTo>
                      <a:pt x="33" y="2"/>
                      <a:pt x="31" y="0"/>
                      <a:pt x="30" y="0"/>
                    </a:cubicBezTo>
                    <a:cubicBezTo>
                      <a:pt x="29" y="0"/>
                      <a:pt x="31" y="2"/>
                      <a:pt x="30" y="3"/>
                    </a:cubicBezTo>
                    <a:cubicBezTo>
                      <a:pt x="29" y="4"/>
                      <a:pt x="28" y="3"/>
                      <a:pt x="27" y="4"/>
                    </a:cubicBezTo>
                    <a:cubicBezTo>
                      <a:pt x="26" y="4"/>
                      <a:pt x="25" y="5"/>
                      <a:pt x="24" y="6"/>
                    </a:cubicBezTo>
                    <a:cubicBezTo>
                      <a:pt x="22" y="6"/>
                      <a:pt x="20" y="5"/>
                      <a:pt x="19" y="5"/>
                    </a:cubicBezTo>
                    <a:cubicBezTo>
                      <a:pt x="18" y="6"/>
                      <a:pt x="17" y="7"/>
                      <a:pt x="16" y="7"/>
                    </a:cubicBezTo>
                    <a:cubicBezTo>
                      <a:pt x="14" y="7"/>
                      <a:pt x="13" y="5"/>
                      <a:pt x="12" y="6"/>
                    </a:cubicBezTo>
                    <a:cubicBezTo>
                      <a:pt x="11" y="6"/>
                      <a:pt x="10" y="7"/>
                      <a:pt x="10" y="7"/>
                    </a:cubicBezTo>
                    <a:cubicBezTo>
                      <a:pt x="10" y="8"/>
                      <a:pt x="12" y="8"/>
                      <a:pt x="12" y="9"/>
                    </a:cubicBezTo>
                    <a:cubicBezTo>
                      <a:pt x="11" y="10"/>
                      <a:pt x="9" y="12"/>
                      <a:pt x="8" y="13"/>
                    </a:cubicBezTo>
                    <a:cubicBezTo>
                      <a:pt x="7" y="14"/>
                      <a:pt x="5" y="15"/>
                      <a:pt x="5" y="16"/>
                    </a:cubicBezTo>
                    <a:cubicBezTo>
                      <a:pt x="4" y="17"/>
                      <a:pt x="3" y="19"/>
                      <a:pt x="3" y="20"/>
                    </a:cubicBezTo>
                    <a:cubicBezTo>
                      <a:pt x="2" y="21"/>
                      <a:pt x="2" y="23"/>
                      <a:pt x="2" y="24"/>
                    </a:cubicBezTo>
                    <a:cubicBezTo>
                      <a:pt x="1" y="26"/>
                      <a:pt x="0" y="28"/>
                      <a:pt x="1" y="29"/>
                    </a:cubicBezTo>
                    <a:cubicBezTo>
                      <a:pt x="3" y="29"/>
                      <a:pt x="4" y="26"/>
                      <a:pt x="5" y="25"/>
                    </a:cubicBezTo>
                    <a:cubicBezTo>
                      <a:pt x="6" y="25"/>
                      <a:pt x="7" y="25"/>
                      <a:pt x="8" y="25"/>
                    </a:cubicBezTo>
                    <a:cubicBezTo>
                      <a:pt x="9" y="25"/>
                      <a:pt x="9" y="26"/>
                      <a:pt x="10" y="26"/>
                    </a:cubicBezTo>
                    <a:cubicBezTo>
                      <a:pt x="10" y="27"/>
                      <a:pt x="10" y="29"/>
                      <a:pt x="10" y="30"/>
                    </a:cubicBezTo>
                    <a:cubicBezTo>
                      <a:pt x="11" y="31"/>
                      <a:pt x="12" y="32"/>
                      <a:pt x="13" y="33"/>
                    </a:cubicBezTo>
                    <a:cubicBezTo>
                      <a:pt x="14" y="33"/>
                      <a:pt x="15" y="34"/>
                      <a:pt x="16" y="33"/>
                    </a:cubicBezTo>
                    <a:cubicBezTo>
                      <a:pt x="17" y="33"/>
                      <a:pt x="18" y="32"/>
                      <a:pt x="19" y="32"/>
                    </a:cubicBezTo>
                    <a:cubicBezTo>
                      <a:pt x="20" y="32"/>
                      <a:pt x="21" y="33"/>
                      <a:pt x="22" y="33"/>
                    </a:cubicBezTo>
                    <a:cubicBezTo>
                      <a:pt x="24" y="32"/>
                      <a:pt x="25" y="31"/>
                      <a:pt x="26" y="29"/>
                    </a:cubicBezTo>
                    <a:cubicBezTo>
                      <a:pt x="26" y="28"/>
                      <a:pt x="26" y="27"/>
                      <a:pt x="26" y="26"/>
                    </a:cubicBezTo>
                    <a:cubicBezTo>
                      <a:pt x="27" y="25"/>
                      <a:pt x="28" y="23"/>
                      <a:pt x="29" y="23"/>
                    </a:cubicBezTo>
                    <a:cubicBezTo>
                      <a:pt x="31" y="24"/>
                      <a:pt x="29" y="27"/>
                      <a:pt x="30" y="28"/>
                    </a:cubicBezTo>
                    <a:cubicBezTo>
                      <a:pt x="31" y="29"/>
                      <a:pt x="32" y="29"/>
                      <a:pt x="33" y="30"/>
                    </a:cubicBezTo>
                    <a:cubicBezTo>
                      <a:pt x="34" y="30"/>
                      <a:pt x="34" y="32"/>
                      <a:pt x="35" y="32"/>
                    </a:cubicBezTo>
                    <a:cubicBezTo>
                      <a:pt x="36" y="32"/>
                      <a:pt x="37" y="32"/>
                      <a:pt x="38" y="31"/>
                    </a:cubicBezTo>
                    <a:cubicBezTo>
                      <a:pt x="39" y="30"/>
                      <a:pt x="39" y="28"/>
                      <a:pt x="39" y="26"/>
                    </a:cubicBezTo>
                    <a:cubicBezTo>
                      <a:pt x="39" y="25"/>
                      <a:pt x="39" y="24"/>
                      <a:pt x="40" y="24"/>
                    </a:cubicBezTo>
                    <a:cubicBezTo>
                      <a:pt x="42" y="24"/>
                      <a:pt x="42" y="26"/>
                      <a:pt x="43" y="26"/>
                    </a:cubicBezTo>
                    <a:cubicBezTo>
                      <a:pt x="44" y="27"/>
                      <a:pt x="46" y="26"/>
                      <a:pt x="47" y="26"/>
                    </a:cubicBezTo>
                    <a:cubicBezTo>
                      <a:pt x="48" y="26"/>
                      <a:pt x="49" y="27"/>
                      <a:pt x="49" y="27"/>
                    </a:cubicBezTo>
                    <a:cubicBezTo>
                      <a:pt x="50" y="25"/>
                      <a:pt x="49" y="24"/>
                      <a:pt x="49" y="22"/>
                    </a:cubicBezTo>
                    <a:cubicBezTo>
                      <a:pt x="49" y="22"/>
                      <a:pt x="49" y="21"/>
                      <a:pt x="50" y="21"/>
                    </a:cubicBezTo>
                    <a:cubicBezTo>
                      <a:pt x="51" y="21"/>
                      <a:pt x="52" y="23"/>
                      <a:pt x="53" y="23"/>
                    </a:cubicBezTo>
                    <a:cubicBezTo>
                      <a:pt x="54" y="22"/>
                      <a:pt x="53" y="20"/>
                      <a:pt x="53" y="19"/>
                    </a:cubicBezTo>
                    <a:cubicBezTo>
                      <a:pt x="53" y="18"/>
                      <a:pt x="53" y="17"/>
                      <a:pt x="54" y="17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70" name="Freeform 2586"/>
              <p:cNvSpPr>
                <a:spLocks noChangeAspect="1"/>
              </p:cNvSpPr>
              <p:nvPr/>
            </p:nvSpPr>
            <p:spPr bwMode="auto">
              <a:xfrm>
                <a:off x="4590669" y="2173638"/>
                <a:ext cx="121917" cy="47348"/>
              </a:xfrm>
              <a:custGeom>
                <a:avLst/>
                <a:gdLst>
                  <a:gd name="T0" fmla="*/ 97 w 91"/>
                  <a:gd name="T1" fmla="*/ 46 h 48"/>
                  <a:gd name="T2" fmla="*/ 98 w 91"/>
                  <a:gd name="T3" fmla="*/ 44 h 48"/>
                  <a:gd name="T4" fmla="*/ 101 w 91"/>
                  <a:gd name="T5" fmla="*/ 44 h 48"/>
                  <a:gd name="T6" fmla="*/ 98 w 91"/>
                  <a:gd name="T7" fmla="*/ 37 h 48"/>
                  <a:gd name="T8" fmla="*/ 103 w 91"/>
                  <a:gd name="T9" fmla="*/ 33 h 48"/>
                  <a:gd name="T10" fmla="*/ 105 w 91"/>
                  <a:gd name="T11" fmla="*/ 30 h 48"/>
                  <a:gd name="T12" fmla="*/ 108 w 91"/>
                  <a:gd name="T13" fmla="*/ 29 h 48"/>
                  <a:gd name="T14" fmla="*/ 109 w 91"/>
                  <a:gd name="T15" fmla="*/ 23 h 48"/>
                  <a:gd name="T16" fmla="*/ 105 w 91"/>
                  <a:gd name="T17" fmla="*/ 18 h 48"/>
                  <a:gd name="T18" fmla="*/ 105 w 91"/>
                  <a:gd name="T19" fmla="*/ 13 h 48"/>
                  <a:gd name="T20" fmla="*/ 105 w 91"/>
                  <a:gd name="T21" fmla="*/ 8 h 48"/>
                  <a:gd name="T22" fmla="*/ 99 w 91"/>
                  <a:gd name="T23" fmla="*/ 7 h 48"/>
                  <a:gd name="T24" fmla="*/ 95 w 91"/>
                  <a:gd name="T25" fmla="*/ 7 h 48"/>
                  <a:gd name="T26" fmla="*/ 86 w 91"/>
                  <a:gd name="T27" fmla="*/ 4 h 48"/>
                  <a:gd name="T28" fmla="*/ 79 w 91"/>
                  <a:gd name="T29" fmla="*/ 2 h 48"/>
                  <a:gd name="T30" fmla="*/ 77 w 91"/>
                  <a:gd name="T31" fmla="*/ 1 h 48"/>
                  <a:gd name="T32" fmla="*/ 77 w 91"/>
                  <a:gd name="T33" fmla="*/ 7 h 48"/>
                  <a:gd name="T34" fmla="*/ 68 w 91"/>
                  <a:gd name="T35" fmla="*/ 11 h 48"/>
                  <a:gd name="T36" fmla="*/ 61 w 91"/>
                  <a:gd name="T37" fmla="*/ 7 h 48"/>
                  <a:gd name="T38" fmla="*/ 61 w 91"/>
                  <a:gd name="T39" fmla="*/ 11 h 48"/>
                  <a:gd name="T40" fmla="*/ 55 w 91"/>
                  <a:gd name="T41" fmla="*/ 11 h 48"/>
                  <a:gd name="T42" fmla="*/ 55 w 91"/>
                  <a:gd name="T43" fmla="*/ 15 h 48"/>
                  <a:gd name="T44" fmla="*/ 47 w 91"/>
                  <a:gd name="T45" fmla="*/ 19 h 48"/>
                  <a:gd name="T46" fmla="*/ 49 w 91"/>
                  <a:gd name="T47" fmla="*/ 26 h 48"/>
                  <a:gd name="T48" fmla="*/ 40 w 91"/>
                  <a:gd name="T49" fmla="*/ 30 h 48"/>
                  <a:gd name="T50" fmla="*/ 30 w 91"/>
                  <a:gd name="T51" fmla="*/ 32 h 48"/>
                  <a:gd name="T52" fmla="*/ 25 w 91"/>
                  <a:gd name="T53" fmla="*/ 36 h 48"/>
                  <a:gd name="T54" fmla="*/ 19 w 91"/>
                  <a:gd name="T55" fmla="*/ 33 h 48"/>
                  <a:gd name="T56" fmla="*/ 13 w 91"/>
                  <a:gd name="T57" fmla="*/ 33 h 48"/>
                  <a:gd name="T58" fmla="*/ 11 w 91"/>
                  <a:gd name="T59" fmla="*/ 38 h 48"/>
                  <a:gd name="T60" fmla="*/ 4 w 91"/>
                  <a:gd name="T61" fmla="*/ 32 h 48"/>
                  <a:gd name="T62" fmla="*/ 1 w 91"/>
                  <a:gd name="T63" fmla="*/ 37 h 48"/>
                  <a:gd name="T64" fmla="*/ 1 w 91"/>
                  <a:gd name="T65" fmla="*/ 39 h 48"/>
                  <a:gd name="T66" fmla="*/ 1 w 91"/>
                  <a:gd name="T67" fmla="*/ 43 h 48"/>
                  <a:gd name="T68" fmla="*/ 5 w 91"/>
                  <a:gd name="T69" fmla="*/ 44 h 48"/>
                  <a:gd name="T70" fmla="*/ 8 w 91"/>
                  <a:gd name="T71" fmla="*/ 48 h 48"/>
                  <a:gd name="T72" fmla="*/ 13 w 91"/>
                  <a:gd name="T73" fmla="*/ 44 h 48"/>
                  <a:gd name="T74" fmla="*/ 14 w 91"/>
                  <a:gd name="T75" fmla="*/ 48 h 48"/>
                  <a:gd name="T76" fmla="*/ 18 w 91"/>
                  <a:gd name="T77" fmla="*/ 49 h 48"/>
                  <a:gd name="T78" fmla="*/ 23 w 91"/>
                  <a:gd name="T79" fmla="*/ 50 h 48"/>
                  <a:gd name="T80" fmla="*/ 23 w 91"/>
                  <a:gd name="T81" fmla="*/ 46 h 48"/>
                  <a:gd name="T82" fmla="*/ 29 w 91"/>
                  <a:gd name="T83" fmla="*/ 45 h 48"/>
                  <a:gd name="T84" fmla="*/ 35 w 91"/>
                  <a:gd name="T85" fmla="*/ 44 h 48"/>
                  <a:gd name="T86" fmla="*/ 40 w 91"/>
                  <a:gd name="T87" fmla="*/ 43 h 48"/>
                  <a:gd name="T88" fmla="*/ 40 w 91"/>
                  <a:gd name="T89" fmla="*/ 46 h 48"/>
                  <a:gd name="T90" fmla="*/ 43 w 91"/>
                  <a:gd name="T91" fmla="*/ 51 h 48"/>
                  <a:gd name="T92" fmla="*/ 50 w 91"/>
                  <a:gd name="T93" fmla="*/ 52 h 48"/>
                  <a:gd name="T94" fmla="*/ 60 w 91"/>
                  <a:gd name="T95" fmla="*/ 53 h 48"/>
                  <a:gd name="T96" fmla="*/ 61 w 91"/>
                  <a:gd name="T97" fmla="*/ 55 h 48"/>
                  <a:gd name="T98" fmla="*/ 72 w 91"/>
                  <a:gd name="T99" fmla="*/ 57 h 48"/>
                  <a:gd name="T100" fmla="*/ 78 w 91"/>
                  <a:gd name="T101" fmla="*/ 52 h 48"/>
                  <a:gd name="T102" fmla="*/ 86 w 91"/>
                  <a:gd name="T103" fmla="*/ 52 h 48"/>
                  <a:gd name="T104" fmla="*/ 92 w 91"/>
                  <a:gd name="T105" fmla="*/ 51 h 48"/>
                  <a:gd name="T106" fmla="*/ 97 w 91"/>
                  <a:gd name="T107" fmla="*/ 46 h 48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91"/>
                  <a:gd name="T163" fmla="*/ 0 h 48"/>
                  <a:gd name="T164" fmla="*/ 91 w 91"/>
                  <a:gd name="T165" fmla="*/ 48 h 48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91" h="48">
                    <a:moveTo>
                      <a:pt x="81" y="39"/>
                    </a:moveTo>
                    <a:cubicBezTo>
                      <a:pt x="81" y="38"/>
                      <a:pt x="81" y="37"/>
                      <a:pt x="82" y="37"/>
                    </a:cubicBezTo>
                    <a:cubicBezTo>
                      <a:pt x="82" y="36"/>
                      <a:pt x="84" y="37"/>
                      <a:pt x="84" y="37"/>
                    </a:cubicBezTo>
                    <a:cubicBezTo>
                      <a:pt x="84" y="35"/>
                      <a:pt x="82" y="33"/>
                      <a:pt x="82" y="31"/>
                    </a:cubicBezTo>
                    <a:cubicBezTo>
                      <a:pt x="83" y="29"/>
                      <a:pt x="85" y="29"/>
                      <a:pt x="86" y="28"/>
                    </a:cubicBezTo>
                    <a:cubicBezTo>
                      <a:pt x="87" y="27"/>
                      <a:pt x="87" y="25"/>
                      <a:pt x="88" y="25"/>
                    </a:cubicBezTo>
                    <a:cubicBezTo>
                      <a:pt x="88" y="24"/>
                      <a:pt x="90" y="24"/>
                      <a:pt x="90" y="24"/>
                    </a:cubicBezTo>
                    <a:cubicBezTo>
                      <a:pt x="91" y="22"/>
                      <a:pt x="91" y="20"/>
                      <a:pt x="91" y="19"/>
                    </a:cubicBezTo>
                    <a:cubicBezTo>
                      <a:pt x="90" y="17"/>
                      <a:pt x="88" y="16"/>
                      <a:pt x="88" y="15"/>
                    </a:cubicBezTo>
                    <a:cubicBezTo>
                      <a:pt x="87" y="14"/>
                      <a:pt x="88" y="12"/>
                      <a:pt x="88" y="11"/>
                    </a:cubicBezTo>
                    <a:cubicBezTo>
                      <a:pt x="88" y="10"/>
                      <a:pt x="88" y="8"/>
                      <a:pt x="88" y="7"/>
                    </a:cubicBezTo>
                    <a:cubicBezTo>
                      <a:pt x="86" y="6"/>
                      <a:pt x="85" y="6"/>
                      <a:pt x="83" y="6"/>
                    </a:cubicBezTo>
                    <a:cubicBezTo>
                      <a:pt x="82" y="5"/>
                      <a:pt x="80" y="6"/>
                      <a:pt x="79" y="6"/>
                    </a:cubicBezTo>
                    <a:cubicBezTo>
                      <a:pt x="76" y="5"/>
                      <a:pt x="75" y="4"/>
                      <a:pt x="72" y="3"/>
                    </a:cubicBezTo>
                    <a:cubicBezTo>
                      <a:pt x="70" y="3"/>
                      <a:pt x="68" y="3"/>
                      <a:pt x="66" y="2"/>
                    </a:cubicBezTo>
                    <a:cubicBezTo>
                      <a:pt x="66" y="2"/>
                      <a:pt x="65" y="0"/>
                      <a:pt x="64" y="1"/>
                    </a:cubicBezTo>
                    <a:cubicBezTo>
                      <a:pt x="63" y="2"/>
                      <a:pt x="65" y="5"/>
                      <a:pt x="64" y="6"/>
                    </a:cubicBezTo>
                    <a:cubicBezTo>
                      <a:pt x="62" y="8"/>
                      <a:pt x="59" y="9"/>
                      <a:pt x="57" y="9"/>
                    </a:cubicBezTo>
                    <a:cubicBezTo>
                      <a:pt x="54" y="9"/>
                      <a:pt x="53" y="7"/>
                      <a:pt x="51" y="6"/>
                    </a:cubicBezTo>
                    <a:cubicBezTo>
                      <a:pt x="51" y="7"/>
                      <a:pt x="51" y="9"/>
                      <a:pt x="51" y="9"/>
                    </a:cubicBezTo>
                    <a:cubicBezTo>
                      <a:pt x="50" y="10"/>
                      <a:pt x="47" y="9"/>
                      <a:pt x="46" y="9"/>
                    </a:cubicBezTo>
                    <a:cubicBezTo>
                      <a:pt x="45" y="10"/>
                      <a:pt x="47" y="12"/>
                      <a:pt x="46" y="13"/>
                    </a:cubicBezTo>
                    <a:cubicBezTo>
                      <a:pt x="44" y="15"/>
                      <a:pt x="40" y="14"/>
                      <a:pt x="39" y="16"/>
                    </a:cubicBezTo>
                    <a:cubicBezTo>
                      <a:pt x="38" y="18"/>
                      <a:pt x="42" y="20"/>
                      <a:pt x="41" y="22"/>
                    </a:cubicBezTo>
                    <a:cubicBezTo>
                      <a:pt x="39" y="24"/>
                      <a:pt x="35" y="24"/>
                      <a:pt x="33" y="25"/>
                    </a:cubicBezTo>
                    <a:cubicBezTo>
                      <a:pt x="30" y="26"/>
                      <a:pt x="27" y="26"/>
                      <a:pt x="25" y="27"/>
                    </a:cubicBezTo>
                    <a:cubicBezTo>
                      <a:pt x="23" y="28"/>
                      <a:pt x="22" y="30"/>
                      <a:pt x="21" y="30"/>
                    </a:cubicBezTo>
                    <a:cubicBezTo>
                      <a:pt x="19" y="31"/>
                      <a:pt x="18" y="29"/>
                      <a:pt x="16" y="28"/>
                    </a:cubicBezTo>
                    <a:cubicBezTo>
                      <a:pt x="14" y="28"/>
                      <a:pt x="12" y="27"/>
                      <a:pt x="11" y="28"/>
                    </a:cubicBezTo>
                    <a:cubicBezTo>
                      <a:pt x="9" y="28"/>
                      <a:pt x="11" y="32"/>
                      <a:pt x="9" y="32"/>
                    </a:cubicBezTo>
                    <a:cubicBezTo>
                      <a:pt x="7" y="32"/>
                      <a:pt x="6" y="28"/>
                      <a:pt x="3" y="27"/>
                    </a:cubicBezTo>
                    <a:cubicBezTo>
                      <a:pt x="2" y="27"/>
                      <a:pt x="2" y="30"/>
                      <a:pt x="1" y="31"/>
                    </a:cubicBezTo>
                    <a:cubicBezTo>
                      <a:pt x="1" y="32"/>
                      <a:pt x="1" y="33"/>
                      <a:pt x="1" y="33"/>
                    </a:cubicBezTo>
                    <a:cubicBezTo>
                      <a:pt x="1" y="34"/>
                      <a:pt x="0" y="36"/>
                      <a:pt x="1" y="36"/>
                    </a:cubicBezTo>
                    <a:cubicBezTo>
                      <a:pt x="1" y="37"/>
                      <a:pt x="3" y="36"/>
                      <a:pt x="4" y="37"/>
                    </a:cubicBezTo>
                    <a:cubicBezTo>
                      <a:pt x="5" y="38"/>
                      <a:pt x="6" y="40"/>
                      <a:pt x="7" y="40"/>
                    </a:cubicBezTo>
                    <a:cubicBezTo>
                      <a:pt x="9" y="40"/>
                      <a:pt x="9" y="37"/>
                      <a:pt x="11" y="37"/>
                    </a:cubicBezTo>
                    <a:cubicBezTo>
                      <a:pt x="12" y="37"/>
                      <a:pt x="11" y="39"/>
                      <a:pt x="12" y="40"/>
                    </a:cubicBezTo>
                    <a:cubicBezTo>
                      <a:pt x="13" y="40"/>
                      <a:pt x="14" y="41"/>
                      <a:pt x="15" y="41"/>
                    </a:cubicBezTo>
                    <a:cubicBezTo>
                      <a:pt x="17" y="41"/>
                      <a:pt x="18" y="42"/>
                      <a:pt x="19" y="42"/>
                    </a:cubicBezTo>
                    <a:cubicBezTo>
                      <a:pt x="20" y="41"/>
                      <a:pt x="19" y="39"/>
                      <a:pt x="19" y="39"/>
                    </a:cubicBezTo>
                    <a:cubicBezTo>
                      <a:pt x="21" y="38"/>
                      <a:pt x="22" y="38"/>
                      <a:pt x="24" y="38"/>
                    </a:cubicBezTo>
                    <a:cubicBezTo>
                      <a:pt x="26" y="37"/>
                      <a:pt x="27" y="38"/>
                      <a:pt x="29" y="37"/>
                    </a:cubicBezTo>
                    <a:cubicBezTo>
                      <a:pt x="30" y="37"/>
                      <a:pt x="31" y="36"/>
                      <a:pt x="33" y="36"/>
                    </a:cubicBezTo>
                    <a:cubicBezTo>
                      <a:pt x="33" y="37"/>
                      <a:pt x="32" y="38"/>
                      <a:pt x="33" y="39"/>
                    </a:cubicBezTo>
                    <a:cubicBezTo>
                      <a:pt x="33" y="41"/>
                      <a:pt x="34" y="42"/>
                      <a:pt x="36" y="43"/>
                    </a:cubicBezTo>
                    <a:cubicBezTo>
                      <a:pt x="37" y="43"/>
                      <a:pt x="40" y="43"/>
                      <a:pt x="42" y="44"/>
                    </a:cubicBezTo>
                    <a:cubicBezTo>
                      <a:pt x="44" y="44"/>
                      <a:pt x="47" y="45"/>
                      <a:pt x="50" y="45"/>
                    </a:cubicBezTo>
                    <a:cubicBezTo>
                      <a:pt x="50" y="45"/>
                      <a:pt x="50" y="46"/>
                      <a:pt x="51" y="46"/>
                    </a:cubicBezTo>
                    <a:cubicBezTo>
                      <a:pt x="53" y="46"/>
                      <a:pt x="57" y="48"/>
                      <a:pt x="60" y="48"/>
                    </a:cubicBezTo>
                    <a:cubicBezTo>
                      <a:pt x="62" y="48"/>
                      <a:pt x="63" y="45"/>
                      <a:pt x="65" y="44"/>
                    </a:cubicBezTo>
                    <a:cubicBezTo>
                      <a:pt x="67" y="43"/>
                      <a:pt x="70" y="44"/>
                      <a:pt x="72" y="44"/>
                    </a:cubicBezTo>
                    <a:cubicBezTo>
                      <a:pt x="74" y="44"/>
                      <a:pt x="76" y="43"/>
                      <a:pt x="77" y="43"/>
                    </a:cubicBezTo>
                    <a:cubicBezTo>
                      <a:pt x="79" y="42"/>
                      <a:pt x="80" y="40"/>
                      <a:pt x="81" y="39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71" name="Freeform 2587"/>
              <p:cNvSpPr>
                <a:spLocks noChangeAspect="1"/>
              </p:cNvSpPr>
              <p:nvPr/>
            </p:nvSpPr>
            <p:spPr bwMode="auto">
              <a:xfrm>
                <a:off x="4629815" y="2138750"/>
                <a:ext cx="109612" cy="44026"/>
              </a:xfrm>
              <a:custGeom>
                <a:avLst/>
                <a:gdLst>
                  <a:gd name="T0" fmla="*/ 98 w 82"/>
                  <a:gd name="T1" fmla="*/ 34 h 44"/>
                  <a:gd name="T2" fmla="*/ 93 w 82"/>
                  <a:gd name="T3" fmla="*/ 30 h 44"/>
                  <a:gd name="T4" fmla="*/ 91 w 82"/>
                  <a:gd name="T5" fmla="*/ 25 h 44"/>
                  <a:gd name="T6" fmla="*/ 86 w 82"/>
                  <a:gd name="T7" fmla="*/ 23 h 44"/>
                  <a:gd name="T8" fmla="*/ 84 w 82"/>
                  <a:gd name="T9" fmla="*/ 23 h 44"/>
                  <a:gd name="T10" fmla="*/ 79 w 82"/>
                  <a:gd name="T11" fmla="*/ 20 h 44"/>
                  <a:gd name="T12" fmla="*/ 80 w 82"/>
                  <a:gd name="T13" fmla="*/ 18 h 44"/>
                  <a:gd name="T14" fmla="*/ 76 w 82"/>
                  <a:gd name="T15" fmla="*/ 18 h 44"/>
                  <a:gd name="T16" fmla="*/ 72 w 82"/>
                  <a:gd name="T17" fmla="*/ 16 h 44"/>
                  <a:gd name="T18" fmla="*/ 68 w 82"/>
                  <a:gd name="T19" fmla="*/ 14 h 44"/>
                  <a:gd name="T20" fmla="*/ 71 w 82"/>
                  <a:gd name="T21" fmla="*/ 18 h 44"/>
                  <a:gd name="T22" fmla="*/ 66 w 82"/>
                  <a:gd name="T23" fmla="*/ 22 h 44"/>
                  <a:gd name="T24" fmla="*/ 62 w 82"/>
                  <a:gd name="T25" fmla="*/ 18 h 44"/>
                  <a:gd name="T26" fmla="*/ 61 w 82"/>
                  <a:gd name="T27" fmla="*/ 10 h 44"/>
                  <a:gd name="T28" fmla="*/ 56 w 82"/>
                  <a:gd name="T29" fmla="*/ 10 h 44"/>
                  <a:gd name="T30" fmla="*/ 51 w 82"/>
                  <a:gd name="T31" fmla="*/ 6 h 44"/>
                  <a:gd name="T32" fmla="*/ 45 w 82"/>
                  <a:gd name="T33" fmla="*/ 7 h 44"/>
                  <a:gd name="T34" fmla="*/ 45 w 82"/>
                  <a:gd name="T35" fmla="*/ 4 h 44"/>
                  <a:gd name="T36" fmla="*/ 41 w 82"/>
                  <a:gd name="T37" fmla="*/ 1 h 44"/>
                  <a:gd name="T38" fmla="*/ 38 w 82"/>
                  <a:gd name="T39" fmla="*/ 6 h 44"/>
                  <a:gd name="T40" fmla="*/ 33 w 82"/>
                  <a:gd name="T41" fmla="*/ 1 h 44"/>
                  <a:gd name="T42" fmla="*/ 32 w 82"/>
                  <a:gd name="T43" fmla="*/ 5 h 44"/>
                  <a:gd name="T44" fmla="*/ 25 w 82"/>
                  <a:gd name="T45" fmla="*/ 8 h 44"/>
                  <a:gd name="T46" fmla="*/ 17 w 82"/>
                  <a:gd name="T47" fmla="*/ 12 h 44"/>
                  <a:gd name="T48" fmla="*/ 8 w 82"/>
                  <a:gd name="T49" fmla="*/ 14 h 44"/>
                  <a:gd name="T50" fmla="*/ 4 w 82"/>
                  <a:gd name="T51" fmla="*/ 16 h 44"/>
                  <a:gd name="T52" fmla="*/ 0 w 82"/>
                  <a:gd name="T53" fmla="*/ 17 h 44"/>
                  <a:gd name="T54" fmla="*/ 6 w 82"/>
                  <a:gd name="T55" fmla="*/ 23 h 44"/>
                  <a:gd name="T56" fmla="*/ 6 w 82"/>
                  <a:gd name="T57" fmla="*/ 28 h 44"/>
                  <a:gd name="T58" fmla="*/ 11 w 82"/>
                  <a:gd name="T59" fmla="*/ 36 h 44"/>
                  <a:gd name="T60" fmla="*/ 18 w 82"/>
                  <a:gd name="T61" fmla="*/ 41 h 44"/>
                  <a:gd name="T62" fmla="*/ 26 w 82"/>
                  <a:gd name="T63" fmla="*/ 49 h 44"/>
                  <a:gd name="T64" fmla="*/ 33 w 82"/>
                  <a:gd name="T65" fmla="*/ 53 h 44"/>
                  <a:gd name="T66" fmla="*/ 42 w 82"/>
                  <a:gd name="T67" fmla="*/ 49 h 44"/>
                  <a:gd name="T68" fmla="*/ 42 w 82"/>
                  <a:gd name="T69" fmla="*/ 43 h 44"/>
                  <a:gd name="T70" fmla="*/ 44 w 82"/>
                  <a:gd name="T71" fmla="*/ 45 h 44"/>
                  <a:gd name="T72" fmla="*/ 51 w 82"/>
                  <a:gd name="T73" fmla="*/ 46 h 44"/>
                  <a:gd name="T74" fmla="*/ 60 w 82"/>
                  <a:gd name="T75" fmla="*/ 49 h 44"/>
                  <a:gd name="T76" fmla="*/ 65 w 82"/>
                  <a:gd name="T77" fmla="*/ 49 h 44"/>
                  <a:gd name="T78" fmla="*/ 71 w 82"/>
                  <a:gd name="T79" fmla="*/ 51 h 44"/>
                  <a:gd name="T80" fmla="*/ 74 w 82"/>
                  <a:gd name="T81" fmla="*/ 47 h 44"/>
                  <a:gd name="T82" fmla="*/ 80 w 82"/>
                  <a:gd name="T83" fmla="*/ 47 h 44"/>
                  <a:gd name="T84" fmla="*/ 87 w 82"/>
                  <a:gd name="T85" fmla="*/ 42 h 44"/>
                  <a:gd name="T86" fmla="*/ 88 w 82"/>
                  <a:gd name="T87" fmla="*/ 37 h 44"/>
                  <a:gd name="T88" fmla="*/ 93 w 82"/>
                  <a:gd name="T89" fmla="*/ 35 h 44"/>
                  <a:gd name="T90" fmla="*/ 98 w 82"/>
                  <a:gd name="T91" fmla="*/ 34 h 44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82"/>
                  <a:gd name="T139" fmla="*/ 0 h 44"/>
                  <a:gd name="T140" fmla="*/ 82 w 82"/>
                  <a:gd name="T141" fmla="*/ 44 h 44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82" h="44">
                    <a:moveTo>
                      <a:pt x="82" y="28"/>
                    </a:moveTo>
                    <a:cubicBezTo>
                      <a:pt x="81" y="27"/>
                      <a:pt x="79" y="26"/>
                      <a:pt x="78" y="25"/>
                    </a:cubicBezTo>
                    <a:cubicBezTo>
                      <a:pt x="77" y="24"/>
                      <a:pt x="77" y="22"/>
                      <a:pt x="76" y="21"/>
                    </a:cubicBezTo>
                    <a:cubicBezTo>
                      <a:pt x="75" y="20"/>
                      <a:pt x="74" y="19"/>
                      <a:pt x="72" y="19"/>
                    </a:cubicBezTo>
                    <a:cubicBezTo>
                      <a:pt x="71" y="19"/>
                      <a:pt x="70" y="19"/>
                      <a:pt x="70" y="19"/>
                    </a:cubicBezTo>
                    <a:cubicBezTo>
                      <a:pt x="68" y="19"/>
                      <a:pt x="67" y="18"/>
                      <a:pt x="66" y="17"/>
                    </a:cubicBezTo>
                    <a:cubicBezTo>
                      <a:pt x="66" y="16"/>
                      <a:pt x="68" y="15"/>
                      <a:pt x="67" y="15"/>
                    </a:cubicBezTo>
                    <a:cubicBezTo>
                      <a:pt x="66" y="14"/>
                      <a:pt x="65" y="15"/>
                      <a:pt x="64" y="15"/>
                    </a:cubicBezTo>
                    <a:cubicBezTo>
                      <a:pt x="62" y="15"/>
                      <a:pt x="61" y="13"/>
                      <a:pt x="60" y="13"/>
                    </a:cubicBezTo>
                    <a:cubicBezTo>
                      <a:pt x="59" y="12"/>
                      <a:pt x="57" y="11"/>
                      <a:pt x="57" y="12"/>
                    </a:cubicBezTo>
                    <a:cubicBezTo>
                      <a:pt x="57" y="13"/>
                      <a:pt x="59" y="14"/>
                      <a:pt x="59" y="15"/>
                    </a:cubicBezTo>
                    <a:cubicBezTo>
                      <a:pt x="59" y="16"/>
                      <a:pt x="57" y="18"/>
                      <a:pt x="55" y="18"/>
                    </a:cubicBezTo>
                    <a:cubicBezTo>
                      <a:pt x="54" y="18"/>
                      <a:pt x="53" y="16"/>
                      <a:pt x="52" y="15"/>
                    </a:cubicBezTo>
                    <a:cubicBezTo>
                      <a:pt x="51" y="13"/>
                      <a:pt x="52" y="10"/>
                      <a:pt x="51" y="8"/>
                    </a:cubicBezTo>
                    <a:cubicBezTo>
                      <a:pt x="50" y="7"/>
                      <a:pt x="49" y="9"/>
                      <a:pt x="47" y="8"/>
                    </a:cubicBezTo>
                    <a:cubicBezTo>
                      <a:pt x="46" y="8"/>
                      <a:pt x="45" y="6"/>
                      <a:pt x="43" y="5"/>
                    </a:cubicBezTo>
                    <a:cubicBezTo>
                      <a:pt x="42" y="5"/>
                      <a:pt x="40" y="6"/>
                      <a:pt x="38" y="6"/>
                    </a:cubicBezTo>
                    <a:cubicBezTo>
                      <a:pt x="37" y="5"/>
                      <a:pt x="39" y="3"/>
                      <a:pt x="38" y="3"/>
                    </a:cubicBezTo>
                    <a:cubicBezTo>
                      <a:pt x="37" y="2"/>
                      <a:pt x="35" y="2"/>
                      <a:pt x="34" y="1"/>
                    </a:cubicBezTo>
                    <a:cubicBezTo>
                      <a:pt x="33" y="3"/>
                      <a:pt x="34" y="6"/>
                      <a:pt x="32" y="5"/>
                    </a:cubicBezTo>
                    <a:cubicBezTo>
                      <a:pt x="30" y="5"/>
                      <a:pt x="30" y="1"/>
                      <a:pt x="28" y="1"/>
                    </a:cubicBezTo>
                    <a:cubicBezTo>
                      <a:pt x="27" y="0"/>
                      <a:pt x="28" y="3"/>
                      <a:pt x="27" y="4"/>
                    </a:cubicBezTo>
                    <a:cubicBezTo>
                      <a:pt x="25" y="5"/>
                      <a:pt x="23" y="6"/>
                      <a:pt x="21" y="7"/>
                    </a:cubicBezTo>
                    <a:cubicBezTo>
                      <a:pt x="18" y="8"/>
                      <a:pt x="16" y="9"/>
                      <a:pt x="14" y="10"/>
                    </a:cubicBezTo>
                    <a:cubicBezTo>
                      <a:pt x="12" y="10"/>
                      <a:pt x="9" y="11"/>
                      <a:pt x="7" y="12"/>
                    </a:cubicBezTo>
                    <a:cubicBezTo>
                      <a:pt x="6" y="12"/>
                      <a:pt x="5" y="13"/>
                      <a:pt x="3" y="13"/>
                    </a:cubicBezTo>
                    <a:cubicBezTo>
                      <a:pt x="2" y="14"/>
                      <a:pt x="0" y="13"/>
                      <a:pt x="0" y="14"/>
                    </a:cubicBezTo>
                    <a:cubicBezTo>
                      <a:pt x="1" y="16"/>
                      <a:pt x="4" y="17"/>
                      <a:pt x="5" y="19"/>
                    </a:cubicBezTo>
                    <a:cubicBezTo>
                      <a:pt x="6" y="20"/>
                      <a:pt x="4" y="22"/>
                      <a:pt x="5" y="23"/>
                    </a:cubicBezTo>
                    <a:cubicBezTo>
                      <a:pt x="6" y="26"/>
                      <a:pt x="7" y="28"/>
                      <a:pt x="9" y="30"/>
                    </a:cubicBezTo>
                    <a:cubicBezTo>
                      <a:pt x="11" y="32"/>
                      <a:pt x="13" y="33"/>
                      <a:pt x="15" y="34"/>
                    </a:cubicBezTo>
                    <a:cubicBezTo>
                      <a:pt x="18" y="36"/>
                      <a:pt x="20" y="39"/>
                      <a:pt x="22" y="41"/>
                    </a:cubicBezTo>
                    <a:cubicBezTo>
                      <a:pt x="24" y="42"/>
                      <a:pt x="25" y="44"/>
                      <a:pt x="28" y="44"/>
                    </a:cubicBezTo>
                    <a:cubicBezTo>
                      <a:pt x="30" y="44"/>
                      <a:pt x="33" y="43"/>
                      <a:pt x="35" y="41"/>
                    </a:cubicBezTo>
                    <a:cubicBezTo>
                      <a:pt x="36" y="40"/>
                      <a:pt x="34" y="37"/>
                      <a:pt x="35" y="36"/>
                    </a:cubicBezTo>
                    <a:cubicBezTo>
                      <a:pt x="36" y="35"/>
                      <a:pt x="37" y="37"/>
                      <a:pt x="37" y="37"/>
                    </a:cubicBezTo>
                    <a:cubicBezTo>
                      <a:pt x="39" y="38"/>
                      <a:pt x="41" y="38"/>
                      <a:pt x="43" y="38"/>
                    </a:cubicBezTo>
                    <a:cubicBezTo>
                      <a:pt x="46" y="39"/>
                      <a:pt x="47" y="40"/>
                      <a:pt x="50" y="41"/>
                    </a:cubicBezTo>
                    <a:cubicBezTo>
                      <a:pt x="51" y="41"/>
                      <a:pt x="53" y="40"/>
                      <a:pt x="54" y="41"/>
                    </a:cubicBezTo>
                    <a:cubicBezTo>
                      <a:pt x="56" y="41"/>
                      <a:pt x="57" y="41"/>
                      <a:pt x="59" y="42"/>
                    </a:cubicBezTo>
                    <a:cubicBezTo>
                      <a:pt x="60" y="41"/>
                      <a:pt x="61" y="39"/>
                      <a:pt x="62" y="39"/>
                    </a:cubicBezTo>
                    <a:cubicBezTo>
                      <a:pt x="64" y="38"/>
                      <a:pt x="65" y="40"/>
                      <a:pt x="67" y="39"/>
                    </a:cubicBezTo>
                    <a:cubicBezTo>
                      <a:pt x="69" y="38"/>
                      <a:pt x="71" y="36"/>
                      <a:pt x="73" y="35"/>
                    </a:cubicBezTo>
                    <a:cubicBezTo>
                      <a:pt x="73" y="34"/>
                      <a:pt x="73" y="32"/>
                      <a:pt x="74" y="31"/>
                    </a:cubicBezTo>
                    <a:cubicBezTo>
                      <a:pt x="75" y="30"/>
                      <a:pt x="77" y="29"/>
                      <a:pt x="78" y="29"/>
                    </a:cubicBezTo>
                    <a:cubicBezTo>
                      <a:pt x="79" y="29"/>
                      <a:pt x="81" y="28"/>
                      <a:pt x="82" y="28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72" name="Freeform 2588"/>
              <p:cNvSpPr>
                <a:spLocks noChangeAspect="1"/>
              </p:cNvSpPr>
              <p:nvPr/>
            </p:nvSpPr>
            <p:spPr bwMode="auto">
              <a:xfrm>
                <a:off x="4653304" y="2212680"/>
                <a:ext cx="50333" cy="26582"/>
              </a:xfrm>
              <a:custGeom>
                <a:avLst/>
                <a:gdLst>
                  <a:gd name="T0" fmla="*/ 45 w 37"/>
                  <a:gd name="T1" fmla="*/ 8 h 27"/>
                  <a:gd name="T2" fmla="*/ 43 w 37"/>
                  <a:gd name="T3" fmla="*/ 5 h 27"/>
                  <a:gd name="T4" fmla="*/ 41 w 37"/>
                  <a:gd name="T5" fmla="*/ 0 h 27"/>
                  <a:gd name="T6" fmla="*/ 36 w 37"/>
                  <a:gd name="T7" fmla="*/ 5 h 27"/>
                  <a:gd name="T8" fmla="*/ 30 w 37"/>
                  <a:gd name="T9" fmla="*/ 6 h 27"/>
                  <a:gd name="T10" fmla="*/ 22 w 37"/>
                  <a:gd name="T11" fmla="*/ 6 h 27"/>
                  <a:gd name="T12" fmla="*/ 16 w 37"/>
                  <a:gd name="T13" fmla="*/ 11 h 27"/>
                  <a:gd name="T14" fmla="*/ 5 w 37"/>
                  <a:gd name="T15" fmla="*/ 8 h 27"/>
                  <a:gd name="T16" fmla="*/ 1 w 37"/>
                  <a:gd name="T17" fmla="*/ 11 h 27"/>
                  <a:gd name="T18" fmla="*/ 2 w 37"/>
                  <a:gd name="T19" fmla="*/ 15 h 27"/>
                  <a:gd name="T20" fmla="*/ 2 w 37"/>
                  <a:gd name="T21" fmla="*/ 20 h 27"/>
                  <a:gd name="T22" fmla="*/ 5 w 37"/>
                  <a:gd name="T23" fmla="*/ 25 h 27"/>
                  <a:gd name="T24" fmla="*/ 7 w 37"/>
                  <a:gd name="T25" fmla="*/ 27 h 27"/>
                  <a:gd name="T26" fmla="*/ 4 w 37"/>
                  <a:gd name="T27" fmla="*/ 31 h 27"/>
                  <a:gd name="T28" fmla="*/ 7 w 37"/>
                  <a:gd name="T29" fmla="*/ 31 h 27"/>
                  <a:gd name="T30" fmla="*/ 10 w 37"/>
                  <a:gd name="T31" fmla="*/ 28 h 27"/>
                  <a:gd name="T32" fmla="*/ 13 w 37"/>
                  <a:gd name="T33" fmla="*/ 30 h 27"/>
                  <a:gd name="T34" fmla="*/ 17 w 37"/>
                  <a:gd name="T35" fmla="*/ 27 h 27"/>
                  <a:gd name="T36" fmla="*/ 19 w 37"/>
                  <a:gd name="T37" fmla="*/ 30 h 27"/>
                  <a:gd name="T38" fmla="*/ 23 w 37"/>
                  <a:gd name="T39" fmla="*/ 30 h 27"/>
                  <a:gd name="T40" fmla="*/ 28 w 37"/>
                  <a:gd name="T41" fmla="*/ 31 h 27"/>
                  <a:gd name="T42" fmla="*/ 28 w 37"/>
                  <a:gd name="T43" fmla="*/ 23 h 27"/>
                  <a:gd name="T44" fmla="*/ 33 w 37"/>
                  <a:gd name="T45" fmla="*/ 23 h 27"/>
                  <a:gd name="T46" fmla="*/ 33 w 37"/>
                  <a:gd name="T47" fmla="*/ 14 h 27"/>
                  <a:gd name="T48" fmla="*/ 41 w 37"/>
                  <a:gd name="T49" fmla="*/ 11 h 27"/>
                  <a:gd name="T50" fmla="*/ 41 w 37"/>
                  <a:gd name="T51" fmla="*/ 7 h 27"/>
                  <a:gd name="T52" fmla="*/ 45 w 37"/>
                  <a:gd name="T53" fmla="*/ 8 h 27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37"/>
                  <a:gd name="T82" fmla="*/ 0 h 27"/>
                  <a:gd name="T83" fmla="*/ 37 w 37"/>
                  <a:gd name="T84" fmla="*/ 27 h 27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37" h="27">
                    <a:moveTo>
                      <a:pt x="37" y="7"/>
                    </a:moveTo>
                    <a:cubicBezTo>
                      <a:pt x="37" y="6"/>
                      <a:pt x="36" y="5"/>
                      <a:pt x="35" y="4"/>
                    </a:cubicBezTo>
                    <a:cubicBezTo>
                      <a:pt x="35" y="2"/>
                      <a:pt x="34" y="1"/>
                      <a:pt x="34" y="0"/>
                    </a:cubicBezTo>
                    <a:cubicBezTo>
                      <a:pt x="33" y="1"/>
                      <a:pt x="32" y="3"/>
                      <a:pt x="30" y="4"/>
                    </a:cubicBezTo>
                    <a:cubicBezTo>
                      <a:pt x="29" y="4"/>
                      <a:pt x="27" y="5"/>
                      <a:pt x="25" y="5"/>
                    </a:cubicBezTo>
                    <a:cubicBezTo>
                      <a:pt x="23" y="5"/>
                      <a:pt x="20" y="4"/>
                      <a:pt x="18" y="5"/>
                    </a:cubicBezTo>
                    <a:cubicBezTo>
                      <a:pt x="16" y="6"/>
                      <a:pt x="15" y="9"/>
                      <a:pt x="13" y="9"/>
                    </a:cubicBezTo>
                    <a:cubicBezTo>
                      <a:pt x="10" y="9"/>
                      <a:pt x="6" y="7"/>
                      <a:pt x="4" y="7"/>
                    </a:cubicBezTo>
                    <a:cubicBezTo>
                      <a:pt x="3" y="8"/>
                      <a:pt x="1" y="8"/>
                      <a:pt x="1" y="9"/>
                    </a:cubicBezTo>
                    <a:cubicBezTo>
                      <a:pt x="0" y="10"/>
                      <a:pt x="2" y="11"/>
                      <a:pt x="2" y="13"/>
                    </a:cubicBezTo>
                    <a:cubicBezTo>
                      <a:pt x="3" y="14"/>
                      <a:pt x="1" y="15"/>
                      <a:pt x="2" y="17"/>
                    </a:cubicBezTo>
                    <a:cubicBezTo>
                      <a:pt x="2" y="18"/>
                      <a:pt x="3" y="19"/>
                      <a:pt x="4" y="21"/>
                    </a:cubicBezTo>
                    <a:cubicBezTo>
                      <a:pt x="4" y="21"/>
                      <a:pt x="6" y="22"/>
                      <a:pt x="6" y="23"/>
                    </a:cubicBezTo>
                    <a:cubicBezTo>
                      <a:pt x="6" y="24"/>
                      <a:pt x="4" y="25"/>
                      <a:pt x="3" y="26"/>
                    </a:cubicBezTo>
                    <a:cubicBezTo>
                      <a:pt x="4" y="26"/>
                      <a:pt x="5" y="26"/>
                      <a:pt x="6" y="26"/>
                    </a:cubicBezTo>
                    <a:cubicBezTo>
                      <a:pt x="7" y="25"/>
                      <a:pt x="7" y="25"/>
                      <a:pt x="8" y="24"/>
                    </a:cubicBezTo>
                    <a:cubicBezTo>
                      <a:pt x="9" y="24"/>
                      <a:pt x="10" y="25"/>
                      <a:pt x="11" y="25"/>
                    </a:cubicBezTo>
                    <a:cubicBezTo>
                      <a:pt x="12" y="25"/>
                      <a:pt x="13" y="23"/>
                      <a:pt x="14" y="23"/>
                    </a:cubicBezTo>
                    <a:cubicBezTo>
                      <a:pt x="15" y="23"/>
                      <a:pt x="15" y="24"/>
                      <a:pt x="16" y="25"/>
                    </a:cubicBezTo>
                    <a:cubicBezTo>
                      <a:pt x="17" y="25"/>
                      <a:pt x="18" y="25"/>
                      <a:pt x="19" y="25"/>
                    </a:cubicBezTo>
                    <a:cubicBezTo>
                      <a:pt x="21" y="26"/>
                      <a:pt x="22" y="27"/>
                      <a:pt x="23" y="26"/>
                    </a:cubicBezTo>
                    <a:cubicBezTo>
                      <a:pt x="24" y="24"/>
                      <a:pt x="22" y="21"/>
                      <a:pt x="23" y="19"/>
                    </a:cubicBezTo>
                    <a:cubicBezTo>
                      <a:pt x="24" y="18"/>
                      <a:pt x="27" y="20"/>
                      <a:pt x="27" y="19"/>
                    </a:cubicBezTo>
                    <a:cubicBezTo>
                      <a:pt x="28" y="17"/>
                      <a:pt x="26" y="14"/>
                      <a:pt x="27" y="12"/>
                    </a:cubicBezTo>
                    <a:cubicBezTo>
                      <a:pt x="28" y="10"/>
                      <a:pt x="32" y="11"/>
                      <a:pt x="34" y="9"/>
                    </a:cubicBezTo>
                    <a:cubicBezTo>
                      <a:pt x="35" y="9"/>
                      <a:pt x="33" y="7"/>
                      <a:pt x="34" y="6"/>
                    </a:cubicBezTo>
                    <a:cubicBezTo>
                      <a:pt x="35" y="6"/>
                      <a:pt x="36" y="7"/>
                      <a:pt x="37" y="7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73" name="Freeform 2589"/>
              <p:cNvSpPr>
                <a:spLocks noChangeAspect="1" noEditPoints="1"/>
              </p:cNvSpPr>
              <p:nvPr/>
            </p:nvSpPr>
            <p:spPr bwMode="auto">
              <a:xfrm>
                <a:off x="4699161" y="2182774"/>
                <a:ext cx="106256" cy="49840"/>
              </a:xfrm>
              <a:custGeom>
                <a:avLst/>
                <a:gdLst>
                  <a:gd name="T0" fmla="*/ 0 w 79"/>
                  <a:gd name="T1" fmla="*/ 36 h 50"/>
                  <a:gd name="T2" fmla="*/ 1 w 79"/>
                  <a:gd name="T3" fmla="*/ 41 h 50"/>
                  <a:gd name="T4" fmla="*/ 4 w 79"/>
                  <a:gd name="T5" fmla="*/ 44 h 50"/>
                  <a:gd name="T6" fmla="*/ 4 w 79"/>
                  <a:gd name="T7" fmla="*/ 44 h 50"/>
                  <a:gd name="T8" fmla="*/ 6 w 79"/>
                  <a:gd name="T9" fmla="*/ 48 h 50"/>
                  <a:gd name="T10" fmla="*/ 10 w 79"/>
                  <a:gd name="T11" fmla="*/ 48 h 50"/>
                  <a:gd name="T12" fmla="*/ 11 w 79"/>
                  <a:gd name="T13" fmla="*/ 52 h 50"/>
                  <a:gd name="T14" fmla="*/ 12 w 79"/>
                  <a:gd name="T15" fmla="*/ 52 h 50"/>
                  <a:gd name="T16" fmla="*/ 16 w 79"/>
                  <a:gd name="T17" fmla="*/ 56 h 50"/>
                  <a:gd name="T18" fmla="*/ 24 w 79"/>
                  <a:gd name="T19" fmla="*/ 59 h 50"/>
                  <a:gd name="T20" fmla="*/ 32 w 79"/>
                  <a:gd name="T21" fmla="*/ 60 h 50"/>
                  <a:gd name="T22" fmla="*/ 36 w 79"/>
                  <a:gd name="T23" fmla="*/ 58 h 50"/>
                  <a:gd name="T24" fmla="*/ 38 w 79"/>
                  <a:gd name="T25" fmla="*/ 58 h 50"/>
                  <a:gd name="T26" fmla="*/ 42 w 79"/>
                  <a:gd name="T27" fmla="*/ 54 h 50"/>
                  <a:gd name="T28" fmla="*/ 48 w 79"/>
                  <a:gd name="T29" fmla="*/ 53 h 50"/>
                  <a:gd name="T30" fmla="*/ 52 w 79"/>
                  <a:gd name="T31" fmla="*/ 50 h 50"/>
                  <a:gd name="T32" fmla="*/ 59 w 79"/>
                  <a:gd name="T33" fmla="*/ 52 h 50"/>
                  <a:gd name="T34" fmla="*/ 67 w 79"/>
                  <a:gd name="T35" fmla="*/ 49 h 50"/>
                  <a:gd name="T36" fmla="*/ 73 w 79"/>
                  <a:gd name="T37" fmla="*/ 47 h 50"/>
                  <a:gd name="T38" fmla="*/ 73 w 79"/>
                  <a:gd name="T39" fmla="*/ 42 h 50"/>
                  <a:gd name="T40" fmla="*/ 77 w 79"/>
                  <a:gd name="T41" fmla="*/ 41 h 50"/>
                  <a:gd name="T42" fmla="*/ 78 w 79"/>
                  <a:gd name="T43" fmla="*/ 32 h 50"/>
                  <a:gd name="T44" fmla="*/ 83 w 79"/>
                  <a:gd name="T45" fmla="*/ 24 h 50"/>
                  <a:gd name="T46" fmla="*/ 88 w 79"/>
                  <a:gd name="T47" fmla="*/ 18 h 50"/>
                  <a:gd name="T48" fmla="*/ 93 w 79"/>
                  <a:gd name="T49" fmla="*/ 17 h 50"/>
                  <a:gd name="T50" fmla="*/ 95 w 79"/>
                  <a:gd name="T51" fmla="*/ 14 h 50"/>
                  <a:gd name="T52" fmla="*/ 95 w 79"/>
                  <a:gd name="T53" fmla="*/ 11 h 50"/>
                  <a:gd name="T54" fmla="*/ 90 w 79"/>
                  <a:gd name="T55" fmla="*/ 11 h 50"/>
                  <a:gd name="T56" fmla="*/ 90 w 79"/>
                  <a:gd name="T57" fmla="*/ 8 h 50"/>
                  <a:gd name="T58" fmla="*/ 88 w 79"/>
                  <a:gd name="T59" fmla="*/ 6 h 50"/>
                  <a:gd name="T60" fmla="*/ 84 w 79"/>
                  <a:gd name="T61" fmla="*/ 4 h 50"/>
                  <a:gd name="T62" fmla="*/ 78 w 79"/>
                  <a:gd name="T63" fmla="*/ 6 h 50"/>
                  <a:gd name="T64" fmla="*/ 73 w 79"/>
                  <a:gd name="T65" fmla="*/ 0 h 50"/>
                  <a:gd name="T66" fmla="*/ 69 w 79"/>
                  <a:gd name="T67" fmla="*/ 1 h 50"/>
                  <a:gd name="T68" fmla="*/ 61 w 79"/>
                  <a:gd name="T69" fmla="*/ 1 h 50"/>
                  <a:gd name="T70" fmla="*/ 58 w 79"/>
                  <a:gd name="T71" fmla="*/ 6 h 50"/>
                  <a:gd name="T72" fmla="*/ 53 w 79"/>
                  <a:gd name="T73" fmla="*/ 10 h 50"/>
                  <a:gd name="T74" fmla="*/ 47 w 79"/>
                  <a:gd name="T75" fmla="*/ 7 h 50"/>
                  <a:gd name="T76" fmla="*/ 46 w 79"/>
                  <a:gd name="T77" fmla="*/ 12 h 50"/>
                  <a:gd name="T78" fmla="*/ 38 w 79"/>
                  <a:gd name="T79" fmla="*/ 12 h 50"/>
                  <a:gd name="T80" fmla="*/ 35 w 79"/>
                  <a:gd name="T81" fmla="*/ 12 h 50"/>
                  <a:gd name="T82" fmla="*/ 36 w 79"/>
                  <a:gd name="T83" fmla="*/ 16 h 50"/>
                  <a:gd name="T84" fmla="*/ 34 w 79"/>
                  <a:gd name="T85" fmla="*/ 18 h 50"/>
                  <a:gd name="T86" fmla="*/ 18 w 79"/>
                  <a:gd name="T87" fmla="*/ 17 h 50"/>
                  <a:gd name="T88" fmla="*/ 12 w 79"/>
                  <a:gd name="T89" fmla="*/ 12 h 50"/>
                  <a:gd name="T90" fmla="*/ 11 w 79"/>
                  <a:gd name="T91" fmla="*/ 18 h 50"/>
                  <a:gd name="T92" fmla="*/ 8 w 79"/>
                  <a:gd name="T93" fmla="*/ 19 h 50"/>
                  <a:gd name="T94" fmla="*/ 6 w 79"/>
                  <a:gd name="T95" fmla="*/ 23 h 50"/>
                  <a:gd name="T96" fmla="*/ 1 w 79"/>
                  <a:gd name="T97" fmla="*/ 26 h 50"/>
                  <a:gd name="T98" fmla="*/ 4 w 79"/>
                  <a:gd name="T99" fmla="*/ 34 h 50"/>
                  <a:gd name="T100" fmla="*/ 1 w 79"/>
                  <a:gd name="T101" fmla="*/ 34 h 50"/>
                  <a:gd name="T102" fmla="*/ 0 w 79"/>
                  <a:gd name="T103" fmla="*/ 36 h 50"/>
                  <a:gd name="T104" fmla="*/ 1 w 79"/>
                  <a:gd name="T105" fmla="*/ 41 h 50"/>
                  <a:gd name="T106" fmla="*/ 4 w 79"/>
                  <a:gd name="T107" fmla="*/ 44 h 5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79"/>
                  <a:gd name="T163" fmla="*/ 0 h 50"/>
                  <a:gd name="T164" fmla="*/ 79 w 79"/>
                  <a:gd name="T165" fmla="*/ 50 h 50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79" h="50">
                    <a:moveTo>
                      <a:pt x="0" y="30"/>
                    </a:moveTo>
                    <a:cubicBezTo>
                      <a:pt x="0" y="31"/>
                      <a:pt x="1" y="32"/>
                      <a:pt x="1" y="34"/>
                    </a:cubicBezTo>
                    <a:cubicBezTo>
                      <a:pt x="2" y="35"/>
                      <a:pt x="3" y="36"/>
                      <a:pt x="3" y="37"/>
                    </a:cubicBezTo>
                    <a:moveTo>
                      <a:pt x="3" y="37"/>
                    </a:moveTo>
                    <a:cubicBezTo>
                      <a:pt x="4" y="38"/>
                      <a:pt x="4" y="39"/>
                      <a:pt x="5" y="40"/>
                    </a:cubicBezTo>
                    <a:cubicBezTo>
                      <a:pt x="6" y="40"/>
                      <a:pt x="7" y="39"/>
                      <a:pt x="8" y="40"/>
                    </a:cubicBezTo>
                    <a:cubicBezTo>
                      <a:pt x="9" y="40"/>
                      <a:pt x="8" y="42"/>
                      <a:pt x="9" y="43"/>
                    </a:cubicBezTo>
                    <a:cubicBezTo>
                      <a:pt x="9" y="43"/>
                      <a:pt x="10" y="43"/>
                      <a:pt x="10" y="43"/>
                    </a:cubicBezTo>
                    <a:cubicBezTo>
                      <a:pt x="12" y="44"/>
                      <a:pt x="12" y="46"/>
                      <a:pt x="13" y="47"/>
                    </a:cubicBezTo>
                    <a:cubicBezTo>
                      <a:pt x="15" y="48"/>
                      <a:pt x="18" y="49"/>
                      <a:pt x="20" y="49"/>
                    </a:cubicBezTo>
                    <a:cubicBezTo>
                      <a:pt x="22" y="50"/>
                      <a:pt x="25" y="50"/>
                      <a:pt x="27" y="50"/>
                    </a:cubicBezTo>
                    <a:cubicBezTo>
                      <a:pt x="28" y="50"/>
                      <a:pt x="29" y="48"/>
                      <a:pt x="30" y="48"/>
                    </a:cubicBezTo>
                    <a:cubicBezTo>
                      <a:pt x="30" y="47"/>
                      <a:pt x="31" y="48"/>
                      <a:pt x="32" y="48"/>
                    </a:cubicBezTo>
                    <a:cubicBezTo>
                      <a:pt x="33" y="47"/>
                      <a:pt x="34" y="46"/>
                      <a:pt x="35" y="45"/>
                    </a:cubicBezTo>
                    <a:cubicBezTo>
                      <a:pt x="37" y="44"/>
                      <a:pt x="38" y="44"/>
                      <a:pt x="40" y="44"/>
                    </a:cubicBezTo>
                    <a:cubicBezTo>
                      <a:pt x="41" y="44"/>
                      <a:pt x="42" y="42"/>
                      <a:pt x="43" y="42"/>
                    </a:cubicBezTo>
                    <a:cubicBezTo>
                      <a:pt x="46" y="42"/>
                      <a:pt x="47" y="43"/>
                      <a:pt x="49" y="43"/>
                    </a:cubicBezTo>
                    <a:cubicBezTo>
                      <a:pt x="51" y="42"/>
                      <a:pt x="54" y="42"/>
                      <a:pt x="56" y="41"/>
                    </a:cubicBezTo>
                    <a:cubicBezTo>
                      <a:pt x="57" y="41"/>
                      <a:pt x="60" y="41"/>
                      <a:pt x="61" y="39"/>
                    </a:cubicBezTo>
                    <a:cubicBezTo>
                      <a:pt x="62" y="38"/>
                      <a:pt x="60" y="36"/>
                      <a:pt x="61" y="35"/>
                    </a:cubicBezTo>
                    <a:cubicBezTo>
                      <a:pt x="61" y="34"/>
                      <a:pt x="63" y="35"/>
                      <a:pt x="64" y="34"/>
                    </a:cubicBezTo>
                    <a:cubicBezTo>
                      <a:pt x="65" y="32"/>
                      <a:pt x="64" y="29"/>
                      <a:pt x="65" y="27"/>
                    </a:cubicBezTo>
                    <a:cubicBezTo>
                      <a:pt x="66" y="24"/>
                      <a:pt x="67" y="22"/>
                      <a:pt x="69" y="20"/>
                    </a:cubicBezTo>
                    <a:cubicBezTo>
                      <a:pt x="70" y="19"/>
                      <a:pt x="71" y="17"/>
                      <a:pt x="73" y="15"/>
                    </a:cubicBezTo>
                    <a:cubicBezTo>
                      <a:pt x="74" y="14"/>
                      <a:pt x="76" y="15"/>
                      <a:pt x="77" y="14"/>
                    </a:cubicBezTo>
                    <a:cubicBezTo>
                      <a:pt x="78" y="13"/>
                      <a:pt x="78" y="12"/>
                      <a:pt x="79" y="12"/>
                    </a:cubicBezTo>
                    <a:cubicBezTo>
                      <a:pt x="79" y="11"/>
                      <a:pt x="79" y="10"/>
                      <a:pt x="79" y="9"/>
                    </a:cubicBezTo>
                    <a:cubicBezTo>
                      <a:pt x="78" y="9"/>
                      <a:pt x="76" y="9"/>
                      <a:pt x="75" y="9"/>
                    </a:cubicBezTo>
                    <a:cubicBezTo>
                      <a:pt x="75" y="8"/>
                      <a:pt x="75" y="7"/>
                      <a:pt x="75" y="7"/>
                    </a:cubicBezTo>
                    <a:cubicBezTo>
                      <a:pt x="74" y="6"/>
                      <a:pt x="73" y="6"/>
                      <a:pt x="73" y="5"/>
                    </a:cubicBezTo>
                    <a:cubicBezTo>
                      <a:pt x="72" y="5"/>
                      <a:pt x="71" y="4"/>
                      <a:pt x="70" y="3"/>
                    </a:cubicBezTo>
                    <a:cubicBezTo>
                      <a:pt x="69" y="4"/>
                      <a:pt x="67" y="5"/>
                      <a:pt x="65" y="5"/>
                    </a:cubicBezTo>
                    <a:cubicBezTo>
                      <a:pt x="63" y="4"/>
                      <a:pt x="63" y="1"/>
                      <a:pt x="61" y="0"/>
                    </a:cubicBezTo>
                    <a:cubicBezTo>
                      <a:pt x="60" y="0"/>
                      <a:pt x="59" y="1"/>
                      <a:pt x="57" y="1"/>
                    </a:cubicBezTo>
                    <a:cubicBezTo>
                      <a:pt x="55" y="1"/>
                      <a:pt x="53" y="0"/>
                      <a:pt x="51" y="1"/>
                    </a:cubicBezTo>
                    <a:cubicBezTo>
                      <a:pt x="49" y="1"/>
                      <a:pt x="49" y="4"/>
                      <a:pt x="48" y="5"/>
                    </a:cubicBezTo>
                    <a:cubicBezTo>
                      <a:pt x="47" y="6"/>
                      <a:pt x="45" y="7"/>
                      <a:pt x="44" y="8"/>
                    </a:cubicBezTo>
                    <a:cubicBezTo>
                      <a:pt x="42" y="8"/>
                      <a:pt x="41" y="6"/>
                      <a:pt x="39" y="6"/>
                    </a:cubicBezTo>
                    <a:cubicBezTo>
                      <a:pt x="38" y="6"/>
                      <a:pt x="39" y="9"/>
                      <a:pt x="38" y="10"/>
                    </a:cubicBezTo>
                    <a:cubicBezTo>
                      <a:pt x="36" y="10"/>
                      <a:pt x="34" y="9"/>
                      <a:pt x="32" y="10"/>
                    </a:cubicBezTo>
                    <a:cubicBezTo>
                      <a:pt x="31" y="10"/>
                      <a:pt x="29" y="9"/>
                      <a:pt x="29" y="10"/>
                    </a:cubicBezTo>
                    <a:cubicBezTo>
                      <a:pt x="29" y="11"/>
                      <a:pt x="31" y="12"/>
                      <a:pt x="30" y="13"/>
                    </a:cubicBezTo>
                    <a:cubicBezTo>
                      <a:pt x="30" y="14"/>
                      <a:pt x="29" y="15"/>
                      <a:pt x="28" y="15"/>
                    </a:cubicBezTo>
                    <a:cubicBezTo>
                      <a:pt x="24" y="15"/>
                      <a:pt x="19" y="15"/>
                      <a:pt x="15" y="14"/>
                    </a:cubicBezTo>
                    <a:cubicBezTo>
                      <a:pt x="13" y="13"/>
                      <a:pt x="12" y="11"/>
                      <a:pt x="10" y="10"/>
                    </a:cubicBezTo>
                    <a:cubicBezTo>
                      <a:pt x="10" y="11"/>
                      <a:pt x="10" y="13"/>
                      <a:pt x="9" y="15"/>
                    </a:cubicBezTo>
                    <a:cubicBezTo>
                      <a:pt x="9" y="15"/>
                      <a:pt x="7" y="15"/>
                      <a:pt x="7" y="16"/>
                    </a:cubicBezTo>
                    <a:cubicBezTo>
                      <a:pt x="6" y="16"/>
                      <a:pt x="6" y="18"/>
                      <a:pt x="5" y="19"/>
                    </a:cubicBezTo>
                    <a:cubicBezTo>
                      <a:pt x="4" y="20"/>
                      <a:pt x="2" y="20"/>
                      <a:pt x="1" y="22"/>
                    </a:cubicBezTo>
                    <a:cubicBezTo>
                      <a:pt x="1" y="24"/>
                      <a:pt x="3" y="26"/>
                      <a:pt x="3" y="28"/>
                    </a:cubicBezTo>
                    <a:cubicBezTo>
                      <a:pt x="3" y="28"/>
                      <a:pt x="1" y="27"/>
                      <a:pt x="1" y="28"/>
                    </a:cubicBezTo>
                    <a:cubicBezTo>
                      <a:pt x="0" y="28"/>
                      <a:pt x="0" y="29"/>
                      <a:pt x="0" y="30"/>
                    </a:cubicBezTo>
                    <a:cubicBezTo>
                      <a:pt x="0" y="31"/>
                      <a:pt x="1" y="32"/>
                      <a:pt x="1" y="34"/>
                    </a:cubicBezTo>
                    <a:cubicBezTo>
                      <a:pt x="2" y="35"/>
                      <a:pt x="3" y="36"/>
                      <a:pt x="3" y="37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74" name="Freeform 2591"/>
              <p:cNvSpPr>
                <a:spLocks noChangeAspect="1"/>
              </p:cNvSpPr>
              <p:nvPr/>
            </p:nvSpPr>
            <p:spPr bwMode="auto">
              <a:xfrm>
                <a:off x="4655541" y="2218493"/>
                <a:ext cx="95073" cy="60639"/>
              </a:xfrm>
              <a:custGeom>
                <a:avLst/>
                <a:gdLst>
                  <a:gd name="T0" fmla="*/ 81 w 71"/>
                  <a:gd name="T1" fmla="*/ 30 h 61"/>
                  <a:gd name="T2" fmla="*/ 81 w 71"/>
                  <a:gd name="T3" fmla="*/ 26 h 61"/>
                  <a:gd name="T4" fmla="*/ 80 w 71"/>
                  <a:gd name="T5" fmla="*/ 19 h 61"/>
                  <a:gd name="T6" fmla="*/ 75 w 71"/>
                  <a:gd name="T7" fmla="*/ 14 h 61"/>
                  <a:gd name="T8" fmla="*/ 63 w 71"/>
                  <a:gd name="T9" fmla="*/ 16 h 61"/>
                  <a:gd name="T10" fmla="*/ 51 w 71"/>
                  <a:gd name="T11" fmla="*/ 8 h 61"/>
                  <a:gd name="T12" fmla="*/ 49 w 71"/>
                  <a:gd name="T13" fmla="*/ 5 h 61"/>
                  <a:gd name="T14" fmla="*/ 43 w 71"/>
                  <a:gd name="T15" fmla="*/ 1 h 61"/>
                  <a:gd name="T16" fmla="*/ 40 w 71"/>
                  <a:gd name="T17" fmla="*/ 4 h 61"/>
                  <a:gd name="T18" fmla="*/ 31 w 71"/>
                  <a:gd name="T19" fmla="*/ 16 h 61"/>
                  <a:gd name="T20" fmla="*/ 26 w 71"/>
                  <a:gd name="T21" fmla="*/ 24 h 61"/>
                  <a:gd name="T22" fmla="*/ 18 w 71"/>
                  <a:gd name="T23" fmla="*/ 23 h 61"/>
                  <a:gd name="T24" fmla="*/ 12 w 71"/>
                  <a:gd name="T25" fmla="*/ 23 h 61"/>
                  <a:gd name="T26" fmla="*/ 6 w 71"/>
                  <a:gd name="T27" fmla="*/ 24 h 61"/>
                  <a:gd name="T28" fmla="*/ 0 w 71"/>
                  <a:gd name="T29" fmla="*/ 23 h 61"/>
                  <a:gd name="T30" fmla="*/ 7 w 71"/>
                  <a:gd name="T31" fmla="*/ 37 h 61"/>
                  <a:gd name="T32" fmla="*/ 12 w 71"/>
                  <a:gd name="T33" fmla="*/ 25 h 61"/>
                  <a:gd name="T34" fmla="*/ 20 w 71"/>
                  <a:gd name="T35" fmla="*/ 31 h 61"/>
                  <a:gd name="T36" fmla="*/ 24 w 71"/>
                  <a:gd name="T37" fmla="*/ 42 h 61"/>
                  <a:gd name="T38" fmla="*/ 28 w 71"/>
                  <a:gd name="T39" fmla="*/ 51 h 61"/>
                  <a:gd name="T40" fmla="*/ 36 w 71"/>
                  <a:gd name="T41" fmla="*/ 59 h 61"/>
                  <a:gd name="T42" fmla="*/ 45 w 71"/>
                  <a:gd name="T43" fmla="*/ 63 h 61"/>
                  <a:gd name="T44" fmla="*/ 62 w 71"/>
                  <a:gd name="T45" fmla="*/ 73 h 61"/>
                  <a:gd name="T46" fmla="*/ 53 w 71"/>
                  <a:gd name="T47" fmla="*/ 61 h 61"/>
                  <a:gd name="T48" fmla="*/ 42 w 71"/>
                  <a:gd name="T49" fmla="*/ 49 h 61"/>
                  <a:gd name="T50" fmla="*/ 36 w 71"/>
                  <a:gd name="T51" fmla="*/ 37 h 61"/>
                  <a:gd name="T52" fmla="*/ 34 w 71"/>
                  <a:gd name="T53" fmla="*/ 30 h 61"/>
                  <a:gd name="T54" fmla="*/ 42 w 71"/>
                  <a:gd name="T55" fmla="*/ 32 h 61"/>
                  <a:gd name="T56" fmla="*/ 47 w 71"/>
                  <a:gd name="T57" fmla="*/ 28 h 61"/>
                  <a:gd name="T58" fmla="*/ 55 w 71"/>
                  <a:gd name="T59" fmla="*/ 29 h 61"/>
                  <a:gd name="T60" fmla="*/ 63 w 71"/>
                  <a:gd name="T61" fmla="*/ 32 h 61"/>
                  <a:gd name="T62" fmla="*/ 74 w 71"/>
                  <a:gd name="T63" fmla="*/ 31 h 61"/>
                  <a:gd name="T64" fmla="*/ 79 w 71"/>
                  <a:gd name="T65" fmla="*/ 36 h 6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71"/>
                  <a:gd name="T100" fmla="*/ 0 h 61"/>
                  <a:gd name="T101" fmla="*/ 71 w 71"/>
                  <a:gd name="T102" fmla="*/ 61 h 61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71" h="61">
                    <a:moveTo>
                      <a:pt x="69" y="29"/>
                    </a:moveTo>
                    <a:cubicBezTo>
                      <a:pt x="69" y="28"/>
                      <a:pt x="68" y="27"/>
                      <a:pt x="68" y="25"/>
                    </a:cubicBezTo>
                    <a:cubicBezTo>
                      <a:pt x="69" y="24"/>
                      <a:pt x="71" y="25"/>
                      <a:pt x="71" y="23"/>
                    </a:cubicBezTo>
                    <a:cubicBezTo>
                      <a:pt x="71" y="22"/>
                      <a:pt x="69" y="23"/>
                      <a:pt x="68" y="22"/>
                    </a:cubicBezTo>
                    <a:cubicBezTo>
                      <a:pt x="67" y="21"/>
                      <a:pt x="67" y="20"/>
                      <a:pt x="67" y="19"/>
                    </a:cubicBezTo>
                    <a:cubicBezTo>
                      <a:pt x="67" y="18"/>
                      <a:pt x="67" y="17"/>
                      <a:pt x="67" y="16"/>
                    </a:cubicBezTo>
                    <a:cubicBezTo>
                      <a:pt x="67" y="14"/>
                      <a:pt x="66" y="13"/>
                      <a:pt x="65" y="12"/>
                    </a:cubicBezTo>
                    <a:cubicBezTo>
                      <a:pt x="64" y="12"/>
                      <a:pt x="63" y="11"/>
                      <a:pt x="63" y="12"/>
                    </a:cubicBezTo>
                    <a:cubicBezTo>
                      <a:pt x="62" y="12"/>
                      <a:pt x="61" y="14"/>
                      <a:pt x="60" y="14"/>
                    </a:cubicBezTo>
                    <a:cubicBezTo>
                      <a:pt x="58" y="14"/>
                      <a:pt x="55" y="14"/>
                      <a:pt x="53" y="13"/>
                    </a:cubicBezTo>
                    <a:cubicBezTo>
                      <a:pt x="51" y="13"/>
                      <a:pt x="48" y="12"/>
                      <a:pt x="46" y="11"/>
                    </a:cubicBezTo>
                    <a:cubicBezTo>
                      <a:pt x="45" y="10"/>
                      <a:pt x="45" y="8"/>
                      <a:pt x="43" y="7"/>
                    </a:cubicBezTo>
                    <a:cubicBezTo>
                      <a:pt x="43" y="7"/>
                      <a:pt x="42" y="7"/>
                      <a:pt x="42" y="7"/>
                    </a:cubicBezTo>
                    <a:cubicBezTo>
                      <a:pt x="41" y="6"/>
                      <a:pt x="42" y="4"/>
                      <a:pt x="41" y="4"/>
                    </a:cubicBezTo>
                    <a:cubicBezTo>
                      <a:pt x="40" y="3"/>
                      <a:pt x="39" y="4"/>
                      <a:pt x="38" y="4"/>
                    </a:cubicBezTo>
                    <a:cubicBezTo>
                      <a:pt x="37" y="3"/>
                      <a:pt x="37" y="2"/>
                      <a:pt x="36" y="1"/>
                    </a:cubicBezTo>
                    <a:cubicBezTo>
                      <a:pt x="35" y="1"/>
                      <a:pt x="34" y="0"/>
                      <a:pt x="33" y="0"/>
                    </a:cubicBezTo>
                    <a:cubicBezTo>
                      <a:pt x="32" y="1"/>
                      <a:pt x="34" y="3"/>
                      <a:pt x="33" y="3"/>
                    </a:cubicBezTo>
                    <a:cubicBezTo>
                      <a:pt x="31" y="5"/>
                      <a:pt x="27" y="4"/>
                      <a:pt x="26" y="6"/>
                    </a:cubicBezTo>
                    <a:cubicBezTo>
                      <a:pt x="25" y="8"/>
                      <a:pt x="27" y="11"/>
                      <a:pt x="26" y="13"/>
                    </a:cubicBezTo>
                    <a:cubicBezTo>
                      <a:pt x="26" y="14"/>
                      <a:pt x="23" y="12"/>
                      <a:pt x="22" y="13"/>
                    </a:cubicBezTo>
                    <a:cubicBezTo>
                      <a:pt x="21" y="15"/>
                      <a:pt x="23" y="18"/>
                      <a:pt x="22" y="20"/>
                    </a:cubicBezTo>
                    <a:cubicBezTo>
                      <a:pt x="21" y="21"/>
                      <a:pt x="20" y="20"/>
                      <a:pt x="18" y="19"/>
                    </a:cubicBezTo>
                    <a:cubicBezTo>
                      <a:pt x="17" y="19"/>
                      <a:pt x="16" y="19"/>
                      <a:pt x="15" y="19"/>
                    </a:cubicBezTo>
                    <a:cubicBezTo>
                      <a:pt x="14" y="18"/>
                      <a:pt x="14" y="17"/>
                      <a:pt x="13" y="17"/>
                    </a:cubicBezTo>
                    <a:cubicBezTo>
                      <a:pt x="12" y="17"/>
                      <a:pt x="11" y="19"/>
                      <a:pt x="10" y="19"/>
                    </a:cubicBezTo>
                    <a:cubicBezTo>
                      <a:pt x="9" y="19"/>
                      <a:pt x="8" y="18"/>
                      <a:pt x="7" y="18"/>
                    </a:cubicBezTo>
                    <a:cubicBezTo>
                      <a:pt x="6" y="19"/>
                      <a:pt x="6" y="19"/>
                      <a:pt x="5" y="20"/>
                    </a:cubicBezTo>
                    <a:cubicBezTo>
                      <a:pt x="4" y="20"/>
                      <a:pt x="3" y="20"/>
                      <a:pt x="2" y="20"/>
                    </a:cubicBezTo>
                    <a:cubicBezTo>
                      <a:pt x="1" y="19"/>
                      <a:pt x="0" y="18"/>
                      <a:pt x="0" y="19"/>
                    </a:cubicBezTo>
                    <a:cubicBezTo>
                      <a:pt x="0" y="21"/>
                      <a:pt x="1" y="23"/>
                      <a:pt x="2" y="26"/>
                    </a:cubicBezTo>
                    <a:cubicBezTo>
                      <a:pt x="3" y="28"/>
                      <a:pt x="3" y="31"/>
                      <a:pt x="6" y="31"/>
                    </a:cubicBezTo>
                    <a:cubicBezTo>
                      <a:pt x="7" y="31"/>
                      <a:pt x="7" y="28"/>
                      <a:pt x="8" y="26"/>
                    </a:cubicBezTo>
                    <a:cubicBezTo>
                      <a:pt x="9" y="24"/>
                      <a:pt x="9" y="22"/>
                      <a:pt x="10" y="21"/>
                    </a:cubicBezTo>
                    <a:cubicBezTo>
                      <a:pt x="11" y="21"/>
                      <a:pt x="13" y="21"/>
                      <a:pt x="13" y="22"/>
                    </a:cubicBezTo>
                    <a:cubicBezTo>
                      <a:pt x="15" y="23"/>
                      <a:pt x="16" y="24"/>
                      <a:pt x="17" y="26"/>
                    </a:cubicBezTo>
                    <a:cubicBezTo>
                      <a:pt x="17" y="28"/>
                      <a:pt x="17" y="29"/>
                      <a:pt x="17" y="31"/>
                    </a:cubicBezTo>
                    <a:cubicBezTo>
                      <a:pt x="18" y="33"/>
                      <a:pt x="19" y="34"/>
                      <a:pt x="20" y="35"/>
                    </a:cubicBezTo>
                    <a:cubicBezTo>
                      <a:pt x="21" y="37"/>
                      <a:pt x="25" y="38"/>
                      <a:pt x="25" y="39"/>
                    </a:cubicBezTo>
                    <a:cubicBezTo>
                      <a:pt x="26" y="40"/>
                      <a:pt x="22" y="42"/>
                      <a:pt x="23" y="43"/>
                    </a:cubicBezTo>
                    <a:cubicBezTo>
                      <a:pt x="24" y="44"/>
                      <a:pt x="26" y="45"/>
                      <a:pt x="27" y="47"/>
                    </a:cubicBezTo>
                    <a:cubicBezTo>
                      <a:pt x="28" y="48"/>
                      <a:pt x="29" y="48"/>
                      <a:pt x="30" y="49"/>
                    </a:cubicBezTo>
                    <a:cubicBezTo>
                      <a:pt x="31" y="50"/>
                      <a:pt x="31" y="52"/>
                      <a:pt x="33" y="53"/>
                    </a:cubicBezTo>
                    <a:cubicBezTo>
                      <a:pt x="34" y="54"/>
                      <a:pt x="37" y="52"/>
                      <a:pt x="38" y="53"/>
                    </a:cubicBezTo>
                    <a:cubicBezTo>
                      <a:pt x="41" y="53"/>
                      <a:pt x="43" y="55"/>
                      <a:pt x="44" y="56"/>
                    </a:cubicBezTo>
                    <a:cubicBezTo>
                      <a:pt x="47" y="57"/>
                      <a:pt x="50" y="59"/>
                      <a:pt x="52" y="61"/>
                    </a:cubicBezTo>
                    <a:cubicBezTo>
                      <a:pt x="51" y="60"/>
                      <a:pt x="50" y="58"/>
                      <a:pt x="49" y="57"/>
                    </a:cubicBezTo>
                    <a:cubicBezTo>
                      <a:pt x="47" y="55"/>
                      <a:pt x="45" y="53"/>
                      <a:pt x="44" y="51"/>
                    </a:cubicBezTo>
                    <a:cubicBezTo>
                      <a:pt x="42" y="49"/>
                      <a:pt x="40" y="47"/>
                      <a:pt x="39" y="45"/>
                    </a:cubicBezTo>
                    <a:cubicBezTo>
                      <a:pt x="37" y="43"/>
                      <a:pt x="36" y="43"/>
                      <a:pt x="35" y="41"/>
                    </a:cubicBezTo>
                    <a:cubicBezTo>
                      <a:pt x="34" y="40"/>
                      <a:pt x="34" y="38"/>
                      <a:pt x="33" y="36"/>
                    </a:cubicBezTo>
                    <a:cubicBezTo>
                      <a:pt x="32" y="34"/>
                      <a:pt x="31" y="33"/>
                      <a:pt x="30" y="31"/>
                    </a:cubicBezTo>
                    <a:cubicBezTo>
                      <a:pt x="29" y="31"/>
                      <a:pt x="28" y="32"/>
                      <a:pt x="28" y="31"/>
                    </a:cubicBezTo>
                    <a:cubicBezTo>
                      <a:pt x="27" y="30"/>
                      <a:pt x="27" y="27"/>
                      <a:pt x="28" y="25"/>
                    </a:cubicBezTo>
                    <a:cubicBezTo>
                      <a:pt x="28" y="25"/>
                      <a:pt x="29" y="23"/>
                      <a:pt x="30" y="24"/>
                    </a:cubicBezTo>
                    <a:cubicBezTo>
                      <a:pt x="32" y="24"/>
                      <a:pt x="33" y="27"/>
                      <a:pt x="35" y="27"/>
                    </a:cubicBezTo>
                    <a:cubicBezTo>
                      <a:pt x="36" y="28"/>
                      <a:pt x="36" y="25"/>
                      <a:pt x="37" y="25"/>
                    </a:cubicBezTo>
                    <a:cubicBezTo>
                      <a:pt x="37" y="24"/>
                      <a:pt x="38" y="23"/>
                      <a:pt x="39" y="23"/>
                    </a:cubicBezTo>
                    <a:cubicBezTo>
                      <a:pt x="40" y="23"/>
                      <a:pt x="40" y="25"/>
                      <a:pt x="41" y="25"/>
                    </a:cubicBezTo>
                    <a:cubicBezTo>
                      <a:pt x="43" y="25"/>
                      <a:pt x="44" y="24"/>
                      <a:pt x="46" y="24"/>
                    </a:cubicBezTo>
                    <a:cubicBezTo>
                      <a:pt x="48" y="24"/>
                      <a:pt x="51" y="24"/>
                      <a:pt x="53" y="25"/>
                    </a:cubicBezTo>
                    <a:cubicBezTo>
                      <a:pt x="53" y="25"/>
                      <a:pt x="53" y="27"/>
                      <a:pt x="53" y="27"/>
                    </a:cubicBezTo>
                    <a:cubicBezTo>
                      <a:pt x="54" y="27"/>
                      <a:pt x="54" y="26"/>
                      <a:pt x="55" y="26"/>
                    </a:cubicBezTo>
                    <a:cubicBezTo>
                      <a:pt x="57" y="25"/>
                      <a:pt x="60" y="26"/>
                      <a:pt x="62" y="26"/>
                    </a:cubicBezTo>
                    <a:cubicBezTo>
                      <a:pt x="63" y="26"/>
                      <a:pt x="64" y="26"/>
                      <a:pt x="65" y="27"/>
                    </a:cubicBezTo>
                    <a:cubicBezTo>
                      <a:pt x="66" y="28"/>
                      <a:pt x="65" y="29"/>
                      <a:pt x="66" y="30"/>
                    </a:cubicBezTo>
                    <a:cubicBezTo>
                      <a:pt x="67" y="31"/>
                      <a:pt x="68" y="29"/>
                      <a:pt x="69" y="29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75" name="Freeform 2592"/>
              <p:cNvSpPr>
                <a:spLocks noChangeAspect="1"/>
              </p:cNvSpPr>
              <p:nvPr/>
            </p:nvSpPr>
            <p:spPr bwMode="auto">
              <a:xfrm>
                <a:off x="4691333" y="2240921"/>
                <a:ext cx="65992" cy="46517"/>
              </a:xfrm>
              <a:custGeom>
                <a:avLst/>
                <a:gdLst>
                  <a:gd name="T0" fmla="*/ 30 w 49"/>
                  <a:gd name="T1" fmla="*/ 46 h 46"/>
                  <a:gd name="T2" fmla="*/ 26 w 49"/>
                  <a:gd name="T3" fmla="*/ 41 h 46"/>
                  <a:gd name="T4" fmla="*/ 20 w 49"/>
                  <a:gd name="T5" fmla="*/ 34 h 46"/>
                  <a:gd name="T6" fmla="*/ 14 w 49"/>
                  <a:gd name="T7" fmla="*/ 27 h 46"/>
                  <a:gd name="T8" fmla="*/ 10 w 49"/>
                  <a:gd name="T9" fmla="*/ 22 h 46"/>
                  <a:gd name="T10" fmla="*/ 7 w 49"/>
                  <a:gd name="T11" fmla="*/ 16 h 46"/>
                  <a:gd name="T12" fmla="*/ 4 w 49"/>
                  <a:gd name="T13" fmla="*/ 10 h 46"/>
                  <a:gd name="T14" fmla="*/ 1 w 49"/>
                  <a:gd name="T15" fmla="*/ 10 h 46"/>
                  <a:gd name="T16" fmla="*/ 1 w 49"/>
                  <a:gd name="T17" fmla="*/ 2 h 46"/>
                  <a:gd name="T18" fmla="*/ 4 w 49"/>
                  <a:gd name="T19" fmla="*/ 1 h 46"/>
                  <a:gd name="T20" fmla="*/ 10 w 49"/>
                  <a:gd name="T21" fmla="*/ 5 h 46"/>
                  <a:gd name="T22" fmla="*/ 12 w 49"/>
                  <a:gd name="T23" fmla="*/ 2 h 46"/>
                  <a:gd name="T24" fmla="*/ 14 w 49"/>
                  <a:gd name="T25" fmla="*/ 0 h 46"/>
                  <a:gd name="T26" fmla="*/ 17 w 49"/>
                  <a:gd name="T27" fmla="*/ 2 h 46"/>
                  <a:gd name="T28" fmla="*/ 23 w 49"/>
                  <a:gd name="T29" fmla="*/ 1 h 46"/>
                  <a:gd name="T30" fmla="*/ 31 w 49"/>
                  <a:gd name="T31" fmla="*/ 2 h 46"/>
                  <a:gd name="T32" fmla="*/ 31 w 49"/>
                  <a:gd name="T33" fmla="*/ 5 h 46"/>
                  <a:gd name="T34" fmla="*/ 34 w 49"/>
                  <a:gd name="T35" fmla="*/ 4 h 46"/>
                  <a:gd name="T36" fmla="*/ 42 w 49"/>
                  <a:gd name="T37" fmla="*/ 4 h 46"/>
                  <a:gd name="T38" fmla="*/ 46 w 49"/>
                  <a:gd name="T39" fmla="*/ 5 h 46"/>
                  <a:gd name="T40" fmla="*/ 47 w 49"/>
                  <a:gd name="T41" fmla="*/ 9 h 46"/>
                  <a:gd name="T42" fmla="*/ 51 w 49"/>
                  <a:gd name="T43" fmla="*/ 7 h 46"/>
                  <a:gd name="T44" fmla="*/ 54 w 49"/>
                  <a:gd name="T45" fmla="*/ 7 h 46"/>
                  <a:gd name="T46" fmla="*/ 51 w 49"/>
                  <a:gd name="T47" fmla="*/ 18 h 46"/>
                  <a:gd name="T48" fmla="*/ 58 w 49"/>
                  <a:gd name="T49" fmla="*/ 26 h 46"/>
                  <a:gd name="T50" fmla="*/ 53 w 49"/>
                  <a:gd name="T51" fmla="*/ 26 h 46"/>
                  <a:gd name="T52" fmla="*/ 58 w 49"/>
                  <a:gd name="T53" fmla="*/ 34 h 46"/>
                  <a:gd name="T54" fmla="*/ 53 w 49"/>
                  <a:gd name="T55" fmla="*/ 34 h 46"/>
                  <a:gd name="T56" fmla="*/ 49 w 49"/>
                  <a:gd name="T57" fmla="*/ 35 h 46"/>
                  <a:gd name="T58" fmla="*/ 49 w 49"/>
                  <a:gd name="T59" fmla="*/ 40 h 46"/>
                  <a:gd name="T60" fmla="*/ 45 w 49"/>
                  <a:gd name="T61" fmla="*/ 45 h 46"/>
                  <a:gd name="T62" fmla="*/ 41 w 49"/>
                  <a:gd name="T63" fmla="*/ 49 h 46"/>
                  <a:gd name="T64" fmla="*/ 42 w 49"/>
                  <a:gd name="T65" fmla="*/ 56 h 46"/>
                  <a:gd name="T66" fmla="*/ 34 w 49"/>
                  <a:gd name="T67" fmla="*/ 49 h 46"/>
                  <a:gd name="T68" fmla="*/ 30 w 49"/>
                  <a:gd name="T69" fmla="*/ 46 h 4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49"/>
                  <a:gd name="T106" fmla="*/ 0 h 46"/>
                  <a:gd name="T107" fmla="*/ 49 w 49"/>
                  <a:gd name="T108" fmla="*/ 46 h 4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49" h="46">
                    <a:moveTo>
                      <a:pt x="25" y="38"/>
                    </a:moveTo>
                    <a:cubicBezTo>
                      <a:pt x="24" y="37"/>
                      <a:pt x="23" y="35"/>
                      <a:pt x="22" y="34"/>
                    </a:cubicBezTo>
                    <a:cubicBezTo>
                      <a:pt x="20" y="32"/>
                      <a:pt x="18" y="30"/>
                      <a:pt x="17" y="28"/>
                    </a:cubicBezTo>
                    <a:cubicBezTo>
                      <a:pt x="15" y="26"/>
                      <a:pt x="13" y="24"/>
                      <a:pt x="12" y="22"/>
                    </a:cubicBezTo>
                    <a:cubicBezTo>
                      <a:pt x="10" y="20"/>
                      <a:pt x="9" y="20"/>
                      <a:pt x="8" y="18"/>
                    </a:cubicBezTo>
                    <a:cubicBezTo>
                      <a:pt x="7" y="17"/>
                      <a:pt x="7" y="15"/>
                      <a:pt x="6" y="13"/>
                    </a:cubicBezTo>
                    <a:cubicBezTo>
                      <a:pt x="5" y="11"/>
                      <a:pt x="4" y="10"/>
                      <a:pt x="3" y="8"/>
                    </a:cubicBezTo>
                    <a:cubicBezTo>
                      <a:pt x="2" y="8"/>
                      <a:pt x="1" y="9"/>
                      <a:pt x="1" y="8"/>
                    </a:cubicBezTo>
                    <a:cubicBezTo>
                      <a:pt x="0" y="7"/>
                      <a:pt x="0" y="4"/>
                      <a:pt x="1" y="2"/>
                    </a:cubicBezTo>
                    <a:cubicBezTo>
                      <a:pt x="1" y="2"/>
                      <a:pt x="2" y="0"/>
                      <a:pt x="3" y="1"/>
                    </a:cubicBezTo>
                    <a:cubicBezTo>
                      <a:pt x="5" y="1"/>
                      <a:pt x="6" y="4"/>
                      <a:pt x="8" y="4"/>
                    </a:cubicBezTo>
                    <a:cubicBezTo>
                      <a:pt x="9" y="5"/>
                      <a:pt x="9" y="2"/>
                      <a:pt x="10" y="2"/>
                    </a:cubicBezTo>
                    <a:cubicBezTo>
                      <a:pt x="10" y="1"/>
                      <a:pt x="11" y="0"/>
                      <a:pt x="12" y="0"/>
                    </a:cubicBezTo>
                    <a:cubicBezTo>
                      <a:pt x="13" y="0"/>
                      <a:pt x="13" y="2"/>
                      <a:pt x="14" y="2"/>
                    </a:cubicBezTo>
                    <a:cubicBezTo>
                      <a:pt x="16" y="2"/>
                      <a:pt x="17" y="1"/>
                      <a:pt x="19" y="1"/>
                    </a:cubicBezTo>
                    <a:cubicBezTo>
                      <a:pt x="21" y="1"/>
                      <a:pt x="24" y="1"/>
                      <a:pt x="26" y="2"/>
                    </a:cubicBezTo>
                    <a:cubicBezTo>
                      <a:pt x="26" y="2"/>
                      <a:pt x="26" y="4"/>
                      <a:pt x="26" y="4"/>
                    </a:cubicBezTo>
                    <a:cubicBezTo>
                      <a:pt x="27" y="4"/>
                      <a:pt x="27" y="3"/>
                      <a:pt x="28" y="3"/>
                    </a:cubicBezTo>
                    <a:cubicBezTo>
                      <a:pt x="30" y="2"/>
                      <a:pt x="33" y="3"/>
                      <a:pt x="35" y="3"/>
                    </a:cubicBezTo>
                    <a:cubicBezTo>
                      <a:pt x="36" y="3"/>
                      <a:pt x="37" y="3"/>
                      <a:pt x="38" y="4"/>
                    </a:cubicBezTo>
                    <a:cubicBezTo>
                      <a:pt x="39" y="5"/>
                      <a:pt x="38" y="6"/>
                      <a:pt x="39" y="7"/>
                    </a:cubicBezTo>
                    <a:cubicBezTo>
                      <a:pt x="40" y="8"/>
                      <a:pt x="41" y="6"/>
                      <a:pt x="42" y="6"/>
                    </a:cubicBezTo>
                    <a:cubicBezTo>
                      <a:pt x="43" y="6"/>
                      <a:pt x="45" y="5"/>
                      <a:pt x="45" y="6"/>
                    </a:cubicBezTo>
                    <a:cubicBezTo>
                      <a:pt x="45" y="9"/>
                      <a:pt x="41" y="12"/>
                      <a:pt x="42" y="15"/>
                    </a:cubicBezTo>
                    <a:cubicBezTo>
                      <a:pt x="43" y="18"/>
                      <a:pt x="47" y="18"/>
                      <a:pt x="48" y="21"/>
                    </a:cubicBezTo>
                    <a:cubicBezTo>
                      <a:pt x="49" y="22"/>
                      <a:pt x="44" y="20"/>
                      <a:pt x="44" y="21"/>
                    </a:cubicBezTo>
                    <a:cubicBezTo>
                      <a:pt x="44" y="24"/>
                      <a:pt x="48" y="25"/>
                      <a:pt x="48" y="28"/>
                    </a:cubicBezTo>
                    <a:cubicBezTo>
                      <a:pt x="48" y="30"/>
                      <a:pt x="45" y="28"/>
                      <a:pt x="44" y="28"/>
                    </a:cubicBezTo>
                    <a:cubicBezTo>
                      <a:pt x="42" y="28"/>
                      <a:pt x="41" y="29"/>
                      <a:pt x="41" y="29"/>
                    </a:cubicBezTo>
                    <a:cubicBezTo>
                      <a:pt x="40" y="30"/>
                      <a:pt x="42" y="32"/>
                      <a:pt x="41" y="33"/>
                    </a:cubicBezTo>
                    <a:cubicBezTo>
                      <a:pt x="38" y="33"/>
                      <a:pt x="37" y="35"/>
                      <a:pt x="37" y="37"/>
                    </a:cubicBezTo>
                    <a:cubicBezTo>
                      <a:pt x="37" y="38"/>
                      <a:pt x="35" y="39"/>
                      <a:pt x="34" y="40"/>
                    </a:cubicBezTo>
                    <a:cubicBezTo>
                      <a:pt x="34" y="42"/>
                      <a:pt x="35" y="44"/>
                      <a:pt x="35" y="46"/>
                    </a:cubicBezTo>
                    <a:cubicBezTo>
                      <a:pt x="33" y="44"/>
                      <a:pt x="30" y="42"/>
                      <a:pt x="28" y="40"/>
                    </a:cubicBezTo>
                    <a:cubicBezTo>
                      <a:pt x="27" y="40"/>
                      <a:pt x="26" y="39"/>
                      <a:pt x="25" y="38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76" name="Freeform 2593"/>
              <p:cNvSpPr>
                <a:spLocks noChangeAspect="1"/>
              </p:cNvSpPr>
              <p:nvPr/>
            </p:nvSpPr>
            <p:spPr bwMode="auto">
              <a:xfrm>
                <a:off x="4737191" y="2224308"/>
                <a:ext cx="73820" cy="73929"/>
              </a:xfrm>
              <a:custGeom>
                <a:avLst/>
                <a:gdLst>
                  <a:gd name="T0" fmla="*/ 25 w 55"/>
                  <a:gd name="T1" fmla="*/ 1 h 74"/>
                  <a:gd name="T2" fmla="*/ 29 w 55"/>
                  <a:gd name="T3" fmla="*/ 7 h 74"/>
                  <a:gd name="T4" fmla="*/ 32 w 55"/>
                  <a:gd name="T5" fmla="*/ 12 h 74"/>
                  <a:gd name="T6" fmla="*/ 35 w 55"/>
                  <a:gd name="T7" fmla="*/ 18 h 74"/>
                  <a:gd name="T8" fmla="*/ 43 w 55"/>
                  <a:gd name="T9" fmla="*/ 23 h 74"/>
                  <a:gd name="T10" fmla="*/ 43 w 55"/>
                  <a:gd name="T11" fmla="*/ 30 h 74"/>
                  <a:gd name="T12" fmla="*/ 50 w 55"/>
                  <a:gd name="T13" fmla="*/ 34 h 74"/>
                  <a:gd name="T14" fmla="*/ 55 w 55"/>
                  <a:gd name="T15" fmla="*/ 36 h 74"/>
                  <a:gd name="T16" fmla="*/ 56 w 55"/>
                  <a:gd name="T17" fmla="*/ 32 h 74"/>
                  <a:gd name="T18" fmla="*/ 60 w 55"/>
                  <a:gd name="T19" fmla="*/ 35 h 74"/>
                  <a:gd name="T20" fmla="*/ 58 w 55"/>
                  <a:gd name="T21" fmla="*/ 37 h 74"/>
                  <a:gd name="T22" fmla="*/ 59 w 55"/>
                  <a:gd name="T23" fmla="*/ 40 h 74"/>
                  <a:gd name="T24" fmla="*/ 55 w 55"/>
                  <a:gd name="T25" fmla="*/ 46 h 74"/>
                  <a:gd name="T26" fmla="*/ 55 w 55"/>
                  <a:gd name="T27" fmla="*/ 55 h 74"/>
                  <a:gd name="T28" fmla="*/ 61 w 55"/>
                  <a:gd name="T29" fmla="*/ 61 h 74"/>
                  <a:gd name="T30" fmla="*/ 65 w 55"/>
                  <a:gd name="T31" fmla="*/ 65 h 74"/>
                  <a:gd name="T32" fmla="*/ 58 w 55"/>
                  <a:gd name="T33" fmla="*/ 69 h 74"/>
                  <a:gd name="T34" fmla="*/ 58 w 55"/>
                  <a:gd name="T35" fmla="*/ 78 h 74"/>
                  <a:gd name="T36" fmla="*/ 54 w 55"/>
                  <a:gd name="T37" fmla="*/ 81 h 74"/>
                  <a:gd name="T38" fmla="*/ 46 w 55"/>
                  <a:gd name="T39" fmla="*/ 79 h 74"/>
                  <a:gd name="T40" fmla="*/ 42 w 55"/>
                  <a:gd name="T41" fmla="*/ 83 h 74"/>
                  <a:gd name="T42" fmla="*/ 38 w 55"/>
                  <a:gd name="T43" fmla="*/ 82 h 74"/>
                  <a:gd name="T44" fmla="*/ 35 w 55"/>
                  <a:gd name="T45" fmla="*/ 85 h 74"/>
                  <a:gd name="T46" fmla="*/ 35 w 55"/>
                  <a:gd name="T47" fmla="*/ 89 h 74"/>
                  <a:gd name="T48" fmla="*/ 32 w 55"/>
                  <a:gd name="T49" fmla="*/ 89 h 74"/>
                  <a:gd name="T50" fmla="*/ 32 w 55"/>
                  <a:gd name="T51" fmla="*/ 82 h 74"/>
                  <a:gd name="T52" fmla="*/ 28 w 55"/>
                  <a:gd name="T53" fmla="*/ 77 h 74"/>
                  <a:gd name="T54" fmla="*/ 22 w 55"/>
                  <a:gd name="T55" fmla="*/ 75 h 74"/>
                  <a:gd name="T56" fmla="*/ 18 w 55"/>
                  <a:gd name="T57" fmla="*/ 75 h 74"/>
                  <a:gd name="T58" fmla="*/ 16 w 55"/>
                  <a:gd name="T59" fmla="*/ 79 h 74"/>
                  <a:gd name="T60" fmla="*/ 11 w 55"/>
                  <a:gd name="T61" fmla="*/ 81 h 74"/>
                  <a:gd name="T62" fmla="*/ 16 w 55"/>
                  <a:gd name="T63" fmla="*/ 84 h 74"/>
                  <a:gd name="T64" fmla="*/ 16 w 55"/>
                  <a:gd name="T65" fmla="*/ 89 h 74"/>
                  <a:gd name="T66" fmla="*/ 8 w 55"/>
                  <a:gd name="T67" fmla="*/ 82 h 74"/>
                  <a:gd name="T68" fmla="*/ 4 w 55"/>
                  <a:gd name="T69" fmla="*/ 79 h 74"/>
                  <a:gd name="T70" fmla="*/ 6 w 55"/>
                  <a:gd name="T71" fmla="*/ 77 h 74"/>
                  <a:gd name="T72" fmla="*/ 5 w 55"/>
                  <a:gd name="T73" fmla="*/ 76 h 74"/>
                  <a:gd name="T74" fmla="*/ 1 w 55"/>
                  <a:gd name="T75" fmla="*/ 76 h 74"/>
                  <a:gd name="T76" fmla="*/ 0 w 55"/>
                  <a:gd name="T77" fmla="*/ 69 h 74"/>
                  <a:gd name="T78" fmla="*/ 4 w 55"/>
                  <a:gd name="T79" fmla="*/ 65 h 74"/>
                  <a:gd name="T80" fmla="*/ 8 w 55"/>
                  <a:gd name="T81" fmla="*/ 60 h 74"/>
                  <a:gd name="T82" fmla="*/ 8 w 55"/>
                  <a:gd name="T83" fmla="*/ 55 h 74"/>
                  <a:gd name="T84" fmla="*/ 12 w 55"/>
                  <a:gd name="T85" fmla="*/ 54 h 74"/>
                  <a:gd name="T86" fmla="*/ 17 w 55"/>
                  <a:gd name="T87" fmla="*/ 54 h 74"/>
                  <a:gd name="T88" fmla="*/ 12 w 55"/>
                  <a:gd name="T89" fmla="*/ 46 h 74"/>
                  <a:gd name="T90" fmla="*/ 17 w 55"/>
                  <a:gd name="T91" fmla="*/ 46 h 74"/>
                  <a:gd name="T92" fmla="*/ 10 w 55"/>
                  <a:gd name="T93" fmla="*/ 38 h 74"/>
                  <a:gd name="T94" fmla="*/ 13 w 55"/>
                  <a:gd name="T95" fmla="*/ 28 h 74"/>
                  <a:gd name="T96" fmla="*/ 10 w 55"/>
                  <a:gd name="T97" fmla="*/ 28 h 74"/>
                  <a:gd name="T98" fmla="*/ 8 w 55"/>
                  <a:gd name="T99" fmla="*/ 23 h 74"/>
                  <a:gd name="T100" fmla="*/ 12 w 55"/>
                  <a:gd name="T101" fmla="*/ 20 h 74"/>
                  <a:gd name="T102" fmla="*/ 8 w 55"/>
                  <a:gd name="T103" fmla="*/ 19 h 74"/>
                  <a:gd name="T104" fmla="*/ 7 w 55"/>
                  <a:gd name="T105" fmla="*/ 16 h 74"/>
                  <a:gd name="T106" fmla="*/ 7 w 55"/>
                  <a:gd name="T107" fmla="*/ 12 h 74"/>
                  <a:gd name="T108" fmla="*/ 5 w 55"/>
                  <a:gd name="T109" fmla="*/ 7 h 74"/>
                  <a:gd name="T110" fmla="*/ 8 w 55"/>
                  <a:gd name="T111" fmla="*/ 4 h 74"/>
                  <a:gd name="T112" fmla="*/ 14 w 55"/>
                  <a:gd name="T113" fmla="*/ 2 h 74"/>
                  <a:gd name="T114" fmla="*/ 18 w 55"/>
                  <a:gd name="T115" fmla="*/ 0 h 74"/>
                  <a:gd name="T116" fmla="*/ 25 w 55"/>
                  <a:gd name="T117" fmla="*/ 1 h 7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55"/>
                  <a:gd name="T178" fmla="*/ 0 h 74"/>
                  <a:gd name="T179" fmla="*/ 55 w 55"/>
                  <a:gd name="T180" fmla="*/ 74 h 74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55" h="74">
                    <a:moveTo>
                      <a:pt x="21" y="1"/>
                    </a:moveTo>
                    <a:cubicBezTo>
                      <a:pt x="22" y="3"/>
                      <a:pt x="23" y="5"/>
                      <a:pt x="24" y="6"/>
                    </a:cubicBezTo>
                    <a:cubicBezTo>
                      <a:pt x="25" y="8"/>
                      <a:pt x="26" y="8"/>
                      <a:pt x="27" y="10"/>
                    </a:cubicBezTo>
                    <a:cubicBezTo>
                      <a:pt x="28" y="11"/>
                      <a:pt x="28" y="13"/>
                      <a:pt x="29" y="15"/>
                    </a:cubicBezTo>
                    <a:cubicBezTo>
                      <a:pt x="31" y="17"/>
                      <a:pt x="34" y="17"/>
                      <a:pt x="36" y="19"/>
                    </a:cubicBezTo>
                    <a:cubicBezTo>
                      <a:pt x="37" y="20"/>
                      <a:pt x="34" y="23"/>
                      <a:pt x="36" y="25"/>
                    </a:cubicBezTo>
                    <a:cubicBezTo>
                      <a:pt x="37" y="27"/>
                      <a:pt x="40" y="27"/>
                      <a:pt x="42" y="28"/>
                    </a:cubicBezTo>
                    <a:cubicBezTo>
                      <a:pt x="43" y="28"/>
                      <a:pt x="44" y="30"/>
                      <a:pt x="46" y="30"/>
                    </a:cubicBezTo>
                    <a:cubicBezTo>
                      <a:pt x="47" y="30"/>
                      <a:pt x="46" y="27"/>
                      <a:pt x="47" y="27"/>
                    </a:cubicBezTo>
                    <a:cubicBezTo>
                      <a:pt x="49" y="27"/>
                      <a:pt x="50" y="28"/>
                      <a:pt x="50" y="29"/>
                    </a:cubicBezTo>
                    <a:cubicBezTo>
                      <a:pt x="51" y="30"/>
                      <a:pt x="49" y="30"/>
                      <a:pt x="48" y="31"/>
                    </a:cubicBezTo>
                    <a:cubicBezTo>
                      <a:pt x="48" y="32"/>
                      <a:pt x="49" y="32"/>
                      <a:pt x="49" y="33"/>
                    </a:cubicBezTo>
                    <a:cubicBezTo>
                      <a:pt x="48" y="35"/>
                      <a:pt x="46" y="36"/>
                      <a:pt x="46" y="38"/>
                    </a:cubicBezTo>
                    <a:cubicBezTo>
                      <a:pt x="45" y="40"/>
                      <a:pt x="45" y="43"/>
                      <a:pt x="46" y="46"/>
                    </a:cubicBezTo>
                    <a:cubicBezTo>
                      <a:pt x="47" y="48"/>
                      <a:pt x="50" y="49"/>
                      <a:pt x="51" y="51"/>
                    </a:cubicBezTo>
                    <a:cubicBezTo>
                      <a:pt x="52" y="52"/>
                      <a:pt x="55" y="53"/>
                      <a:pt x="54" y="54"/>
                    </a:cubicBezTo>
                    <a:cubicBezTo>
                      <a:pt x="53" y="56"/>
                      <a:pt x="49" y="55"/>
                      <a:pt x="48" y="57"/>
                    </a:cubicBezTo>
                    <a:cubicBezTo>
                      <a:pt x="47" y="60"/>
                      <a:pt x="48" y="63"/>
                      <a:pt x="48" y="65"/>
                    </a:cubicBezTo>
                    <a:cubicBezTo>
                      <a:pt x="47" y="66"/>
                      <a:pt x="46" y="66"/>
                      <a:pt x="45" y="67"/>
                    </a:cubicBezTo>
                    <a:cubicBezTo>
                      <a:pt x="43" y="67"/>
                      <a:pt x="40" y="66"/>
                      <a:pt x="38" y="66"/>
                    </a:cubicBezTo>
                    <a:cubicBezTo>
                      <a:pt x="37" y="67"/>
                      <a:pt x="36" y="69"/>
                      <a:pt x="35" y="69"/>
                    </a:cubicBezTo>
                    <a:cubicBezTo>
                      <a:pt x="34" y="70"/>
                      <a:pt x="33" y="68"/>
                      <a:pt x="32" y="68"/>
                    </a:cubicBezTo>
                    <a:cubicBezTo>
                      <a:pt x="31" y="68"/>
                      <a:pt x="30" y="69"/>
                      <a:pt x="29" y="71"/>
                    </a:cubicBezTo>
                    <a:cubicBezTo>
                      <a:pt x="29" y="71"/>
                      <a:pt x="30" y="73"/>
                      <a:pt x="29" y="74"/>
                    </a:cubicBezTo>
                    <a:cubicBezTo>
                      <a:pt x="29" y="74"/>
                      <a:pt x="28" y="74"/>
                      <a:pt x="27" y="74"/>
                    </a:cubicBezTo>
                    <a:cubicBezTo>
                      <a:pt x="27" y="72"/>
                      <a:pt x="27" y="70"/>
                      <a:pt x="27" y="68"/>
                    </a:cubicBezTo>
                    <a:cubicBezTo>
                      <a:pt x="26" y="66"/>
                      <a:pt x="24" y="65"/>
                      <a:pt x="23" y="64"/>
                    </a:cubicBezTo>
                    <a:cubicBezTo>
                      <a:pt x="21" y="63"/>
                      <a:pt x="20" y="63"/>
                      <a:pt x="18" y="62"/>
                    </a:cubicBezTo>
                    <a:cubicBezTo>
                      <a:pt x="17" y="62"/>
                      <a:pt x="16" y="61"/>
                      <a:pt x="15" y="62"/>
                    </a:cubicBezTo>
                    <a:cubicBezTo>
                      <a:pt x="14" y="63"/>
                      <a:pt x="14" y="65"/>
                      <a:pt x="13" y="66"/>
                    </a:cubicBezTo>
                    <a:cubicBezTo>
                      <a:pt x="11" y="66"/>
                      <a:pt x="8" y="65"/>
                      <a:pt x="9" y="67"/>
                    </a:cubicBezTo>
                    <a:cubicBezTo>
                      <a:pt x="9" y="69"/>
                      <a:pt x="12" y="69"/>
                      <a:pt x="13" y="70"/>
                    </a:cubicBezTo>
                    <a:cubicBezTo>
                      <a:pt x="13" y="71"/>
                      <a:pt x="13" y="73"/>
                      <a:pt x="13" y="74"/>
                    </a:cubicBezTo>
                    <a:cubicBezTo>
                      <a:pt x="11" y="72"/>
                      <a:pt x="9" y="69"/>
                      <a:pt x="7" y="68"/>
                    </a:cubicBezTo>
                    <a:cubicBezTo>
                      <a:pt x="6" y="67"/>
                      <a:pt x="4" y="67"/>
                      <a:pt x="3" y="66"/>
                    </a:cubicBezTo>
                    <a:cubicBezTo>
                      <a:pt x="3" y="65"/>
                      <a:pt x="5" y="65"/>
                      <a:pt x="5" y="64"/>
                    </a:cubicBezTo>
                    <a:cubicBezTo>
                      <a:pt x="5" y="64"/>
                      <a:pt x="5" y="63"/>
                      <a:pt x="4" y="63"/>
                    </a:cubicBezTo>
                    <a:cubicBezTo>
                      <a:pt x="3" y="63"/>
                      <a:pt x="2" y="63"/>
                      <a:pt x="1" y="63"/>
                    </a:cubicBezTo>
                    <a:cubicBezTo>
                      <a:pt x="1" y="61"/>
                      <a:pt x="0" y="59"/>
                      <a:pt x="0" y="57"/>
                    </a:cubicBezTo>
                    <a:cubicBezTo>
                      <a:pt x="1" y="56"/>
                      <a:pt x="3" y="55"/>
                      <a:pt x="3" y="54"/>
                    </a:cubicBezTo>
                    <a:cubicBezTo>
                      <a:pt x="3" y="52"/>
                      <a:pt x="4" y="50"/>
                      <a:pt x="7" y="50"/>
                    </a:cubicBezTo>
                    <a:cubicBezTo>
                      <a:pt x="8" y="49"/>
                      <a:pt x="6" y="47"/>
                      <a:pt x="7" y="46"/>
                    </a:cubicBezTo>
                    <a:cubicBezTo>
                      <a:pt x="7" y="46"/>
                      <a:pt x="8" y="45"/>
                      <a:pt x="10" y="45"/>
                    </a:cubicBezTo>
                    <a:cubicBezTo>
                      <a:pt x="11" y="45"/>
                      <a:pt x="14" y="47"/>
                      <a:pt x="14" y="45"/>
                    </a:cubicBezTo>
                    <a:cubicBezTo>
                      <a:pt x="14" y="42"/>
                      <a:pt x="10" y="41"/>
                      <a:pt x="10" y="38"/>
                    </a:cubicBezTo>
                    <a:cubicBezTo>
                      <a:pt x="10" y="37"/>
                      <a:pt x="15" y="39"/>
                      <a:pt x="14" y="38"/>
                    </a:cubicBezTo>
                    <a:cubicBezTo>
                      <a:pt x="13" y="35"/>
                      <a:pt x="9" y="35"/>
                      <a:pt x="8" y="32"/>
                    </a:cubicBezTo>
                    <a:cubicBezTo>
                      <a:pt x="7" y="29"/>
                      <a:pt x="11" y="26"/>
                      <a:pt x="11" y="23"/>
                    </a:cubicBezTo>
                    <a:cubicBezTo>
                      <a:pt x="11" y="22"/>
                      <a:pt x="9" y="23"/>
                      <a:pt x="8" y="23"/>
                    </a:cubicBezTo>
                    <a:cubicBezTo>
                      <a:pt x="8" y="22"/>
                      <a:pt x="7" y="21"/>
                      <a:pt x="7" y="19"/>
                    </a:cubicBezTo>
                    <a:cubicBezTo>
                      <a:pt x="8" y="18"/>
                      <a:pt x="10" y="19"/>
                      <a:pt x="10" y="17"/>
                    </a:cubicBezTo>
                    <a:cubicBezTo>
                      <a:pt x="10" y="16"/>
                      <a:pt x="8" y="17"/>
                      <a:pt x="7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2"/>
                      <a:pt x="6" y="11"/>
                      <a:pt x="6" y="10"/>
                    </a:cubicBezTo>
                    <a:cubicBezTo>
                      <a:pt x="6" y="8"/>
                      <a:pt x="5" y="7"/>
                      <a:pt x="4" y="6"/>
                    </a:cubicBezTo>
                    <a:cubicBezTo>
                      <a:pt x="5" y="5"/>
                      <a:pt x="6" y="4"/>
                      <a:pt x="7" y="3"/>
                    </a:cubicBezTo>
                    <a:cubicBezTo>
                      <a:pt x="9" y="2"/>
                      <a:pt x="10" y="2"/>
                      <a:pt x="12" y="2"/>
                    </a:cubicBezTo>
                    <a:cubicBezTo>
                      <a:pt x="13" y="2"/>
                      <a:pt x="14" y="0"/>
                      <a:pt x="15" y="0"/>
                    </a:cubicBezTo>
                    <a:cubicBezTo>
                      <a:pt x="18" y="0"/>
                      <a:pt x="19" y="1"/>
                      <a:pt x="2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77" name="Freeform 2594"/>
              <p:cNvSpPr>
                <a:spLocks noChangeAspect="1"/>
              </p:cNvSpPr>
              <p:nvPr/>
            </p:nvSpPr>
            <p:spPr bwMode="auto">
              <a:xfrm>
                <a:off x="4771865" y="2289100"/>
                <a:ext cx="40266" cy="25751"/>
              </a:xfrm>
              <a:custGeom>
                <a:avLst/>
                <a:gdLst>
                  <a:gd name="T0" fmla="*/ 35 w 30"/>
                  <a:gd name="T1" fmla="*/ 19 h 26"/>
                  <a:gd name="T2" fmla="*/ 31 w 30"/>
                  <a:gd name="T3" fmla="*/ 20 h 26"/>
                  <a:gd name="T4" fmla="*/ 22 w 30"/>
                  <a:gd name="T5" fmla="*/ 24 h 26"/>
                  <a:gd name="T6" fmla="*/ 17 w 30"/>
                  <a:gd name="T7" fmla="*/ 30 h 26"/>
                  <a:gd name="T8" fmla="*/ 8 w 30"/>
                  <a:gd name="T9" fmla="*/ 31 h 26"/>
                  <a:gd name="T10" fmla="*/ 5 w 30"/>
                  <a:gd name="T11" fmla="*/ 29 h 26"/>
                  <a:gd name="T12" fmla="*/ 1 w 30"/>
                  <a:gd name="T13" fmla="*/ 24 h 26"/>
                  <a:gd name="T14" fmla="*/ 1 w 30"/>
                  <a:gd name="T15" fmla="*/ 17 h 26"/>
                  <a:gd name="T16" fmla="*/ 1 w 30"/>
                  <a:gd name="T17" fmla="*/ 11 h 26"/>
                  <a:gd name="T18" fmla="*/ 4 w 30"/>
                  <a:gd name="T19" fmla="*/ 11 h 26"/>
                  <a:gd name="T20" fmla="*/ 4 w 30"/>
                  <a:gd name="T21" fmla="*/ 7 h 26"/>
                  <a:gd name="T22" fmla="*/ 7 w 30"/>
                  <a:gd name="T23" fmla="*/ 4 h 26"/>
                  <a:gd name="T24" fmla="*/ 11 w 30"/>
                  <a:gd name="T25" fmla="*/ 5 h 26"/>
                  <a:gd name="T26" fmla="*/ 14 w 30"/>
                  <a:gd name="T27" fmla="*/ 1 h 26"/>
                  <a:gd name="T28" fmla="*/ 23 w 30"/>
                  <a:gd name="T29" fmla="*/ 2 h 26"/>
                  <a:gd name="T30" fmla="*/ 26 w 30"/>
                  <a:gd name="T31" fmla="*/ 0 h 26"/>
                  <a:gd name="T32" fmla="*/ 28 w 30"/>
                  <a:gd name="T33" fmla="*/ 5 h 26"/>
                  <a:gd name="T34" fmla="*/ 34 w 30"/>
                  <a:gd name="T35" fmla="*/ 7 h 26"/>
                  <a:gd name="T36" fmla="*/ 35 w 30"/>
                  <a:gd name="T37" fmla="*/ 13 h 26"/>
                  <a:gd name="T38" fmla="*/ 35 w 30"/>
                  <a:gd name="T39" fmla="*/ 19 h 2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30"/>
                  <a:gd name="T61" fmla="*/ 0 h 26"/>
                  <a:gd name="T62" fmla="*/ 30 w 30"/>
                  <a:gd name="T63" fmla="*/ 26 h 2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30" h="26">
                    <a:moveTo>
                      <a:pt x="29" y="16"/>
                    </a:moveTo>
                    <a:cubicBezTo>
                      <a:pt x="28" y="17"/>
                      <a:pt x="27" y="17"/>
                      <a:pt x="26" y="17"/>
                    </a:cubicBezTo>
                    <a:cubicBezTo>
                      <a:pt x="23" y="18"/>
                      <a:pt x="21" y="19"/>
                      <a:pt x="18" y="20"/>
                    </a:cubicBezTo>
                    <a:cubicBezTo>
                      <a:pt x="17" y="21"/>
                      <a:pt x="16" y="24"/>
                      <a:pt x="14" y="25"/>
                    </a:cubicBezTo>
                    <a:cubicBezTo>
                      <a:pt x="12" y="26"/>
                      <a:pt x="10" y="25"/>
                      <a:pt x="7" y="26"/>
                    </a:cubicBezTo>
                    <a:cubicBezTo>
                      <a:pt x="6" y="25"/>
                      <a:pt x="5" y="25"/>
                      <a:pt x="4" y="24"/>
                    </a:cubicBezTo>
                    <a:cubicBezTo>
                      <a:pt x="3" y="22"/>
                      <a:pt x="2" y="21"/>
                      <a:pt x="1" y="20"/>
                    </a:cubicBezTo>
                    <a:cubicBezTo>
                      <a:pt x="0" y="18"/>
                      <a:pt x="1" y="16"/>
                      <a:pt x="1" y="14"/>
                    </a:cubicBezTo>
                    <a:cubicBezTo>
                      <a:pt x="0" y="12"/>
                      <a:pt x="1" y="11"/>
                      <a:pt x="1" y="9"/>
                    </a:cubicBezTo>
                    <a:cubicBezTo>
                      <a:pt x="2" y="9"/>
                      <a:pt x="3" y="9"/>
                      <a:pt x="3" y="9"/>
                    </a:cubicBezTo>
                    <a:cubicBezTo>
                      <a:pt x="4" y="8"/>
                      <a:pt x="3" y="6"/>
                      <a:pt x="3" y="6"/>
                    </a:cubicBezTo>
                    <a:cubicBezTo>
                      <a:pt x="4" y="4"/>
                      <a:pt x="5" y="3"/>
                      <a:pt x="6" y="3"/>
                    </a:cubicBezTo>
                    <a:cubicBezTo>
                      <a:pt x="7" y="3"/>
                      <a:pt x="8" y="5"/>
                      <a:pt x="9" y="4"/>
                    </a:cubicBezTo>
                    <a:cubicBezTo>
                      <a:pt x="10" y="4"/>
                      <a:pt x="11" y="2"/>
                      <a:pt x="12" y="1"/>
                    </a:cubicBezTo>
                    <a:cubicBezTo>
                      <a:pt x="14" y="1"/>
                      <a:pt x="17" y="2"/>
                      <a:pt x="19" y="2"/>
                    </a:cubicBezTo>
                    <a:cubicBezTo>
                      <a:pt x="20" y="1"/>
                      <a:pt x="21" y="1"/>
                      <a:pt x="22" y="0"/>
                    </a:cubicBezTo>
                    <a:cubicBezTo>
                      <a:pt x="22" y="2"/>
                      <a:pt x="22" y="3"/>
                      <a:pt x="23" y="4"/>
                    </a:cubicBezTo>
                    <a:cubicBezTo>
                      <a:pt x="24" y="5"/>
                      <a:pt x="27" y="4"/>
                      <a:pt x="28" y="6"/>
                    </a:cubicBezTo>
                    <a:cubicBezTo>
                      <a:pt x="29" y="7"/>
                      <a:pt x="29" y="9"/>
                      <a:pt x="29" y="11"/>
                    </a:cubicBezTo>
                    <a:cubicBezTo>
                      <a:pt x="30" y="12"/>
                      <a:pt x="29" y="15"/>
                      <a:pt x="29" y="16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78" name="Freeform 2595"/>
              <p:cNvSpPr>
                <a:spLocks noChangeAspect="1"/>
              </p:cNvSpPr>
              <p:nvPr/>
            </p:nvSpPr>
            <p:spPr bwMode="auto">
              <a:xfrm>
                <a:off x="4752849" y="2284946"/>
                <a:ext cx="30200" cy="49840"/>
              </a:xfrm>
              <a:custGeom>
                <a:avLst/>
                <a:gdLst>
                  <a:gd name="T0" fmla="*/ 14 w 22"/>
                  <a:gd name="T1" fmla="*/ 60 h 50"/>
                  <a:gd name="T2" fmla="*/ 9 w 22"/>
                  <a:gd name="T3" fmla="*/ 52 h 50"/>
                  <a:gd name="T4" fmla="*/ 1 w 22"/>
                  <a:gd name="T5" fmla="*/ 46 h 50"/>
                  <a:gd name="T6" fmla="*/ 2 w 22"/>
                  <a:gd name="T7" fmla="*/ 43 h 50"/>
                  <a:gd name="T8" fmla="*/ 0 w 22"/>
                  <a:gd name="T9" fmla="*/ 40 h 50"/>
                  <a:gd name="T10" fmla="*/ 1 w 22"/>
                  <a:gd name="T11" fmla="*/ 38 h 50"/>
                  <a:gd name="T12" fmla="*/ 1 w 22"/>
                  <a:gd name="T13" fmla="*/ 32 h 50"/>
                  <a:gd name="T14" fmla="*/ 2 w 22"/>
                  <a:gd name="T15" fmla="*/ 24 h 50"/>
                  <a:gd name="T16" fmla="*/ 1 w 22"/>
                  <a:gd name="T17" fmla="*/ 17 h 50"/>
                  <a:gd name="T18" fmla="*/ 1 w 22"/>
                  <a:gd name="T19" fmla="*/ 12 h 50"/>
                  <a:gd name="T20" fmla="*/ 1 w 22"/>
                  <a:gd name="T21" fmla="*/ 6 h 50"/>
                  <a:gd name="T22" fmla="*/ 4 w 22"/>
                  <a:gd name="T23" fmla="*/ 1 h 50"/>
                  <a:gd name="T24" fmla="*/ 7 w 22"/>
                  <a:gd name="T25" fmla="*/ 1 h 50"/>
                  <a:gd name="T26" fmla="*/ 14 w 22"/>
                  <a:gd name="T27" fmla="*/ 4 h 50"/>
                  <a:gd name="T28" fmla="*/ 18 w 22"/>
                  <a:gd name="T29" fmla="*/ 8 h 50"/>
                  <a:gd name="T30" fmla="*/ 18 w 22"/>
                  <a:gd name="T31" fmla="*/ 16 h 50"/>
                  <a:gd name="T32" fmla="*/ 18 w 22"/>
                  <a:gd name="T33" fmla="*/ 22 h 50"/>
                  <a:gd name="T34" fmla="*/ 18 w 22"/>
                  <a:gd name="T35" fmla="*/ 29 h 50"/>
                  <a:gd name="T36" fmla="*/ 22 w 22"/>
                  <a:gd name="T37" fmla="*/ 34 h 50"/>
                  <a:gd name="T38" fmla="*/ 26 w 22"/>
                  <a:gd name="T39" fmla="*/ 36 h 50"/>
                  <a:gd name="T40" fmla="*/ 27 w 22"/>
                  <a:gd name="T41" fmla="*/ 41 h 50"/>
                  <a:gd name="T42" fmla="*/ 23 w 22"/>
                  <a:gd name="T43" fmla="*/ 43 h 50"/>
                  <a:gd name="T44" fmla="*/ 22 w 22"/>
                  <a:gd name="T45" fmla="*/ 50 h 50"/>
                  <a:gd name="T46" fmla="*/ 17 w 22"/>
                  <a:gd name="T47" fmla="*/ 52 h 50"/>
                  <a:gd name="T48" fmla="*/ 17 w 22"/>
                  <a:gd name="T49" fmla="*/ 56 h 50"/>
                  <a:gd name="T50" fmla="*/ 14 w 22"/>
                  <a:gd name="T51" fmla="*/ 60 h 5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22"/>
                  <a:gd name="T79" fmla="*/ 0 h 50"/>
                  <a:gd name="T80" fmla="*/ 22 w 22"/>
                  <a:gd name="T81" fmla="*/ 50 h 50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22" h="50">
                    <a:moveTo>
                      <a:pt x="11" y="50"/>
                    </a:moveTo>
                    <a:cubicBezTo>
                      <a:pt x="10" y="48"/>
                      <a:pt x="8" y="44"/>
                      <a:pt x="7" y="43"/>
                    </a:cubicBezTo>
                    <a:cubicBezTo>
                      <a:pt x="5" y="41"/>
                      <a:pt x="2" y="40"/>
                      <a:pt x="1" y="38"/>
                    </a:cubicBezTo>
                    <a:cubicBezTo>
                      <a:pt x="0" y="37"/>
                      <a:pt x="3" y="37"/>
                      <a:pt x="2" y="36"/>
                    </a:cubicBezTo>
                    <a:cubicBezTo>
                      <a:pt x="2" y="35"/>
                      <a:pt x="0" y="35"/>
                      <a:pt x="0" y="33"/>
                    </a:cubicBezTo>
                    <a:cubicBezTo>
                      <a:pt x="0" y="33"/>
                      <a:pt x="1" y="33"/>
                      <a:pt x="1" y="32"/>
                    </a:cubicBezTo>
                    <a:cubicBezTo>
                      <a:pt x="2" y="30"/>
                      <a:pt x="1" y="28"/>
                      <a:pt x="1" y="27"/>
                    </a:cubicBezTo>
                    <a:cubicBezTo>
                      <a:pt x="1" y="24"/>
                      <a:pt x="2" y="22"/>
                      <a:pt x="2" y="20"/>
                    </a:cubicBezTo>
                    <a:cubicBezTo>
                      <a:pt x="2" y="18"/>
                      <a:pt x="1" y="16"/>
                      <a:pt x="1" y="14"/>
                    </a:cubicBezTo>
                    <a:lnTo>
                      <a:pt x="1" y="10"/>
                    </a:lnTo>
                    <a:cubicBezTo>
                      <a:pt x="2" y="8"/>
                      <a:pt x="1" y="7"/>
                      <a:pt x="1" y="5"/>
                    </a:cubicBezTo>
                    <a:cubicBezTo>
                      <a:pt x="2" y="4"/>
                      <a:pt x="2" y="2"/>
                      <a:pt x="3" y="1"/>
                    </a:cubicBezTo>
                    <a:cubicBezTo>
                      <a:pt x="4" y="0"/>
                      <a:pt x="5" y="1"/>
                      <a:pt x="6" y="1"/>
                    </a:cubicBezTo>
                    <a:cubicBezTo>
                      <a:pt x="8" y="2"/>
                      <a:pt x="9" y="2"/>
                      <a:pt x="11" y="3"/>
                    </a:cubicBezTo>
                    <a:cubicBezTo>
                      <a:pt x="12" y="4"/>
                      <a:pt x="14" y="5"/>
                      <a:pt x="15" y="7"/>
                    </a:cubicBezTo>
                    <a:cubicBezTo>
                      <a:pt x="15" y="9"/>
                      <a:pt x="15" y="11"/>
                      <a:pt x="15" y="13"/>
                    </a:cubicBezTo>
                    <a:cubicBezTo>
                      <a:pt x="15" y="15"/>
                      <a:pt x="14" y="16"/>
                      <a:pt x="15" y="18"/>
                    </a:cubicBezTo>
                    <a:cubicBezTo>
                      <a:pt x="15" y="20"/>
                      <a:pt x="14" y="22"/>
                      <a:pt x="15" y="24"/>
                    </a:cubicBezTo>
                    <a:cubicBezTo>
                      <a:pt x="16" y="25"/>
                      <a:pt x="17" y="26"/>
                      <a:pt x="18" y="28"/>
                    </a:cubicBezTo>
                    <a:cubicBezTo>
                      <a:pt x="19" y="29"/>
                      <a:pt x="20" y="29"/>
                      <a:pt x="21" y="30"/>
                    </a:cubicBezTo>
                    <a:cubicBezTo>
                      <a:pt x="22" y="31"/>
                      <a:pt x="22" y="32"/>
                      <a:pt x="22" y="34"/>
                    </a:cubicBezTo>
                    <a:cubicBezTo>
                      <a:pt x="21" y="35"/>
                      <a:pt x="19" y="35"/>
                      <a:pt x="19" y="36"/>
                    </a:cubicBezTo>
                    <a:cubicBezTo>
                      <a:pt x="18" y="38"/>
                      <a:pt x="19" y="40"/>
                      <a:pt x="18" y="42"/>
                    </a:cubicBezTo>
                    <a:cubicBezTo>
                      <a:pt x="17" y="43"/>
                      <a:pt x="15" y="42"/>
                      <a:pt x="14" y="43"/>
                    </a:cubicBezTo>
                    <a:cubicBezTo>
                      <a:pt x="14" y="44"/>
                      <a:pt x="15" y="46"/>
                      <a:pt x="14" y="47"/>
                    </a:cubicBezTo>
                    <a:cubicBezTo>
                      <a:pt x="13" y="48"/>
                      <a:pt x="13" y="49"/>
                      <a:pt x="11" y="5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79" name="Freeform 2597"/>
              <p:cNvSpPr>
                <a:spLocks noChangeAspect="1"/>
              </p:cNvSpPr>
              <p:nvPr/>
            </p:nvSpPr>
            <p:spPr bwMode="auto">
              <a:xfrm>
                <a:off x="4861343" y="2293254"/>
                <a:ext cx="46977" cy="26582"/>
              </a:xfrm>
              <a:custGeom>
                <a:avLst/>
                <a:gdLst>
                  <a:gd name="T0" fmla="*/ 26 w 35"/>
                  <a:gd name="T1" fmla="*/ 2 h 27"/>
                  <a:gd name="T2" fmla="*/ 30 w 35"/>
                  <a:gd name="T3" fmla="*/ 2 h 27"/>
                  <a:gd name="T4" fmla="*/ 30 w 35"/>
                  <a:gd name="T5" fmla="*/ 6 h 27"/>
                  <a:gd name="T6" fmla="*/ 32 w 35"/>
                  <a:gd name="T7" fmla="*/ 14 h 27"/>
                  <a:gd name="T8" fmla="*/ 41 w 35"/>
                  <a:gd name="T9" fmla="*/ 17 h 27"/>
                  <a:gd name="T10" fmla="*/ 38 w 35"/>
                  <a:gd name="T11" fmla="*/ 21 h 27"/>
                  <a:gd name="T12" fmla="*/ 34 w 35"/>
                  <a:gd name="T13" fmla="*/ 20 h 27"/>
                  <a:gd name="T14" fmla="*/ 29 w 35"/>
                  <a:gd name="T15" fmla="*/ 21 h 27"/>
                  <a:gd name="T16" fmla="*/ 23 w 35"/>
                  <a:gd name="T17" fmla="*/ 21 h 27"/>
                  <a:gd name="T18" fmla="*/ 18 w 35"/>
                  <a:gd name="T19" fmla="*/ 27 h 27"/>
                  <a:gd name="T20" fmla="*/ 12 w 35"/>
                  <a:gd name="T21" fmla="*/ 32 h 27"/>
                  <a:gd name="T22" fmla="*/ 12 w 35"/>
                  <a:gd name="T23" fmla="*/ 28 h 27"/>
                  <a:gd name="T24" fmla="*/ 1 w 35"/>
                  <a:gd name="T25" fmla="*/ 30 h 27"/>
                  <a:gd name="T26" fmla="*/ 1 w 35"/>
                  <a:gd name="T27" fmla="*/ 27 h 27"/>
                  <a:gd name="T28" fmla="*/ 2 w 35"/>
                  <a:gd name="T29" fmla="*/ 24 h 27"/>
                  <a:gd name="T30" fmla="*/ 2 w 35"/>
                  <a:gd name="T31" fmla="*/ 18 h 27"/>
                  <a:gd name="T32" fmla="*/ 7 w 35"/>
                  <a:gd name="T33" fmla="*/ 15 h 27"/>
                  <a:gd name="T34" fmla="*/ 7 w 35"/>
                  <a:gd name="T35" fmla="*/ 12 h 27"/>
                  <a:gd name="T36" fmla="*/ 2 w 35"/>
                  <a:gd name="T37" fmla="*/ 9 h 27"/>
                  <a:gd name="T38" fmla="*/ 2 w 35"/>
                  <a:gd name="T39" fmla="*/ 5 h 27"/>
                  <a:gd name="T40" fmla="*/ 7 w 35"/>
                  <a:gd name="T41" fmla="*/ 4 h 27"/>
                  <a:gd name="T42" fmla="*/ 13 w 35"/>
                  <a:gd name="T43" fmla="*/ 5 h 27"/>
                  <a:gd name="T44" fmla="*/ 17 w 35"/>
                  <a:gd name="T45" fmla="*/ 1 h 27"/>
                  <a:gd name="T46" fmla="*/ 22 w 35"/>
                  <a:gd name="T47" fmla="*/ 1 h 27"/>
                  <a:gd name="T48" fmla="*/ 25 w 35"/>
                  <a:gd name="T49" fmla="*/ 4 h 27"/>
                  <a:gd name="T50" fmla="*/ 26 w 35"/>
                  <a:gd name="T51" fmla="*/ 2 h 27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35"/>
                  <a:gd name="T79" fmla="*/ 0 h 27"/>
                  <a:gd name="T80" fmla="*/ 35 w 35"/>
                  <a:gd name="T81" fmla="*/ 27 h 27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35" h="27">
                    <a:moveTo>
                      <a:pt x="22" y="2"/>
                    </a:moveTo>
                    <a:cubicBezTo>
                      <a:pt x="23" y="2"/>
                      <a:pt x="24" y="1"/>
                      <a:pt x="25" y="2"/>
                    </a:cubicBezTo>
                    <a:cubicBezTo>
                      <a:pt x="26" y="2"/>
                      <a:pt x="25" y="4"/>
                      <a:pt x="25" y="5"/>
                    </a:cubicBezTo>
                    <a:cubicBezTo>
                      <a:pt x="25" y="7"/>
                      <a:pt x="25" y="10"/>
                      <a:pt x="27" y="12"/>
                    </a:cubicBezTo>
                    <a:cubicBezTo>
                      <a:pt x="29" y="14"/>
                      <a:pt x="32" y="12"/>
                      <a:pt x="34" y="14"/>
                    </a:cubicBezTo>
                    <a:cubicBezTo>
                      <a:pt x="35" y="15"/>
                      <a:pt x="33" y="17"/>
                      <a:pt x="32" y="18"/>
                    </a:cubicBezTo>
                    <a:cubicBezTo>
                      <a:pt x="31" y="18"/>
                      <a:pt x="29" y="17"/>
                      <a:pt x="28" y="17"/>
                    </a:cubicBezTo>
                    <a:cubicBezTo>
                      <a:pt x="27" y="17"/>
                      <a:pt x="25" y="18"/>
                      <a:pt x="24" y="18"/>
                    </a:cubicBezTo>
                    <a:cubicBezTo>
                      <a:pt x="22" y="18"/>
                      <a:pt x="21" y="18"/>
                      <a:pt x="19" y="18"/>
                    </a:cubicBezTo>
                    <a:cubicBezTo>
                      <a:pt x="17" y="19"/>
                      <a:pt x="16" y="21"/>
                      <a:pt x="15" y="23"/>
                    </a:cubicBezTo>
                    <a:cubicBezTo>
                      <a:pt x="13" y="24"/>
                      <a:pt x="12" y="26"/>
                      <a:pt x="10" y="27"/>
                    </a:cubicBezTo>
                    <a:cubicBezTo>
                      <a:pt x="9" y="27"/>
                      <a:pt x="11" y="24"/>
                      <a:pt x="10" y="24"/>
                    </a:cubicBezTo>
                    <a:cubicBezTo>
                      <a:pt x="7" y="23"/>
                      <a:pt x="4" y="25"/>
                      <a:pt x="1" y="25"/>
                    </a:cubicBezTo>
                    <a:cubicBezTo>
                      <a:pt x="0" y="25"/>
                      <a:pt x="0" y="23"/>
                      <a:pt x="1" y="23"/>
                    </a:cubicBezTo>
                    <a:cubicBezTo>
                      <a:pt x="1" y="22"/>
                      <a:pt x="2" y="21"/>
                      <a:pt x="2" y="20"/>
                    </a:cubicBezTo>
                    <a:cubicBezTo>
                      <a:pt x="2" y="18"/>
                      <a:pt x="1" y="17"/>
                      <a:pt x="2" y="15"/>
                    </a:cubicBezTo>
                    <a:cubicBezTo>
                      <a:pt x="3" y="14"/>
                      <a:pt x="5" y="15"/>
                      <a:pt x="6" y="13"/>
                    </a:cubicBezTo>
                    <a:cubicBezTo>
                      <a:pt x="6" y="12"/>
                      <a:pt x="6" y="11"/>
                      <a:pt x="6" y="10"/>
                    </a:cubicBezTo>
                    <a:cubicBezTo>
                      <a:pt x="5" y="8"/>
                      <a:pt x="3" y="8"/>
                      <a:pt x="2" y="8"/>
                    </a:cubicBezTo>
                    <a:cubicBezTo>
                      <a:pt x="2" y="7"/>
                      <a:pt x="1" y="5"/>
                      <a:pt x="2" y="4"/>
                    </a:cubicBezTo>
                    <a:cubicBezTo>
                      <a:pt x="3" y="3"/>
                      <a:pt x="5" y="3"/>
                      <a:pt x="6" y="3"/>
                    </a:cubicBezTo>
                    <a:cubicBezTo>
                      <a:pt x="8" y="3"/>
                      <a:pt x="9" y="4"/>
                      <a:pt x="11" y="4"/>
                    </a:cubicBezTo>
                    <a:cubicBezTo>
                      <a:pt x="12" y="3"/>
                      <a:pt x="12" y="1"/>
                      <a:pt x="14" y="1"/>
                    </a:cubicBezTo>
                    <a:cubicBezTo>
                      <a:pt x="15" y="0"/>
                      <a:pt x="17" y="1"/>
                      <a:pt x="18" y="1"/>
                    </a:cubicBezTo>
                    <a:cubicBezTo>
                      <a:pt x="19" y="2"/>
                      <a:pt x="20" y="3"/>
                      <a:pt x="21" y="3"/>
                    </a:cubicBezTo>
                    <a:cubicBezTo>
                      <a:pt x="21" y="3"/>
                      <a:pt x="22" y="2"/>
                      <a:pt x="2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80" name="Freeform 2600"/>
              <p:cNvSpPr>
                <a:spLocks noChangeAspect="1"/>
              </p:cNvSpPr>
              <p:nvPr/>
            </p:nvSpPr>
            <p:spPr bwMode="auto">
              <a:xfrm>
                <a:off x="4864698" y="2183605"/>
                <a:ext cx="57043" cy="57316"/>
              </a:xfrm>
              <a:custGeom>
                <a:avLst/>
                <a:gdLst>
                  <a:gd name="T0" fmla="*/ 25 w 43"/>
                  <a:gd name="T1" fmla="*/ 69 h 58"/>
                  <a:gd name="T2" fmla="*/ 31 w 43"/>
                  <a:gd name="T3" fmla="*/ 62 h 58"/>
                  <a:gd name="T4" fmla="*/ 36 w 43"/>
                  <a:gd name="T5" fmla="*/ 52 h 58"/>
                  <a:gd name="T6" fmla="*/ 37 w 43"/>
                  <a:gd name="T7" fmla="*/ 44 h 58"/>
                  <a:gd name="T8" fmla="*/ 43 w 43"/>
                  <a:gd name="T9" fmla="*/ 45 h 58"/>
                  <a:gd name="T10" fmla="*/ 50 w 43"/>
                  <a:gd name="T11" fmla="*/ 45 h 58"/>
                  <a:gd name="T12" fmla="*/ 50 w 43"/>
                  <a:gd name="T13" fmla="*/ 37 h 58"/>
                  <a:gd name="T14" fmla="*/ 44 w 43"/>
                  <a:gd name="T15" fmla="*/ 35 h 58"/>
                  <a:gd name="T16" fmla="*/ 43 w 43"/>
                  <a:gd name="T17" fmla="*/ 26 h 58"/>
                  <a:gd name="T18" fmla="*/ 38 w 43"/>
                  <a:gd name="T19" fmla="*/ 20 h 58"/>
                  <a:gd name="T20" fmla="*/ 37 w 43"/>
                  <a:gd name="T21" fmla="*/ 12 h 58"/>
                  <a:gd name="T22" fmla="*/ 28 w 43"/>
                  <a:gd name="T23" fmla="*/ 10 h 58"/>
                  <a:gd name="T24" fmla="*/ 25 w 43"/>
                  <a:gd name="T25" fmla="*/ 10 h 58"/>
                  <a:gd name="T26" fmla="*/ 13 w 43"/>
                  <a:gd name="T27" fmla="*/ 1 h 58"/>
                  <a:gd name="T28" fmla="*/ 6 w 43"/>
                  <a:gd name="T29" fmla="*/ 2 h 58"/>
                  <a:gd name="T30" fmla="*/ 1 w 43"/>
                  <a:gd name="T31" fmla="*/ 2 h 58"/>
                  <a:gd name="T32" fmla="*/ 0 w 43"/>
                  <a:gd name="T33" fmla="*/ 8 h 58"/>
                  <a:gd name="T34" fmla="*/ 6 w 43"/>
                  <a:gd name="T35" fmla="*/ 11 h 58"/>
                  <a:gd name="T36" fmla="*/ 11 w 43"/>
                  <a:gd name="T37" fmla="*/ 23 h 58"/>
                  <a:gd name="T38" fmla="*/ 20 w 43"/>
                  <a:gd name="T39" fmla="*/ 33 h 58"/>
                  <a:gd name="T40" fmla="*/ 27 w 43"/>
                  <a:gd name="T41" fmla="*/ 44 h 58"/>
                  <a:gd name="T42" fmla="*/ 23 w 43"/>
                  <a:gd name="T43" fmla="*/ 55 h 58"/>
                  <a:gd name="T44" fmla="*/ 25 w 43"/>
                  <a:gd name="T45" fmla="*/ 69 h 58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43"/>
                  <a:gd name="T70" fmla="*/ 0 h 58"/>
                  <a:gd name="T71" fmla="*/ 43 w 43"/>
                  <a:gd name="T72" fmla="*/ 58 h 58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43" h="58">
                    <a:moveTo>
                      <a:pt x="21" y="58"/>
                    </a:moveTo>
                    <a:cubicBezTo>
                      <a:pt x="23" y="56"/>
                      <a:pt x="25" y="54"/>
                      <a:pt x="26" y="52"/>
                    </a:cubicBezTo>
                    <a:cubicBezTo>
                      <a:pt x="28" y="49"/>
                      <a:pt x="29" y="47"/>
                      <a:pt x="30" y="44"/>
                    </a:cubicBezTo>
                    <a:cubicBezTo>
                      <a:pt x="31" y="41"/>
                      <a:pt x="29" y="38"/>
                      <a:pt x="31" y="37"/>
                    </a:cubicBezTo>
                    <a:cubicBezTo>
                      <a:pt x="32" y="35"/>
                      <a:pt x="35" y="38"/>
                      <a:pt x="36" y="38"/>
                    </a:cubicBezTo>
                    <a:cubicBezTo>
                      <a:pt x="38" y="38"/>
                      <a:pt x="41" y="39"/>
                      <a:pt x="42" y="38"/>
                    </a:cubicBezTo>
                    <a:cubicBezTo>
                      <a:pt x="43" y="36"/>
                      <a:pt x="43" y="33"/>
                      <a:pt x="42" y="31"/>
                    </a:cubicBezTo>
                    <a:cubicBezTo>
                      <a:pt x="41" y="30"/>
                      <a:pt x="38" y="30"/>
                      <a:pt x="37" y="29"/>
                    </a:cubicBezTo>
                    <a:cubicBezTo>
                      <a:pt x="36" y="27"/>
                      <a:pt x="37" y="24"/>
                      <a:pt x="36" y="22"/>
                    </a:cubicBezTo>
                    <a:cubicBezTo>
                      <a:pt x="35" y="20"/>
                      <a:pt x="33" y="19"/>
                      <a:pt x="32" y="17"/>
                    </a:cubicBezTo>
                    <a:cubicBezTo>
                      <a:pt x="31" y="15"/>
                      <a:pt x="32" y="12"/>
                      <a:pt x="31" y="10"/>
                    </a:cubicBezTo>
                    <a:cubicBezTo>
                      <a:pt x="29" y="8"/>
                      <a:pt x="26" y="8"/>
                      <a:pt x="24" y="8"/>
                    </a:cubicBezTo>
                    <a:cubicBezTo>
                      <a:pt x="23" y="7"/>
                      <a:pt x="22" y="8"/>
                      <a:pt x="21" y="8"/>
                    </a:cubicBezTo>
                    <a:cubicBezTo>
                      <a:pt x="17" y="6"/>
                      <a:pt x="15" y="2"/>
                      <a:pt x="11" y="1"/>
                    </a:cubicBezTo>
                    <a:cubicBezTo>
                      <a:pt x="9" y="0"/>
                      <a:pt x="7" y="2"/>
                      <a:pt x="5" y="2"/>
                    </a:cubicBezTo>
                    <a:cubicBezTo>
                      <a:pt x="3" y="3"/>
                      <a:pt x="2" y="2"/>
                      <a:pt x="1" y="2"/>
                    </a:cubicBezTo>
                    <a:cubicBezTo>
                      <a:pt x="0" y="3"/>
                      <a:pt x="1" y="5"/>
                      <a:pt x="0" y="7"/>
                    </a:cubicBezTo>
                    <a:cubicBezTo>
                      <a:pt x="2" y="7"/>
                      <a:pt x="4" y="7"/>
                      <a:pt x="5" y="9"/>
                    </a:cubicBezTo>
                    <a:cubicBezTo>
                      <a:pt x="7" y="12"/>
                      <a:pt x="7" y="16"/>
                      <a:pt x="9" y="19"/>
                    </a:cubicBezTo>
                    <a:cubicBezTo>
                      <a:pt x="11" y="22"/>
                      <a:pt x="15" y="25"/>
                      <a:pt x="17" y="28"/>
                    </a:cubicBezTo>
                    <a:cubicBezTo>
                      <a:pt x="19" y="31"/>
                      <a:pt x="22" y="34"/>
                      <a:pt x="23" y="37"/>
                    </a:cubicBezTo>
                    <a:cubicBezTo>
                      <a:pt x="23" y="40"/>
                      <a:pt x="20" y="43"/>
                      <a:pt x="19" y="46"/>
                    </a:cubicBezTo>
                    <a:cubicBezTo>
                      <a:pt x="19" y="50"/>
                      <a:pt x="20" y="53"/>
                      <a:pt x="21" y="58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81" name="Freeform 2601"/>
              <p:cNvSpPr>
                <a:spLocks noChangeAspect="1"/>
              </p:cNvSpPr>
              <p:nvPr/>
            </p:nvSpPr>
            <p:spPr bwMode="auto">
              <a:xfrm>
                <a:off x="4793116" y="2115492"/>
                <a:ext cx="287452" cy="139552"/>
              </a:xfrm>
              <a:custGeom>
                <a:avLst/>
                <a:gdLst>
                  <a:gd name="T0" fmla="*/ 223 w 214"/>
                  <a:gd name="T1" fmla="*/ 113 h 140"/>
                  <a:gd name="T2" fmla="*/ 197 w 214"/>
                  <a:gd name="T3" fmla="*/ 122 h 140"/>
                  <a:gd name="T4" fmla="*/ 185 w 214"/>
                  <a:gd name="T5" fmla="*/ 130 h 140"/>
                  <a:gd name="T6" fmla="*/ 169 w 214"/>
                  <a:gd name="T7" fmla="*/ 128 h 140"/>
                  <a:gd name="T8" fmla="*/ 189 w 214"/>
                  <a:gd name="T9" fmla="*/ 145 h 140"/>
                  <a:gd name="T10" fmla="*/ 207 w 214"/>
                  <a:gd name="T11" fmla="*/ 148 h 140"/>
                  <a:gd name="T12" fmla="*/ 201 w 214"/>
                  <a:gd name="T13" fmla="*/ 157 h 140"/>
                  <a:gd name="T14" fmla="*/ 184 w 214"/>
                  <a:gd name="T15" fmla="*/ 161 h 140"/>
                  <a:gd name="T16" fmla="*/ 166 w 214"/>
                  <a:gd name="T17" fmla="*/ 152 h 140"/>
                  <a:gd name="T18" fmla="*/ 168 w 214"/>
                  <a:gd name="T19" fmla="*/ 134 h 140"/>
                  <a:gd name="T20" fmla="*/ 147 w 214"/>
                  <a:gd name="T21" fmla="*/ 131 h 140"/>
                  <a:gd name="T22" fmla="*/ 138 w 214"/>
                  <a:gd name="T23" fmla="*/ 125 h 140"/>
                  <a:gd name="T24" fmla="*/ 145 w 214"/>
                  <a:gd name="T25" fmla="*/ 125 h 140"/>
                  <a:gd name="T26" fmla="*/ 130 w 214"/>
                  <a:gd name="T27" fmla="*/ 119 h 140"/>
                  <a:gd name="T28" fmla="*/ 116 w 214"/>
                  <a:gd name="T29" fmla="*/ 127 h 140"/>
                  <a:gd name="T30" fmla="*/ 118 w 214"/>
                  <a:gd name="T31" fmla="*/ 134 h 140"/>
                  <a:gd name="T32" fmla="*/ 109 w 214"/>
                  <a:gd name="T33" fmla="*/ 140 h 140"/>
                  <a:gd name="T34" fmla="*/ 104 w 214"/>
                  <a:gd name="T35" fmla="*/ 149 h 140"/>
                  <a:gd name="T36" fmla="*/ 89 w 214"/>
                  <a:gd name="T37" fmla="*/ 151 h 140"/>
                  <a:gd name="T38" fmla="*/ 101 w 214"/>
                  <a:gd name="T39" fmla="*/ 126 h 140"/>
                  <a:gd name="T40" fmla="*/ 114 w 214"/>
                  <a:gd name="T41" fmla="*/ 119 h 140"/>
                  <a:gd name="T42" fmla="*/ 102 w 214"/>
                  <a:gd name="T43" fmla="*/ 102 h 140"/>
                  <a:gd name="T44" fmla="*/ 89 w 214"/>
                  <a:gd name="T45" fmla="*/ 91 h 140"/>
                  <a:gd name="T46" fmla="*/ 65 w 214"/>
                  <a:gd name="T47" fmla="*/ 84 h 140"/>
                  <a:gd name="T48" fmla="*/ 54 w 214"/>
                  <a:gd name="T49" fmla="*/ 92 h 140"/>
                  <a:gd name="T50" fmla="*/ 35 w 214"/>
                  <a:gd name="T51" fmla="*/ 95 h 140"/>
                  <a:gd name="T52" fmla="*/ 14 w 214"/>
                  <a:gd name="T53" fmla="*/ 90 h 140"/>
                  <a:gd name="T54" fmla="*/ 6 w 214"/>
                  <a:gd name="T55" fmla="*/ 91 h 140"/>
                  <a:gd name="T56" fmla="*/ 0 w 214"/>
                  <a:gd name="T57" fmla="*/ 84 h 140"/>
                  <a:gd name="T58" fmla="*/ 4 w 214"/>
                  <a:gd name="T59" fmla="*/ 72 h 140"/>
                  <a:gd name="T60" fmla="*/ 10 w 214"/>
                  <a:gd name="T61" fmla="*/ 68 h 140"/>
                  <a:gd name="T62" fmla="*/ 6 w 214"/>
                  <a:gd name="T63" fmla="*/ 59 h 140"/>
                  <a:gd name="T64" fmla="*/ 24 w 214"/>
                  <a:gd name="T65" fmla="*/ 44 h 140"/>
                  <a:gd name="T66" fmla="*/ 25 w 214"/>
                  <a:gd name="T67" fmla="*/ 35 h 140"/>
                  <a:gd name="T68" fmla="*/ 26 w 214"/>
                  <a:gd name="T69" fmla="*/ 20 h 140"/>
                  <a:gd name="T70" fmla="*/ 49 w 214"/>
                  <a:gd name="T71" fmla="*/ 13 h 140"/>
                  <a:gd name="T72" fmla="*/ 73 w 214"/>
                  <a:gd name="T73" fmla="*/ 20 h 140"/>
                  <a:gd name="T74" fmla="*/ 90 w 214"/>
                  <a:gd name="T75" fmla="*/ 22 h 140"/>
                  <a:gd name="T76" fmla="*/ 108 w 214"/>
                  <a:gd name="T77" fmla="*/ 22 h 140"/>
                  <a:gd name="T78" fmla="*/ 121 w 214"/>
                  <a:gd name="T79" fmla="*/ 10 h 140"/>
                  <a:gd name="T80" fmla="*/ 142 w 214"/>
                  <a:gd name="T81" fmla="*/ 4 h 140"/>
                  <a:gd name="T82" fmla="*/ 167 w 214"/>
                  <a:gd name="T83" fmla="*/ 10 h 140"/>
                  <a:gd name="T84" fmla="*/ 168 w 214"/>
                  <a:gd name="T85" fmla="*/ 25 h 140"/>
                  <a:gd name="T86" fmla="*/ 201 w 214"/>
                  <a:gd name="T87" fmla="*/ 44 h 140"/>
                  <a:gd name="T88" fmla="*/ 221 w 214"/>
                  <a:gd name="T89" fmla="*/ 48 h 140"/>
                  <a:gd name="T90" fmla="*/ 244 w 214"/>
                  <a:gd name="T91" fmla="*/ 56 h 140"/>
                  <a:gd name="T92" fmla="*/ 256 w 214"/>
                  <a:gd name="T93" fmla="*/ 70 h 140"/>
                  <a:gd name="T94" fmla="*/ 250 w 214"/>
                  <a:gd name="T95" fmla="*/ 78 h 140"/>
                  <a:gd name="T96" fmla="*/ 255 w 214"/>
                  <a:gd name="T97" fmla="*/ 92 h 140"/>
                  <a:gd name="T98" fmla="*/ 232 w 214"/>
                  <a:gd name="T99" fmla="*/ 106 h 140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214"/>
                  <a:gd name="T151" fmla="*/ 0 h 140"/>
                  <a:gd name="T152" fmla="*/ 214 w 214"/>
                  <a:gd name="T153" fmla="*/ 140 h 140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214" h="140">
                    <a:moveTo>
                      <a:pt x="195" y="95"/>
                    </a:moveTo>
                    <a:cubicBezTo>
                      <a:pt x="194" y="94"/>
                      <a:pt x="193" y="93"/>
                      <a:pt x="191" y="92"/>
                    </a:cubicBezTo>
                    <a:cubicBezTo>
                      <a:pt x="190" y="92"/>
                      <a:pt x="188" y="93"/>
                      <a:pt x="186" y="94"/>
                    </a:cubicBezTo>
                    <a:cubicBezTo>
                      <a:pt x="184" y="95"/>
                      <a:pt x="183" y="96"/>
                      <a:pt x="181" y="97"/>
                    </a:cubicBezTo>
                    <a:cubicBezTo>
                      <a:pt x="178" y="99"/>
                      <a:pt x="176" y="100"/>
                      <a:pt x="173" y="101"/>
                    </a:cubicBezTo>
                    <a:cubicBezTo>
                      <a:pt x="170" y="102"/>
                      <a:pt x="167" y="101"/>
                      <a:pt x="164" y="102"/>
                    </a:cubicBezTo>
                    <a:cubicBezTo>
                      <a:pt x="163" y="102"/>
                      <a:pt x="162" y="105"/>
                      <a:pt x="160" y="106"/>
                    </a:cubicBezTo>
                    <a:cubicBezTo>
                      <a:pt x="159" y="106"/>
                      <a:pt x="159" y="103"/>
                      <a:pt x="158" y="103"/>
                    </a:cubicBezTo>
                    <a:cubicBezTo>
                      <a:pt x="156" y="104"/>
                      <a:pt x="154" y="106"/>
                      <a:pt x="154" y="108"/>
                    </a:cubicBezTo>
                    <a:cubicBezTo>
                      <a:pt x="153" y="110"/>
                      <a:pt x="156" y="112"/>
                      <a:pt x="155" y="114"/>
                    </a:cubicBezTo>
                    <a:cubicBezTo>
                      <a:pt x="154" y="116"/>
                      <a:pt x="153" y="111"/>
                      <a:pt x="152" y="111"/>
                    </a:cubicBezTo>
                    <a:cubicBezTo>
                      <a:pt x="148" y="109"/>
                      <a:pt x="145" y="107"/>
                      <a:pt x="141" y="107"/>
                    </a:cubicBezTo>
                    <a:cubicBezTo>
                      <a:pt x="140" y="107"/>
                      <a:pt x="142" y="110"/>
                      <a:pt x="143" y="111"/>
                    </a:cubicBezTo>
                    <a:cubicBezTo>
                      <a:pt x="145" y="113"/>
                      <a:pt x="148" y="114"/>
                      <a:pt x="151" y="116"/>
                    </a:cubicBezTo>
                    <a:cubicBezTo>
                      <a:pt x="153" y="117"/>
                      <a:pt x="155" y="119"/>
                      <a:pt x="157" y="121"/>
                    </a:cubicBezTo>
                    <a:cubicBezTo>
                      <a:pt x="158" y="123"/>
                      <a:pt x="160" y="125"/>
                      <a:pt x="162" y="126"/>
                    </a:cubicBezTo>
                    <a:cubicBezTo>
                      <a:pt x="164" y="126"/>
                      <a:pt x="166" y="124"/>
                      <a:pt x="167" y="123"/>
                    </a:cubicBezTo>
                    <a:cubicBezTo>
                      <a:pt x="169" y="123"/>
                      <a:pt x="171" y="123"/>
                      <a:pt x="172" y="123"/>
                    </a:cubicBezTo>
                    <a:cubicBezTo>
                      <a:pt x="174" y="123"/>
                      <a:pt x="176" y="123"/>
                      <a:pt x="176" y="125"/>
                    </a:cubicBezTo>
                    <a:cubicBezTo>
                      <a:pt x="177" y="126"/>
                      <a:pt x="176" y="127"/>
                      <a:pt x="175" y="128"/>
                    </a:cubicBezTo>
                    <a:cubicBezTo>
                      <a:pt x="172" y="130"/>
                      <a:pt x="170" y="131"/>
                      <a:pt x="167" y="131"/>
                    </a:cubicBezTo>
                    <a:cubicBezTo>
                      <a:pt x="166" y="131"/>
                      <a:pt x="164" y="128"/>
                      <a:pt x="163" y="128"/>
                    </a:cubicBezTo>
                    <a:cubicBezTo>
                      <a:pt x="161" y="129"/>
                      <a:pt x="161" y="131"/>
                      <a:pt x="160" y="132"/>
                    </a:cubicBezTo>
                    <a:cubicBezTo>
                      <a:pt x="158" y="133"/>
                      <a:pt x="155" y="133"/>
                      <a:pt x="153" y="134"/>
                    </a:cubicBezTo>
                    <a:cubicBezTo>
                      <a:pt x="150" y="135"/>
                      <a:pt x="149" y="139"/>
                      <a:pt x="146" y="139"/>
                    </a:cubicBezTo>
                    <a:cubicBezTo>
                      <a:pt x="144" y="140"/>
                      <a:pt x="140" y="139"/>
                      <a:pt x="139" y="137"/>
                    </a:cubicBezTo>
                    <a:cubicBezTo>
                      <a:pt x="137" y="134"/>
                      <a:pt x="140" y="130"/>
                      <a:pt x="138" y="127"/>
                    </a:cubicBezTo>
                    <a:cubicBezTo>
                      <a:pt x="135" y="124"/>
                      <a:pt x="126" y="128"/>
                      <a:pt x="126" y="123"/>
                    </a:cubicBezTo>
                    <a:cubicBezTo>
                      <a:pt x="127" y="118"/>
                      <a:pt x="136" y="119"/>
                      <a:pt x="140" y="115"/>
                    </a:cubicBezTo>
                    <a:cubicBezTo>
                      <a:pt x="141" y="115"/>
                      <a:pt x="141" y="113"/>
                      <a:pt x="140" y="112"/>
                    </a:cubicBezTo>
                    <a:cubicBezTo>
                      <a:pt x="139" y="111"/>
                      <a:pt x="137" y="110"/>
                      <a:pt x="135" y="110"/>
                    </a:cubicBezTo>
                    <a:cubicBezTo>
                      <a:pt x="133" y="110"/>
                      <a:pt x="130" y="111"/>
                      <a:pt x="127" y="111"/>
                    </a:cubicBezTo>
                    <a:cubicBezTo>
                      <a:pt x="126" y="111"/>
                      <a:pt x="124" y="110"/>
                      <a:pt x="122" y="109"/>
                    </a:cubicBezTo>
                    <a:cubicBezTo>
                      <a:pt x="120" y="109"/>
                      <a:pt x="117" y="110"/>
                      <a:pt x="116" y="108"/>
                    </a:cubicBezTo>
                    <a:cubicBezTo>
                      <a:pt x="115" y="106"/>
                      <a:pt x="120" y="106"/>
                      <a:pt x="120" y="105"/>
                    </a:cubicBezTo>
                    <a:cubicBezTo>
                      <a:pt x="119" y="103"/>
                      <a:pt x="117" y="105"/>
                      <a:pt x="115" y="104"/>
                    </a:cubicBezTo>
                    <a:cubicBezTo>
                      <a:pt x="114" y="104"/>
                      <a:pt x="111" y="103"/>
                      <a:pt x="112" y="102"/>
                    </a:cubicBezTo>
                    <a:cubicBezTo>
                      <a:pt x="113" y="101"/>
                      <a:pt x="115" y="102"/>
                      <a:pt x="117" y="102"/>
                    </a:cubicBezTo>
                    <a:cubicBezTo>
                      <a:pt x="118" y="102"/>
                      <a:pt x="119" y="104"/>
                      <a:pt x="121" y="104"/>
                    </a:cubicBezTo>
                    <a:cubicBezTo>
                      <a:pt x="122" y="104"/>
                      <a:pt x="124" y="103"/>
                      <a:pt x="124" y="102"/>
                    </a:cubicBezTo>
                    <a:cubicBezTo>
                      <a:pt x="123" y="100"/>
                      <a:pt x="121" y="100"/>
                      <a:pt x="119" y="100"/>
                    </a:cubicBezTo>
                    <a:cubicBezTo>
                      <a:pt x="115" y="99"/>
                      <a:pt x="112" y="99"/>
                      <a:pt x="108" y="99"/>
                    </a:cubicBezTo>
                    <a:cubicBezTo>
                      <a:pt x="106" y="99"/>
                      <a:pt x="104" y="100"/>
                      <a:pt x="103" y="101"/>
                    </a:cubicBezTo>
                    <a:cubicBezTo>
                      <a:pt x="101" y="102"/>
                      <a:pt x="102" y="105"/>
                      <a:pt x="101" y="106"/>
                    </a:cubicBezTo>
                    <a:cubicBezTo>
                      <a:pt x="100" y="107"/>
                      <a:pt x="98" y="105"/>
                      <a:pt x="97" y="106"/>
                    </a:cubicBezTo>
                    <a:cubicBezTo>
                      <a:pt x="96" y="106"/>
                      <a:pt x="96" y="107"/>
                      <a:pt x="96" y="107"/>
                    </a:cubicBezTo>
                    <a:cubicBezTo>
                      <a:pt x="97" y="108"/>
                      <a:pt x="98" y="108"/>
                      <a:pt x="98" y="109"/>
                    </a:cubicBezTo>
                    <a:cubicBezTo>
                      <a:pt x="99" y="110"/>
                      <a:pt x="98" y="111"/>
                      <a:pt x="98" y="112"/>
                    </a:cubicBezTo>
                    <a:cubicBezTo>
                      <a:pt x="97" y="114"/>
                      <a:pt x="96" y="115"/>
                      <a:pt x="95" y="117"/>
                    </a:cubicBezTo>
                    <a:cubicBezTo>
                      <a:pt x="94" y="118"/>
                      <a:pt x="95" y="121"/>
                      <a:pt x="93" y="121"/>
                    </a:cubicBezTo>
                    <a:cubicBezTo>
                      <a:pt x="92" y="121"/>
                      <a:pt x="93" y="117"/>
                      <a:pt x="91" y="117"/>
                    </a:cubicBezTo>
                    <a:cubicBezTo>
                      <a:pt x="90" y="117"/>
                      <a:pt x="91" y="120"/>
                      <a:pt x="91" y="122"/>
                    </a:cubicBezTo>
                    <a:cubicBezTo>
                      <a:pt x="91" y="124"/>
                      <a:pt x="92" y="126"/>
                      <a:pt x="93" y="128"/>
                    </a:cubicBezTo>
                    <a:cubicBezTo>
                      <a:pt x="91" y="127"/>
                      <a:pt x="90" y="124"/>
                      <a:pt x="87" y="124"/>
                    </a:cubicBezTo>
                    <a:cubicBezTo>
                      <a:pt x="85" y="124"/>
                      <a:pt x="85" y="127"/>
                      <a:pt x="83" y="127"/>
                    </a:cubicBezTo>
                    <a:cubicBezTo>
                      <a:pt x="81" y="128"/>
                      <a:pt x="80" y="128"/>
                      <a:pt x="78" y="128"/>
                    </a:cubicBezTo>
                    <a:cubicBezTo>
                      <a:pt x="76" y="128"/>
                      <a:pt x="75" y="126"/>
                      <a:pt x="74" y="126"/>
                    </a:cubicBezTo>
                    <a:cubicBezTo>
                      <a:pt x="76" y="124"/>
                      <a:pt x="78" y="122"/>
                      <a:pt x="79" y="120"/>
                    </a:cubicBezTo>
                    <a:cubicBezTo>
                      <a:pt x="81" y="117"/>
                      <a:pt x="82" y="115"/>
                      <a:pt x="83" y="112"/>
                    </a:cubicBezTo>
                    <a:cubicBezTo>
                      <a:pt x="84" y="109"/>
                      <a:pt x="82" y="106"/>
                      <a:pt x="84" y="105"/>
                    </a:cubicBezTo>
                    <a:cubicBezTo>
                      <a:pt x="85" y="103"/>
                      <a:pt x="88" y="106"/>
                      <a:pt x="89" y="106"/>
                    </a:cubicBezTo>
                    <a:cubicBezTo>
                      <a:pt x="91" y="106"/>
                      <a:pt x="94" y="107"/>
                      <a:pt x="95" y="106"/>
                    </a:cubicBezTo>
                    <a:cubicBezTo>
                      <a:pt x="96" y="104"/>
                      <a:pt x="96" y="101"/>
                      <a:pt x="95" y="99"/>
                    </a:cubicBezTo>
                    <a:cubicBezTo>
                      <a:pt x="94" y="98"/>
                      <a:pt x="91" y="98"/>
                      <a:pt x="90" y="97"/>
                    </a:cubicBezTo>
                    <a:cubicBezTo>
                      <a:pt x="89" y="95"/>
                      <a:pt x="90" y="92"/>
                      <a:pt x="89" y="90"/>
                    </a:cubicBezTo>
                    <a:cubicBezTo>
                      <a:pt x="88" y="88"/>
                      <a:pt x="86" y="87"/>
                      <a:pt x="85" y="85"/>
                    </a:cubicBezTo>
                    <a:cubicBezTo>
                      <a:pt x="84" y="83"/>
                      <a:pt x="85" y="80"/>
                      <a:pt x="84" y="78"/>
                    </a:cubicBezTo>
                    <a:cubicBezTo>
                      <a:pt x="82" y="76"/>
                      <a:pt x="79" y="76"/>
                      <a:pt x="77" y="76"/>
                    </a:cubicBezTo>
                    <a:cubicBezTo>
                      <a:pt x="76" y="75"/>
                      <a:pt x="75" y="76"/>
                      <a:pt x="74" y="76"/>
                    </a:cubicBezTo>
                    <a:cubicBezTo>
                      <a:pt x="70" y="74"/>
                      <a:pt x="68" y="70"/>
                      <a:pt x="64" y="69"/>
                    </a:cubicBezTo>
                    <a:cubicBezTo>
                      <a:pt x="62" y="68"/>
                      <a:pt x="60" y="70"/>
                      <a:pt x="58" y="70"/>
                    </a:cubicBezTo>
                    <a:cubicBezTo>
                      <a:pt x="56" y="71"/>
                      <a:pt x="55" y="70"/>
                      <a:pt x="54" y="70"/>
                    </a:cubicBezTo>
                    <a:cubicBezTo>
                      <a:pt x="53" y="71"/>
                      <a:pt x="54" y="73"/>
                      <a:pt x="53" y="75"/>
                    </a:cubicBezTo>
                    <a:cubicBezTo>
                      <a:pt x="52" y="75"/>
                      <a:pt x="50" y="75"/>
                      <a:pt x="49" y="76"/>
                    </a:cubicBezTo>
                    <a:cubicBezTo>
                      <a:pt x="47" y="76"/>
                      <a:pt x="46" y="77"/>
                      <a:pt x="45" y="77"/>
                    </a:cubicBezTo>
                    <a:cubicBezTo>
                      <a:pt x="42" y="78"/>
                      <a:pt x="39" y="77"/>
                      <a:pt x="37" y="78"/>
                    </a:cubicBezTo>
                    <a:cubicBezTo>
                      <a:pt x="35" y="79"/>
                      <a:pt x="35" y="82"/>
                      <a:pt x="33" y="83"/>
                    </a:cubicBezTo>
                    <a:cubicBezTo>
                      <a:pt x="32" y="83"/>
                      <a:pt x="31" y="80"/>
                      <a:pt x="29" y="79"/>
                    </a:cubicBezTo>
                    <a:cubicBezTo>
                      <a:pt x="28" y="78"/>
                      <a:pt x="26" y="79"/>
                      <a:pt x="25" y="79"/>
                    </a:cubicBezTo>
                    <a:cubicBezTo>
                      <a:pt x="22" y="79"/>
                      <a:pt x="20" y="78"/>
                      <a:pt x="17" y="78"/>
                    </a:cubicBezTo>
                    <a:cubicBezTo>
                      <a:pt x="15" y="77"/>
                      <a:pt x="14" y="75"/>
                      <a:pt x="12" y="75"/>
                    </a:cubicBezTo>
                    <a:cubicBezTo>
                      <a:pt x="10" y="75"/>
                      <a:pt x="10" y="78"/>
                      <a:pt x="9" y="79"/>
                    </a:cubicBezTo>
                    <a:cubicBezTo>
                      <a:pt x="9" y="78"/>
                      <a:pt x="9" y="77"/>
                      <a:pt x="9" y="76"/>
                    </a:cubicBezTo>
                    <a:cubicBezTo>
                      <a:pt x="8" y="76"/>
                      <a:pt x="6" y="76"/>
                      <a:pt x="5" y="76"/>
                    </a:cubicBezTo>
                    <a:cubicBezTo>
                      <a:pt x="5" y="75"/>
                      <a:pt x="5" y="74"/>
                      <a:pt x="5" y="74"/>
                    </a:cubicBezTo>
                    <a:cubicBezTo>
                      <a:pt x="4" y="73"/>
                      <a:pt x="3" y="73"/>
                      <a:pt x="3" y="72"/>
                    </a:cubicBezTo>
                    <a:cubicBezTo>
                      <a:pt x="2" y="72"/>
                      <a:pt x="1" y="71"/>
                      <a:pt x="0" y="70"/>
                    </a:cubicBezTo>
                    <a:cubicBezTo>
                      <a:pt x="0" y="69"/>
                      <a:pt x="0" y="68"/>
                      <a:pt x="0" y="67"/>
                    </a:cubicBezTo>
                    <a:cubicBezTo>
                      <a:pt x="0" y="66"/>
                      <a:pt x="1" y="65"/>
                      <a:pt x="2" y="64"/>
                    </a:cubicBezTo>
                    <a:cubicBezTo>
                      <a:pt x="2" y="63"/>
                      <a:pt x="2" y="61"/>
                      <a:pt x="3" y="60"/>
                    </a:cubicBezTo>
                    <a:cubicBezTo>
                      <a:pt x="3" y="60"/>
                      <a:pt x="4" y="59"/>
                      <a:pt x="5" y="58"/>
                    </a:cubicBezTo>
                    <a:cubicBezTo>
                      <a:pt x="6" y="59"/>
                      <a:pt x="7" y="60"/>
                      <a:pt x="8" y="59"/>
                    </a:cubicBezTo>
                    <a:cubicBezTo>
                      <a:pt x="9" y="59"/>
                      <a:pt x="9" y="58"/>
                      <a:pt x="8" y="57"/>
                    </a:cubicBezTo>
                    <a:cubicBezTo>
                      <a:pt x="8" y="57"/>
                      <a:pt x="6" y="57"/>
                      <a:pt x="6" y="56"/>
                    </a:cubicBezTo>
                    <a:cubicBezTo>
                      <a:pt x="5" y="55"/>
                      <a:pt x="7" y="53"/>
                      <a:pt x="6" y="52"/>
                    </a:cubicBezTo>
                    <a:cubicBezTo>
                      <a:pt x="6" y="51"/>
                      <a:pt x="5" y="50"/>
                      <a:pt x="5" y="49"/>
                    </a:cubicBezTo>
                    <a:cubicBezTo>
                      <a:pt x="7" y="46"/>
                      <a:pt x="9" y="43"/>
                      <a:pt x="11" y="41"/>
                    </a:cubicBezTo>
                    <a:cubicBezTo>
                      <a:pt x="13" y="39"/>
                      <a:pt x="15" y="40"/>
                      <a:pt x="17" y="39"/>
                    </a:cubicBezTo>
                    <a:cubicBezTo>
                      <a:pt x="18" y="38"/>
                      <a:pt x="19" y="38"/>
                      <a:pt x="20" y="37"/>
                    </a:cubicBezTo>
                    <a:cubicBezTo>
                      <a:pt x="21" y="36"/>
                      <a:pt x="22" y="35"/>
                      <a:pt x="22" y="34"/>
                    </a:cubicBezTo>
                    <a:cubicBezTo>
                      <a:pt x="22" y="32"/>
                      <a:pt x="19" y="31"/>
                      <a:pt x="18" y="29"/>
                    </a:cubicBezTo>
                    <a:cubicBezTo>
                      <a:pt x="18" y="29"/>
                      <a:pt x="22" y="30"/>
                      <a:pt x="21" y="29"/>
                    </a:cubicBezTo>
                    <a:cubicBezTo>
                      <a:pt x="20" y="27"/>
                      <a:pt x="17" y="26"/>
                      <a:pt x="16" y="24"/>
                    </a:cubicBezTo>
                    <a:cubicBezTo>
                      <a:pt x="15" y="22"/>
                      <a:pt x="16" y="19"/>
                      <a:pt x="16" y="16"/>
                    </a:cubicBezTo>
                    <a:cubicBezTo>
                      <a:pt x="18" y="16"/>
                      <a:pt x="21" y="18"/>
                      <a:pt x="22" y="17"/>
                    </a:cubicBezTo>
                    <a:cubicBezTo>
                      <a:pt x="24" y="16"/>
                      <a:pt x="22" y="12"/>
                      <a:pt x="24" y="11"/>
                    </a:cubicBezTo>
                    <a:cubicBezTo>
                      <a:pt x="26" y="9"/>
                      <a:pt x="28" y="10"/>
                      <a:pt x="31" y="11"/>
                    </a:cubicBezTo>
                    <a:cubicBezTo>
                      <a:pt x="34" y="11"/>
                      <a:pt x="38" y="11"/>
                      <a:pt x="41" y="11"/>
                    </a:cubicBezTo>
                    <a:cubicBezTo>
                      <a:pt x="43" y="12"/>
                      <a:pt x="45" y="13"/>
                      <a:pt x="47" y="13"/>
                    </a:cubicBezTo>
                    <a:cubicBezTo>
                      <a:pt x="49" y="13"/>
                      <a:pt x="51" y="12"/>
                      <a:pt x="53" y="13"/>
                    </a:cubicBezTo>
                    <a:cubicBezTo>
                      <a:pt x="56" y="14"/>
                      <a:pt x="59" y="15"/>
                      <a:pt x="61" y="17"/>
                    </a:cubicBezTo>
                    <a:cubicBezTo>
                      <a:pt x="62" y="17"/>
                      <a:pt x="63" y="19"/>
                      <a:pt x="64" y="19"/>
                    </a:cubicBezTo>
                    <a:cubicBezTo>
                      <a:pt x="66" y="19"/>
                      <a:pt x="68" y="17"/>
                      <a:pt x="70" y="17"/>
                    </a:cubicBezTo>
                    <a:cubicBezTo>
                      <a:pt x="72" y="17"/>
                      <a:pt x="73" y="18"/>
                      <a:pt x="75" y="18"/>
                    </a:cubicBezTo>
                    <a:cubicBezTo>
                      <a:pt x="77" y="18"/>
                      <a:pt x="78" y="17"/>
                      <a:pt x="80" y="17"/>
                    </a:cubicBezTo>
                    <a:cubicBezTo>
                      <a:pt x="82" y="17"/>
                      <a:pt x="83" y="18"/>
                      <a:pt x="85" y="18"/>
                    </a:cubicBezTo>
                    <a:cubicBezTo>
                      <a:pt x="87" y="18"/>
                      <a:pt x="88" y="17"/>
                      <a:pt x="90" y="18"/>
                    </a:cubicBezTo>
                    <a:cubicBezTo>
                      <a:pt x="92" y="18"/>
                      <a:pt x="94" y="21"/>
                      <a:pt x="95" y="20"/>
                    </a:cubicBezTo>
                    <a:cubicBezTo>
                      <a:pt x="97" y="19"/>
                      <a:pt x="97" y="16"/>
                      <a:pt x="98" y="14"/>
                    </a:cubicBezTo>
                    <a:cubicBezTo>
                      <a:pt x="99" y="12"/>
                      <a:pt x="99" y="10"/>
                      <a:pt x="101" y="8"/>
                    </a:cubicBezTo>
                    <a:cubicBezTo>
                      <a:pt x="103" y="6"/>
                      <a:pt x="107" y="6"/>
                      <a:pt x="109" y="5"/>
                    </a:cubicBezTo>
                    <a:cubicBezTo>
                      <a:pt x="112" y="6"/>
                      <a:pt x="113" y="8"/>
                      <a:pt x="116" y="7"/>
                    </a:cubicBezTo>
                    <a:cubicBezTo>
                      <a:pt x="117" y="7"/>
                      <a:pt x="117" y="4"/>
                      <a:pt x="118" y="3"/>
                    </a:cubicBezTo>
                    <a:cubicBezTo>
                      <a:pt x="122" y="2"/>
                      <a:pt x="125" y="2"/>
                      <a:pt x="129" y="2"/>
                    </a:cubicBezTo>
                    <a:cubicBezTo>
                      <a:pt x="132" y="2"/>
                      <a:pt x="136" y="0"/>
                      <a:pt x="138" y="2"/>
                    </a:cubicBezTo>
                    <a:cubicBezTo>
                      <a:pt x="140" y="3"/>
                      <a:pt x="138" y="6"/>
                      <a:pt x="139" y="8"/>
                    </a:cubicBezTo>
                    <a:cubicBezTo>
                      <a:pt x="140" y="10"/>
                      <a:pt x="144" y="12"/>
                      <a:pt x="144" y="14"/>
                    </a:cubicBezTo>
                    <a:cubicBezTo>
                      <a:pt x="144" y="16"/>
                      <a:pt x="141" y="16"/>
                      <a:pt x="140" y="17"/>
                    </a:cubicBezTo>
                    <a:cubicBezTo>
                      <a:pt x="140" y="18"/>
                      <a:pt x="139" y="21"/>
                      <a:pt x="140" y="21"/>
                    </a:cubicBezTo>
                    <a:cubicBezTo>
                      <a:pt x="144" y="23"/>
                      <a:pt x="150" y="20"/>
                      <a:pt x="154" y="23"/>
                    </a:cubicBezTo>
                    <a:cubicBezTo>
                      <a:pt x="157" y="26"/>
                      <a:pt x="155" y="33"/>
                      <a:pt x="158" y="37"/>
                    </a:cubicBezTo>
                    <a:cubicBezTo>
                      <a:pt x="160" y="39"/>
                      <a:pt x="164" y="37"/>
                      <a:pt x="167" y="37"/>
                    </a:cubicBezTo>
                    <a:cubicBezTo>
                      <a:pt x="170" y="37"/>
                      <a:pt x="174" y="37"/>
                      <a:pt x="177" y="36"/>
                    </a:cubicBezTo>
                    <a:cubicBezTo>
                      <a:pt x="178" y="35"/>
                      <a:pt x="178" y="31"/>
                      <a:pt x="179" y="32"/>
                    </a:cubicBezTo>
                    <a:cubicBezTo>
                      <a:pt x="182" y="34"/>
                      <a:pt x="182" y="38"/>
                      <a:pt x="184" y="40"/>
                    </a:cubicBezTo>
                    <a:cubicBezTo>
                      <a:pt x="186" y="42"/>
                      <a:pt x="188" y="44"/>
                      <a:pt x="191" y="44"/>
                    </a:cubicBezTo>
                    <a:cubicBezTo>
                      <a:pt x="192" y="44"/>
                      <a:pt x="192" y="41"/>
                      <a:pt x="193" y="42"/>
                    </a:cubicBezTo>
                    <a:cubicBezTo>
                      <a:pt x="197" y="43"/>
                      <a:pt x="199" y="45"/>
                      <a:pt x="203" y="47"/>
                    </a:cubicBezTo>
                    <a:cubicBezTo>
                      <a:pt x="205" y="48"/>
                      <a:pt x="207" y="51"/>
                      <a:pt x="210" y="51"/>
                    </a:cubicBezTo>
                    <a:cubicBezTo>
                      <a:pt x="211" y="52"/>
                      <a:pt x="213" y="49"/>
                      <a:pt x="213" y="50"/>
                    </a:cubicBezTo>
                    <a:cubicBezTo>
                      <a:pt x="214" y="53"/>
                      <a:pt x="214" y="56"/>
                      <a:pt x="213" y="58"/>
                    </a:cubicBezTo>
                    <a:cubicBezTo>
                      <a:pt x="212" y="60"/>
                      <a:pt x="209" y="59"/>
                      <a:pt x="208" y="61"/>
                    </a:cubicBezTo>
                    <a:cubicBezTo>
                      <a:pt x="208" y="63"/>
                      <a:pt x="212" y="63"/>
                      <a:pt x="212" y="64"/>
                    </a:cubicBezTo>
                    <a:cubicBezTo>
                      <a:pt x="212" y="66"/>
                      <a:pt x="209" y="64"/>
                      <a:pt x="208" y="65"/>
                    </a:cubicBezTo>
                    <a:cubicBezTo>
                      <a:pt x="207" y="66"/>
                      <a:pt x="207" y="69"/>
                      <a:pt x="208" y="70"/>
                    </a:cubicBezTo>
                    <a:cubicBezTo>
                      <a:pt x="209" y="71"/>
                      <a:pt x="211" y="69"/>
                      <a:pt x="211" y="70"/>
                    </a:cubicBezTo>
                    <a:cubicBezTo>
                      <a:pt x="213" y="72"/>
                      <a:pt x="213" y="75"/>
                      <a:pt x="212" y="77"/>
                    </a:cubicBezTo>
                    <a:cubicBezTo>
                      <a:pt x="212" y="79"/>
                      <a:pt x="211" y="81"/>
                      <a:pt x="209" y="81"/>
                    </a:cubicBezTo>
                    <a:cubicBezTo>
                      <a:pt x="205" y="82"/>
                      <a:pt x="201" y="80"/>
                      <a:pt x="198" y="81"/>
                    </a:cubicBezTo>
                    <a:cubicBezTo>
                      <a:pt x="195" y="82"/>
                      <a:pt x="193" y="85"/>
                      <a:pt x="193" y="88"/>
                    </a:cubicBezTo>
                    <a:cubicBezTo>
                      <a:pt x="192" y="90"/>
                      <a:pt x="194" y="91"/>
                      <a:pt x="195" y="93"/>
                    </a:cubicBezTo>
                    <a:cubicBezTo>
                      <a:pt x="195" y="94"/>
                      <a:pt x="195" y="95"/>
                      <a:pt x="195" y="95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82" name="Freeform 2602"/>
              <p:cNvSpPr>
                <a:spLocks noChangeAspect="1"/>
              </p:cNvSpPr>
              <p:nvPr/>
            </p:nvSpPr>
            <p:spPr bwMode="auto">
              <a:xfrm>
                <a:off x="5180113" y="2061497"/>
                <a:ext cx="655436" cy="255845"/>
              </a:xfrm>
              <a:custGeom>
                <a:avLst/>
                <a:gdLst>
                  <a:gd name="T0" fmla="*/ 579 w 488"/>
                  <a:gd name="T1" fmla="*/ 153 h 256"/>
                  <a:gd name="T2" fmla="*/ 564 w 488"/>
                  <a:gd name="T3" fmla="*/ 183 h 256"/>
                  <a:gd name="T4" fmla="*/ 528 w 488"/>
                  <a:gd name="T5" fmla="*/ 213 h 256"/>
                  <a:gd name="T6" fmla="*/ 509 w 488"/>
                  <a:gd name="T7" fmla="*/ 221 h 256"/>
                  <a:gd name="T8" fmla="*/ 500 w 488"/>
                  <a:gd name="T9" fmla="*/ 232 h 256"/>
                  <a:gd name="T10" fmla="*/ 504 w 488"/>
                  <a:gd name="T11" fmla="*/ 277 h 256"/>
                  <a:gd name="T12" fmla="*/ 488 w 488"/>
                  <a:gd name="T13" fmla="*/ 268 h 256"/>
                  <a:gd name="T14" fmla="*/ 444 w 488"/>
                  <a:gd name="T15" fmla="*/ 265 h 256"/>
                  <a:gd name="T16" fmla="*/ 409 w 488"/>
                  <a:gd name="T17" fmla="*/ 260 h 256"/>
                  <a:gd name="T18" fmla="*/ 382 w 488"/>
                  <a:gd name="T19" fmla="*/ 269 h 256"/>
                  <a:gd name="T20" fmla="*/ 358 w 488"/>
                  <a:gd name="T21" fmla="*/ 283 h 256"/>
                  <a:gd name="T22" fmla="*/ 330 w 488"/>
                  <a:gd name="T23" fmla="*/ 298 h 256"/>
                  <a:gd name="T24" fmla="*/ 303 w 488"/>
                  <a:gd name="T25" fmla="*/ 291 h 256"/>
                  <a:gd name="T26" fmla="*/ 295 w 488"/>
                  <a:gd name="T27" fmla="*/ 268 h 256"/>
                  <a:gd name="T28" fmla="*/ 271 w 488"/>
                  <a:gd name="T29" fmla="*/ 254 h 256"/>
                  <a:gd name="T30" fmla="*/ 184 w 488"/>
                  <a:gd name="T31" fmla="*/ 208 h 256"/>
                  <a:gd name="T32" fmla="*/ 148 w 488"/>
                  <a:gd name="T33" fmla="*/ 297 h 256"/>
                  <a:gd name="T34" fmla="*/ 121 w 488"/>
                  <a:gd name="T35" fmla="*/ 276 h 256"/>
                  <a:gd name="T36" fmla="*/ 98 w 488"/>
                  <a:gd name="T37" fmla="*/ 278 h 256"/>
                  <a:gd name="T38" fmla="*/ 86 w 488"/>
                  <a:gd name="T39" fmla="*/ 260 h 256"/>
                  <a:gd name="T40" fmla="*/ 64 w 488"/>
                  <a:gd name="T41" fmla="*/ 233 h 256"/>
                  <a:gd name="T42" fmla="*/ 73 w 488"/>
                  <a:gd name="T43" fmla="*/ 224 h 256"/>
                  <a:gd name="T44" fmla="*/ 98 w 488"/>
                  <a:gd name="T45" fmla="*/ 208 h 256"/>
                  <a:gd name="T46" fmla="*/ 89 w 488"/>
                  <a:gd name="T47" fmla="*/ 185 h 256"/>
                  <a:gd name="T48" fmla="*/ 42 w 488"/>
                  <a:gd name="T49" fmla="*/ 195 h 256"/>
                  <a:gd name="T50" fmla="*/ 38 w 488"/>
                  <a:gd name="T51" fmla="*/ 184 h 256"/>
                  <a:gd name="T52" fmla="*/ 11 w 488"/>
                  <a:gd name="T53" fmla="*/ 164 h 256"/>
                  <a:gd name="T54" fmla="*/ 8 w 488"/>
                  <a:gd name="T55" fmla="*/ 136 h 256"/>
                  <a:gd name="T56" fmla="*/ 11 w 488"/>
                  <a:gd name="T57" fmla="*/ 106 h 256"/>
                  <a:gd name="T58" fmla="*/ 31 w 488"/>
                  <a:gd name="T59" fmla="*/ 114 h 256"/>
                  <a:gd name="T60" fmla="*/ 38 w 488"/>
                  <a:gd name="T61" fmla="*/ 93 h 256"/>
                  <a:gd name="T62" fmla="*/ 64 w 488"/>
                  <a:gd name="T63" fmla="*/ 85 h 256"/>
                  <a:gd name="T64" fmla="*/ 92 w 488"/>
                  <a:gd name="T65" fmla="*/ 84 h 256"/>
                  <a:gd name="T66" fmla="*/ 115 w 488"/>
                  <a:gd name="T67" fmla="*/ 105 h 256"/>
                  <a:gd name="T68" fmla="*/ 148 w 488"/>
                  <a:gd name="T69" fmla="*/ 94 h 256"/>
                  <a:gd name="T70" fmla="*/ 169 w 488"/>
                  <a:gd name="T71" fmla="*/ 101 h 256"/>
                  <a:gd name="T72" fmla="*/ 209 w 488"/>
                  <a:gd name="T73" fmla="*/ 95 h 256"/>
                  <a:gd name="T74" fmla="*/ 199 w 488"/>
                  <a:gd name="T75" fmla="*/ 69 h 256"/>
                  <a:gd name="T76" fmla="*/ 208 w 488"/>
                  <a:gd name="T77" fmla="*/ 51 h 256"/>
                  <a:gd name="T78" fmla="*/ 197 w 488"/>
                  <a:gd name="T79" fmla="*/ 35 h 256"/>
                  <a:gd name="T80" fmla="*/ 257 w 488"/>
                  <a:gd name="T81" fmla="*/ 26 h 256"/>
                  <a:gd name="T82" fmla="*/ 298 w 488"/>
                  <a:gd name="T83" fmla="*/ 4 h 256"/>
                  <a:gd name="T84" fmla="*/ 337 w 488"/>
                  <a:gd name="T85" fmla="*/ 17 h 256"/>
                  <a:gd name="T86" fmla="*/ 351 w 488"/>
                  <a:gd name="T87" fmla="*/ 26 h 256"/>
                  <a:gd name="T88" fmla="*/ 364 w 488"/>
                  <a:gd name="T89" fmla="*/ 34 h 256"/>
                  <a:gd name="T90" fmla="*/ 377 w 488"/>
                  <a:gd name="T91" fmla="*/ 42 h 256"/>
                  <a:gd name="T92" fmla="*/ 420 w 488"/>
                  <a:gd name="T93" fmla="*/ 25 h 256"/>
                  <a:gd name="T94" fmla="*/ 478 w 488"/>
                  <a:gd name="T95" fmla="*/ 101 h 256"/>
                  <a:gd name="T96" fmla="*/ 494 w 488"/>
                  <a:gd name="T97" fmla="*/ 97 h 256"/>
                  <a:gd name="T98" fmla="*/ 515 w 488"/>
                  <a:gd name="T99" fmla="*/ 103 h 256"/>
                  <a:gd name="T100" fmla="*/ 551 w 488"/>
                  <a:gd name="T101" fmla="*/ 115 h 256"/>
                  <a:gd name="T102" fmla="*/ 575 w 488"/>
                  <a:gd name="T103" fmla="*/ 122 h 25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488"/>
                  <a:gd name="T157" fmla="*/ 0 h 256"/>
                  <a:gd name="T158" fmla="*/ 488 w 488"/>
                  <a:gd name="T159" fmla="*/ 256 h 25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488" h="256">
                    <a:moveTo>
                      <a:pt x="488" y="114"/>
                    </a:moveTo>
                    <a:cubicBezTo>
                      <a:pt x="486" y="115"/>
                      <a:pt x="484" y="115"/>
                      <a:pt x="483" y="117"/>
                    </a:cubicBezTo>
                    <a:cubicBezTo>
                      <a:pt x="482" y="119"/>
                      <a:pt x="483" y="120"/>
                      <a:pt x="483" y="122"/>
                    </a:cubicBezTo>
                    <a:cubicBezTo>
                      <a:pt x="483" y="124"/>
                      <a:pt x="484" y="126"/>
                      <a:pt x="482" y="127"/>
                    </a:cubicBezTo>
                    <a:cubicBezTo>
                      <a:pt x="480" y="128"/>
                      <a:pt x="475" y="125"/>
                      <a:pt x="473" y="127"/>
                    </a:cubicBezTo>
                    <a:cubicBezTo>
                      <a:pt x="471" y="130"/>
                      <a:pt x="471" y="135"/>
                      <a:pt x="472" y="138"/>
                    </a:cubicBezTo>
                    <a:cubicBezTo>
                      <a:pt x="472" y="142"/>
                      <a:pt x="475" y="145"/>
                      <a:pt x="475" y="149"/>
                    </a:cubicBezTo>
                    <a:cubicBezTo>
                      <a:pt x="474" y="151"/>
                      <a:pt x="472" y="151"/>
                      <a:pt x="470" y="152"/>
                    </a:cubicBezTo>
                    <a:cubicBezTo>
                      <a:pt x="466" y="153"/>
                      <a:pt x="461" y="154"/>
                      <a:pt x="457" y="153"/>
                    </a:cubicBezTo>
                    <a:cubicBezTo>
                      <a:pt x="453" y="153"/>
                      <a:pt x="448" y="148"/>
                      <a:pt x="444" y="150"/>
                    </a:cubicBezTo>
                    <a:cubicBezTo>
                      <a:pt x="440" y="152"/>
                      <a:pt x="441" y="158"/>
                      <a:pt x="441" y="162"/>
                    </a:cubicBezTo>
                    <a:cubicBezTo>
                      <a:pt x="440" y="167"/>
                      <a:pt x="439" y="172"/>
                      <a:pt x="440" y="177"/>
                    </a:cubicBezTo>
                    <a:cubicBezTo>
                      <a:pt x="440" y="180"/>
                      <a:pt x="443" y="181"/>
                      <a:pt x="443" y="183"/>
                    </a:cubicBezTo>
                    <a:cubicBezTo>
                      <a:pt x="442" y="184"/>
                      <a:pt x="440" y="184"/>
                      <a:pt x="439" y="184"/>
                    </a:cubicBezTo>
                    <a:cubicBezTo>
                      <a:pt x="437" y="183"/>
                      <a:pt x="435" y="181"/>
                      <a:pt x="432" y="181"/>
                    </a:cubicBezTo>
                    <a:cubicBezTo>
                      <a:pt x="429" y="181"/>
                      <a:pt x="427" y="184"/>
                      <a:pt x="424" y="184"/>
                    </a:cubicBezTo>
                    <a:cubicBezTo>
                      <a:pt x="420" y="185"/>
                      <a:pt x="416" y="185"/>
                      <a:pt x="413" y="186"/>
                    </a:cubicBezTo>
                    <a:cubicBezTo>
                      <a:pt x="412" y="186"/>
                      <a:pt x="409" y="187"/>
                      <a:pt x="410" y="188"/>
                    </a:cubicBezTo>
                    <a:cubicBezTo>
                      <a:pt x="412" y="190"/>
                      <a:pt x="415" y="188"/>
                      <a:pt x="416" y="190"/>
                    </a:cubicBezTo>
                    <a:cubicBezTo>
                      <a:pt x="417" y="190"/>
                      <a:pt x="416" y="192"/>
                      <a:pt x="416" y="193"/>
                    </a:cubicBezTo>
                    <a:cubicBezTo>
                      <a:pt x="416" y="196"/>
                      <a:pt x="416" y="200"/>
                      <a:pt x="417" y="203"/>
                    </a:cubicBezTo>
                    <a:cubicBezTo>
                      <a:pt x="419" y="208"/>
                      <a:pt x="423" y="211"/>
                      <a:pt x="424" y="216"/>
                    </a:cubicBezTo>
                    <a:cubicBezTo>
                      <a:pt x="424" y="219"/>
                      <a:pt x="420" y="221"/>
                      <a:pt x="419" y="223"/>
                    </a:cubicBezTo>
                    <a:cubicBezTo>
                      <a:pt x="419" y="225"/>
                      <a:pt x="419" y="228"/>
                      <a:pt x="420" y="230"/>
                    </a:cubicBezTo>
                    <a:cubicBezTo>
                      <a:pt x="419" y="230"/>
                      <a:pt x="418" y="230"/>
                      <a:pt x="417" y="229"/>
                    </a:cubicBezTo>
                    <a:cubicBezTo>
                      <a:pt x="415" y="229"/>
                      <a:pt x="412" y="229"/>
                      <a:pt x="410" y="227"/>
                    </a:cubicBezTo>
                    <a:cubicBezTo>
                      <a:pt x="409" y="226"/>
                      <a:pt x="410" y="224"/>
                      <a:pt x="409" y="223"/>
                    </a:cubicBezTo>
                    <a:cubicBezTo>
                      <a:pt x="408" y="222"/>
                      <a:pt x="407" y="223"/>
                      <a:pt x="406" y="223"/>
                    </a:cubicBezTo>
                    <a:cubicBezTo>
                      <a:pt x="404" y="223"/>
                      <a:pt x="402" y="221"/>
                      <a:pt x="400" y="221"/>
                    </a:cubicBezTo>
                    <a:cubicBezTo>
                      <a:pt x="397" y="220"/>
                      <a:pt x="394" y="221"/>
                      <a:pt x="390" y="221"/>
                    </a:cubicBezTo>
                    <a:cubicBezTo>
                      <a:pt x="386" y="221"/>
                      <a:pt x="383" y="221"/>
                      <a:pt x="379" y="220"/>
                    </a:cubicBezTo>
                    <a:cubicBezTo>
                      <a:pt x="376" y="220"/>
                      <a:pt x="373" y="220"/>
                      <a:pt x="370" y="220"/>
                    </a:cubicBezTo>
                    <a:cubicBezTo>
                      <a:pt x="369" y="220"/>
                      <a:pt x="369" y="222"/>
                      <a:pt x="369" y="222"/>
                    </a:cubicBezTo>
                    <a:cubicBezTo>
                      <a:pt x="365" y="222"/>
                      <a:pt x="361" y="221"/>
                      <a:pt x="358" y="220"/>
                    </a:cubicBezTo>
                    <a:cubicBezTo>
                      <a:pt x="354" y="219"/>
                      <a:pt x="351" y="216"/>
                      <a:pt x="348" y="215"/>
                    </a:cubicBezTo>
                    <a:cubicBezTo>
                      <a:pt x="346" y="214"/>
                      <a:pt x="343" y="215"/>
                      <a:pt x="341" y="216"/>
                    </a:cubicBezTo>
                    <a:cubicBezTo>
                      <a:pt x="339" y="216"/>
                      <a:pt x="337" y="217"/>
                      <a:pt x="337" y="219"/>
                    </a:cubicBezTo>
                    <a:cubicBezTo>
                      <a:pt x="336" y="221"/>
                      <a:pt x="338" y="224"/>
                      <a:pt x="337" y="227"/>
                    </a:cubicBezTo>
                    <a:cubicBezTo>
                      <a:pt x="336" y="228"/>
                      <a:pt x="334" y="228"/>
                      <a:pt x="332" y="228"/>
                    </a:cubicBezTo>
                    <a:cubicBezTo>
                      <a:pt x="327" y="227"/>
                      <a:pt x="323" y="225"/>
                      <a:pt x="318" y="224"/>
                    </a:cubicBezTo>
                    <a:cubicBezTo>
                      <a:pt x="317" y="224"/>
                      <a:pt x="315" y="224"/>
                      <a:pt x="313" y="225"/>
                    </a:cubicBezTo>
                    <a:cubicBezTo>
                      <a:pt x="311" y="226"/>
                      <a:pt x="309" y="228"/>
                      <a:pt x="307" y="230"/>
                    </a:cubicBezTo>
                    <a:cubicBezTo>
                      <a:pt x="305" y="233"/>
                      <a:pt x="304" y="236"/>
                      <a:pt x="301" y="238"/>
                    </a:cubicBezTo>
                    <a:cubicBezTo>
                      <a:pt x="300" y="239"/>
                      <a:pt x="299" y="235"/>
                      <a:pt x="298" y="235"/>
                    </a:cubicBezTo>
                    <a:cubicBezTo>
                      <a:pt x="295" y="236"/>
                      <a:pt x="294" y="239"/>
                      <a:pt x="292" y="241"/>
                    </a:cubicBezTo>
                    <a:cubicBezTo>
                      <a:pt x="289" y="246"/>
                      <a:pt x="287" y="252"/>
                      <a:pt x="282" y="255"/>
                    </a:cubicBezTo>
                    <a:cubicBezTo>
                      <a:pt x="280" y="256"/>
                      <a:pt x="277" y="255"/>
                      <a:pt x="275" y="253"/>
                    </a:cubicBezTo>
                    <a:cubicBezTo>
                      <a:pt x="274" y="252"/>
                      <a:pt x="277" y="249"/>
                      <a:pt x="275" y="248"/>
                    </a:cubicBezTo>
                    <a:cubicBezTo>
                      <a:pt x="274" y="247"/>
                      <a:pt x="271" y="249"/>
                      <a:pt x="269" y="249"/>
                    </a:cubicBezTo>
                    <a:cubicBezTo>
                      <a:pt x="266" y="250"/>
                      <a:pt x="262" y="251"/>
                      <a:pt x="258" y="250"/>
                    </a:cubicBezTo>
                    <a:cubicBezTo>
                      <a:pt x="257" y="250"/>
                      <a:pt x="255" y="249"/>
                      <a:pt x="254" y="248"/>
                    </a:cubicBezTo>
                    <a:cubicBezTo>
                      <a:pt x="253" y="246"/>
                      <a:pt x="254" y="243"/>
                      <a:pt x="252" y="242"/>
                    </a:cubicBezTo>
                    <a:cubicBezTo>
                      <a:pt x="251" y="241"/>
                      <a:pt x="248" y="243"/>
                      <a:pt x="247" y="242"/>
                    </a:cubicBezTo>
                    <a:cubicBezTo>
                      <a:pt x="245" y="240"/>
                      <a:pt x="245" y="236"/>
                      <a:pt x="245" y="233"/>
                    </a:cubicBezTo>
                    <a:cubicBezTo>
                      <a:pt x="245" y="232"/>
                      <a:pt x="247" y="231"/>
                      <a:pt x="247" y="229"/>
                    </a:cubicBezTo>
                    <a:cubicBezTo>
                      <a:pt x="247" y="227"/>
                      <a:pt x="247" y="225"/>
                      <a:pt x="246" y="223"/>
                    </a:cubicBezTo>
                    <a:cubicBezTo>
                      <a:pt x="244" y="220"/>
                      <a:pt x="243" y="216"/>
                      <a:pt x="240" y="213"/>
                    </a:cubicBezTo>
                    <a:cubicBezTo>
                      <a:pt x="239" y="212"/>
                      <a:pt x="237" y="214"/>
                      <a:pt x="236" y="213"/>
                    </a:cubicBezTo>
                    <a:cubicBezTo>
                      <a:pt x="234" y="212"/>
                      <a:pt x="236" y="208"/>
                      <a:pt x="234" y="207"/>
                    </a:cubicBezTo>
                    <a:cubicBezTo>
                      <a:pt x="231" y="207"/>
                      <a:pt x="229" y="212"/>
                      <a:pt x="226" y="211"/>
                    </a:cubicBezTo>
                    <a:lnTo>
                      <a:pt x="204" y="209"/>
                    </a:lnTo>
                    <a:cubicBezTo>
                      <a:pt x="200" y="210"/>
                      <a:pt x="196" y="211"/>
                      <a:pt x="193" y="212"/>
                    </a:cubicBezTo>
                    <a:cubicBezTo>
                      <a:pt x="190" y="207"/>
                      <a:pt x="188" y="202"/>
                      <a:pt x="185" y="197"/>
                    </a:cubicBezTo>
                    <a:cubicBezTo>
                      <a:pt x="175" y="189"/>
                      <a:pt x="164" y="181"/>
                      <a:pt x="153" y="173"/>
                    </a:cubicBezTo>
                    <a:cubicBezTo>
                      <a:pt x="148" y="174"/>
                      <a:pt x="143" y="175"/>
                      <a:pt x="138" y="176"/>
                    </a:cubicBezTo>
                    <a:cubicBezTo>
                      <a:pt x="133" y="178"/>
                      <a:pt x="128" y="180"/>
                      <a:pt x="123" y="182"/>
                    </a:cubicBezTo>
                    <a:cubicBezTo>
                      <a:pt x="124" y="203"/>
                      <a:pt x="126" y="225"/>
                      <a:pt x="127" y="246"/>
                    </a:cubicBezTo>
                    <a:cubicBezTo>
                      <a:pt x="126" y="247"/>
                      <a:pt x="125" y="247"/>
                      <a:pt x="123" y="247"/>
                    </a:cubicBezTo>
                    <a:cubicBezTo>
                      <a:pt x="122" y="247"/>
                      <a:pt x="120" y="248"/>
                      <a:pt x="119" y="247"/>
                    </a:cubicBezTo>
                    <a:cubicBezTo>
                      <a:pt x="116" y="245"/>
                      <a:pt x="115" y="242"/>
                      <a:pt x="114" y="240"/>
                    </a:cubicBezTo>
                    <a:cubicBezTo>
                      <a:pt x="112" y="237"/>
                      <a:pt x="112" y="234"/>
                      <a:pt x="110" y="232"/>
                    </a:cubicBezTo>
                    <a:cubicBezTo>
                      <a:pt x="108" y="230"/>
                      <a:pt x="104" y="230"/>
                      <a:pt x="101" y="229"/>
                    </a:cubicBezTo>
                    <a:cubicBezTo>
                      <a:pt x="99" y="229"/>
                      <a:pt x="96" y="229"/>
                      <a:pt x="94" y="229"/>
                    </a:cubicBezTo>
                    <a:cubicBezTo>
                      <a:pt x="91" y="230"/>
                      <a:pt x="89" y="232"/>
                      <a:pt x="88" y="234"/>
                    </a:cubicBezTo>
                    <a:cubicBezTo>
                      <a:pt x="86" y="235"/>
                      <a:pt x="86" y="237"/>
                      <a:pt x="85" y="239"/>
                    </a:cubicBezTo>
                    <a:cubicBezTo>
                      <a:pt x="84" y="236"/>
                      <a:pt x="81" y="234"/>
                      <a:pt x="82" y="231"/>
                    </a:cubicBezTo>
                    <a:cubicBezTo>
                      <a:pt x="82" y="228"/>
                      <a:pt x="86" y="227"/>
                      <a:pt x="86" y="224"/>
                    </a:cubicBezTo>
                    <a:cubicBezTo>
                      <a:pt x="86" y="222"/>
                      <a:pt x="84" y="222"/>
                      <a:pt x="82" y="221"/>
                    </a:cubicBezTo>
                    <a:cubicBezTo>
                      <a:pt x="80" y="221"/>
                      <a:pt x="77" y="221"/>
                      <a:pt x="75" y="220"/>
                    </a:cubicBezTo>
                    <a:cubicBezTo>
                      <a:pt x="73" y="219"/>
                      <a:pt x="74" y="217"/>
                      <a:pt x="72" y="216"/>
                    </a:cubicBezTo>
                    <a:cubicBezTo>
                      <a:pt x="71" y="215"/>
                      <a:pt x="69" y="216"/>
                      <a:pt x="68" y="215"/>
                    </a:cubicBezTo>
                    <a:cubicBezTo>
                      <a:pt x="66" y="213"/>
                      <a:pt x="68" y="211"/>
                      <a:pt x="68" y="209"/>
                    </a:cubicBezTo>
                    <a:cubicBezTo>
                      <a:pt x="66" y="205"/>
                      <a:pt x="64" y="201"/>
                      <a:pt x="61" y="198"/>
                    </a:cubicBezTo>
                    <a:cubicBezTo>
                      <a:pt x="59" y="195"/>
                      <a:pt x="55" y="196"/>
                      <a:pt x="53" y="194"/>
                    </a:cubicBezTo>
                    <a:cubicBezTo>
                      <a:pt x="52" y="192"/>
                      <a:pt x="55" y="190"/>
                      <a:pt x="56" y="190"/>
                    </a:cubicBezTo>
                    <a:cubicBezTo>
                      <a:pt x="59" y="189"/>
                      <a:pt x="62" y="191"/>
                      <a:pt x="65" y="192"/>
                    </a:cubicBezTo>
                    <a:cubicBezTo>
                      <a:pt x="66" y="192"/>
                      <a:pt x="69" y="193"/>
                      <a:pt x="68" y="192"/>
                    </a:cubicBezTo>
                    <a:cubicBezTo>
                      <a:pt x="67" y="189"/>
                      <a:pt x="62" y="189"/>
                      <a:pt x="61" y="186"/>
                    </a:cubicBezTo>
                    <a:cubicBezTo>
                      <a:pt x="61" y="183"/>
                      <a:pt x="63" y="179"/>
                      <a:pt x="66" y="178"/>
                    </a:cubicBezTo>
                    <a:cubicBezTo>
                      <a:pt x="70" y="176"/>
                      <a:pt x="75" y="176"/>
                      <a:pt x="80" y="176"/>
                    </a:cubicBezTo>
                    <a:cubicBezTo>
                      <a:pt x="83" y="176"/>
                      <a:pt x="88" y="180"/>
                      <a:pt x="88" y="177"/>
                    </a:cubicBezTo>
                    <a:cubicBezTo>
                      <a:pt x="89" y="175"/>
                      <a:pt x="82" y="175"/>
                      <a:pt x="82" y="173"/>
                    </a:cubicBezTo>
                    <a:cubicBezTo>
                      <a:pt x="81" y="169"/>
                      <a:pt x="85" y="167"/>
                      <a:pt x="86" y="164"/>
                    </a:cubicBezTo>
                    <a:cubicBezTo>
                      <a:pt x="86" y="160"/>
                      <a:pt x="88" y="156"/>
                      <a:pt x="86" y="153"/>
                    </a:cubicBezTo>
                    <a:cubicBezTo>
                      <a:pt x="84" y="150"/>
                      <a:pt x="79" y="151"/>
                      <a:pt x="75" y="151"/>
                    </a:cubicBezTo>
                    <a:cubicBezTo>
                      <a:pt x="74" y="151"/>
                      <a:pt x="75" y="154"/>
                      <a:pt x="74" y="154"/>
                    </a:cubicBezTo>
                    <a:cubicBezTo>
                      <a:pt x="71" y="155"/>
                      <a:pt x="69" y="153"/>
                      <a:pt x="66" y="152"/>
                    </a:cubicBezTo>
                    <a:cubicBezTo>
                      <a:pt x="64" y="151"/>
                      <a:pt x="62" y="149"/>
                      <a:pt x="60" y="149"/>
                    </a:cubicBezTo>
                    <a:cubicBezTo>
                      <a:pt x="56" y="150"/>
                      <a:pt x="52" y="153"/>
                      <a:pt x="49" y="155"/>
                    </a:cubicBezTo>
                    <a:cubicBezTo>
                      <a:pt x="44" y="157"/>
                      <a:pt x="40" y="160"/>
                      <a:pt x="35" y="162"/>
                    </a:cubicBezTo>
                    <a:cubicBezTo>
                      <a:pt x="34" y="161"/>
                      <a:pt x="33" y="160"/>
                      <a:pt x="32" y="160"/>
                    </a:cubicBezTo>
                    <a:cubicBezTo>
                      <a:pt x="30" y="160"/>
                      <a:pt x="27" y="160"/>
                      <a:pt x="26" y="158"/>
                    </a:cubicBezTo>
                    <a:cubicBezTo>
                      <a:pt x="27" y="157"/>
                      <a:pt x="26" y="155"/>
                      <a:pt x="27" y="155"/>
                    </a:cubicBezTo>
                    <a:cubicBezTo>
                      <a:pt x="28" y="153"/>
                      <a:pt x="33" y="155"/>
                      <a:pt x="32" y="153"/>
                    </a:cubicBezTo>
                    <a:cubicBezTo>
                      <a:pt x="31" y="147"/>
                      <a:pt x="26" y="142"/>
                      <a:pt x="21" y="138"/>
                    </a:cubicBezTo>
                    <a:cubicBezTo>
                      <a:pt x="20" y="137"/>
                      <a:pt x="17" y="137"/>
                      <a:pt x="15" y="137"/>
                    </a:cubicBezTo>
                    <a:cubicBezTo>
                      <a:pt x="14" y="137"/>
                      <a:pt x="15" y="139"/>
                      <a:pt x="15" y="139"/>
                    </a:cubicBezTo>
                    <a:cubicBezTo>
                      <a:pt x="13" y="138"/>
                      <a:pt x="10" y="137"/>
                      <a:pt x="9" y="136"/>
                    </a:cubicBezTo>
                    <a:cubicBezTo>
                      <a:pt x="8" y="134"/>
                      <a:pt x="10" y="130"/>
                      <a:pt x="9" y="129"/>
                    </a:cubicBezTo>
                    <a:cubicBezTo>
                      <a:pt x="7" y="127"/>
                      <a:pt x="2" y="129"/>
                      <a:pt x="1" y="127"/>
                    </a:cubicBezTo>
                    <a:cubicBezTo>
                      <a:pt x="0" y="123"/>
                      <a:pt x="3" y="119"/>
                      <a:pt x="4" y="115"/>
                    </a:cubicBezTo>
                    <a:cubicBezTo>
                      <a:pt x="5" y="114"/>
                      <a:pt x="7" y="114"/>
                      <a:pt x="7" y="113"/>
                    </a:cubicBezTo>
                    <a:cubicBezTo>
                      <a:pt x="7" y="111"/>
                      <a:pt x="4" y="110"/>
                      <a:pt x="3" y="107"/>
                    </a:cubicBezTo>
                    <a:cubicBezTo>
                      <a:pt x="2" y="105"/>
                      <a:pt x="3" y="102"/>
                      <a:pt x="4" y="99"/>
                    </a:cubicBezTo>
                    <a:cubicBezTo>
                      <a:pt x="5" y="97"/>
                      <a:pt x="8" y="96"/>
                      <a:pt x="9" y="94"/>
                    </a:cubicBezTo>
                    <a:cubicBezTo>
                      <a:pt x="10" y="92"/>
                      <a:pt x="8" y="90"/>
                      <a:pt x="9" y="88"/>
                    </a:cubicBezTo>
                    <a:cubicBezTo>
                      <a:pt x="10" y="87"/>
                      <a:pt x="13" y="87"/>
                      <a:pt x="14" y="88"/>
                    </a:cubicBezTo>
                    <a:cubicBezTo>
                      <a:pt x="18" y="91"/>
                      <a:pt x="18" y="96"/>
                      <a:pt x="22" y="99"/>
                    </a:cubicBezTo>
                    <a:cubicBezTo>
                      <a:pt x="23" y="101"/>
                      <a:pt x="25" y="101"/>
                      <a:pt x="26" y="99"/>
                    </a:cubicBezTo>
                    <a:cubicBezTo>
                      <a:pt x="27" y="98"/>
                      <a:pt x="27" y="96"/>
                      <a:pt x="26" y="95"/>
                    </a:cubicBezTo>
                    <a:cubicBezTo>
                      <a:pt x="25" y="91"/>
                      <a:pt x="21" y="89"/>
                      <a:pt x="22" y="85"/>
                    </a:cubicBezTo>
                    <a:cubicBezTo>
                      <a:pt x="22" y="83"/>
                      <a:pt x="25" y="86"/>
                      <a:pt x="27" y="85"/>
                    </a:cubicBezTo>
                    <a:cubicBezTo>
                      <a:pt x="29" y="85"/>
                      <a:pt x="31" y="84"/>
                      <a:pt x="32" y="82"/>
                    </a:cubicBezTo>
                    <a:cubicBezTo>
                      <a:pt x="33" y="81"/>
                      <a:pt x="30" y="78"/>
                      <a:pt x="32" y="77"/>
                    </a:cubicBezTo>
                    <a:cubicBezTo>
                      <a:pt x="35" y="75"/>
                      <a:pt x="39" y="76"/>
                      <a:pt x="43" y="73"/>
                    </a:cubicBezTo>
                    <a:cubicBezTo>
                      <a:pt x="45" y="72"/>
                      <a:pt x="45" y="68"/>
                      <a:pt x="47" y="67"/>
                    </a:cubicBezTo>
                    <a:cubicBezTo>
                      <a:pt x="49" y="66"/>
                      <a:pt x="52" y="67"/>
                      <a:pt x="54" y="68"/>
                    </a:cubicBezTo>
                    <a:cubicBezTo>
                      <a:pt x="55" y="69"/>
                      <a:pt x="53" y="70"/>
                      <a:pt x="53" y="71"/>
                    </a:cubicBezTo>
                    <a:cubicBezTo>
                      <a:pt x="55" y="72"/>
                      <a:pt x="57" y="72"/>
                      <a:pt x="58" y="71"/>
                    </a:cubicBezTo>
                    <a:cubicBezTo>
                      <a:pt x="60" y="70"/>
                      <a:pt x="61" y="68"/>
                      <a:pt x="64" y="67"/>
                    </a:cubicBezTo>
                    <a:cubicBezTo>
                      <a:pt x="65" y="67"/>
                      <a:pt x="66" y="69"/>
                      <a:pt x="67" y="70"/>
                    </a:cubicBezTo>
                    <a:cubicBezTo>
                      <a:pt x="70" y="70"/>
                      <a:pt x="74" y="69"/>
                      <a:pt x="77" y="70"/>
                    </a:cubicBezTo>
                    <a:cubicBezTo>
                      <a:pt x="79" y="70"/>
                      <a:pt x="80" y="73"/>
                      <a:pt x="82" y="75"/>
                    </a:cubicBezTo>
                    <a:cubicBezTo>
                      <a:pt x="85" y="77"/>
                      <a:pt x="89" y="77"/>
                      <a:pt x="91" y="80"/>
                    </a:cubicBezTo>
                    <a:cubicBezTo>
                      <a:pt x="93" y="82"/>
                      <a:pt x="91" y="85"/>
                      <a:pt x="93" y="87"/>
                    </a:cubicBezTo>
                    <a:cubicBezTo>
                      <a:pt x="93" y="88"/>
                      <a:pt x="96" y="88"/>
                      <a:pt x="96" y="87"/>
                    </a:cubicBezTo>
                    <a:cubicBezTo>
                      <a:pt x="97" y="85"/>
                      <a:pt x="94" y="80"/>
                      <a:pt x="96" y="80"/>
                    </a:cubicBezTo>
                    <a:cubicBezTo>
                      <a:pt x="101" y="80"/>
                      <a:pt x="103" y="87"/>
                      <a:pt x="108" y="87"/>
                    </a:cubicBezTo>
                    <a:cubicBezTo>
                      <a:pt x="111" y="87"/>
                      <a:pt x="112" y="81"/>
                      <a:pt x="115" y="80"/>
                    </a:cubicBezTo>
                    <a:cubicBezTo>
                      <a:pt x="117" y="78"/>
                      <a:pt x="120" y="78"/>
                      <a:pt x="123" y="78"/>
                    </a:cubicBezTo>
                    <a:cubicBezTo>
                      <a:pt x="125" y="78"/>
                      <a:pt x="127" y="81"/>
                      <a:pt x="129" y="80"/>
                    </a:cubicBezTo>
                    <a:cubicBezTo>
                      <a:pt x="130" y="80"/>
                      <a:pt x="129" y="77"/>
                      <a:pt x="131" y="76"/>
                    </a:cubicBezTo>
                    <a:cubicBezTo>
                      <a:pt x="133" y="75"/>
                      <a:pt x="136" y="76"/>
                      <a:pt x="138" y="77"/>
                    </a:cubicBezTo>
                    <a:cubicBezTo>
                      <a:pt x="140" y="78"/>
                      <a:pt x="139" y="82"/>
                      <a:pt x="141" y="84"/>
                    </a:cubicBezTo>
                    <a:cubicBezTo>
                      <a:pt x="145" y="86"/>
                      <a:pt x="150" y="87"/>
                      <a:pt x="155" y="87"/>
                    </a:cubicBezTo>
                    <a:cubicBezTo>
                      <a:pt x="157" y="86"/>
                      <a:pt x="156" y="81"/>
                      <a:pt x="158" y="81"/>
                    </a:cubicBezTo>
                    <a:cubicBezTo>
                      <a:pt x="162" y="81"/>
                      <a:pt x="165" y="86"/>
                      <a:pt x="169" y="85"/>
                    </a:cubicBezTo>
                    <a:cubicBezTo>
                      <a:pt x="172" y="85"/>
                      <a:pt x="173" y="81"/>
                      <a:pt x="174" y="79"/>
                    </a:cubicBezTo>
                    <a:cubicBezTo>
                      <a:pt x="175" y="76"/>
                      <a:pt x="176" y="73"/>
                      <a:pt x="174" y="71"/>
                    </a:cubicBezTo>
                    <a:cubicBezTo>
                      <a:pt x="173" y="69"/>
                      <a:pt x="169" y="71"/>
                      <a:pt x="167" y="70"/>
                    </a:cubicBezTo>
                    <a:cubicBezTo>
                      <a:pt x="163" y="68"/>
                      <a:pt x="159" y="64"/>
                      <a:pt x="157" y="61"/>
                    </a:cubicBezTo>
                    <a:cubicBezTo>
                      <a:pt x="160" y="59"/>
                      <a:pt x="164" y="60"/>
                      <a:pt x="166" y="57"/>
                    </a:cubicBezTo>
                    <a:cubicBezTo>
                      <a:pt x="167" y="55"/>
                      <a:pt x="163" y="54"/>
                      <a:pt x="163" y="51"/>
                    </a:cubicBezTo>
                    <a:cubicBezTo>
                      <a:pt x="163" y="48"/>
                      <a:pt x="165" y="45"/>
                      <a:pt x="168" y="44"/>
                    </a:cubicBezTo>
                    <a:cubicBezTo>
                      <a:pt x="171" y="43"/>
                      <a:pt x="174" y="47"/>
                      <a:pt x="177" y="46"/>
                    </a:cubicBezTo>
                    <a:cubicBezTo>
                      <a:pt x="179" y="45"/>
                      <a:pt x="175" y="43"/>
                      <a:pt x="173" y="42"/>
                    </a:cubicBezTo>
                    <a:cubicBezTo>
                      <a:pt x="172" y="41"/>
                      <a:pt x="169" y="42"/>
                      <a:pt x="168" y="40"/>
                    </a:cubicBezTo>
                    <a:cubicBezTo>
                      <a:pt x="167" y="39"/>
                      <a:pt x="170" y="38"/>
                      <a:pt x="169" y="37"/>
                    </a:cubicBezTo>
                    <a:cubicBezTo>
                      <a:pt x="168" y="36"/>
                      <a:pt x="165" y="38"/>
                      <a:pt x="164" y="37"/>
                    </a:cubicBezTo>
                    <a:cubicBezTo>
                      <a:pt x="162" y="35"/>
                      <a:pt x="162" y="31"/>
                      <a:pt x="164" y="29"/>
                    </a:cubicBezTo>
                    <a:cubicBezTo>
                      <a:pt x="166" y="27"/>
                      <a:pt x="171" y="30"/>
                      <a:pt x="175" y="28"/>
                    </a:cubicBezTo>
                    <a:cubicBezTo>
                      <a:pt x="177" y="28"/>
                      <a:pt x="179" y="26"/>
                      <a:pt x="182" y="28"/>
                    </a:cubicBezTo>
                    <a:cubicBezTo>
                      <a:pt x="188" y="28"/>
                      <a:pt x="193" y="26"/>
                      <a:pt x="198" y="25"/>
                    </a:cubicBezTo>
                    <a:cubicBezTo>
                      <a:pt x="202" y="21"/>
                      <a:pt x="208" y="21"/>
                      <a:pt x="214" y="22"/>
                    </a:cubicBezTo>
                    <a:cubicBezTo>
                      <a:pt x="214" y="19"/>
                      <a:pt x="216" y="16"/>
                      <a:pt x="218" y="14"/>
                    </a:cubicBezTo>
                    <a:cubicBezTo>
                      <a:pt x="219" y="13"/>
                      <a:pt x="221" y="15"/>
                      <a:pt x="222" y="15"/>
                    </a:cubicBezTo>
                    <a:cubicBezTo>
                      <a:pt x="231" y="13"/>
                      <a:pt x="239" y="12"/>
                      <a:pt x="247" y="9"/>
                    </a:cubicBezTo>
                    <a:cubicBezTo>
                      <a:pt x="249" y="8"/>
                      <a:pt x="246" y="4"/>
                      <a:pt x="248" y="3"/>
                    </a:cubicBezTo>
                    <a:cubicBezTo>
                      <a:pt x="249" y="1"/>
                      <a:pt x="252" y="0"/>
                      <a:pt x="255" y="0"/>
                    </a:cubicBezTo>
                    <a:cubicBezTo>
                      <a:pt x="261" y="1"/>
                      <a:pt x="266" y="4"/>
                      <a:pt x="272" y="5"/>
                    </a:cubicBezTo>
                    <a:cubicBezTo>
                      <a:pt x="274" y="6"/>
                      <a:pt x="276" y="3"/>
                      <a:pt x="278" y="4"/>
                    </a:cubicBezTo>
                    <a:cubicBezTo>
                      <a:pt x="280" y="7"/>
                      <a:pt x="280" y="11"/>
                      <a:pt x="281" y="14"/>
                    </a:cubicBezTo>
                    <a:cubicBezTo>
                      <a:pt x="282" y="15"/>
                      <a:pt x="284" y="16"/>
                      <a:pt x="284" y="17"/>
                    </a:cubicBezTo>
                    <a:cubicBezTo>
                      <a:pt x="285" y="19"/>
                      <a:pt x="282" y="22"/>
                      <a:pt x="283" y="24"/>
                    </a:cubicBezTo>
                    <a:cubicBezTo>
                      <a:pt x="285" y="23"/>
                      <a:pt x="287" y="24"/>
                      <a:pt x="289" y="24"/>
                    </a:cubicBezTo>
                    <a:cubicBezTo>
                      <a:pt x="290" y="24"/>
                      <a:pt x="291" y="22"/>
                      <a:pt x="292" y="22"/>
                    </a:cubicBezTo>
                    <a:cubicBezTo>
                      <a:pt x="293" y="22"/>
                      <a:pt x="294" y="23"/>
                      <a:pt x="295" y="23"/>
                    </a:cubicBezTo>
                    <a:cubicBezTo>
                      <a:pt x="296" y="22"/>
                      <a:pt x="296" y="18"/>
                      <a:pt x="297" y="19"/>
                    </a:cubicBezTo>
                    <a:cubicBezTo>
                      <a:pt x="299" y="22"/>
                      <a:pt x="298" y="26"/>
                      <a:pt x="300" y="29"/>
                    </a:cubicBezTo>
                    <a:cubicBezTo>
                      <a:pt x="301" y="30"/>
                      <a:pt x="303" y="29"/>
                      <a:pt x="303" y="28"/>
                    </a:cubicBezTo>
                    <a:cubicBezTo>
                      <a:pt x="304" y="27"/>
                      <a:pt x="302" y="25"/>
                      <a:pt x="303" y="25"/>
                    </a:cubicBezTo>
                    <a:cubicBezTo>
                      <a:pt x="306" y="24"/>
                      <a:pt x="310" y="27"/>
                      <a:pt x="313" y="27"/>
                    </a:cubicBezTo>
                    <a:cubicBezTo>
                      <a:pt x="315" y="28"/>
                      <a:pt x="311" y="31"/>
                      <a:pt x="312" y="33"/>
                    </a:cubicBezTo>
                    <a:cubicBezTo>
                      <a:pt x="312" y="34"/>
                      <a:pt x="313" y="35"/>
                      <a:pt x="314" y="35"/>
                    </a:cubicBezTo>
                    <a:cubicBezTo>
                      <a:pt x="316" y="34"/>
                      <a:pt x="318" y="31"/>
                      <a:pt x="320" y="31"/>
                    </a:cubicBezTo>
                    <a:cubicBezTo>
                      <a:pt x="322" y="31"/>
                      <a:pt x="323" y="34"/>
                      <a:pt x="324" y="34"/>
                    </a:cubicBezTo>
                    <a:cubicBezTo>
                      <a:pt x="324" y="29"/>
                      <a:pt x="333" y="29"/>
                      <a:pt x="335" y="26"/>
                    </a:cubicBezTo>
                    <a:cubicBezTo>
                      <a:pt x="342" y="25"/>
                      <a:pt x="344" y="20"/>
                      <a:pt x="350" y="21"/>
                    </a:cubicBezTo>
                    <a:cubicBezTo>
                      <a:pt x="352" y="21"/>
                      <a:pt x="347" y="25"/>
                      <a:pt x="348" y="27"/>
                    </a:cubicBezTo>
                    <a:cubicBezTo>
                      <a:pt x="349" y="29"/>
                      <a:pt x="351" y="31"/>
                      <a:pt x="354" y="33"/>
                    </a:cubicBezTo>
                    <a:cubicBezTo>
                      <a:pt x="357" y="35"/>
                      <a:pt x="361" y="35"/>
                      <a:pt x="363" y="38"/>
                    </a:cubicBezTo>
                    <a:cubicBezTo>
                      <a:pt x="376" y="53"/>
                      <a:pt x="385" y="70"/>
                      <a:pt x="398" y="84"/>
                    </a:cubicBezTo>
                    <a:cubicBezTo>
                      <a:pt x="399" y="86"/>
                      <a:pt x="401" y="82"/>
                      <a:pt x="402" y="80"/>
                    </a:cubicBezTo>
                    <a:cubicBezTo>
                      <a:pt x="402" y="79"/>
                      <a:pt x="400" y="78"/>
                      <a:pt x="401" y="77"/>
                    </a:cubicBezTo>
                    <a:cubicBezTo>
                      <a:pt x="403" y="76"/>
                      <a:pt x="405" y="76"/>
                      <a:pt x="406" y="77"/>
                    </a:cubicBezTo>
                    <a:cubicBezTo>
                      <a:pt x="408" y="77"/>
                      <a:pt x="410" y="79"/>
                      <a:pt x="411" y="81"/>
                    </a:cubicBezTo>
                    <a:cubicBezTo>
                      <a:pt x="412" y="82"/>
                      <a:pt x="409" y="83"/>
                      <a:pt x="410" y="84"/>
                    </a:cubicBezTo>
                    <a:cubicBezTo>
                      <a:pt x="411" y="84"/>
                      <a:pt x="413" y="83"/>
                      <a:pt x="414" y="84"/>
                    </a:cubicBezTo>
                    <a:cubicBezTo>
                      <a:pt x="415" y="84"/>
                      <a:pt x="414" y="86"/>
                      <a:pt x="414" y="86"/>
                    </a:cubicBezTo>
                    <a:cubicBezTo>
                      <a:pt x="419" y="87"/>
                      <a:pt x="424" y="86"/>
                      <a:pt x="429" y="86"/>
                    </a:cubicBezTo>
                    <a:cubicBezTo>
                      <a:pt x="432" y="85"/>
                      <a:pt x="432" y="80"/>
                      <a:pt x="435" y="80"/>
                    </a:cubicBezTo>
                    <a:cubicBezTo>
                      <a:pt x="440" y="81"/>
                      <a:pt x="444" y="85"/>
                      <a:pt x="447" y="89"/>
                    </a:cubicBezTo>
                    <a:cubicBezTo>
                      <a:pt x="449" y="91"/>
                      <a:pt x="448" y="95"/>
                      <a:pt x="450" y="96"/>
                    </a:cubicBezTo>
                    <a:cubicBezTo>
                      <a:pt x="452" y="98"/>
                      <a:pt x="456" y="95"/>
                      <a:pt x="459" y="96"/>
                    </a:cubicBezTo>
                    <a:cubicBezTo>
                      <a:pt x="460" y="96"/>
                      <a:pt x="460" y="99"/>
                      <a:pt x="461" y="100"/>
                    </a:cubicBezTo>
                    <a:cubicBezTo>
                      <a:pt x="462" y="102"/>
                      <a:pt x="464" y="104"/>
                      <a:pt x="467" y="105"/>
                    </a:cubicBezTo>
                    <a:cubicBezTo>
                      <a:pt x="470" y="104"/>
                      <a:pt x="472" y="107"/>
                      <a:pt x="475" y="106"/>
                    </a:cubicBezTo>
                    <a:cubicBezTo>
                      <a:pt x="477" y="105"/>
                      <a:pt x="477" y="101"/>
                      <a:pt x="479" y="101"/>
                    </a:cubicBezTo>
                    <a:cubicBezTo>
                      <a:pt x="481" y="101"/>
                      <a:pt x="478" y="104"/>
                      <a:pt x="478" y="106"/>
                    </a:cubicBezTo>
                    <a:cubicBezTo>
                      <a:pt x="481" y="109"/>
                      <a:pt x="485" y="111"/>
                      <a:pt x="488" y="114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83" name="Freeform 2603"/>
              <p:cNvSpPr>
                <a:spLocks noChangeAspect="1"/>
              </p:cNvSpPr>
              <p:nvPr/>
            </p:nvSpPr>
            <p:spPr bwMode="auto">
              <a:xfrm>
                <a:off x="4863580" y="2292423"/>
                <a:ext cx="310941" cy="103833"/>
              </a:xfrm>
              <a:custGeom>
                <a:avLst/>
                <a:gdLst>
                  <a:gd name="T0" fmla="*/ 155 w 232"/>
                  <a:gd name="T1" fmla="*/ 124 h 104"/>
                  <a:gd name="T2" fmla="*/ 161 w 232"/>
                  <a:gd name="T3" fmla="*/ 109 h 104"/>
                  <a:gd name="T4" fmla="*/ 185 w 232"/>
                  <a:gd name="T5" fmla="*/ 108 h 104"/>
                  <a:gd name="T6" fmla="*/ 212 w 232"/>
                  <a:gd name="T7" fmla="*/ 106 h 104"/>
                  <a:gd name="T8" fmla="*/ 240 w 232"/>
                  <a:gd name="T9" fmla="*/ 97 h 104"/>
                  <a:gd name="T10" fmla="*/ 249 w 232"/>
                  <a:gd name="T11" fmla="*/ 95 h 104"/>
                  <a:gd name="T12" fmla="*/ 264 w 232"/>
                  <a:gd name="T13" fmla="*/ 101 h 104"/>
                  <a:gd name="T14" fmla="*/ 271 w 232"/>
                  <a:gd name="T15" fmla="*/ 103 h 104"/>
                  <a:gd name="T16" fmla="*/ 277 w 232"/>
                  <a:gd name="T17" fmla="*/ 94 h 104"/>
                  <a:gd name="T18" fmla="*/ 270 w 232"/>
                  <a:gd name="T19" fmla="*/ 81 h 104"/>
                  <a:gd name="T20" fmla="*/ 265 w 232"/>
                  <a:gd name="T21" fmla="*/ 58 h 104"/>
                  <a:gd name="T22" fmla="*/ 270 w 232"/>
                  <a:gd name="T23" fmla="*/ 44 h 104"/>
                  <a:gd name="T24" fmla="*/ 256 w 232"/>
                  <a:gd name="T25" fmla="*/ 38 h 104"/>
                  <a:gd name="T26" fmla="*/ 254 w 232"/>
                  <a:gd name="T27" fmla="*/ 22 h 104"/>
                  <a:gd name="T28" fmla="*/ 240 w 232"/>
                  <a:gd name="T29" fmla="*/ 14 h 104"/>
                  <a:gd name="T30" fmla="*/ 225 w 232"/>
                  <a:gd name="T31" fmla="*/ 17 h 104"/>
                  <a:gd name="T32" fmla="*/ 216 w 232"/>
                  <a:gd name="T33" fmla="*/ 22 h 104"/>
                  <a:gd name="T34" fmla="*/ 195 w 232"/>
                  <a:gd name="T35" fmla="*/ 24 h 104"/>
                  <a:gd name="T36" fmla="*/ 183 w 232"/>
                  <a:gd name="T37" fmla="*/ 26 h 104"/>
                  <a:gd name="T38" fmla="*/ 167 w 232"/>
                  <a:gd name="T39" fmla="*/ 22 h 104"/>
                  <a:gd name="T40" fmla="*/ 155 w 232"/>
                  <a:gd name="T41" fmla="*/ 18 h 104"/>
                  <a:gd name="T42" fmla="*/ 146 w 232"/>
                  <a:gd name="T43" fmla="*/ 19 h 104"/>
                  <a:gd name="T44" fmla="*/ 138 w 232"/>
                  <a:gd name="T45" fmla="*/ 12 h 104"/>
                  <a:gd name="T46" fmla="*/ 132 w 232"/>
                  <a:gd name="T47" fmla="*/ 2 h 104"/>
                  <a:gd name="T48" fmla="*/ 123 w 232"/>
                  <a:gd name="T49" fmla="*/ 5 h 104"/>
                  <a:gd name="T50" fmla="*/ 104 w 232"/>
                  <a:gd name="T51" fmla="*/ 4 h 104"/>
                  <a:gd name="T52" fmla="*/ 79 w 232"/>
                  <a:gd name="T53" fmla="*/ 18 h 104"/>
                  <a:gd name="T54" fmla="*/ 64 w 232"/>
                  <a:gd name="T55" fmla="*/ 22 h 104"/>
                  <a:gd name="T56" fmla="*/ 52 w 232"/>
                  <a:gd name="T57" fmla="*/ 18 h 104"/>
                  <a:gd name="T58" fmla="*/ 41 w 232"/>
                  <a:gd name="T59" fmla="*/ 23 h 104"/>
                  <a:gd name="T60" fmla="*/ 58 w 232"/>
                  <a:gd name="T61" fmla="*/ 28 h 104"/>
                  <a:gd name="T62" fmla="*/ 47 w 232"/>
                  <a:gd name="T63" fmla="*/ 30 h 104"/>
                  <a:gd name="T64" fmla="*/ 46 w 232"/>
                  <a:gd name="T65" fmla="*/ 34 h 104"/>
                  <a:gd name="T66" fmla="*/ 53 w 232"/>
                  <a:gd name="T67" fmla="*/ 36 h 104"/>
                  <a:gd name="T68" fmla="*/ 43 w 232"/>
                  <a:gd name="T69" fmla="*/ 40 h 104"/>
                  <a:gd name="T70" fmla="*/ 38 w 232"/>
                  <a:gd name="T71" fmla="*/ 36 h 104"/>
                  <a:gd name="T72" fmla="*/ 32 w 232"/>
                  <a:gd name="T73" fmla="*/ 41 h 104"/>
                  <a:gd name="T74" fmla="*/ 29 w 232"/>
                  <a:gd name="T75" fmla="*/ 38 h 104"/>
                  <a:gd name="T76" fmla="*/ 25 w 232"/>
                  <a:gd name="T77" fmla="*/ 37 h 104"/>
                  <a:gd name="T78" fmla="*/ 11 w 232"/>
                  <a:gd name="T79" fmla="*/ 38 h 104"/>
                  <a:gd name="T80" fmla="*/ 2 w 232"/>
                  <a:gd name="T81" fmla="*/ 53 h 104"/>
                  <a:gd name="T82" fmla="*/ 11 w 232"/>
                  <a:gd name="T83" fmla="*/ 58 h 104"/>
                  <a:gd name="T84" fmla="*/ 12 w 232"/>
                  <a:gd name="T85" fmla="*/ 65 h 104"/>
                  <a:gd name="T86" fmla="*/ 12 w 232"/>
                  <a:gd name="T87" fmla="*/ 70 h 104"/>
                  <a:gd name="T88" fmla="*/ 11 w 232"/>
                  <a:gd name="T89" fmla="*/ 76 h 104"/>
                  <a:gd name="T90" fmla="*/ 7 w 232"/>
                  <a:gd name="T91" fmla="*/ 79 h 104"/>
                  <a:gd name="T92" fmla="*/ 20 w 232"/>
                  <a:gd name="T93" fmla="*/ 84 h 104"/>
                  <a:gd name="T94" fmla="*/ 25 w 232"/>
                  <a:gd name="T95" fmla="*/ 99 h 104"/>
                  <a:gd name="T96" fmla="*/ 34 w 232"/>
                  <a:gd name="T97" fmla="*/ 105 h 104"/>
                  <a:gd name="T98" fmla="*/ 32 w 232"/>
                  <a:gd name="T99" fmla="*/ 109 h 104"/>
                  <a:gd name="T100" fmla="*/ 37 w 232"/>
                  <a:gd name="T101" fmla="*/ 109 h 104"/>
                  <a:gd name="T102" fmla="*/ 48 w 232"/>
                  <a:gd name="T103" fmla="*/ 111 h 104"/>
                  <a:gd name="T104" fmla="*/ 68 w 232"/>
                  <a:gd name="T105" fmla="*/ 117 h 104"/>
                  <a:gd name="T106" fmla="*/ 73 w 232"/>
                  <a:gd name="T107" fmla="*/ 106 h 104"/>
                  <a:gd name="T108" fmla="*/ 97 w 232"/>
                  <a:gd name="T109" fmla="*/ 119 h 104"/>
                  <a:gd name="T110" fmla="*/ 121 w 232"/>
                  <a:gd name="T111" fmla="*/ 117 h 104"/>
                  <a:gd name="T112" fmla="*/ 140 w 232"/>
                  <a:gd name="T113" fmla="*/ 113 h 104"/>
                  <a:gd name="T114" fmla="*/ 151 w 232"/>
                  <a:gd name="T115" fmla="*/ 106 h 104"/>
                  <a:gd name="T116" fmla="*/ 149 w 232"/>
                  <a:gd name="T117" fmla="*/ 118 h 10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32"/>
                  <a:gd name="T178" fmla="*/ 0 h 104"/>
                  <a:gd name="T179" fmla="*/ 232 w 232"/>
                  <a:gd name="T180" fmla="*/ 104 h 104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32" h="104">
                    <a:moveTo>
                      <a:pt x="125" y="104"/>
                    </a:moveTo>
                    <a:cubicBezTo>
                      <a:pt x="126" y="104"/>
                      <a:pt x="128" y="104"/>
                      <a:pt x="129" y="103"/>
                    </a:cubicBezTo>
                    <a:cubicBezTo>
                      <a:pt x="131" y="101"/>
                      <a:pt x="133" y="99"/>
                      <a:pt x="134" y="97"/>
                    </a:cubicBezTo>
                    <a:cubicBezTo>
                      <a:pt x="134" y="95"/>
                      <a:pt x="132" y="92"/>
                      <a:pt x="134" y="91"/>
                    </a:cubicBezTo>
                    <a:cubicBezTo>
                      <a:pt x="137" y="90"/>
                      <a:pt x="140" y="94"/>
                      <a:pt x="144" y="94"/>
                    </a:cubicBezTo>
                    <a:cubicBezTo>
                      <a:pt x="147" y="94"/>
                      <a:pt x="150" y="90"/>
                      <a:pt x="154" y="90"/>
                    </a:cubicBezTo>
                    <a:cubicBezTo>
                      <a:pt x="157" y="90"/>
                      <a:pt x="160" y="94"/>
                      <a:pt x="164" y="94"/>
                    </a:cubicBezTo>
                    <a:cubicBezTo>
                      <a:pt x="169" y="93"/>
                      <a:pt x="173" y="90"/>
                      <a:pt x="177" y="88"/>
                    </a:cubicBezTo>
                    <a:cubicBezTo>
                      <a:pt x="182" y="86"/>
                      <a:pt x="187" y="85"/>
                      <a:pt x="192" y="83"/>
                    </a:cubicBezTo>
                    <a:cubicBezTo>
                      <a:pt x="195" y="82"/>
                      <a:pt x="198" y="81"/>
                      <a:pt x="200" y="81"/>
                    </a:cubicBezTo>
                    <a:cubicBezTo>
                      <a:pt x="202" y="81"/>
                      <a:pt x="202" y="82"/>
                      <a:pt x="203" y="83"/>
                    </a:cubicBezTo>
                    <a:cubicBezTo>
                      <a:pt x="205" y="82"/>
                      <a:pt x="205" y="80"/>
                      <a:pt x="208" y="79"/>
                    </a:cubicBezTo>
                    <a:cubicBezTo>
                      <a:pt x="210" y="79"/>
                      <a:pt x="212" y="81"/>
                      <a:pt x="215" y="82"/>
                    </a:cubicBezTo>
                    <a:cubicBezTo>
                      <a:pt x="217" y="82"/>
                      <a:pt x="218" y="84"/>
                      <a:pt x="220" y="84"/>
                    </a:cubicBezTo>
                    <a:cubicBezTo>
                      <a:pt x="222" y="84"/>
                      <a:pt x="223" y="80"/>
                      <a:pt x="224" y="81"/>
                    </a:cubicBezTo>
                    <a:cubicBezTo>
                      <a:pt x="226" y="82"/>
                      <a:pt x="224" y="86"/>
                      <a:pt x="226" y="86"/>
                    </a:cubicBezTo>
                    <a:cubicBezTo>
                      <a:pt x="228" y="87"/>
                      <a:pt x="229" y="85"/>
                      <a:pt x="231" y="84"/>
                    </a:cubicBezTo>
                    <a:cubicBezTo>
                      <a:pt x="231" y="82"/>
                      <a:pt x="232" y="80"/>
                      <a:pt x="231" y="78"/>
                    </a:cubicBezTo>
                    <a:cubicBezTo>
                      <a:pt x="230" y="76"/>
                      <a:pt x="226" y="76"/>
                      <a:pt x="225" y="74"/>
                    </a:cubicBezTo>
                    <a:cubicBezTo>
                      <a:pt x="224" y="72"/>
                      <a:pt x="225" y="69"/>
                      <a:pt x="225" y="67"/>
                    </a:cubicBezTo>
                    <a:cubicBezTo>
                      <a:pt x="225" y="64"/>
                      <a:pt x="227" y="62"/>
                      <a:pt x="226" y="60"/>
                    </a:cubicBezTo>
                    <a:cubicBezTo>
                      <a:pt x="225" y="56"/>
                      <a:pt x="220" y="52"/>
                      <a:pt x="221" y="48"/>
                    </a:cubicBezTo>
                    <a:cubicBezTo>
                      <a:pt x="222" y="45"/>
                      <a:pt x="227" y="44"/>
                      <a:pt x="230" y="42"/>
                    </a:cubicBezTo>
                    <a:cubicBezTo>
                      <a:pt x="229" y="41"/>
                      <a:pt x="227" y="38"/>
                      <a:pt x="225" y="37"/>
                    </a:cubicBezTo>
                    <a:cubicBezTo>
                      <a:pt x="223" y="36"/>
                      <a:pt x="220" y="37"/>
                      <a:pt x="217" y="36"/>
                    </a:cubicBezTo>
                    <a:cubicBezTo>
                      <a:pt x="216" y="35"/>
                      <a:pt x="214" y="33"/>
                      <a:pt x="214" y="32"/>
                    </a:cubicBezTo>
                    <a:cubicBezTo>
                      <a:pt x="213" y="30"/>
                      <a:pt x="214" y="27"/>
                      <a:pt x="214" y="25"/>
                    </a:cubicBezTo>
                    <a:cubicBezTo>
                      <a:pt x="214" y="23"/>
                      <a:pt x="213" y="21"/>
                      <a:pt x="212" y="18"/>
                    </a:cubicBezTo>
                    <a:cubicBezTo>
                      <a:pt x="210" y="17"/>
                      <a:pt x="209" y="16"/>
                      <a:pt x="207" y="15"/>
                    </a:cubicBezTo>
                    <a:cubicBezTo>
                      <a:pt x="205" y="14"/>
                      <a:pt x="202" y="12"/>
                      <a:pt x="200" y="12"/>
                    </a:cubicBezTo>
                    <a:cubicBezTo>
                      <a:pt x="197" y="11"/>
                      <a:pt x="195" y="13"/>
                      <a:pt x="193" y="14"/>
                    </a:cubicBezTo>
                    <a:cubicBezTo>
                      <a:pt x="191" y="14"/>
                      <a:pt x="189" y="14"/>
                      <a:pt x="188" y="14"/>
                    </a:cubicBezTo>
                    <a:cubicBezTo>
                      <a:pt x="186" y="15"/>
                      <a:pt x="185" y="15"/>
                      <a:pt x="183" y="16"/>
                    </a:cubicBezTo>
                    <a:cubicBezTo>
                      <a:pt x="182" y="17"/>
                      <a:pt x="181" y="17"/>
                      <a:pt x="180" y="18"/>
                    </a:cubicBezTo>
                    <a:cubicBezTo>
                      <a:pt x="176" y="19"/>
                      <a:pt x="173" y="20"/>
                      <a:pt x="170" y="21"/>
                    </a:cubicBezTo>
                    <a:cubicBezTo>
                      <a:pt x="168" y="21"/>
                      <a:pt x="165" y="21"/>
                      <a:pt x="163" y="20"/>
                    </a:cubicBezTo>
                    <a:cubicBezTo>
                      <a:pt x="161" y="20"/>
                      <a:pt x="160" y="19"/>
                      <a:pt x="158" y="19"/>
                    </a:cubicBezTo>
                    <a:cubicBezTo>
                      <a:pt x="156" y="19"/>
                      <a:pt x="155" y="22"/>
                      <a:pt x="153" y="22"/>
                    </a:cubicBezTo>
                    <a:cubicBezTo>
                      <a:pt x="149" y="23"/>
                      <a:pt x="146" y="22"/>
                      <a:pt x="143" y="21"/>
                    </a:cubicBezTo>
                    <a:cubicBezTo>
                      <a:pt x="141" y="21"/>
                      <a:pt x="141" y="18"/>
                      <a:pt x="139" y="18"/>
                    </a:cubicBezTo>
                    <a:cubicBezTo>
                      <a:pt x="138" y="17"/>
                      <a:pt x="138" y="20"/>
                      <a:pt x="137" y="20"/>
                    </a:cubicBezTo>
                    <a:cubicBezTo>
                      <a:pt x="134" y="19"/>
                      <a:pt x="132" y="15"/>
                      <a:pt x="129" y="15"/>
                    </a:cubicBezTo>
                    <a:cubicBezTo>
                      <a:pt x="127" y="15"/>
                      <a:pt x="127" y="18"/>
                      <a:pt x="126" y="18"/>
                    </a:cubicBezTo>
                    <a:cubicBezTo>
                      <a:pt x="124" y="19"/>
                      <a:pt x="123" y="18"/>
                      <a:pt x="122" y="16"/>
                    </a:cubicBezTo>
                    <a:cubicBezTo>
                      <a:pt x="121" y="14"/>
                      <a:pt x="123" y="10"/>
                      <a:pt x="121" y="8"/>
                    </a:cubicBezTo>
                    <a:cubicBezTo>
                      <a:pt x="120" y="7"/>
                      <a:pt x="117" y="10"/>
                      <a:pt x="115" y="10"/>
                    </a:cubicBezTo>
                    <a:cubicBezTo>
                      <a:pt x="113" y="9"/>
                      <a:pt x="111" y="8"/>
                      <a:pt x="110" y="6"/>
                    </a:cubicBezTo>
                    <a:cubicBezTo>
                      <a:pt x="109" y="5"/>
                      <a:pt x="111" y="3"/>
                      <a:pt x="110" y="2"/>
                    </a:cubicBezTo>
                    <a:cubicBezTo>
                      <a:pt x="109" y="1"/>
                      <a:pt x="108" y="0"/>
                      <a:pt x="107" y="0"/>
                    </a:cubicBezTo>
                    <a:cubicBezTo>
                      <a:pt x="105" y="1"/>
                      <a:pt x="105" y="4"/>
                      <a:pt x="103" y="4"/>
                    </a:cubicBezTo>
                    <a:cubicBezTo>
                      <a:pt x="101" y="5"/>
                      <a:pt x="98" y="3"/>
                      <a:pt x="95" y="3"/>
                    </a:cubicBezTo>
                    <a:cubicBezTo>
                      <a:pt x="93" y="3"/>
                      <a:pt x="90" y="2"/>
                      <a:pt x="87" y="3"/>
                    </a:cubicBezTo>
                    <a:cubicBezTo>
                      <a:pt x="83" y="4"/>
                      <a:pt x="79" y="5"/>
                      <a:pt x="75" y="7"/>
                    </a:cubicBezTo>
                    <a:cubicBezTo>
                      <a:pt x="71" y="9"/>
                      <a:pt x="70" y="13"/>
                      <a:pt x="66" y="15"/>
                    </a:cubicBezTo>
                    <a:cubicBezTo>
                      <a:pt x="65" y="16"/>
                      <a:pt x="62" y="17"/>
                      <a:pt x="60" y="17"/>
                    </a:cubicBezTo>
                    <a:cubicBezTo>
                      <a:pt x="58" y="18"/>
                      <a:pt x="56" y="18"/>
                      <a:pt x="53" y="18"/>
                    </a:cubicBezTo>
                    <a:cubicBezTo>
                      <a:pt x="51" y="18"/>
                      <a:pt x="49" y="16"/>
                      <a:pt x="48" y="16"/>
                    </a:cubicBezTo>
                    <a:cubicBezTo>
                      <a:pt x="46" y="16"/>
                      <a:pt x="44" y="15"/>
                      <a:pt x="43" y="15"/>
                    </a:cubicBezTo>
                    <a:cubicBezTo>
                      <a:pt x="40" y="15"/>
                      <a:pt x="38" y="15"/>
                      <a:pt x="36" y="16"/>
                    </a:cubicBezTo>
                    <a:cubicBezTo>
                      <a:pt x="35" y="16"/>
                      <a:pt x="34" y="18"/>
                      <a:pt x="34" y="19"/>
                    </a:cubicBezTo>
                    <a:cubicBezTo>
                      <a:pt x="36" y="21"/>
                      <a:pt x="39" y="22"/>
                      <a:pt x="41" y="23"/>
                    </a:cubicBezTo>
                    <a:cubicBezTo>
                      <a:pt x="43" y="24"/>
                      <a:pt x="46" y="23"/>
                      <a:pt x="48" y="23"/>
                    </a:cubicBezTo>
                    <a:cubicBezTo>
                      <a:pt x="48" y="23"/>
                      <a:pt x="48" y="25"/>
                      <a:pt x="48" y="25"/>
                    </a:cubicBezTo>
                    <a:cubicBezTo>
                      <a:pt x="45" y="25"/>
                      <a:pt x="42" y="25"/>
                      <a:pt x="39" y="25"/>
                    </a:cubicBezTo>
                    <a:cubicBezTo>
                      <a:pt x="37" y="26"/>
                      <a:pt x="35" y="26"/>
                      <a:pt x="34" y="28"/>
                    </a:cubicBezTo>
                    <a:cubicBezTo>
                      <a:pt x="33" y="30"/>
                      <a:pt x="37" y="28"/>
                      <a:pt x="38" y="28"/>
                    </a:cubicBezTo>
                    <a:cubicBezTo>
                      <a:pt x="40" y="28"/>
                      <a:pt x="43" y="28"/>
                      <a:pt x="45" y="28"/>
                    </a:cubicBezTo>
                    <a:cubicBezTo>
                      <a:pt x="45" y="28"/>
                      <a:pt x="45" y="30"/>
                      <a:pt x="44" y="30"/>
                    </a:cubicBezTo>
                    <a:cubicBezTo>
                      <a:pt x="42" y="30"/>
                      <a:pt x="40" y="29"/>
                      <a:pt x="39" y="29"/>
                    </a:cubicBezTo>
                    <a:cubicBezTo>
                      <a:pt x="37" y="30"/>
                      <a:pt x="37" y="33"/>
                      <a:pt x="36" y="33"/>
                    </a:cubicBezTo>
                    <a:cubicBezTo>
                      <a:pt x="35" y="34"/>
                      <a:pt x="33" y="34"/>
                      <a:pt x="32" y="33"/>
                    </a:cubicBezTo>
                    <a:cubicBezTo>
                      <a:pt x="31" y="33"/>
                      <a:pt x="33" y="31"/>
                      <a:pt x="32" y="30"/>
                    </a:cubicBezTo>
                    <a:cubicBezTo>
                      <a:pt x="31" y="29"/>
                      <a:pt x="28" y="29"/>
                      <a:pt x="27" y="30"/>
                    </a:cubicBezTo>
                    <a:cubicBezTo>
                      <a:pt x="26" y="31"/>
                      <a:pt x="28" y="33"/>
                      <a:pt x="27" y="34"/>
                    </a:cubicBezTo>
                    <a:cubicBezTo>
                      <a:pt x="26" y="35"/>
                      <a:pt x="24" y="35"/>
                      <a:pt x="24" y="34"/>
                    </a:cubicBezTo>
                    <a:cubicBezTo>
                      <a:pt x="23" y="34"/>
                      <a:pt x="24" y="33"/>
                      <a:pt x="24" y="32"/>
                    </a:cubicBezTo>
                    <a:cubicBezTo>
                      <a:pt x="24" y="31"/>
                      <a:pt x="25" y="29"/>
                      <a:pt x="24" y="29"/>
                    </a:cubicBezTo>
                    <a:cubicBezTo>
                      <a:pt x="22" y="28"/>
                      <a:pt x="22" y="31"/>
                      <a:pt x="21" y="31"/>
                    </a:cubicBezTo>
                    <a:cubicBezTo>
                      <a:pt x="19" y="31"/>
                      <a:pt x="19" y="30"/>
                      <a:pt x="17" y="30"/>
                    </a:cubicBezTo>
                    <a:cubicBezTo>
                      <a:pt x="15" y="30"/>
                      <a:pt x="11" y="30"/>
                      <a:pt x="9" y="32"/>
                    </a:cubicBezTo>
                    <a:cubicBezTo>
                      <a:pt x="6" y="33"/>
                      <a:pt x="4" y="35"/>
                      <a:pt x="3" y="38"/>
                    </a:cubicBezTo>
                    <a:cubicBezTo>
                      <a:pt x="2" y="40"/>
                      <a:pt x="0" y="43"/>
                      <a:pt x="2" y="44"/>
                    </a:cubicBezTo>
                    <a:cubicBezTo>
                      <a:pt x="5" y="46"/>
                      <a:pt x="9" y="41"/>
                      <a:pt x="12" y="43"/>
                    </a:cubicBezTo>
                    <a:cubicBezTo>
                      <a:pt x="14" y="44"/>
                      <a:pt x="9" y="46"/>
                      <a:pt x="9" y="48"/>
                    </a:cubicBezTo>
                    <a:cubicBezTo>
                      <a:pt x="9" y="49"/>
                      <a:pt x="11" y="49"/>
                      <a:pt x="11" y="50"/>
                    </a:cubicBezTo>
                    <a:cubicBezTo>
                      <a:pt x="11" y="51"/>
                      <a:pt x="9" y="53"/>
                      <a:pt x="10" y="54"/>
                    </a:cubicBezTo>
                    <a:cubicBezTo>
                      <a:pt x="11" y="55"/>
                      <a:pt x="14" y="54"/>
                      <a:pt x="14" y="55"/>
                    </a:cubicBezTo>
                    <a:cubicBezTo>
                      <a:pt x="14" y="57"/>
                      <a:pt x="10" y="56"/>
                      <a:pt x="10" y="58"/>
                    </a:cubicBezTo>
                    <a:cubicBezTo>
                      <a:pt x="9" y="60"/>
                      <a:pt x="13" y="61"/>
                      <a:pt x="13" y="63"/>
                    </a:cubicBezTo>
                    <a:cubicBezTo>
                      <a:pt x="13" y="64"/>
                      <a:pt x="10" y="64"/>
                      <a:pt x="9" y="63"/>
                    </a:cubicBezTo>
                    <a:cubicBezTo>
                      <a:pt x="8" y="63"/>
                      <a:pt x="8" y="58"/>
                      <a:pt x="7" y="59"/>
                    </a:cubicBezTo>
                    <a:cubicBezTo>
                      <a:pt x="5" y="60"/>
                      <a:pt x="5" y="64"/>
                      <a:pt x="6" y="66"/>
                    </a:cubicBezTo>
                    <a:cubicBezTo>
                      <a:pt x="7" y="67"/>
                      <a:pt x="10" y="68"/>
                      <a:pt x="12" y="68"/>
                    </a:cubicBezTo>
                    <a:cubicBezTo>
                      <a:pt x="13" y="69"/>
                      <a:pt x="16" y="69"/>
                      <a:pt x="17" y="70"/>
                    </a:cubicBezTo>
                    <a:cubicBezTo>
                      <a:pt x="18" y="72"/>
                      <a:pt x="15" y="75"/>
                      <a:pt x="16" y="77"/>
                    </a:cubicBezTo>
                    <a:cubicBezTo>
                      <a:pt x="17" y="79"/>
                      <a:pt x="21" y="79"/>
                      <a:pt x="21" y="82"/>
                    </a:cubicBezTo>
                    <a:cubicBezTo>
                      <a:pt x="21" y="83"/>
                      <a:pt x="15" y="83"/>
                      <a:pt x="17" y="84"/>
                    </a:cubicBezTo>
                    <a:cubicBezTo>
                      <a:pt x="20" y="87"/>
                      <a:pt x="27" y="83"/>
                      <a:pt x="28" y="87"/>
                    </a:cubicBezTo>
                    <a:cubicBezTo>
                      <a:pt x="29" y="90"/>
                      <a:pt x="21" y="89"/>
                      <a:pt x="20" y="92"/>
                    </a:cubicBezTo>
                    <a:cubicBezTo>
                      <a:pt x="19" y="94"/>
                      <a:pt x="25" y="90"/>
                      <a:pt x="27" y="91"/>
                    </a:cubicBezTo>
                    <a:cubicBezTo>
                      <a:pt x="28" y="91"/>
                      <a:pt x="25" y="95"/>
                      <a:pt x="27" y="95"/>
                    </a:cubicBezTo>
                    <a:cubicBezTo>
                      <a:pt x="29" y="95"/>
                      <a:pt x="29" y="92"/>
                      <a:pt x="31" y="91"/>
                    </a:cubicBezTo>
                    <a:cubicBezTo>
                      <a:pt x="33" y="91"/>
                      <a:pt x="34" y="92"/>
                      <a:pt x="35" y="92"/>
                    </a:cubicBezTo>
                    <a:cubicBezTo>
                      <a:pt x="37" y="92"/>
                      <a:pt x="39" y="91"/>
                      <a:pt x="40" y="92"/>
                    </a:cubicBezTo>
                    <a:cubicBezTo>
                      <a:pt x="43" y="94"/>
                      <a:pt x="43" y="100"/>
                      <a:pt x="46" y="99"/>
                    </a:cubicBezTo>
                    <a:cubicBezTo>
                      <a:pt x="49" y="99"/>
                      <a:pt x="53" y="97"/>
                      <a:pt x="57" y="97"/>
                    </a:cubicBezTo>
                    <a:cubicBezTo>
                      <a:pt x="59" y="97"/>
                      <a:pt x="57" y="92"/>
                      <a:pt x="58" y="90"/>
                    </a:cubicBezTo>
                    <a:cubicBezTo>
                      <a:pt x="58" y="88"/>
                      <a:pt x="60" y="88"/>
                      <a:pt x="61" y="88"/>
                    </a:cubicBezTo>
                    <a:cubicBezTo>
                      <a:pt x="65" y="88"/>
                      <a:pt x="68" y="88"/>
                      <a:pt x="71" y="90"/>
                    </a:cubicBezTo>
                    <a:cubicBezTo>
                      <a:pt x="75" y="92"/>
                      <a:pt x="77" y="97"/>
                      <a:pt x="81" y="99"/>
                    </a:cubicBezTo>
                    <a:cubicBezTo>
                      <a:pt x="84" y="100"/>
                      <a:pt x="87" y="99"/>
                      <a:pt x="90" y="100"/>
                    </a:cubicBezTo>
                    <a:cubicBezTo>
                      <a:pt x="94" y="100"/>
                      <a:pt x="98" y="100"/>
                      <a:pt x="101" y="97"/>
                    </a:cubicBezTo>
                    <a:cubicBezTo>
                      <a:pt x="103" y="95"/>
                      <a:pt x="104" y="91"/>
                      <a:pt x="107" y="91"/>
                    </a:cubicBezTo>
                    <a:cubicBezTo>
                      <a:pt x="110" y="90"/>
                      <a:pt x="113" y="94"/>
                      <a:pt x="117" y="94"/>
                    </a:cubicBezTo>
                    <a:cubicBezTo>
                      <a:pt x="118" y="94"/>
                      <a:pt x="119" y="93"/>
                      <a:pt x="120" y="92"/>
                    </a:cubicBezTo>
                    <a:cubicBezTo>
                      <a:pt x="122" y="90"/>
                      <a:pt x="124" y="87"/>
                      <a:pt x="126" y="88"/>
                    </a:cubicBezTo>
                    <a:cubicBezTo>
                      <a:pt x="128" y="88"/>
                      <a:pt x="127" y="91"/>
                      <a:pt x="127" y="93"/>
                    </a:cubicBezTo>
                    <a:cubicBezTo>
                      <a:pt x="127" y="95"/>
                      <a:pt x="124" y="96"/>
                      <a:pt x="124" y="98"/>
                    </a:cubicBezTo>
                    <a:cubicBezTo>
                      <a:pt x="123" y="100"/>
                      <a:pt x="124" y="102"/>
                      <a:pt x="125" y="104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84" name="Freeform 2604"/>
              <p:cNvSpPr>
                <a:spLocks noChangeAspect="1"/>
              </p:cNvSpPr>
              <p:nvPr/>
            </p:nvSpPr>
            <p:spPr bwMode="auto">
              <a:xfrm>
                <a:off x="4850158" y="2461048"/>
                <a:ext cx="192381" cy="156165"/>
              </a:xfrm>
              <a:custGeom>
                <a:avLst/>
                <a:gdLst>
                  <a:gd name="T0" fmla="*/ 167 w 144"/>
                  <a:gd name="T1" fmla="*/ 160 h 157"/>
                  <a:gd name="T2" fmla="*/ 165 w 144"/>
                  <a:gd name="T3" fmla="*/ 147 h 157"/>
                  <a:gd name="T4" fmla="*/ 171 w 144"/>
                  <a:gd name="T5" fmla="*/ 147 h 157"/>
                  <a:gd name="T6" fmla="*/ 161 w 144"/>
                  <a:gd name="T7" fmla="*/ 135 h 157"/>
                  <a:gd name="T8" fmla="*/ 150 w 144"/>
                  <a:gd name="T9" fmla="*/ 119 h 157"/>
                  <a:gd name="T10" fmla="*/ 141 w 144"/>
                  <a:gd name="T11" fmla="*/ 99 h 157"/>
                  <a:gd name="T12" fmla="*/ 136 w 144"/>
                  <a:gd name="T13" fmla="*/ 84 h 157"/>
                  <a:gd name="T14" fmla="*/ 131 w 144"/>
                  <a:gd name="T15" fmla="*/ 72 h 157"/>
                  <a:gd name="T16" fmla="*/ 119 w 144"/>
                  <a:gd name="T17" fmla="*/ 59 h 157"/>
                  <a:gd name="T18" fmla="*/ 113 w 144"/>
                  <a:gd name="T19" fmla="*/ 43 h 157"/>
                  <a:gd name="T20" fmla="*/ 115 w 144"/>
                  <a:gd name="T21" fmla="*/ 31 h 157"/>
                  <a:gd name="T22" fmla="*/ 110 w 144"/>
                  <a:gd name="T23" fmla="*/ 23 h 157"/>
                  <a:gd name="T24" fmla="*/ 111 w 144"/>
                  <a:gd name="T25" fmla="*/ 12 h 157"/>
                  <a:gd name="T26" fmla="*/ 104 w 144"/>
                  <a:gd name="T27" fmla="*/ 10 h 157"/>
                  <a:gd name="T28" fmla="*/ 96 w 144"/>
                  <a:gd name="T29" fmla="*/ 6 h 157"/>
                  <a:gd name="T30" fmla="*/ 91 w 144"/>
                  <a:gd name="T31" fmla="*/ 7 h 157"/>
                  <a:gd name="T32" fmla="*/ 84 w 144"/>
                  <a:gd name="T33" fmla="*/ 7 h 157"/>
                  <a:gd name="T34" fmla="*/ 78 w 144"/>
                  <a:gd name="T35" fmla="*/ 12 h 157"/>
                  <a:gd name="T36" fmla="*/ 67 w 144"/>
                  <a:gd name="T37" fmla="*/ 18 h 157"/>
                  <a:gd name="T38" fmla="*/ 56 w 144"/>
                  <a:gd name="T39" fmla="*/ 12 h 157"/>
                  <a:gd name="T40" fmla="*/ 47 w 144"/>
                  <a:gd name="T41" fmla="*/ 10 h 157"/>
                  <a:gd name="T42" fmla="*/ 37 w 144"/>
                  <a:gd name="T43" fmla="*/ 6 h 157"/>
                  <a:gd name="T44" fmla="*/ 24 w 144"/>
                  <a:gd name="T45" fmla="*/ 2 h 157"/>
                  <a:gd name="T46" fmla="*/ 13 w 144"/>
                  <a:gd name="T47" fmla="*/ 2 h 157"/>
                  <a:gd name="T48" fmla="*/ 7 w 144"/>
                  <a:gd name="T49" fmla="*/ 0 h 157"/>
                  <a:gd name="T50" fmla="*/ 4 w 144"/>
                  <a:gd name="T51" fmla="*/ 6 h 157"/>
                  <a:gd name="T52" fmla="*/ 4 w 144"/>
                  <a:gd name="T53" fmla="*/ 19 h 157"/>
                  <a:gd name="T54" fmla="*/ 0 w 144"/>
                  <a:gd name="T55" fmla="*/ 29 h 157"/>
                  <a:gd name="T56" fmla="*/ 5 w 144"/>
                  <a:gd name="T57" fmla="*/ 48 h 157"/>
                  <a:gd name="T58" fmla="*/ 8 w 144"/>
                  <a:gd name="T59" fmla="*/ 180 h 157"/>
                  <a:gd name="T60" fmla="*/ 133 w 144"/>
                  <a:gd name="T61" fmla="*/ 180 h 157"/>
                  <a:gd name="T62" fmla="*/ 137 w 144"/>
                  <a:gd name="T63" fmla="*/ 187 h 157"/>
                  <a:gd name="T64" fmla="*/ 145 w 144"/>
                  <a:gd name="T65" fmla="*/ 183 h 157"/>
                  <a:gd name="T66" fmla="*/ 146 w 144"/>
                  <a:gd name="T67" fmla="*/ 176 h 157"/>
                  <a:gd name="T68" fmla="*/ 152 w 144"/>
                  <a:gd name="T69" fmla="*/ 174 h 157"/>
                  <a:gd name="T70" fmla="*/ 154 w 144"/>
                  <a:gd name="T71" fmla="*/ 168 h 157"/>
                  <a:gd name="T72" fmla="*/ 161 w 144"/>
                  <a:gd name="T73" fmla="*/ 168 h 157"/>
                  <a:gd name="T74" fmla="*/ 167 w 144"/>
                  <a:gd name="T75" fmla="*/ 160 h 157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44"/>
                  <a:gd name="T115" fmla="*/ 0 h 157"/>
                  <a:gd name="T116" fmla="*/ 144 w 144"/>
                  <a:gd name="T117" fmla="*/ 157 h 157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44" h="157">
                    <a:moveTo>
                      <a:pt x="140" y="134"/>
                    </a:moveTo>
                    <a:cubicBezTo>
                      <a:pt x="140" y="131"/>
                      <a:pt x="137" y="126"/>
                      <a:pt x="138" y="123"/>
                    </a:cubicBezTo>
                    <a:cubicBezTo>
                      <a:pt x="138" y="121"/>
                      <a:pt x="144" y="124"/>
                      <a:pt x="143" y="123"/>
                    </a:cubicBezTo>
                    <a:cubicBezTo>
                      <a:pt x="142" y="118"/>
                      <a:pt x="137" y="117"/>
                      <a:pt x="135" y="113"/>
                    </a:cubicBezTo>
                    <a:cubicBezTo>
                      <a:pt x="132" y="109"/>
                      <a:pt x="129" y="104"/>
                      <a:pt x="126" y="99"/>
                    </a:cubicBezTo>
                    <a:cubicBezTo>
                      <a:pt x="123" y="94"/>
                      <a:pt x="121" y="89"/>
                      <a:pt x="118" y="83"/>
                    </a:cubicBezTo>
                    <a:cubicBezTo>
                      <a:pt x="116" y="79"/>
                      <a:pt x="115" y="74"/>
                      <a:pt x="114" y="70"/>
                    </a:cubicBezTo>
                    <a:cubicBezTo>
                      <a:pt x="113" y="66"/>
                      <a:pt x="112" y="63"/>
                      <a:pt x="110" y="60"/>
                    </a:cubicBezTo>
                    <a:cubicBezTo>
                      <a:pt x="108" y="56"/>
                      <a:pt x="103" y="53"/>
                      <a:pt x="100" y="49"/>
                    </a:cubicBezTo>
                    <a:cubicBezTo>
                      <a:pt x="98" y="45"/>
                      <a:pt x="96" y="41"/>
                      <a:pt x="95" y="36"/>
                    </a:cubicBezTo>
                    <a:cubicBezTo>
                      <a:pt x="94" y="33"/>
                      <a:pt x="96" y="30"/>
                      <a:pt x="96" y="26"/>
                    </a:cubicBezTo>
                    <a:cubicBezTo>
                      <a:pt x="95" y="24"/>
                      <a:pt x="93" y="22"/>
                      <a:pt x="92" y="19"/>
                    </a:cubicBezTo>
                    <a:cubicBezTo>
                      <a:pt x="92" y="16"/>
                      <a:pt x="95" y="13"/>
                      <a:pt x="93" y="10"/>
                    </a:cubicBezTo>
                    <a:cubicBezTo>
                      <a:pt x="92" y="8"/>
                      <a:pt x="89" y="9"/>
                      <a:pt x="87" y="8"/>
                    </a:cubicBezTo>
                    <a:cubicBezTo>
                      <a:pt x="84" y="7"/>
                      <a:pt x="82" y="5"/>
                      <a:pt x="80" y="5"/>
                    </a:cubicBezTo>
                    <a:cubicBezTo>
                      <a:pt x="78" y="5"/>
                      <a:pt x="77" y="6"/>
                      <a:pt x="76" y="6"/>
                    </a:cubicBezTo>
                    <a:cubicBezTo>
                      <a:pt x="74" y="7"/>
                      <a:pt x="72" y="5"/>
                      <a:pt x="70" y="6"/>
                    </a:cubicBezTo>
                    <a:cubicBezTo>
                      <a:pt x="68" y="6"/>
                      <a:pt x="67" y="9"/>
                      <a:pt x="65" y="10"/>
                    </a:cubicBezTo>
                    <a:cubicBezTo>
                      <a:pt x="62" y="12"/>
                      <a:pt x="59" y="15"/>
                      <a:pt x="56" y="15"/>
                    </a:cubicBezTo>
                    <a:cubicBezTo>
                      <a:pt x="53" y="15"/>
                      <a:pt x="50" y="11"/>
                      <a:pt x="47" y="10"/>
                    </a:cubicBezTo>
                    <a:cubicBezTo>
                      <a:pt x="45" y="9"/>
                      <a:pt x="42" y="9"/>
                      <a:pt x="39" y="8"/>
                    </a:cubicBezTo>
                    <a:cubicBezTo>
                      <a:pt x="36" y="7"/>
                      <a:pt x="34" y="6"/>
                      <a:pt x="31" y="5"/>
                    </a:cubicBezTo>
                    <a:cubicBezTo>
                      <a:pt x="28" y="4"/>
                      <a:pt x="24" y="2"/>
                      <a:pt x="20" y="2"/>
                    </a:cubicBezTo>
                    <a:cubicBezTo>
                      <a:pt x="17" y="1"/>
                      <a:pt x="14" y="3"/>
                      <a:pt x="11" y="2"/>
                    </a:cubicBezTo>
                    <a:cubicBezTo>
                      <a:pt x="9" y="2"/>
                      <a:pt x="7" y="1"/>
                      <a:pt x="6" y="0"/>
                    </a:cubicBezTo>
                    <a:cubicBezTo>
                      <a:pt x="5" y="1"/>
                      <a:pt x="3" y="3"/>
                      <a:pt x="3" y="5"/>
                    </a:cubicBezTo>
                    <a:cubicBezTo>
                      <a:pt x="2" y="9"/>
                      <a:pt x="4" y="13"/>
                      <a:pt x="3" y="16"/>
                    </a:cubicBezTo>
                    <a:cubicBezTo>
                      <a:pt x="3" y="19"/>
                      <a:pt x="0" y="21"/>
                      <a:pt x="0" y="24"/>
                    </a:cubicBezTo>
                    <a:cubicBezTo>
                      <a:pt x="0" y="29"/>
                      <a:pt x="3" y="34"/>
                      <a:pt x="4" y="40"/>
                    </a:cubicBezTo>
                    <a:cubicBezTo>
                      <a:pt x="6" y="77"/>
                      <a:pt x="6" y="113"/>
                      <a:pt x="7" y="150"/>
                    </a:cubicBezTo>
                    <a:cubicBezTo>
                      <a:pt x="42" y="150"/>
                      <a:pt x="76" y="148"/>
                      <a:pt x="111" y="150"/>
                    </a:cubicBezTo>
                    <a:cubicBezTo>
                      <a:pt x="114" y="150"/>
                      <a:pt x="113" y="155"/>
                      <a:pt x="115" y="156"/>
                    </a:cubicBezTo>
                    <a:cubicBezTo>
                      <a:pt x="117" y="157"/>
                      <a:pt x="120" y="155"/>
                      <a:pt x="121" y="153"/>
                    </a:cubicBezTo>
                    <a:cubicBezTo>
                      <a:pt x="122" y="151"/>
                      <a:pt x="121" y="149"/>
                      <a:pt x="122" y="147"/>
                    </a:cubicBezTo>
                    <a:cubicBezTo>
                      <a:pt x="123" y="145"/>
                      <a:pt x="125" y="146"/>
                      <a:pt x="127" y="145"/>
                    </a:cubicBezTo>
                    <a:cubicBezTo>
                      <a:pt x="128" y="143"/>
                      <a:pt x="128" y="141"/>
                      <a:pt x="129" y="140"/>
                    </a:cubicBezTo>
                    <a:cubicBezTo>
                      <a:pt x="131" y="139"/>
                      <a:pt x="133" y="141"/>
                      <a:pt x="135" y="140"/>
                    </a:cubicBezTo>
                    <a:cubicBezTo>
                      <a:pt x="137" y="138"/>
                      <a:pt x="139" y="136"/>
                      <a:pt x="140" y="134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85" name="Freeform 2605"/>
              <p:cNvSpPr>
                <a:spLocks noChangeAspect="1"/>
              </p:cNvSpPr>
              <p:nvPr/>
            </p:nvSpPr>
            <p:spPr bwMode="auto">
              <a:xfrm>
                <a:off x="5006747" y="2437790"/>
                <a:ext cx="24606" cy="58147"/>
              </a:xfrm>
              <a:custGeom>
                <a:avLst/>
                <a:gdLst>
                  <a:gd name="T0" fmla="*/ 0 w 18"/>
                  <a:gd name="T1" fmla="*/ 40 h 58"/>
                  <a:gd name="T2" fmla="*/ 13 w 18"/>
                  <a:gd name="T3" fmla="*/ 70 h 58"/>
                  <a:gd name="T4" fmla="*/ 13 w 18"/>
                  <a:gd name="T5" fmla="*/ 60 h 58"/>
                  <a:gd name="T6" fmla="*/ 16 w 18"/>
                  <a:gd name="T7" fmla="*/ 46 h 58"/>
                  <a:gd name="T8" fmla="*/ 17 w 18"/>
                  <a:gd name="T9" fmla="*/ 39 h 58"/>
                  <a:gd name="T10" fmla="*/ 13 w 18"/>
                  <a:gd name="T11" fmla="*/ 39 h 58"/>
                  <a:gd name="T12" fmla="*/ 12 w 18"/>
                  <a:gd name="T13" fmla="*/ 35 h 58"/>
                  <a:gd name="T14" fmla="*/ 13 w 18"/>
                  <a:gd name="T15" fmla="*/ 28 h 58"/>
                  <a:gd name="T16" fmla="*/ 12 w 18"/>
                  <a:gd name="T17" fmla="*/ 22 h 58"/>
                  <a:gd name="T18" fmla="*/ 15 w 18"/>
                  <a:gd name="T19" fmla="*/ 17 h 58"/>
                  <a:gd name="T20" fmla="*/ 20 w 18"/>
                  <a:gd name="T21" fmla="*/ 14 h 58"/>
                  <a:gd name="T22" fmla="*/ 21 w 18"/>
                  <a:gd name="T23" fmla="*/ 8 h 58"/>
                  <a:gd name="T24" fmla="*/ 22 w 18"/>
                  <a:gd name="T25" fmla="*/ 0 h 58"/>
                  <a:gd name="T26" fmla="*/ 18 w 18"/>
                  <a:gd name="T27" fmla="*/ 1 h 58"/>
                  <a:gd name="T28" fmla="*/ 15 w 18"/>
                  <a:gd name="T29" fmla="*/ 2 h 58"/>
                  <a:gd name="T30" fmla="*/ 12 w 18"/>
                  <a:gd name="T31" fmla="*/ 10 h 58"/>
                  <a:gd name="T32" fmla="*/ 10 w 18"/>
                  <a:gd name="T33" fmla="*/ 18 h 58"/>
                  <a:gd name="T34" fmla="*/ 7 w 18"/>
                  <a:gd name="T35" fmla="*/ 29 h 58"/>
                  <a:gd name="T36" fmla="*/ 5 w 18"/>
                  <a:gd name="T37" fmla="*/ 35 h 58"/>
                  <a:gd name="T38" fmla="*/ 0 w 18"/>
                  <a:gd name="T39" fmla="*/ 40 h 58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8"/>
                  <a:gd name="T61" fmla="*/ 0 h 58"/>
                  <a:gd name="T62" fmla="*/ 18 w 18"/>
                  <a:gd name="T63" fmla="*/ 58 h 58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8" h="58">
                    <a:moveTo>
                      <a:pt x="0" y="33"/>
                    </a:moveTo>
                    <a:lnTo>
                      <a:pt x="11" y="58"/>
                    </a:lnTo>
                    <a:cubicBezTo>
                      <a:pt x="11" y="56"/>
                      <a:pt x="11" y="53"/>
                      <a:pt x="11" y="50"/>
                    </a:cubicBezTo>
                    <a:cubicBezTo>
                      <a:pt x="12" y="46"/>
                      <a:pt x="12" y="42"/>
                      <a:pt x="13" y="38"/>
                    </a:cubicBezTo>
                    <a:cubicBezTo>
                      <a:pt x="13" y="36"/>
                      <a:pt x="14" y="34"/>
                      <a:pt x="14" y="32"/>
                    </a:cubicBezTo>
                    <a:cubicBezTo>
                      <a:pt x="13" y="32"/>
                      <a:pt x="11" y="33"/>
                      <a:pt x="11" y="32"/>
                    </a:cubicBezTo>
                    <a:cubicBezTo>
                      <a:pt x="10" y="31"/>
                      <a:pt x="10" y="30"/>
                      <a:pt x="10" y="29"/>
                    </a:cubicBezTo>
                    <a:cubicBezTo>
                      <a:pt x="10" y="27"/>
                      <a:pt x="11" y="25"/>
                      <a:pt x="11" y="23"/>
                    </a:cubicBezTo>
                    <a:cubicBezTo>
                      <a:pt x="11" y="21"/>
                      <a:pt x="10" y="19"/>
                      <a:pt x="10" y="18"/>
                    </a:cubicBezTo>
                    <a:cubicBezTo>
                      <a:pt x="10" y="16"/>
                      <a:pt x="11" y="15"/>
                      <a:pt x="12" y="14"/>
                    </a:cubicBezTo>
                    <a:cubicBezTo>
                      <a:pt x="13" y="13"/>
                      <a:pt x="14" y="13"/>
                      <a:pt x="16" y="12"/>
                    </a:cubicBezTo>
                    <a:cubicBezTo>
                      <a:pt x="16" y="10"/>
                      <a:pt x="16" y="8"/>
                      <a:pt x="17" y="7"/>
                    </a:cubicBezTo>
                    <a:cubicBezTo>
                      <a:pt x="17" y="5"/>
                      <a:pt x="17" y="2"/>
                      <a:pt x="18" y="0"/>
                    </a:cubicBezTo>
                    <a:cubicBezTo>
                      <a:pt x="17" y="0"/>
                      <a:pt x="16" y="0"/>
                      <a:pt x="15" y="1"/>
                    </a:cubicBezTo>
                    <a:cubicBezTo>
                      <a:pt x="14" y="1"/>
                      <a:pt x="13" y="2"/>
                      <a:pt x="12" y="2"/>
                    </a:cubicBezTo>
                    <a:cubicBezTo>
                      <a:pt x="11" y="4"/>
                      <a:pt x="10" y="6"/>
                      <a:pt x="10" y="8"/>
                    </a:cubicBezTo>
                    <a:cubicBezTo>
                      <a:pt x="9" y="10"/>
                      <a:pt x="8" y="13"/>
                      <a:pt x="8" y="15"/>
                    </a:cubicBezTo>
                    <a:cubicBezTo>
                      <a:pt x="7" y="18"/>
                      <a:pt x="7" y="21"/>
                      <a:pt x="6" y="24"/>
                    </a:cubicBezTo>
                    <a:cubicBezTo>
                      <a:pt x="5" y="26"/>
                      <a:pt x="5" y="28"/>
                      <a:pt x="4" y="29"/>
                    </a:cubicBezTo>
                    <a:cubicBezTo>
                      <a:pt x="3" y="31"/>
                      <a:pt x="1" y="32"/>
                      <a:pt x="0" y="3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86" name="Freeform 2606"/>
              <p:cNvSpPr>
                <a:spLocks noChangeAspect="1"/>
              </p:cNvSpPr>
              <p:nvPr/>
            </p:nvSpPr>
            <p:spPr bwMode="auto">
              <a:xfrm>
                <a:off x="5020168" y="2449418"/>
                <a:ext cx="7830" cy="21597"/>
              </a:xfrm>
              <a:custGeom>
                <a:avLst/>
                <a:gdLst>
                  <a:gd name="T0" fmla="*/ 5 w 6"/>
                  <a:gd name="T1" fmla="*/ 25 h 21"/>
                  <a:gd name="T2" fmla="*/ 6 w 6"/>
                  <a:gd name="T3" fmla="*/ 10 h 21"/>
                  <a:gd name="T4" fmla="*/ 7 w 6"/>
                  <a:gd name="T5" fmla="*/ 0 h 21"/>
                  <a:gd name="T6" fmla="*/ 2 w 6"/>
                  <a:gd name="T7" fmla="*/ 2 h 21"/>
                  <a:gd name="T8" fmla="*/ 0 w 6"/>
                  <a:gd name="T9" fmla="*/ 7 h 21"/>
                  <a:gd name="T10" fmla="*/ 1 w 6"/>
                  <a:gd name="T11" fmla="*/ 14 h 21"/>
                  <a:gd name="T12" fmla="*/ 0 w 6"/>
                  <a:gd name="T13" fmla="*/ 21 h 21"/>
                  <a:gd name="T14" fmla="*/ 1 w 6"/>
                  <a:gd name="T15" fmla="*/ 25 h 21"/>
                  <a:gd name="T16" fmla="*/ 5 w 6"/>
                  <a:gd name="T17" fmla="*/ 25 h 2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6"/>
                  <a:gd name="T28" fmla="*/ 0 h 21"/>
                  <a:gd name="T29" fmla="*/ 6 w 6"/>
                  <a:gd name="T30" fmla="*/ 21 h 2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6" h="21">
                    <a:moveTo>
                      <a:pt x="4" y="20"/>
                    </a:moveTo>
                    <a:cubicBezTo>
                      <a:pt x="4" y="16"/>
                      <a:pt x="4" y="12"/>
                      <a:pt x="5" y="8"/>
                    </a:cubicBezTo>
                    <a:cubicBezTo>
                      <a:pt x="5" y="6"/>
                      <a:pt x="5" y="3"/>
                      <a:pt x="6" y="0"/>
                    </a:cubicBezTo>
                    <a:cubicBezTo>
                      <a:pt x="4" y="1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1" y="9"/>
                      <a:pt x="1" y="11"/>
                    </a:cubicBezTo>
                    <a:cubicBezTo>
                      <a:pt x="1" y="13"/>
                      <a:pt x="0" y="15"/>
                      <a:pt x="0" y="17"/>
                    </a:cubicBezTo>
                    <a:cubicBezTo>
                      <a:pt x="0" y="18"/>
                      <a:pt x="0" y="19"/>
                      <a:pt x="1" y="20"/>
                    </a:cubicBezTo>
                    <a:cubicBezTo>
                      <a:pt x="1" y="21"/>
                      <a:pt x="3" y="20"/>
                      <a:pt x="4" y="2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87" name="Freeform 2607"/>
              <p:cNvSpPr>
                <a:spLocks noChangeAspect="1"/>
              </p:cNvSpPr>
              <p:nvPr/>
            </p:nvSpPr>
            <p:spPr bwMode="auto">
              <a:xfrm>
                <a:off x="5027998" y="2372997"/>
                <a:ext cx="107375" cy="83067"/>
              </a:xfrm>
              <a:custGeom>
                <a:avLst/>
                <a:gdLst>
                  <a:gd name="T0" fmla="*/ 2 w 80"/>
                  <a:gd name="T1" fmla="*/ 78 h 83"/>
                  <a:gd name="T2" fmla="*/ 5 w 80"/>
                  <a:gd name="T3" fmla="*/ 78 h 83"/>
                  <a:gd name="T4" fmla="*/ 7 w 80"/>
                  <a:gd name="T5" fmla="*/ 70 h 83"/>
                  <a:gd name="T6" fmla="*/ 13 w 80"/>
                  <a:gd name="T7" fmla="*/ 70 h 83"/>
                  <a:gd name="T8" fmla="*/ 17 w 80"/>
                  <a:gd name="T9" fmla="*/ 63 h 83"/>
                  <a:gd name="T10" fmla="*/ 12 w 80"/>
                  <a:gd name="T11" fmla="*/ 54 h 83"/>
                  <a:gd name="T12" fmla="*/ 6 w 80"/>
                  <a:gd name="T13" fmla="*/ 53 h 83"/>
                  <a:gd name="T14" fmla="*/ 5 w 80"/>
                  <a:gd name="T15" fmla="*/ 42 h 83"/>
                  <a:gd name="T16" fmla="*/ 6 w 80"/>
                  <a:gd name="T17" fmla="*/ 36 h 83"/>
                  <a:gd name="T18" fmla="*/ 2 w 80"/>
                  <a:gd name="T19" fmla="*/ 34 h 83"/>
                  <a:gd name="T20" fmla="*/ 2 w 80"/>
                  <a:gd name="T21" fmla="*/ 28 h 83"/>
                  <a:gd name="T22" fmla="*/ 7 w 80"/>
                  <a:gd name="T23" fmla="*/ 27 h 83"/>
                  <a:gd name="T24" fmla="*/ 13 w 80"/>
                  <a:gd name="T25" fmla="*/ 19 h 83"/>
                  <a:gd name="T26" fmla="*/ 13 w 80"/>
                  <a:gd name="T27" fmla="*/ 12 h 83"/>
                  <a:gd name="T28" fmla="*/ 25 w 80"/>
                  <a:gd name="T29" fmla="*/ 16 h 83"/>
                  <a:gd name="T30" fmla="*/ 37 w 80"/>
                  <a:gd name="T31" fmla="*/ 11 h 83"/>
                  <a:gd name="T32" fmla="*/ 49 w 80"/>
                  <a:gd name="T33" fmla="*/ 16 h 83"/>
                  <a:gd name="T34" fmla="*/ 65 w 80"/>
                  <a:gd name="T35" fmla="*/ 8 h 83"/>
                  <a:gd name="T36" fmla="*/ 83 w 80"/>
                  <a:gd name="T37" fmla="*/ 2 h 83"/>
                  <a:gd name="T38" fmla="*/ 92 w 80"/>
                  <a:gd name="T39" fmla="*/ 0 h 83"/>
                  <a:gd name="T40" fmla="*/ 96 w 80"/>
                  <a:gd name="T41" fmla="*/ 2 h 83"/>
                  <a:gd name="T42" fmla="*/ 91 w 80"/>
                  <a:gd name="T43" fmla="*/ 11 h 83"/>
                  <a:gd name="T44" fmla="*/ 83 w 80"/>
                  <a:gd name="T45" fmla="*/ 16 h 83"/>
                  <a:gd name="T46" fmla="*/ 79 w 80"/>
                  <a:gd name="T47" fmla="*/ 22 h 83"/>
                  <a:gd name="T48" fmla="*/ 82 w 80"/>
                  <a:gd name="T49" fmla="*/ 33 h 83"/>
                  <a:gd name="T50" fmla="*/ 80 w 80"/>
                  <a:gd name="T51" fmla="*/ 40 h 83"/>
                  <a:gd name="T52" fmla="*/ 78 w 80"/>
                  <a:gd name="T53" fmla="*/ 52 h 83"/>
                  <a:gd name="T54" fmla="*/ 68 w 80"/>
                  <a:gd name="T55" fmla="*/ 58 h 83"/>
                  <a:gd name="T56" fmla="*/ 66 w 80"/>
                  <a:gd name="T57" fmla="*/ 63 h 83"/>
                  <a:gd name="T58" fmla="*/ 50 w 80"/>
                  <a:gd name="T59" fmla="*/ 75 h 83"/>
                  <a:gd name="T60" fmla="*/ 19 w 80"/>
                  <a:gd name="T61" fmla="*/ 96 h 83"/>
                  <a:gd name="T62" fmla="*/ 16 w 80"/>
                  <a:gd name="T63" fmla="*/ 100 h 83"/>
                  <a:gd name="T64" fmla="*/ 16 w 80"/>
                  <a:gd name="T65" fmla="*/ 96 h 83"/>
                  <a:gd name="T66" fmla="*/ 0 w 80"/>
                  <a:gd name="T67" fmla="*/ 93 h 83"/>
                  <a:gd name="T68" fmla="*/ 1 w 80"/>
                  <a:gd name="T69" fmla="*/ 87 h 83"/>
                  <a:gd name="T70" fmla="*/ 2 w 80"/>
                  <a:gd name="T71" fmla="*/ 78 h 83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80"/>
                  <a:gd name="T109" fmla="*/ 0 h 83"/>
                  <a:gd name="T110" fmla="*/ 80 w 80"/>
                  <a:gd name="T111" fmla="*/ 83 h 83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80" h="83">
                    <a:moveTo>
                      <a:pt x="2" y="65"/>
                    </a:moveTo>
                    <a:cubicBezTo>
                      <a:pt x="2" y="65"/>
                      <a:pt x="3" y="66"/>
                      <a:pt x="4" y="65"/>
                    </a:cubicBezTo>
                    <a:cubicBezTo>
                      <a:pt x="5" y="63"/>
                      <a:pt x="4" y="60"/>
                      <a:pt x="6" y="58"/>
                    </a:cubicBezTo>
                    <a:cubicBezTo>
                      <a:pt x="7" y="57"/>
                      <a:pt x="9" y="59"/>
                      <a:pt x="11" y="58"/>
                    </a:cubicBezTo>
                    <a:cubicBezTo>
                      <a:pt x="12" y="56"/>
                      <a:pt x="14" y="54"/>
                      <a:pt x="14" y="52"/>
                    </a:cubicBezTo>
                    <a:cubicBezTo>
                      <a:pt x="14" y="49"/>
                      <a:pt x="12" y="47"/>
                      <a:pt x="10" y="45"/>
                    </a:cubicBezTo>
                    <a:cubicBezTo>
                      <a:pt x="9" y="44"/>
                      <a:pt x="7" y="44"/>
                      <a:pt x="5" y="44"/>
                    </a:cubicBezTo>
                    <a:cubicBezTo>
                      <a:pt x="5" y="41"/>
                      <a:pt x="4" y="38"/>
                      <a:pt x="4" y="35"/>
                    </a:cubicBezTo>
                    <a:cubicBezTo>
                      <a:pt x="4" y="34"/>
                      <a:pt x="5" y="32"/>
                      <a:pt x="5" y="30"/>
                    </a:cubicBezTo>
                    <a:cubicBezTo>
                      <a:pt x="4" y="29"/>
                      <a:pt x="2" y="29"/>
                      <a:pt x="2" y="28"/>
                    </a:cubicBezTo>
                    <a:cubicBezTo>
                      <a:pt x="1" y="27"/>
                      <a:pt x="2" y="24"/>
                      <a:pt x="2" y="23"/>
                    </a:cubicBezTo>
                    <a:cubicBezTo>
                      <a:pt x="3" y="23"/>
                      <a:pt x="5" y="23"/>
                      <a:pt x="6" y="22"/>
                    </a:cubicBezTo>
                    <a:cubicBezTo>
                      <a:pt x="8" y="20"/>
                      <a:pt x="10" y="18"/>
                      <a:pt x="11" y="16"/>
                    </a:cubicBezTo>
                    <a:cubicBezTo>
                      <a:pt x="11" y="14"/>
                      <a:pt x="9" y="11"/>
                      <a:pt x="11" y="10"/>
                    </a:cubicBezTo>
                    <a:cubicBezTo>
                      <a:pt x="14" y="9"/>
                      <a:pt x="17" y="13"/>
                      <a:pt x="21" y="13"/>
                    </a:cubicBezTo>
                    <a:cubicBezTo>
                      <a:pt x="24" y="13"/>
                      <a:pt x="27" y="9"/>
                      <a:pt x="31" y="9"/>
                    </a:cubicBezTo>
                    <a:cubicBezTo>
                      <a:pt x="34" y="9"/>
                      <a:pt x="37" y="13"/>
                      <a:pt x="41" y="13"/>
                    </a:cubicBezTo>
                    <a:cubicBezTo>
                      <a:pt x="46" y="12"/>
                      <a:pt x="50" y="9"/>
                      <a:pt x="54" y="7"/>
                    </a:cubicBezTo>
                    <a:cubicBezTo>
                      <a:pt x="59" y="5"/>
                      <a:pt x="64" y="4"/>
                      <a:pt x="69" y="2"/>
                    </a:cubicBezTo>
                    <a:cubicBezTo>
                      <a:pt x="72" y="1"/>
                      <a:pt x="75" y="0"/>
                      <a:pt x="77" y="0"/>
                    </a:cubicBezTo>
                    <a:cubicBezTo>
                      <a:pt x="79" y="0"/>
                      <a:pt x="79" y="1"/>
                      <a:pt x="80" y="2"/>
                    </a:cubicBezTo>
                    <a:cubicBezTo>
                      <a:pt x="79" y="4"/>
                      <a:pt x="78" y="8"/>
                      <a:pt x="76" y="9"/>
                    </a:cubicBezTo>
                    <a:cubicBezTo>
                      <a:pt x="74" y="11"/>
                      <a:pt x="71" y="11"/>
                      <a:pt x="69" y="13"/>
                    </a:cubicBezTo>
                    <a:cubicBezTo>
                      <a:pt x="68" y="14"/>
                      <a:pt x="67" y="16"/>
                      <a:pt x="66" y="18"/>
                    </a:cubicBezTo>
                    <a:cubicBezTo>
                      <a:pt x="66" y="21"/>
                      <a:pt x="68" y="24"/>
                      <a:pt x="68" y="27"/>
                    </a:cubicBezTo>
                    <a:cubicBezTo>
                      <a:pt x="68" y="29"/>
                      <a:pt x="67" y="31"/>
                      <a:pt x="67" y="33"/>
                    </a:cubicBezTo>
                    <a:cubicBezTo>
                      <a:pt x="66" y="36"/>
                      <a:pt x="67" y="40"/>
                      <a:pt x="65" y="43"/>
                    </a:cubicBezTo>
                    <a:cubicBezTo>
                      <a:pt x="63" y="46"/>
                      <a:pt x="59" y="46"/>
                      <a:pt x="57" y="48"/>
                    </a:cubicBezTo>
                    <a:cubicBezTo>
                      <a:pt x="56" y="49"/>
                      <a:pt x="56" y="51"/>
                      <a:pt x="55" y="52"/>
                    </a:cubicBezTo>
                    <a:cubicBezTo>
                      <a:pt x="51" y="56"/>
                      <a:pt x="46" y="59"/>
                      <a:pt x="42" y="62"/>
                    </a:cubicBezTo>
                    <a:cubicBezTo>
                      <a:pt x="33" y="68"/>
                      <a:pt x="24" y="74"/>
                      <a:pt x="16" y="80"/>
                    </a:cubicBezTo>
                    <a:cubicBezTo>
                      <a:pt x="15" y="81"/>
                      <a:pt x="14" y="83"/>
                      <a:pt x="13" y="83"/>
                    </a:cubicBezTo>
                    <a:cubicBezTo>
                      <a:pt x="12" y="83"/>
                      <a:pt x="14" y="80"/>
                      <a:pt x="13" y="80"/>
                    </a:cubicBezTo>
                    <a:cubicBezTo>
                      <a:pt x="9" y="78"/>
                      <a:pt x="4" y="78"/>
                      <a:pt x="0" y="77"/>
                    </a:cubicBezTo>
                    <a:cubicBezTo>
                      <a:pt x="0" y="75"/>
                      <a:pt x="0" y="73"/>
                      <a:pt x="1" y="72"/>
                    </a:cubicBezTo>
                    <a:cubicBezTo>
                      <a:pt x="1" y="70"/>
                      <a:pt x="1" y="67"/>
                      <a:pt x="2" y="65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88" name="Freeform 2608"/>
              <p:cNvSpPr>
                <a:spLocks noChangeAspect="1"/>
              </p:cNvSpPr>
              <p:nvPr/>
            </p:nvSpPr>
            <p:spPr bwMode="auto">
              <a:xfrm>
                <a:off x="5022406" y="2417023"/>
                <a:ext cx="24606" cy="22428"/>
              </a:xfrm>
              <a:custGeom>
                <a:avLst/>
                <a:gdLst>
                  <a:gd name="T0" fmla="*/ 0 w 18"/>
                  <a:gd name="T1" fmla="*/ 27 h 23"/>
                  <a:gd name="T2" fmla="*/ 1 w 18"/>
                  <a:gd name="T3" fmla="*/ 18 h 23"/>
                  <a:gd name="T4" fmla="*/ 7 w 18"/>
                  <a:gd name="T5" fmla="*/ 8 h 23"/>
                  <a:gd name="T6" fmla="*/ 11 w 18"/>
                  <a:gd name="T7" fmla="*/ 0 h 23"/>
                  <a:gd name="T8" fmla="*/ 17 w 18"/>
                  <a:gd name="T9" fmla="*/ 1 h 23"/>
                  <a:gd name="T10" fmla="*/ 22 w 18"/>
                  <a:gd name="T11" fmla="*/ 9 h 23"/>
                  <a:gd name="T12" fmla="*/ 18 w 18"/>
                  <a:gd name="T13" fmla="*/ 16 h 23"/>
                  <a:gd name="T14" fmla="*/ 12 w 18"/>
                  <a:gd name="T15" fmla="*/ 16 h 23"/>
                  <a:gd name="T16" fmla="*/ 10 w 18"/>
                  <a:gd name="T17" fmla="*/ 25 h 23"/>
                  <a:gd name="T18" fmla="*/ 7 w 18"/>
                  <a:gd name="T19" fmla="*/ 25 h 23"/>
                  <a:gd name="T20" fmla="*/ 4 w 18"/>
                  <a:gd name="T21" fmla="*/ 26 h 23"/>
                  <a:gd name="T22" fmla="*/ 0 w 18"/>
                  <a:gd name="T23" fmla="*/ 27 h 23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8"/>
                  <a:gd name="T37" fmla="*/ 0 h 23"/>
                  <a:gd name="T38" fmla="*/ 18 w 18"/>
                  <a:gd name="T39" fmla="*/ 23 h 23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8" h="23">
                    <a:moveTo>
                      <a:pt x="0" y="23"/>
                    </a:moveTo>
                    <a:cubicBezTo>
                      <a:pt x="0" y="21"/>
                      <a:pt x="0" y="18"/>
                      <a:pt x="1" y="15"/>
                    </a:cubicBezTo>
                    <a:cubicBezTo>
                      <a:pt x="2" y="12"/>
                      <a:pt x="4" y="10"/>
                      <a:pt x="6" y="7"/>
                    </a:cubicBezTo>
                    <a:cubicBezTo>
                      <a:pt x="7" y="5"/>
                      <a:pt x="8" y="2"/>
                      <a:pt x="9" y="0"/>
                    </a:cubicBezTo>
                    <a:cubicBezTo>
                      <a:pt x="11" y="0"/>
                      <a:pt x="13" y="0"/>
                      <a:pt x="14" y="1"/>
                    </a:cubicBezTo>
                    <a:cubicBezTo>
                      <a:pt x="16" y="3"/>
                      <a:pt x="18" y="5"/>
                      <a:pt x="18" y="8"/>
                    </a:cubicBezTo>
                    <a:cubicBezTo>
                      <a:pt x="18" y="10"/>
                      <a:pt x="16" y="12"/>
                      <a:pt x="15" y="14"/>
                    </a:cubicBezTo>
                    <a:cubicBezTo>
                      <a:pt x="13" y="15"/>
                      <a:pt x="11" y="13"/>
                      <a:pt x="10" y="14"/>
                    </a:cubicBezTo>
                    <a:cubicBezTo>
                      <a:pt x="8" y="16"/>
                      <a:pt x="9" y="19"/>
                      <a:pt x="8" y="21"/>
                    </a:cubicBezTo>
                    <a:cubicBezTo>
                      <a:pt x="7" y="22"/>
                      <a:pt x="6" y="21"/>
                      <a:pt x="6" y="21"/>
                    </a:cubicBezTo>
                    <a:cubicBezTo>
                      <a:pt x="5" y="21"/>
                      <a:pt x="4" y="21"/>
                      <a:pt x="3" y="22"/>
                    </a:cubicBezTo>
                    <a:cubicBezTo>
                      <a:pt x="2" y="22"/>
                      <a:pt x="1" y="23"/>
                      <a:pt x="0" y="2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89" name="Freeform 2609"/>
              <p:cNvSpPr>
                <a:spLocks noChangeAspect="1"/>
              </p:cNvSpPr>
              <p:nvPr/>
            </p:nvSpPr>
            <p:spPr bwMode="auto">
              <a:xfrm>
                <a:off x="5015694" y="2452742"/>
                <a:ext cx="359037" cy="240893"/>
              </a:xfrm>
              <a:custGeom>
                <a:avLst/>
                <a:gdLst>
                  <a:gd name="T0" fmla="*/ 249 w 267"/>
                  <a:gd name="T1" fmla="*/ 145 h 242"/>
                  <a:gd name="T2" fmla="*/ 243 w 267"/>
                  <a:gd name="T3" fmla="*/ 132 h 242"/>
                  <a:gd name="T4" fmla="*/ 232 w 267"/>
                  <a:gd name="T5" fmla="*/ 117 h 242"/>
                  <a:gd name="T6" fmla="*/ 233 w 267"/>
                  <a:gd name="T7" fmla="*/ 103 h 242"/>
                  <a:gd name="T8" fmla="*/ 220 w 267"/>
                  <a:gd name="T9" fmla="*/ 91 h 242"/>
                  <a:gd name="T10" fmla="*/ 214 w 267"/>
                  <a:gd name="T11" fmla="*/ 84 h 242"/>
                  <a:gd name="T12" fmla="*/ 195 w 267"/>
                  <a:gd name="T13" fmla="*/ 72 h 242"/>
                  <a:gd name="T14" fmla="*/ 176 w 267"/>
                  <a:gd name="T15" fmla="*/ 59 h 242"/>
                  <a:gd name="T16" fmla="*/ 113 w 267"/>
                  <a:gd name="T17" fmla="*/ 24 h 242"/>
                  <a:gd name="T18" fmla="*/ 89 w 267"/>
                  <a:gd name="T19" fmla="*/ 7 h 242"/>
                  <a:gd name="T20" fmla="*/ 63 w 267"/>
                  <a:gd name="T21" fmla="*/ 6 h 242"/>
                  <a:gd name="T22" fmla="*/ 35 w 267"/>
                  <a:gd name="T23" fmla="*/ 16 h 242"/>
                  <a:gd name="T24" fmla="*/ 43 w 267"/>
                  <a:gd name="T25" fmla="*/ 37 h 242"/>
                  <a:gd name="T26" fmla="*/ 28 w 267"/>
                  <a:gd name="T27" fmla="*/ 47 h 242"/>
                  <a:gd name="T28" fmla="*/ 5 w 267"/>
                  <a:gd name="T29" fmla="*/ 56 h 242"/>
                  <a:gd name="T30" fmla="*/ 1 w 267"/>
                  <a:gd name="T31" fmla="*/ 79 h 242"/>
                  <a:gd name="T32" fmla="*/ 13 w 267"/>
                  <a:gd name="T33" fmla="*/ 79 h 242"/>
                  <a:gd name="T34" fmla="*/ 31 w 267"/>
                  <a:gd name="T35" fmla="*/ 114 h 242"/>
                  <a:gd name="T36" fmla="*/ 44 w 267"/>
                  <a:gd name="T37" fmla="*/ 132 h 242"/>
                  <a:gd name="T38" fmla="*/ 52 w 267"/>
                  <a:gd name="T39" fmla="*/ 149 h 242"/>
                  <a:gd name="T40" fmla="*/ 66 w 267"/>
                  <a:gd name="T41" fmla="*/ 165 h 242"/>
                  <a:gd name="T42" fmla="*/ 71 w 267"/>
                  <a:gd name="T43" fmla="*/ 191 h 242"/>
                  <a:gd name="T44" fmla="*/ 81 w 267"/>
                  <a:gd name="T45" fmla="*/ 217 h 242"/>
                  <a:gd name="T46" fmla="*/ 96 w 267"/>
                  <a:gd name="T47" fmla="*/ 231 h 242"/>
                  <a:gd name="T48" fmla="*/ 107 w 267"/>
                  <a:gd name="T49" fmla="*/ 249 h 242"/>
                  <a:gd name="T50" fmla="*/ 120 w 267"/>
                  <a:gd name="T51" fmla="*/ 276 h 242"/>
                  <a:gd name="T52" fmla="*/ 126 w 267"/>
                  <a:gd name="T53" fmla="*/ 280 h 242"/>
                  <a:gd name="T54" fmla="*/ 136 w 267"/>
                  <a:gd name="T55" fmla="*/ 284 h 242"/>
                  <a:gd name="T56" fmla="*/ 139 w 267"/>
                  <a:gd name="T57" fmla="*/ 271 h 242"/>
                  <a:gd name="T58" fmla="*/ 186 w 267"/>
                  <a:gd name="T59" fmla="*/ 271 h 242"/>
                  <a:gd name="T60" fmla="*/ 203 w 267"/>
                  <a:gd name="T61" fmla="*/ 276 h 242"/>
                  <a:gd name="T62" fmla="*/ 267 w 267"/>
                  <a:gd name="T63" fmla="*/ 242 h 242"/>
                  <a:gd name="T64" fmla="*/ 321 w 267"/>
                  <a:gd name="T65" fmla="*/ 189 h 242"/>
                  <a:gd name="T66" fmla="*/ 309 w 267"/>
                  <a:gd name="T67" fmla="*/ 180 h 242"/>
                  <a:gd name="T68" fmla="*/ 257 w 267"/>
                  <a:gd name="T69" fmla="*/ 156 h 242"/>
                  <a:gd name="T70" fmla="*/ 258 w 267"/>
                  <a:gd name="T71" fmla="*/ 149 h 242"/>
                  <a:gd name="T72" fmla="*/ 257 w 267"/>
                  <a:gd name="T73" fmla="*/ 145 h 24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67"/>
                  <a:gd name="T112" fmla="*/ 0 h 242"/>
                  <a:gd name="T113" fmla="*/ 267 w 267"/>
                  <a:gd name="T114" fmla="*/ 242 h 242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67" h="242">
                    <a:moveTo>
                      <a:pt x="210" y="119"/>
                    </a:moveTo>
                    <a:cubicBezTo>
                      <a:pt x="209" y="120"/>
                      <a:pt x="208" y="121"/>
                      <a:pt x="207" y="121"/>
                    </a:cubicBezTo>
                    <a:cubicBezTo>
                      <a:pt x="206" y="120"/>
                      <a:pt x="205" y="118"/>
                      <a:pt x="205" y="117"/>
                    </a:cubicBezTo>
                    <a:cubicBezTo>
                      <a:pt x="204" y="115"/>
                      <a:pt x="204" y="112"/>
                      <a:pt x="202" y="110"/>
                    </a:cubicBezTo>
                    <a:cubicBezTo>
                      <a:pt x="201" y="108"/>
                      <a:pt x="199" y="106"/>
                      <a:pt x="197" y="104"/>
                    </a:cubicBezTo>
                    <a:cubicBezTo>
                      <a:pt x="196" y="102"/>
                      <a:pt x="193" y="101"/>
                      <a:pt x="193" y="98"/>
                    </a:cubicBezTo>
                    <a:cubicBezTo>
                      <a:pt x="192" y="96"/>
                      <a:pt x="194" y="94"/>
                      <a:pt x="194" y="92"/>
                    </a:cubicBezTo>
                    <a:cubicBezTo>
                      <a:pt x="195" y="90"/>
                      <a:pt x="195" y="87"/>
                      <a:pt x="194" y="86"/>
                    </a:cubicBezTo>
                    <a:cubicBezTo>
                      <a:pt x="192" y="83"/>
                      <a:pt x="188" y="82"/>
                      <a:pt x="186" y="80"/>
                    </a:cubicBezTo>
                    <a:cubicBezTo>
                      <a:pt x="184" y="79"/>
                      <a:pt x="184" y="77"/>
                      <a:pt x="183" y="76"/>
                    </a:cubicBezTo>
                    <a:cubicBezTo>
                      <a:pt x="182" y="74"/>
                      <a:pt x="179" y="75"/>
                      <a:pt x="178" y="74"/>
                    </a:cubicBezTo>
                    <a:cubicBezTo>
                      <a:pt x="177" y="73"/>
                      <a:pt x="178" y="71"/>
                      <a:pt x="178" y="70"/>
                    </a:cubicBezTo>
                    <a:cubicBezTo>
                      <a:pt x="176" y="67"/>
                      <a:pt x="175" y="63"/>
                      <a:pt x="173" y="60"/>
                    </a:cubicBezTo>
                    <a:cubicBezTo>
                      <a:pt x="169" y="60"/>
                      <a:pt x="165" y="60"/>
                      <a:pt x="162" y="60"/>
                    </a:cubicBezTo>
                    <a:cubicBezTo>
                      <a:pt x="160" y="58"/>
                      <a:pt x="160" y="54"/>
                      <a:pt x="158" y="52"/>
                    </a:cubicBezTo>
                    <a:cubicBezTo>
                      <a:pt x="154" y="51"/>
                      <a:pt x="150" y="50"/>
                      <a:pt x="146" y="49"/>
                    </a:cubicBezTo>
                    <a:cubicBezTo>
                      <a:pt x="139" y="48"/>
                      <a:pt x="131" y="48"/>
                      <a:pt x="124" y="48"/>
                    </a:cubicBezTo>
                    <a:cubicBezTo>
                      <a:pt x="114" y="38"/>
                      <a:pt x="104" y="29"/>
                      <a:pt x="94" y="20"/>
                    </a:cubicBezTo>
                    <a:cubicBezTo>
                      <a:pt x="91" y="18"/>
                      <a:pt x="87" y="16"/>
                      <a:pt x="84" y="14"/>
                    </a:cubicBezTo>
                    <a:cubicBezTo>
                      <a:pt x="80" y="11"/>
                      <a:pt x="77" y="9"/>
                      <a:pt x="74" y="6"/>
                    </a:cubicBezTo>
                    <a:cubicBezTo>
                      <a:pt x="68" y="4"/>
                      <a:pt x="63" y="2"/>
                      <a:pt x="58" y="0"/>
                    </a:cubicBezTo>
                    <a:cubicBezTo>
                      <a:pt x="56" y="1"/>
                      <a:pt x="54" y="4"/>
                      <a:pt x="52" y="5"/>
                    </a:cubicBezTo>
                    <a:cubicBezTo>
                      <a:pt x="45" y="8"/>
                      <a:pt x="38" y="9"/>
                      <a:pt x="29" y="11"/>
                    </a:cubicBezTo>
                    <a:cubicBezTo>
                      <a:pt x="29" y="11"/>
                      <a:pt x="28" y="12"/>
                      <a:pt x="29" y="13"/>
                    </a:cubicBezTo>
                    <a:cubicBezTo>
                      <a:pt x="32" y="19"/>
                      <a:pt x="38" y="23"/>
                      <a:pt x="40" y="29"/>
                    </a:cubicBezTo>
                    <a:cubicBezTo>
                      <a:pt x="41" y="30"/>
                      <a:pt x="37" y="29"/>
                      <a:pt x="36" y="31"/>
                    </a:cubicBezTo>
                    <a:cubicBezTo>
                      <a:pt x="35" y="32"/>
                      <a:pt x="36" y="35"/>
                      <a:pt x="34" y="36"/>
                    </a:cubicBezTo>
                    <a:cubicBezTo>
                      <a:pt x="31" y="37"/>
                      <a:pt x="26" y="37"/>
                      <a:pt x="23" y="39"/>
                    </a:cubicBezTo>
                    <a:cubicBezTo>
                      <a:pt x="21" y="41"/>
                      <a:pt x="20" y="45"/>
                      <a:pt x="18" y="49"/>
                    </a:cubicBezTo>
                    <a:cubicBezTo>
                      <a:pt x="13" y="49"/>
                      <a:pt x="9" y="47"/>
                      <a:pt x="4" y="47"/>
                    </a:cubicBezTo>
                    <a:cubicBezTo>
                      <a:pt x="3" y="50"/>
                      <a:pt x="3" y="55"/>
                      <a:pt x="2" y="58"/>
                    </a:cubicBezTo>
                    <a:cubicBezTo>
                      <a:pt x="1" y="61"/>
                      <a:pt x="0" y="64"/>
                      <a:pt x="1" y="66"/>
                    </a:cubicBezTo>
                    <a:cubicBezTo>
                      <a:pt x="1" y="67"/>
                      <a:pt x="4" y="66"/>
                      <a:pt x="5" y="66"/>
                    </a:cubicBezTo>
                    <a:cubicBezTo>
                      <a:pt x="7" y="66"/>
                      <a:pt x="10" y="65"/>
                      <a:pt x="11" y="66"/>
                    </a:cubicBezTo>
                    <a:cubicBezTo>
                      <a:pt x="15" y="72"/>
                      <a:pt x="16" y="80"/>
                      <a:pt x="19" y="86"/>
                    </a:cubicBezTo>
                    <a:cubicBezTo>
                      <a:pt x="21" y="89"/>
                      <a:pt x="24" y="92"/>
                      <a:pt x="26" y="95"/>
                    </a:cubicBezTo>
                    <a:cubicBezTo>
                      <a:pt x="28" y="98"/>
                      <a:pt x="30" y="100"/>
                      <a:pt x="32" y="103"/>
                    </a:cubicBezTo>
                    <a:cubicBezTo>
                      <a:pt x="34" y="105"/>
                      <a:pt x="37" y="107"/>
                      <a:pt x="37" y="110"/>
                    </a:cubicBezTo>
                    <a:cubicBezTo>
                      <a:pt x="38" y="112"/>
                      <a:pt x="35" y="115"/>
                      <a:pt x="36" y="117"/>
                    </a:cubicBezTo>
                    <a:cubicBezTo>
                      <a:pt x="37" y="120"/>
                      <a:pt x="41" y="123"/>
                      <a:pt x="43" y="124"/>
                    </a:cubicBezTo>
                    <a:cubicBezTo>
                      <a:pt x="46" y="126"/>
                      <a:pt x="48" y="129"/>
                      <a:pt x="51" y="132"/>
                    </a:cubicBezTo>
                    <a:cubicBezTo>
                      <a:pt x="52" y="134"/>
                      <a:pt x="54" y="136"/>
                      <a:pt x="55" y="138"/>
                    </a:cubicBezTo>
                    <a:cubicBezTo>
                      <a:pt x="56" y="142"/>
                      <a:pt x="58" y="146"/>
                      <a:pt x="59" y="151"/>
                    </a:cubicBezTo>
                    <a:cubicBezTo>
                      <a:pt x="59" y="153"/>
                      <a:pt x="59" y="156"/>
                      <a:pt x="59" y="159"/>
                    </a:cubicBezTo>
                    <a:cubicBezTo>
                      <a:pt x="59" y="161"/>
                      <a:pt x="58" y="164"/>
                      <a:pt x="59" y="167"/>
                    </a:cubicBezTo>
                    <a:cubicBezTo>
                      <a:pt x="61" y="172"/>
                      <a:pt x="64" y="177"/>
                      <a:pt x="67" y="181"/>
                    </a:cubicBezTo>
                    <a:cubicBezTo>
                      <a:pt x="69" y="183"/>
                      <a:pt x="72" y="183"/>
                      <a:pt x="74" y="185"/>
                    </a:cubicBezTo>
                    <a:cubicBezTo>
                      <a:pt x="76" y="187"/>
                      <a:pt x="78" y="190"/>
                      <a:pt x="80" y="193"/>
                    </a:cubicBezTo>
                    <a:cubicBezTo>
                      <a:pt x="82" y="195"/>
                      <a:pt x="84" y="198"/>
                      <a:pt x="86" y="200"/>
                    </a:cubicBezTo>
                    <a:cubicBezTo>
                      <a:pt x="87" y="203"/>
                      <a:pt x="88" y="206"/>
                      <a:pt x="89" y="208"/>
                    </a:cubicBezTo>
                    <a:cubicBezTo>
                      <a:pt x="93" y="214"/>
                      <a:pt x="96" y="219"/>
                      <a:pt x="100" y="224"/>
                    </a:cubicBezTo>
                    <a:cubicBezTo>
                      <a:pt x="101" y="226"/>
                      <a:pt x="99" y="228"/>
                      <a:pt x="100" y="230"/>
                    </a:cubicBezTo>
                    <a:cubicBezTo>
                      <a:pt x="101" y="231"/>
                      <a:pt x="102" y="227"/>
                      <a:pt x="103" y="228"/>
                    </a:cubicBezTo>
                    <a:cubicBezTo>
                      <a:pt x="105" y="229"/>
                      <a:pt x="103" y="232"/>
                      <a:pt x="105" y="234"/>
                    </a:cubicBezTo>
                    <a:cubicBezTo>
                      <a:pt x="106" y="237"/>
                      <a:pt x="108" y="240"/>
                      <a:pt x="109" y="242"/>
                    </a:cubicBezTo>
                    <a:cubicBezTo>
                      <a:pt x="111" y="240"/>
                      <a:pt x="112" y="239"/>
                      <a:pt x="113" y="237"/>
                    </a:cubicBezTo>
                    <a:cubicBezTo>
                      <a:pt x="114" y="234"/>
                      <a:pt x="113" y="231"/>
                      <a:pt x="113" y="229"/>
                    </a:cubicBezTo>
                    <a:cubicBezTo>
                      <a:pt x="114" y="227"/>
                      <a:pt x="115" y="226"/>
                      <a:pt x="116" y="226"/>
                    </a:cubicBezTo>
                    <a:cubicBezTo>
                      <a:pt x="118" y="225"/>
                      <a:pt x="119" y="228"/>
                      <a:pt x="120" y="228"/>
                    </a:cubicBezTo>
                    <a:cubicBezTo>
                      <a:pt x="132" y="228"/>
                      <a:pt x="144" y="226"/>
                      <a:pt x="155" y="226"/>
                    </a:cubicBezTo>
                    <a:lnTo>
                      <a:pt x="162" y="231"/>
                    </a:lnTo>
                    <a:cubicBezTo>
                      <a:pt x="164" y="233"/>
                      <a:pt x="167" y="232"/>
                      <a:pt x="169" y="230"/>
                    </a:cubicBezTo>
                    <a:cubicBezTo>
                      <a:pt x="174" y="226"/>
                      <a:pt x="176" y="220"/>
                      <a:pt x="180" y="215"/>
                    </a:cubicBezTo>
                    <a:cubicBezTo>
                      <a:pt x="194" y="211"/>
                      <a:pt x="208" y="206"/>
                      <a:pt x="222" y="202"/>
                    </a:cubicBezTo>
                    <a:lnTo>
                      <a:pt x="261" y="188"/>
                    </a:lnTo>
                    <a:lnTo>
                      <a:pt x="267" y="158"/>
                    </a:lnTo>
                    <a:lnTo>
                      <a:pt x="261" y="146"/>
                    </a:lnTo>
                    <a:lnTo>
                      <a:pt x="257" y="150"/>
                    </a:lnTo>
                    <a:lnTo>
                      <a:pt x="218" y="142"/>
                    </a:lnTo>
                    <a:lnTo>
                      <a:pt x="214" y="130"/>
                    </a:lnTo>
                    <a:lnTo>
                      <a:pt x="217" y="126"/>
                    </a:lnTo>
                    <a:cubicBezTo>
                      <a:pt x="217" y="125"/>
                      <a:pt x="216" y="124"/>
                      <a:pt x="215" y="124"/>
                    </a:cubicBezTo>
                    <a:cubicBezTo>
                      <a:pt x="214" y="124"/>
                      <a:pt x="212" y="127"/>
                      <a:pt x="212" y="126"/>
                    </a:cubicBezTo>
                    <a:cubicBezTo>
                      <a:pt x="211" y="124"/>
                      <a:pt x="214" y="123"/>
                      <a:pt x="214" y="121"/>
                    </a:cubicBezTo>
                    <a:cubicBezTo>
                      <a:pt x="213" y="120"/>
                      <a:pt x="211" y="120"/>
                      <a:pt x="210" y="119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90" name="Freeform 2610"/>
              <p:cNvSpPr>
                <a:spLocks noChangeAspect="1"/>
              </p:cNvSpPr>
              <p:nvPr/>
            </p:nvSpPr>
            <p:spPr bwMode="auto">
              <a:xfrm>
                <a:off x="5021287" y="2434467"/>
                <a:ext cx="72702" cy="67284"/>
              </a:xfrm>
              <a:custGeom>
                <a:avLst/>
                <a:gdLst>
                  <a:gd name="T0" fmla="*/ 0 w 54"/>
                  <a:gd name="T1" fmla="*/ 79 h 67"/>
                  <a:gd name="T2" fmla="*/ 0 w 54"/>
                  <a:gd name="T3" fmla="*/ 76 h 67"/>
                  <a:gd name="T4" fmla="*/ 0 w 54"/>
                  <a:gd name="T5" fmla="*/ 74 h 67"/>
                  <a:gd name="T6" fmla="*/ 0 w 54"/>
                  <a:gd name="T7" fmla="*/ 64 h 67"/>
                  <a:gd name="T8" fmla="*/ 2 w 54"/>
                  <a:gd name="T9" fmla="*/ 50 h 67"/>
                  <a:gd name="T10" fmla="*/ 4 w 54"/>
                  <a:gd name="T11" fmla="*/ 42 h 67"/>
                  <a:gd name="T12" fmla="*/ 5 w 54"/>
                  <a:gd name="T13" fmla="*/ 28 h 67"/>
                  <a:gd name="T14" fmla="*/ 6 w 54"/>
                  <a:gd name="T15" fmla="*/ 18 h 67"/>
                  <a:gd name="T16" fmla="*/ 22 w 54"/>
                  <a:gd name="T17" fmla="*/ 22 h 67"/>
                  <a:gd name="T18" fmla="*/ 22 w 54"/>
                  <a:gd name="T19" fmla="*/ 25 h 67"/>
                  <a:gd name="T20" fmla="*/ 25 w 54"/>
                  <a:gd name="T21" fmla="*/ 22 h 67"/>
                  <a:gd name="T22" fmla="*/ 57 w 54"/>
                  <a:gd name="T23" fmla="*/ 0 h 67"/>
                  <a:gd name="T24" fmla="*/ 58 w 54"/>
                  <a:gd name="T25" fmla="*/ 5 h 67"/>
                  <a:gd name="T26" fmla="*/ 60 w 54"/>
                  <a:gd name="T27" fmla="*/ 13 h 67"/>
                  <a:gd name="T28" fmla="*/ 58 w 54"/>
                  <a:gd name="T29" fmla="*/ 17 h 67"/>
                  <a:gd name="T30" fmla="*/ 65 w 54"/>
                  <a:gd name="T31" fmla="*/ 22 h 67"/>
                  <a:gd name="T32" fmla="*/ 58 w 54"/>
                  <a:gd name="T33" fmla="*/ 28 h 67"/>
                  <a:gd name="T34" fmla="*/ 30 w 54"/>
                  <a:gd name="T35" fmla="*/ 35 h 67"/>
                  <a:gd name="T36" fmla="*/ 30 w 54"/>
                  <a:gd name="T37" fmla="*/ 37 h 67"/>
                  <a:gd name="T38" fmla="*/ 43 w 54"/>
                  <a:gd name="T39" fmla="*/ 57 h 67"/>
                  <a:gd name="T40" fmla="*/ 39 w 54"/>
                  <a:gd name="T41" fmla="*/ 59 h 67"/>
                  <a:gd name="T42" fmla="*/ 36 w 54"/>
                  <a:gd name="T43" fmla="*/ 65 h 67"/>
                  <a:gd name="T44" fmla="*/ 23 w 54"/>
                  <a:gd name="T45" fmla="*/ 69 h 67"/>
                  <a:gd name="T46" fmla="*/ 17 w 54"/>
                  <a:gd name="T47" fmla="*/ 81 h 67"/>
                  <a:gd name="T48" fmla="*/ 0 w 54"/>
                  <a:gd name="T49" fmla="*/ 79 h 6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54"/>
                  <a:gd name="T76" fmla="*/ 0 h 67"/>
                  <a:gd name="T77" fmla="*/ 54 w 54"/>
                  <a:gd name="T78" fmla="*/ 67 h 67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54" h="67">
                    <a:moveTo>
                      <a:pt x="0" y="65"/>
                    </a:moveTo>
                    <a:cubicBezTo>
                      <a:pt x="0" y="64"/>
                      <a:pt x="0" y="63"/>
                      <a:pt x="0" y="63"/>
                    </a:cubicBezTo>
                    <a:cubicBezTo>
                      <a:pt x="0" y="62"/>
                      <a:pt x="0" y="62"/>
                      <a:pt x="0" y="61"/>
                    </a:cubicBezTo>
                    <a:cubicBezTo>
                      <a:pt x="0" y="59"/>
                      <a:pt x="0" y="56"/>
                      <a:pt x="0" y="53"/>
                    </a:cubicBezTo>
                    <a:cubicBezTo>
                      <a:pt x="1" y="49"/>
                      <a:pt x="1" y="45"/>
                      <a:pt x="2" y="41"/>
                    </a:cubicBezTo>
                    <a:cubicBezTo>
                      <a:pt x="2" y="39"/>
                      <a:pt x="3" y="37"/>
                      <a:pt x="3" y="35"/>
                    </a:cubicBezTo>
                    <a:cubicBezTo>
                      <a:pt x="3" y="31"/>
                      <a:pt x="3" y="27"/>
                      <a:pt x="4" y="23"/>
                    </a:cubicBezTo>
                    <a:cubicBezTo>
                      <a:pt x="4" y="21"/>
                      <a:pt x="4" y="18"/>
                      <a:pt x="5" y="15"/>
                    </a:cubicBezTo>
                    <a:cubicBezTo>
                      <a:pt x="9" y="16"/>
                      <a:pt x="14" y="16"/>
                      <a:pt x="18" y="18"/>
                    </a:cubicBezTo>
                    <a:cubicBezTo>
                      <a:pt x="19" y="18"/>
                      <a:pt x="17" y="21"/>
                      <a:pt x="18" y="21"/>
                    </a:cubicBezTo>
                    <a:cubicBezTo>
                      <a:pt x="19" y="21"/>
                      <a:pt x="20" y="19"/>
                      <a:pt x="21" y="18"/>
                    </a:cubicBezTo>
                    <a:cubicBezTo>
                      <a:pt x="29" y="12"/>
                      <a:pt x="38" y="6"/>
                      <a:pt x="47" y="0"/>
                    </a:cubicBezTo>
                    <a:cubicBezTo>
                      <a:pt x="47" y="2"/>
                      <a:pt x="47" y="3"/>
                      <a:pt x="48" y="4"/>
                    </a:cubicBezTo>
                    <a:cubicBezTo>
                      <a:pt x="48" y="7"/>
                      <a:pt x="50" y="9"/>
                      <a:pt x="50" y="11"/>
                    </a:cubicBezTo>
                    <a:cubicBezTo>
                      <a:pt x="50" y="13"/>
                      <a:pt x="48" y="13"/>
                      <a:pt x="48" y="14"/>
                    </a:cubicBezTo>
                    <a:cubicBezTo>
                      <a:pt x="50" y="16"/>
                      <a:pt x="52" y="17"/>
                      <a:pt x="54" y="18"/>
                    </a:cubicBezTo>
                    <a:cubicBezTo>
                      <a:pt x="52" y="19"/>
                      <a:pt x="50" y="22"/>
                      <a:pt x="48" y="23"/>
                    </a:cubicBezTo>
                    <a:cubicBezTo>
                      <a:pt x="41" y="26"/>
                      <a:pt x="34" y="27"/>
                      <a:pt x="25" y="29"/>
                    </a:cubicBezTo>
                    <a:cubicBezTo>
                      <a:pt x="25" y="29"/>
                      <a:pt x="24" y="30"/>
                      <a:pt x="25" y="31"/>
                    </a:cubicBezTo>
                    <a:cubicBezTo>
                      <a:pt x="28" y="37"/>
                      <a:pt x="34" y="41"/>
                      <a:pt x="36" y="47"/>
                    </a:cubicBezTo>
                    <a:cubicBezTo>
                      <a:pt x="37" y="48"/>
                      <a:pt x="33" y="47"/>
                      <a:pt x="32" y="49"/>
                    </a:cubicBezTo>
                    <a:cubicBezTo>
                      <a:pt x="31" y="50"/>
                      <a:pt x="32" y="53"/>
                      <a:pt x="30" y="54"/>
                    </a:cubicBezTo>
                    <a:cubicBezTo>
                      <a:pt x="27" y="55"/>
                      <a:pt x="22" y="55"/>
                      <a:pt x="19" y="57"/>
                    </a:cubicBezTo>
                    <a:cubicBezTo>
                      <a:pt x="17" y="59"/>
                      <a:pt x="16" y="63"/>
                      <a:pt x="14" y="67"/>
                    </a:cubicBezTo>
                    <a:cubicBezTo>
                      <a:pt x="9" y="67"/>
                      <a:pt x="5" y="65"/>
                      <a:pt x="0" y="65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91" name="Freeform 2611"/>
              <p:cNvSpPr>
                <a:spLocks noChangeAspect="1"/>
              </p:cNvSpPr>
              <p:nvPr/>
            </p:nvSpPr>
            <p:spPr bwMode="auto">
              <a:xfrm>
                <a:off x="4974311" y="2469355"/>
                <a:ext cx="46977" cy="53162"/>
              </a:xfrm>
              <a:custGeom>
                <a:avLst/>
                <a:gdLst>
                  <a:gd name="T0" fmla="*/ 42 w 35"/>
                  <a:gd name="T1" fmla="*/ 31 h 53"/>
                  <a:gd name="T2" fmla="*/ 37 w 35"/>
                  <a:gd name="T3" fmla="*/ 37 h 53"/>
                  <a:gd name="T4" fmla="*/ 37 w 35"/>
                  <a:gd name="T5" fmla="*/ 47 h 53"/>
                  <a:gd name="T6" fmla="*/ 34 w 35"/>
                  <a:gd name="T7" fmla="*/ 52 h 53"/>
                  <a:gd name="T8" fmla="*/ 35 w 35"/>
                  <a:gd name="T9" fmla="*/ 62 h 53"/>
                  <a:gd name="T10" fmla="*/ 34 w 35"/>
                  <a:gd name="T11" fmla="*/ 64 h 53"/>
                  <a:gd name="T12" fmla="*/ 23 w 35"/>
                  <a:gd name="T13" fmla="*/ 57 h 53"/>
                  <a:gd name="T14" fmla="*/ 20 w 35"/>
                  <a:gd name="T15" fmla="*/ 50 h 53"/>
                  <a:gd name="T16" fmla="*/ 8 w 35"/>
                  <a:gd name="T17" fmla="*/ 35 h 53"/>
                  <a:gd name="T18" fmla="*/ 8 w 35"/>
                  <a:gd name="T19" fmla="*/ 30 h 53"/>
                  <a:gd name="T20" fmla="*/ 5 w 35"/>
                  <a:gd name="T21" fmla="*/ 22 h 53"/>
                  <a:gd name="T22" fmla="*/ 1 w 35"/>
                  <a:gd name="T23" fmla="*/ 12 h 53"/>
                  <a:gd name="T24" fmla="*/ 2 w 35"/>
                  <a:gd name="T25" fmla="*/ 2 h 53"/>
                  <a:gd name="T26" fmla="*/ 11 w 35"/>
                  <a:gd name="T27" fmla="*/ 0 h 53"/>
                  <a:gd name="T28" fmla="*/ 20 w 35"/>
                  <a:gd name="T29" fmla="*/ 2 h 53"/>
                  <a:gd name="T30" fmla="*/ 29 w 35"/>
                  <a:gd name="T31" fmla="*/ 1 h 53"/>
                  <a:gd name="T32" fmla="*/ 42 w 35"/>
                  <a:gd name="T33" fmla="*/ 31 h 53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35"/>
                  <a:gd name="T52" fmla="*/ 0 h 53"/>
                  <a:gd name="T53" fmla="*/ 35 w 35"/>
                  <a:gd name="T54" fmla="*/ 53 h 53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35" h="53">
                    <a:moveTo>
                      <a:pt x="35" y="26"/>
                    </a:moveTo>
                    <a:cubicBezTo>
                      <a:pt x="33" y="27"/>
                      <a:pt x="31" y="29"/>
                      <a:pt x="31" y="31"/>
                    </a:cubicBezTo>
                    <a:cubicBezTo>
                      <a:pt x="30" y="34"/>
                      <a:pt x="32" y="36"/>
                      <a:pt x="31" y="39"/>
                    </a:cubicBezTo>
                    <a:cubicBezTo>
                      <a:pt x="31" y="40"/>
                      <a:pt x="28" y="41"/>
                      <a:pt x="28" y="43"/>
                    </a:cubicBezTo>
                    <a:cubicBezTo>
                      <a:pt x="28" y="46"/>
                      <a:pt x="29" y="48"/>
                      <a:pt x="29" y="51"/>
                    </a:cubicBezTo>
                    <a:cubicBezTo>
                      <a:pt x="29" y="52"/>
                      <a:pt x="29" y="53"/>
                      <a:pt x="28" y="53"/>
                    </a:cubicBezTo>
                    <a:cubicBezTo>
                      <a:pt x="25" y="52"/>
                      <a:pt x="21" y="50"/>
                      <a:pt x="19" y="47"/>
                    </a:cubicBezTo>
                    <a:cubicBezTo>
                      <a:pt x="17" y="46"/>
                      <a:pt x="18" y="43"/>
                      <a:pt x="17" y="41"/>
                    </a:cubicBezTo>
                    <a:cubicBezTo>
                      <a:pt x="14" y="37"/>
                      <a:pt x="10" y="33"/>
                      <a:pt x="7" y="29"/>
                    </a:cubicBezTo>
                    <a:cubicBezTo>
                      <a:pt x="6" y="28"/>
                      <a:pt x="7" y="26"/>
                      <a:pt x="7" y="25"/>
                    </a:cubicBezTo>
                    <a:cubicBezTo>
                      <a:pt x="6" y="23"/>
                      <a:pt x="5" y="20"/>
                      <a:pt x="4" y="18"/>
                    </a:cubicBezTo>
                    <a:cubicBezTo>
                      <a:pt x="3" y="15"/>
                      <a:pt x="1" y="13"/>
                      <a:pt x="1" y="10"/>
                    </a:cubicBezTo>
                    <a:cubicBezTo>
                      <a:pt x="1" y="7"/>
                      <a:pt x="0" y="4"/>
                      <a:pt x="2" y="2"/>
                    </a:cubicBezTo>
                    <a:cubicBezTo>
                      <a:pt x="4" y="0"/>
                      <a:pt x="7" y="0"/>
                      <a:pt x="9" y="0"/>
                    </a:cubicBezTo>
                    <a:cubicBezTo>
                      <a:pt x="12" y="0"/>
                      <a:pt x="15" y="2"/>
                      <a:pt x="17" y="2"/>
                    </a:cubicBezTo>
                    <a:cubicBezTo>
                      <a:pt x="20" y="2"/>
                      <a:pt x="22" y="1"/>
                      <a:pt x="24" y="1"/>
                    </a:cubicBezTo>
                    <a:lnTo>
                      <a:pt x="35" y="26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92" name="Freeform 2612"/>
              <p:cNvSpPr>
                <a:spLocks noChangeAspect="1"/>
              </p:cNvSpPr>
              <p:nvPr/>
            </p:nvSpPr>
            <p:spPr bwMode="auto">
              <a:xfrm>
                <a:off x="5314332" y="2566542"/>
                <a:ext cx="131981" cy="122108"/>
              </a:xfrm>
              <a:custGeom>
                <a:avLst/>
                <a:gdLst>
                  <a:gd name="T0" fmla="*/ 20 w 98"/>
                  <a:gd name="T1" fmla="*/ 147 h 123"/>
                  <a:gd name="T2" fmla="*/ 31 w 98"/>
                  <a:gd name="T3" fmla="*/ 142 h 123"/>
                  <a:gd name="T4" fmla="*/ 40 w 98"/>
                  <a:gd name="T5" fmla="*/ 140 h 123"/>
                  <a:gd name="T6" fmla="*/ 47 w 98"/>
                  <a:gd name="T7" fmla="*/ 142 h 123"/>
                  <a:gd name="T8" fmla="*/ 54 w 98"/>
                  <a:gd name="T9" fmla="*/ 135 h 123"/>
                  <a:gd name="T10" fmla="*/ 51 w 98"/>
                  <a:gd name="T11" fmla="*/ 130 h 123"/>
                  <a:gd name="T12" fmla="*/ 65 w 98"/>
                  <a:gd name="T13" fmla="*/ 124 h 123"/>
                  <a:gd name="T14" fmla="*/ 71 w 98"/>
                  <a:gd name="T15" fmla="*/ 123 h 123"/>
                  <a:gd name="T16" fmla="*/ 75 w 98"/>
                  <a:gd name="T17" fmla="*/ 112 h 123"/>
                  <a:gd name="T18" fmla="*/ 88 w 98"/>
                  <a:gd name="T19" fmla="*/ 106 h 123"/>
                  <a:gd name="T20" fmla="*/ 88 w 98"/>
                  <a:gd name="T21" fmla="*/ 103 h 123"/>
                  <a:gd name="T22" fmla="*/ 84 w 98"/>
                  <a:gd name="T23" fmla="*/ 94 h 123"/>
                  <a:gd name="T24" fmla="*/ 93 w 98"/>
                  <a:gd name="T25" fmla="*/ 82 h 123"/>
                  <a:gd name="T26" fmla="*/ 94 w 98"/>
                  <a:gd name="T27" fmla="*/ 76 h 123"/>
                  <a:gd name="T28" fmla="*/ 95 w 98"/>
                  <a:gd name="T29" fmla="*/ 81 h 123"/>
                  <a:gd name="T30" fmla="*/ 99 w 98"/>
                  <a:gd name="T31" fmla="*/ 81 h 123"/>
                  <a:gd name="T32" fmla="*/ 102 w 98"/>
                  <a:gd name="T33" fmla="*/ 71 h 123"/>
                  <a:gd name="T34" fmla="*/ 117 w 98"/>
                  <a:gd name="T35" fmla="*/ 47 h 123"/>
                  <a:gd name="T36" fmla="*/ 116 w 98"/>
                  <a:gd name="T37" fmla="*/ 41 h 123"/>
                  <a:gd name="T38" fmla="*/ 105 w 98"/>
                  <a:gd name="T39" fmla="*/ 35 h 123"/>
                  <a:gd name="T40" fmla="*/ 98 w 98"/>
                  <a:gd name="T41" fmla="*/ 20 h 123"/>
                  <a:gd name="T42" fmla="*/ 90 w 98"/>
                  <a:gd name="T43" fmla="*/ 23 h 123"/>
                  <a:gd name="T44" fmla="*/ 75 w 98"/>
                  <a:gd name="T45" fmla="*/ 18 h 123"/>
                  <a:gd name="T46" fmla="*/ 64 w 98"/>
                  <a:gd name="T47" fmla="*/ 2 h 123"/>
                  <a:gd name="T48" fmla="*/ 59 w 98"/>
                  <a:gd name="T49" fmla="*/ 4 h 123"/>
                  <a:gd name="T50" fmla="*/ 57 w 98"/>
                  <a:gd name="T51" fmla="*/ 1 h 123"/>
                  <a:gd name="T52" fmla="*/ 52 w 98"/>
                  <a:gd name="T53" fmla="*/ 7 h 123"/>
                  <a:gd name="T54" fmla="*/ 54 w 98"/>
                  <a:gd name="T55" fmla="*/ 14 h 123"/>
                  <a:gd name="T56" fmla="*/ 48 w 98"/>
                  <a:gd name="T57" fmla="*/ 18 h 123"/>
                  <a:gd name="T58" fmla="*/ 48 w 98"/>
                  <a:gd name="T59" fmla="*/ 24 h 123"/>
                  <a:gd name="T60" fmla="*/ 45 w 98"/>
                  <a:gd name="T61" fmla="*/ 29 h 123"/>
                  <a:gd name="T62" fmla="*/ 47 w 98"/>
                  <a:gd name="T63" fmla="*/ 38 h 123"/>
                  <a:gd name="T64" fmla="*/ 54 w 98"/>
                  <a:gd name="T65" fmla="*/ 53 h 123"/>
                  <a:gd name="T66" fmla="*/ 47 w 98"/>
                  <a:gd name="T67" fmla="*/ 88 h 123"/>
                  <a:gd name="T68" fmla="*/ 0 w 98"/>
                  <a:gd name="T69" fmla="*/ 105 h 123"/>
                  <a:gd name="T70" fmla="*/ 20 w 98"/>
                  <a:gd name="T71" fmla="*/ 147 h 123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98"/>
                  <a:gd name="T109" fmla="*/ 0 h 123"/>
                  <a:gd name="T110" fmla="*/ 98 w 98"/>
                  <a:gd name="T111" fmla="*/ 123 h 123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98" h="123">
                    <a:moveTo>
                      <a:pt x="17" y="123"/>
                    </a:moveTo>
                    <a:cubicBezTo>
                      <a:pt x="20" y="122"/>
                      <a:pt x="23" y="120"/>
                      <a:pt x="26" y="119"/>
                    </a:cubicBezTo>
                    <a:cubicBezTo>
                      <a:pt x="28" y="118"/>
                      <a:pt x="31" y="117"/>
                      <a:pt x="33" y="117"/>
                    </a:cubicBezTo>
                    <a:cubicBezTo>
                      <a:pt x="35" y="117"/>
                      <a:pt x="37" y="119"/>
                      <a:pt x="39" y="119"/>
                    </a:cubicBezTo>
                    <a:cubicBezTo>
                      <a:pt x="42" y="118"/>
                      <a:pt x="44" y="115"/>
                      <a:pt x="45" y="113"/>
                    </a:cubicBezTo>
                    <a:cubicBezTo>
                      <a:pt x="45" y="111"/>
                      <a:pt x="41" y="110"/>
                      <a:pt x="42" y="109"/>
                    </a:cubicBezTo>
                    <a:cubicBezTo>
                      <a:pt x="45" y="106"/>
                      <a:pt x="50" y="105"/>
                      <a:pt x="54" y="104"/>
                    </a:cubicBezTo>
                    <a:cubicBezTo>
                      <a:pt x="56" y="103"/>
                      <a:pt x="58" y="104"/>
                      <a:pt x="59" y="103"/>
                    </a:cubicBezTo>
                    <a:cubicBezTo>
                      <a:pt x="61" y="101"/>
                      <a:pt x="60" y="96"/>
                      <a:pt x="62" y="94"/>
                    </a:cubicBezTo>
                    <a:cubicBezTo>
                      <a:pt x="65" y="91"/>
                      <a:pt x="69" y="92"/>
                      <a:pt x="73" y="89"/>
                    </a:cubicBezTo>
                    <a:cubicBezTo>
                      <a:pt x="73" y="89"/>
                      <a:pt x="73" y="87"/>
                      <a:pt x="73" y="86"/>
                    </a:cubicBezTo>
                    <a:cubicBezTo>
                      <a:pt x="72" y="84"/>
                      <a:pt x="70" y="81"/>
                      <a:pt x="70" y="79"/>
                    </a:cubicBezTo>
                    <a:cubicBezTo>
                      <a:pt x="71" y="75"/>
                      <a:pt x="75" y="72"/>
                      <a:pt x="77" y="69"/>
                    </a:cubicBezTo>
                    <a:cubicBezTo>
                      <a:pt x="77" y="67"/>
                      <a:pt x="77" y="65"/>
                      <a:pt x="78" y="64"/>
                    </a:cubicBezTo>
                    <a:cubicBezTo>
                      <a:pt x="79" y="64"/>
                      <a:pt x="78" y="67"/>
                      <a:pt x="79" y="68"/>
                    </a:cubicBezTo>
                    <a:cubicBezTo>
                      <a:pt x="79" y="69"/>
                      <a:pt x="81" y="69"/>
                      <a:pt x="82" y="68"/>
                    </a:cubicBezTo>
                    <a:cubicBezTo>
                      <a:pt x="84" y="65"/>
                      <a:pt x="84" y="62"/>
                      <a:pt x="85" y="59"/>
                    </a:cubicBezTo>
                    <a:cubicBezTo>
                      <a:pt x="89" y="52"/>
                      <a:pt x="94" y="46"/>
                      <a:pt x="97" y="39"/>
                    </a:cubicBezTo>
                    <a:cubicBezTo>
                      <a:pt x="98" y="37"/>
                      <a:pt x="97" y="35"/>
                      <a:pt x="96" y="34"/>
                    </a:cubicBezTo>
                    <a:cubicBezTo>
                      <a:pt x="94" y="32"/>
                      <a:pt x="90" y="31"/>
                      <a:pt x="87" y="29"/>
                    </a:cubicBezTo>
                    <a:cubicBezTo>
                      <a:pt x="84" y="26"/>
                      <a:pt x="85" y="20"/>
                      <a:pt x="81" y="17"/>
                    </a:cubicBezTo>
                    <a:cubicBezTo>
                      <a:pt x="79" y="16"/>
                      <a:pt x="77" y="19"/>
                      <a:pt x="75" y="19"/>
                    </a:cubicBezTo>
                    <a:cubicBezTo>
                      <a:pt x="71" y="18"/>
                      <a:pt x="66" y="18"/>
                      <a:pt x="62" y="15"/>
                    </a:cubicBezTo>
                    <a:cubicBezTo>
                      <a:pt x="58" y="12"/>
                      <a:pt x="57" y="7"/>
                      <a:pt x="53" y="2"/>
                    </a:cubicBezTo>
                    <a:cubicBezTo>
                      <a:pt x="52" y="2"/>
                      <a:pt x="51" y="3"/>
                      <a:pt x="49" y="3"/>
                    </a:cubicBezTo>
                    <a:cubicBezTo>
                      <a:pt x="48" y="3"/>
                      <a:pt x="48" y="0"/>
                      <a:pt x="47" y="1"/>
                    </a:cubicBezTo>
                    <a:cubicBezTo>
                      <a:pt x="45" y="2"/>
                      <a:pt x="43" y="4"/>
                      <a:pt x="43" y="6"/>
                    </a:cubicBezTo>
                    <a:cubicBezTo>
                      <a:pt x="43" y="8"/>
                      <a:pt x="46" y="10"/>
                      <a:pt x="45" y="12"/>
                    </a:cubicBezTo>
                    <a:cubicBezTo>
                      <a:pt x="44" y="14"/>
                      <a:pt x="41" y="13"/>
                      <a:pt x="40" y="15"/>
                    </a:cubicBezTo>
                    <a:cubicBezTo>
                      <a:pt x="39" y="16"/>
                      <a:pt x="41" y="18"/>
                      <a:pt x="40" y="20"/>
                    </a:cubicBezTo>
                    <a:cubicBezTo>
                      <a:pt x="40" y="21"/>
                      <a:pt x="37" y="23"/>
                      <a:pt x="37" y="24"/>
                    </a:cubicBezTo>
                    <a:cubicBezTo>
                      <a:pt x="37" y="27"/>
                      <a:pt x="38" y="29"/>
                      <a:pt x="39" y="32"/>
                    </a:cubicBezTo>
                    <a:lnTo>
                      <a:pt x="45" y="44"/>
                    </a:lnTo>
                    <a:lnTo>
                      <a:pt x="39" y="74"/>
                    </a:lnTo>
                    <a:lnTo>
                      <a:pt x="0" y="88"/>
                    </a:lnTo>
                    <a:lnTo>
                      <a:pt x="17" y="123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93" name="Freeform 2613"/>
              <p:cNvSpPr>
                <a:spLocks noChangeAspect="1"/>
              </p:cNvSpPr>
              <p:nvPr/>
            </p:nvSpPr>
            <p:spPr bwMode="auto">
              <a:xfrm>
                <a:off x="5303147" y="2547437"/>
                <a:ext cx="83887" cy="54824"/>
              </a:xfrm>
              <a:custGeom>
                <a:avLst/>
                <a:gdLst>
                  <a:gd name="T0" fmla="*/ 68 w 62"/>
                  <a:gd name="T1" fmla="*/ 0 h 55"/>
                  <a:gd name="T2" fmla="*/ 63 w 62"/>
                  <a:gd name="T3" fmla="*/ 8 h 55"/>
                  <a:gd name="T4" fmla="*/ 52 w 62"/>
                  <a:gd name="T5" fmla="*/ 22 h 55"/>
                  <a:gd name="T6" fmla="*/ 44 w 62"/>
                  <a:gd name="T7" fmla="*/ 32 h 55"/>
                  <a:gd name="T8" fmla="*/ 30 w 62"/>
                  <a:gd name="T9" fmla="*/ 37 h 55"/>
                  <a:gd name="T10" fmla="*/ 16 w 62"/>
                  <a:gd name="T11" fmla="*/ 36 h 55"/>
                  <a:gd name="T12" fmla="*/ 12 w 62"/>
                  <a:gd name="T13" fmla="*/ 41 h 55"/>
                  <a:gd name="T14" fmla="*/ 6 w 62"/>
                  <a:gd name="T15" fmla="*/ 41 h 55"/>
                  <a:gd name="T16" fmla="*/ 4 w 62"/>
                  <a:gd name="T17" fmla="*/ 37 h 55"/>
                  <a:gd name="T18" fmla="*/ 0 w 62"/>
                  <a:gd name="T19" fmla="*/ 42 h 55"/>
                  <a:gd name="T20" fmla="*/ 5 w 62"/>
                  <a:gd name="T21" fmla="*/ 56 h 55"/>
                  <a:gd name="T22" fmla="*/ 52 w 62"/>
                  <a:gd name="T23" fmla="*/ 66 h 55"/>
                  <a:gd name="T24" fmla="*/ 57 w 62"/>
                  <a:gd name="T25" fmla="*/ 61 h 55"/>
                  <a:gd name="T26" fmla="*/ 54 w 62"/>
                  <a:gd name="T27" fmla="*/ 52 h 55"/>
                  <a:gd name="T28" fmla="*/ 58 w 62"/>
                  <a:gd name="T29" fmla="*/ 47 h 55"/>
                  <a:gd name="T30" fmla="*/ 58 w 62"/>
                  <a:gd name="T31" fmla="*/ 41 h 55"/>
                  <a:gd name="T32" fmla="*/ 64 w 62"/>
                  <a:gd name="T33" fmla="*/ 37 h 55"/>
                  <a:gd name="T34" fmla="*/ 62 w 62"/>
                  <a:gd name="T35" fmla="*/ 30 h 55"/>
                  <a:gd name="T36" fmla="*/ 67 w 62"/>
                  <a:gd name="T37" fmla="*/ 24 h 55"/>
                  <a:gd name="T38" fmla="*/ 69 w 62"/>
                  <a:gd name="T39" fmla="*/ 26 h 55"/>
                  <a:gd name="T40" fmla="*/ 74 w 62"/>
                  <a:gd name="T41" fmla="*/ 25 h 55"/>
                  <a:gd name="T42" fmla="*/ 74 w 62"/>
                  <a:gd name="T43" fmla="*/ 18 h 55"/>
                  <a:gd name="T44" fmla="*/ 74 w 62"/>
                  <a:gd name="T45" fmla="*/ 12 h 55"/>
                  <a:gd name="T46" fmla="*/ 71 w 62"/>
                  <a:gd name="T47" fmla="*/ 12 h 55"/>
                  <a:gd name="T48" fmla="*/ 69 w 62"/>
                  <a:gd name="T49" fmla="*/ 13 h 55"/>
                  <a:gd name="T50" fmla="*/ 69 w 62"/>
                  <a:gd name="T51" fmla="*/ 6 h 55"/>
                  <a:gd name="T52" fmla="*/ 68 w 62"/>
                  <a:gd name="T53" fmla="*/ 0 h 55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62"/>
                  <a:gd name="T82" fmla="*/ 0 h 55"/>
                  <a:gd name="T83" fmla="*/ 62 w 62"/>
                  <a:gd name="T84" fmla="*/ 55 h 55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62" h="55">
                    <a:moveTo>
                      <a:pt x="56" y="0"/>
                    </a:moveTo>
                    <a:cubicBezTo>
                      <a:pt x="55" y="2"/>
                      <a:pt x="54" y="5"/>
                      <a:pt x="52" y="7"/>
                    </a:cubicBezTo>
                    <a:cubicBezTo>
                      <a:pt x="49" y="10"/>
                      <a:pt x="46" y="14"/>
                      <a:pt x="43" y="18"/>
                    </a:cubicBezTo>
                    <a:cubicBezTo>
                      <a:pt x="41" y="21"/>
                      <a:pt x="39" y="24"/>
                      <a:pt x="36" y="27"/>
                    </a:cubicBezTo>
                    <a:cubicBezTo>
                      <a:pt x="33" y="29"/>
                      <a:pt x="29" y="30"/>
                      <a:pt x="25" y="31"/>
                    </a:cubicBezTo>
                    <a:cubicBezTo>
                      <a:pt x="21" y="32"/>
                      <a:pt x="17" y="30"/>
                      <a:pt x="13" y="30"/>
                    </a:cubicBezTo>
                    <a:cubicBezTo>
                      <a:pt x="12" y="31"/>
                      <a:pt x="12" y="33"/>
                      <a:pt x="10" y="34"/>
                    </a:cubicBezTo>
                    <a:cubicBezTo>
                      <a:pt x="9" y="35"/>
                      <a:pt x="7" y="34"/>
                      <a:pt x="5" y="34"/>
                    </a:cubicBezTo>
                    <a:cubicBezTo>
                      <a:pt x="4" y="33"/>
                      <a:pt x="4" y="32"/>
                      <a:pt x="3" y="31"/>
                    </a:cubicBezTo>
                    <a:lnTo>
                      <a:pt x="0" y="35"/>
                    </a:lnTo>
                    <a:lnTo>
                      <a:pt x="4" y="47"/>
                    </a:lnTo>
                    <a:lnTo>
                      <a:pt x="43" y="55"/>
                    </a:lnTo>
                    <a:lnTo>
                      <a:pt x="47" y="51"/>
                    </a:lnTo>
                    <a:cubicBezTo>
                      <a:pt x="46" y="48"/>
                      <a:pt x="45" y="46"/>
                      <a:pt x="45" y="43"/>
                    </a:cubicBezTo>
                    <a:cubicBezTo>
                      <a:pt x="45" y="42"/>
                      <a:pt x="48" y="40"/>
                      <a:pt x="48" y="39"/>
                    </a:cubicBezTo>
                    <a:cubicBezTo>
                      <a:pt x="49" y="37"/>
                      <a:pt x="47" y="35"/>
                      <a:pt x="48" y="34"/>
                    </a:cubicBezTo>
                    <a:cubicBezTo>
                      <a:pt x="49" y="32"/>
                      <a:pt x="52" y="33"/>
                      <a:pt x="53" y="31"/>
                    </a:cubicBezTo>
                    <a:cubicBezTo>
                      <a:pt x="54" y="29"/>
                      <a:pt x="51" y="27"/>
                      <a:pt x="51" y="25"/>
                    </a:cubicBezTo>
                    <a:cubicBezTo>
                      <a:pt x="51" y="23"/>
                      <a:pt x="53" y="21"/>
                      <a:pt x="55" y="20"/>
                    </a:cubicBezTo>
                    <a:cubicBezTo>
                      <a:pt x="56" y="19"/>
                      <a:pt x="56" y="22"/>
                      <a:pt x="57" y="22"/>
                    </a:cubicBezTo>
                    <a:cubicBezTo>
                      <a:pt x="59" y="22"/>
                      <a:pt x="60" y="21"/>
                      <a:pt x="61" y="21"/>
                    </a:cubicBezTo>
                    <a:cubicBezTo>
                      <a:pt x="62" y="19"/>
                      <a:pt x="62" y="17"/>
                      <a:pt x="61" y="15"/>
                    </a:cubicBezTo>
                    <a:cubicBezTo>
                      <a:pt x="61" y="14"/>
                      <a:pt x="62" y="12"/>
                      <a:pt x="61" y="10"/>
                    </a:cubicBezTo>
                    <a:cubicBezTo>
                      <a:pt x="61" y="10"/>
                      <a:pt x="60" y="10"/>
                      <a:pt x="59" y="10"/>
                    </a:cubicBezTo>
                    <a:cubicBezTo>
                      <a:pt x="58" y="11"/>
                      <a:pt x="57" y="11"/>
                      <a:pt x="57" y="11"/>
                    </a:cubicBezTo>
                    <a:cubicBezTo>
                      <a:pt x="56" y="9"/>
                      <a:pt x="57" y="7"/>
                      <a:pt x="57" y="5"/>
                    </a:cubicBezTo>
                    <a:cubicBezTo>
                      <a:pt x="57" y="3"/>
                      <a:pt x="57" y="1"/>
                      <a:pt x="56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94" name="Freeform 2614"/>
              <p:cNvSpPr>
                <a:spLocks noChangeAspect="1"/>
              </p:cNvSpPr>
              <p:nvPr/>
            </p:nvSpPr>
            <p:spPr bwMode="auto">
              <a:xfrm>
                <a:off x="5212549" y="2486799"/>
                <a:ext cx="35792" cy="25751"/>
              </a:xfrm>
              <a:custGeom>
                <a:avLst/>
                <a:gdLst>
                  <a:gd name="T0" fmla="*/ 32 w 27"/>
                  <a:gd name="T1" fmla="*/ 31 h 26"/>
                  <a:gd name="T2" fmla="*/ 27 w 27"/>
                  <a:gd name="T3" fmla="*/ 23 h 26"/>
                  <a:gd name="T4" fmla="*/ 24 w 27"/>
                  <a:gd name="T5" fmla="*/ 19 h 26"/>
                  <a:gd name="T6" fmla="*/ 17 w 27"/>
                  <a:gd name="T7" fmla="*/ 17 h 26"/>
                  <a:gd name="T8" fmla="*/ 23 w 27"/>
                  <a:gd name="T9" fmla="*/ 12 h 26"/>
                  <a:gd name="T10" fmla="*/ 25 w 27"/>
                  <a:gd name="T11" fmla="*/ 10 h 26"/>
                  <a:gd name="T12" fmla="*/ 23 w 27"/>
                  <a:gd name="T13" fmla="*/ 4 h 26"/>
                  <a:gd name="T14" fmla="*/ 21 w 27"/>
                  <a:gd name="T15" fmla="*/ 1 h 26"/>
                  <a:gd name="T16" fmla="*/ 11 w 27"/>
                  <a:gd name="T17" fmla="*/ 2 h 26"/>
                  <a:gd name="T18" fmla="*/ 6 w 27"/>
                  <a:gd name="T19" fmla="*/ 10 h 26"/>
                  <a:gd name="T20" fmla="*/ 0 w 27"/>
                  <a:gd name="T21" fmla="*/ 18 h 26"/>
                  <a:gd name="T22" fmla="*/ 14 w 27"/>
                  <a:gd name="T23" fmla="*/ 21 h 26"/>
                  <a:gd name="T24" fmla="*/ 19 w 27"/>
                  <a:gd name="T25" fmla="*/ 31 h 26"/>
                  <a:gd name="T26" fmla="*/ 32 w 27"/>
                  <a:gd name="T27" fmla="*/ 31 h 2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7"/>
                  <a:gd name="T43" fmla="*/ 0 h 26"/>
                  <a:gd name="T44" fmla="*/ 27 w 27"/>
                  <a:gd name="T45" fmla="*/ 26 h 2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7" h="26">
                    <a:moveTo>
                      <a:pt x="27" y="26"/>
                    </a:moveTo>
                    <a:cubicBezTo>
                      <a:pt x="26" y="24"/>
                      <a:pt x="24" y="21"/>
                      <a:pt x="23" y="19"/>
                    </a:cubicBezTo>
                    <a:cubicBezTo>
                      <a:pt x="22" y="18"/>
                      <a:pt x="22" y="17"/>
                      <a:pt x="20" y="16"/>
                    </a:cubicBezTo>
                    <a:cubicBezTo>
                      <a:pt x="19" y="15"/>
                      <a:pt x="15" y="16"/>
                      <a:pt x="14" y="14"/>
                    </a:cubicBezTo>
                    <a:cubicBezTo>
                      <a:pt x="14" y="12"/>
                      <a:pt x="17" y="11"/>
                      <a:pt x="19" y="10"/>
                    </a:cubicBezTo>
                    <a:cubicBezTo>
                      <a:pt x="19" y="9"/>
                      <a:pt x="21" y="9"/>
                      <a:pt x="21" y="8"/>
                    </a:cubicBezTo>
                    <a:cubicBezTo>
                      <a:pt x="21" y="6"/>
                      <a:pt x="20" y="5"/>
                      <a:pt x="19" y="3"/>
                    </a:cubicBezTo>
                    <a:cubicBezTo>
                      <a:pt x="19" y="2"/>
                      <a:pt x="18" y="1"/>
                      <a:pt x="18" y="1"/>
                    </a:cubicBezTo>
                    <a:cubicBezTo>
                      <a:pt x="15" y="1"/>
                      <a:pt x="12" y="0"/>
                      <a:pt x="9" y="2"/>
                    </a:cubicBezTo>
                    <a:cubicBezTo>
                      <a:pt x="7" y="3"/>
                      <a:pt x="7" y="6"/>
                      <a:pt x="5" y="8"/>
                    </a:cubicBezTo>
                    <a:cubicBezTo>
                      <a:pt x="4" y="11"/>
                      <a:pt x="1" y="13"/>
                      <a:pt x="0" y="15"/>
                    </a:cubicBezTo>
                    <a:cubicBezTo>
                      <a:pt x="4" y="16"/>
                      <a:pt x="8" y="17"/>
                      <a:pt x="12" y="18"/>
                    </a:cubicBezTo>
                    <a:cubicBezTo>
                      <a:pt x="14" y="20"/>
                      <a:pt x="14" y="24"/>
                      <a:pt x="16" y="26"/>
                    </a:cubicBezTo>
                    <a:cubicBezTo>
                      <a:pt x="19" y="26"/>
                      <a:pt x="23" y="26"/>
                      <a:pt x="27" y="26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95" name="Freeform 2615"/>
              <p:cNvSpPr>
                <a:spLocks noChangeAspect="1"/>
              </p:cNvSpPr>
              <p:nvPr/>
            </p:nvSpPr>
            <p:spPr bwMode="auto">
              <a:xfrm>
                <a:off x="5085041" y="2371336"/>
                <a:ext cx="164419" cy="130415"/>
              </a:xfrm>
              <a:custGeom>
                <a:avLst/>
                <a:gdLst>
                  <a:gd name="T0" fmla="*/ 147 w 123"/>
                  <a:gd name="T1" fmla="*/ 143 h 131"/>
                  <a:gd name="T2" fmla="*/ 139 w 123"/>
                  <a:gd name="T3" fmla="*/ 140 h 131"/>
                  <a:gd name="T4" fmla="*/ 135 w 123"/>
                  <a:gd name="T5" fmla="*/ 140 h 131"/>
                  <a:gd name="T6" fmla="*/ 124 w 123"/>
                  <a:gd name="T7" fmla="*/ 141 h 131"/>
                  <a:gd name="T8" fmla="*/ 120 w 123"/>
                  <a:gd name="T9" fmla="*/ 149 h 131"/>
                  <a:gd name="T10" fmla="*/ 114 w 123"/>
                  <a:gd name="T11" fmla="*/ 157 h 131"/>
                  <a:gd name="T12" fmla="*/ 87 w 123"/>
                  <a:gd name="T13" fmla="*/ 156 h 131"/>
                  <a:gd name="T14" fmla="*/ 51 w 123"/>
                  <a:gd name="T15" fmla="*/ 122 h 131"/>
                  <a:gd name="T16" fmla="*/ 39 w 123"/>
                  <a:gd name="T17" fmla="*/ 115 h 131"/>
                  <a:gd name="T18" fmla="*/ 27 w 123"/>
                  <a:gd name="T19" fmla="*/ 105 h 131"/>
                  <a:gd name="T20" fmla="*/ 8 w 123"/>
                  <a:gd name="T21" fmla="*/ 98 h 131"/>
                  <a:gd name="T22" fmla="*/ 1 w 123"/>
                  <a:gd name="T23" fmla="*/ 93 h 131"/>
                  <a:gd name="T24" fmla="*/ 4 w 123"/>
                  <a:gd name="T25" fmla="*/ 90 h 131"/>
                  <a:gd name="T26" fmla="*/ 1 w 123"/>
                  <a:gd name="T27" fmla="*/ 81 h 131"/>
                  <a:gd name="T28" fmla="*/ 0 w 123"/>
                  <a:gd name="T29" fmla="*/ 77 h 131"/>
                  <a:gd name="T30" fmla="*/ 16 w 123"/>
                  <a:gd name="T31" fmla="*/ 65 h 131"/>
                  <a:gd name="T32" fmla="*/ 18 w 123"/>
                  <a:gd name="T33" fmla="*/ 60 h 131"/>
                  <a:gd name="T34" fmla="*/ 27 w 123"/>
                  <a:gd name="T35" fmla="*/ 54 h 131"/>
                  <a:gd name="T36" fmla="*/ 30 w 123"/>
                  <a:gd name="T37" fmla="*/ 42 h 131"/>
                  <a:gd name="T38" fmla="*/ 31 w 123"/>
                  <a:gd name="T39" fmla="*/ 35 h 131"/>
                  <a:gd name="T40" fmla="*/ 29 w 123"/>
                  <a:gd name="T41" fmla="*/ 24 h 131"/>
                  <a:gd name="T42" fmla="*/ 32 w 123"/>
                  <a:gd name="T43" fmla="*/ 18 h 131"/>
                  <a:gd name="T44" fmla="*/ 41 w 123"/>
                  <a:gd name="T45" fmla="*/ 13 h 131"/>
                  <a:gd name="T46" fmla="*/ 45 w 123"/>
                  <a:gd name="T47" fmla="*/ 5 h 131"/>
                  <a:gd name="T48" fmla="*/ 51 w 123"/>
                  <a:gd name="T49" fmla="*/ 0 h 131"/>
                  <a:gd name="T50" fmla="*/ 60 w 123"/>
                  <a:gd name="T51" fmla="*/ 4 h 131"/>
                  <a:gd name="T52" fmla="*/ 66 w 123"/>
                  <a:gd name="T53" fmla="*/ 6 h 131"/>
                  <a:gd name="T54" fmla="*/ 71 w 123"/>
                  <a:gd name="T55" fmla="*/ 2 h 131"/>
                  <a:gd name="T56" fmla="*/ 73 w 123"/>
                  <a:gd name="T57" fmla="*/ 8 h 131"/>
                  <a:gd name="T58" fmla="*/ 79 w 123"/>
                  <a:gd name="T59" fmla="*/ 6 h 131"/>
                  <a:gd name="T60" fmla="*/ 82 w 123"/>
                  <a:gd name="T61" fmla="*/ 13 h 131"/>
                  <a:gd name="T62" fmla="*/ 86 w 123"/>
                  <a:gd name="T63" fmla="*/ 18 h 131"/>
                  <a:gd name="T64" fmla="*/ 93 w 123"/>
                  <a:gd name="T65" fmla="*/ 28 h 131"/>
                  <a:gd name="T66" fmla="*/ 96 w 123"/>
                  <a:gd name="T67" fmla="*/ 28 h 131"/>
                  <a:gd name="T68" fmla="*/ 99 w 123"/>
                  <a:gd name="T69" fmla="*/ 30 h 131"/>
                  <a:gd name="T70" fmla="*/ 103 w 123"/>
                  <a:gd name="T71" fmla="*/ 30 h 131"/>
                  <a:gd name="T72" fmla="*/ 102 w 123"/>
                  <a:gd name="T73" fmla="*/ 36 h 131"/>
                  <a:gd name="T74" fmla="*/ 103 w 123"/>
                  <a:gd name="T75" fmla="*/ 46 h 131"/>
                  <a:gd name="T76" fmla="*/ 98 w 123"/>
                  <a:gd name="T77" fmla="*/ 47 h 131"/>
                  <a:gd name="T78" fmla="*/ 96 w 123"/>
                  <a:gd name="T79" fmla="*/ 58 h 131"/>
                  <a:gd name="T80" fmla="*/ 96 w 123"/>
                  <a:gd name="T81" fmla="*/ 67 h 131"/>
                  <a:gd name="T82" fmla="*/ 106 w 123"/>
                  <a:gd name="T83" fmla="*/ 81 h 131"/>
                  <a:gd name="T84" fmla="*/ 106 w 123"/>
                  <a:gd name="T85" fmla="*/ 85 h 131"/>
                  <a:gd name="T86" fmla="*/ 125 w 123"/>
                  <a:gd name="T87" fmla="*/ 99 h 131"/>
                  <a:gd name="T88" fmla="*/ 133 w 123"/>
                  <a:gd name="T89" fmla="*/ 113 h 131"/>
                  <a:gd name="T90" fmla="*/ 133 w 123"/>
                  <a:gd name="T91" fmla="*/ 122 h 131"/>
                  <a:gd name="T92" fmla="*/ 136 w 123"/>
                  <a:gd name="T93" fmla="*/ 126 h 131"/>
                  <a:gd name="T94" fmla="*/ 136 w 123"/>
                  <a:gd name="T95" fmla="*/ 133 h 131"/>
                  <a:gd name="T96" fmla="*/ 147 w 123"/>
                  <a:gd name="T97" fmla="*/ 143 h 131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23"/>
                  <a:gd name="T148" fmla="*/ 0 h 131"/>
                  <a:gd name="T149" fmla="*/ 123 w 123"/>
                  <a:gd name="T150" fmla="*/ 131 h 131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23" h="131">
                    <a:moveTo>
                      <a:pt x="123" y="119"/>
                    </a:moveTo>
                    <a:cubicBezTo>
                      <a:pt x="121" y="118"/>
                      <a:pt x="119" y="118"/>
                      <a:pt x="116" y="117"/>
                    </a:cubicBezTo>
                    <a:cubicBezTo>
                      <a:pt x="115" y="117"/>
                      <a:pt x="114" y="117"/>
                      <a:pt x="113" y="117"/>
                    </a:cubicBezTo>
                    <a:cubicBezTo>
                      <a:pt x="110" y="117"/>
                      <a:pt x="107" y="116"/>
                      <a:pt x="104" y="118"/>
                    </a:cubicBezTo>
                    <a:cubicBezTo>
                      <a:pt x="102" y="119"/>
                      <a:pt x="102" y="122"/>
                      <a:pt x="100" y="124"/>
                    </a:cubicBezTo>
                    <a:cubicBezTo>
                      <a:pt x="99" y="127"/>
                      <a:pt x="96" y="129"/>
                      <a:pt x="95" y="131"/>
                    </a:cubicBezTo>
                    <a:cubicBezTo>
                      <a:pt x="88" y="130"/>
                      <a:pt x="80" y="130"/>
                      <a:pt x="73" y="130"/>
                    </a:cubicBezTo>
                    <a:cubicBezTo>
                      <a:pt x="63" y="120"/>
                      <a:pt x="53" y="111"/>
                      <a:pt x="43" y="102"/>
                    </a:cubicBezTo>
                    <a:cubicBezTo>
                      <a:pt x="40" y="100"/>
                      <a:pt x="36" y="98"/>
                      <a:pt x="33" y="96"/>
                    </a:cubicBezTo>
                    <a:cubicBezTo>
                      <a:pt x="29" y="93"/>
                      <a:pt x="26" y="91"/>
                      <a:pt x="23" y="88"/>
                    </a:cubicBezTo>
                    <a:cubicBezTo>
                      <a:pt x="17" y="86"/>
                      <a:pt x="12" y="84"/>
                      <a:pt x="7" y="82"/>
                    </a:cubicBezTo>
                    <a:cubicBezTo>
                      <a:pt x="5" y="81"/>
                      <a:pt x="3" y="80"/>
                      <a:pt x="1" y="78"/>
                    </a:cubicBezTo>
                    <a:cubicBezTo>
                      <a:pt x="1" y="77"/>
                      <a:pt x="3" y="77"/>
                      <a:pt x="3" y="75"/>
                    </a:cubicBezTo>
                    <a:cubicBezTo>
                      <a:pt x="3" y="73"/>
                      <a:pt x="1" y="71"/>
                      <a:pt x="1" y="68"/>
                    </a:cubicBezTo>
                    <a:cubicBezTo>
                      <a:pt x="0" y="67"/>
                      <a:pt x="0" y="66"/>
                      <a:pt x="0" y="64"/>
                    </a:cubicBezTo>
                    <a:cubicBezTo>
                      <a:pt x="4" y="61"/>
                      <a:pt x="9" y="58"/>
                      <a:pt x="13" y="54"/>
                    </a:cubicBezTo>
                    <a:cubicBezTo>
                      <a:pt x="14" y="53"/>
                      <a:pt x="14" y="51"/>
                      <a:pt x="15" y="50"/>
                    </a:cubicBezTo>
                    <a:cubicBezTo>
                      <a:pt x="17" y="48"/>
                      <a:pt x="21" y="48"/>
                      <a:pt x="23" y="45"/>
                    </a:cubicBezTo>
                    <a:cubicBezTo>
                      <a:pt x="25" y="42"/>
                      <a:pt x="24" y="38"/>
                      <a:pt x="25" y="35"/>
                    </a:cubicBezTo>
                    <a:cubicBezTo>
                      <a:pt x="25" y="33"/>
                      <a:pt x="26" y="31"/>
                      <a:pt x="26" y="29"/>
                    </a:cubicBezTo>
                    <a:cubicBezTo>
                      <a:pt x="26" y="26"/>
                      <a:pt x="24" y="23"/>
                      <a:pt x="24" y="20"/>
                    </a:cubicBezTo>
                    <a:cubicBezTo>
                      <a:pt x="25" y="18"/>
                      <a:pt x="26" y="16"/>
                      <a:pt x="27" y="15"/>
                    </a:cubicBezTo>
                    <a:cubicBezTo>
                      <a:pt x="29" y="13"/>
                      <a:pt x="32" y="13"/>
                      <a:pt x="34" y="11"/>
                    </a:cubicBezTo>
                    <a:cubicBezTo>
                      <a:pt x="36" y="10"/>
                      <a:pt x="37" y="6"/>
                      <a:pt x="38" y="4"/>
                    </a:cubicBezTo>
                    <a:cubicBezTo>
                      <a:pt x="40" y="3"/>
                      <a:pt x="40" y="1"/>
                      <a:pt x="43" y="0"/>
                    </a:cubicBezTo>
                    <a:cubicBezTo>
                      <a:pt x="45" y="0"/>
                      <a:pt x="47" y="2"/>
                      <a:pt x="50" y="3"/>
                    </a:cubicBezTo>
                    <a:cubicBezTo>
                      <a:pt x="52" y="3"/>
                      <a:pt x="53" y="5"/>
                      <a:pt x="55" y="5"/>
                    </a:cubicBezTo>
                    <a:cubicBezTo>
                      <a:pt x="57" y="5"/>
                      <a:pt x="58" y="1"/>
                      <a:pt x="59" y="2"/>
                    </a:cubicBezTo>
                    <a:cubicBezTo>
                      <a:pt x="61" y="3"/>
                      <a:pt x="59" y="7"/>
                      <a:pt x="61" y="7"/>
                    </a:cubicBezTo>
                    <a:cubicBezTo>
                      <a:pt x="63" y="8"/>
                      <a:pt x="64" y="6"/>
                      <a:pt x="66" y="5"/>
                    </a:cubicBezTo>
                    <a:cubicBezTo>
                      <a:pt x="67" y="7"/>
                      <a:pt x="68" y="9"/>
                      <a:pt x="69" y="11"/>
                    </a:cubicBezTo>
                    <a:cubicBezTo>
                      <a:pt x="70" y="12"/>
                      <a:pt x="71" y="14"/>
                      <a:pt x="72" y="15"/>
                    </a:cubicBezTo>
                    <a:cubicBezTo>
                      <a:pt x="74" y="18"/>
                      <a:pt x="76" y="21"/>
                      <a:pt x="78" y="23"/>
                    </a:cubicBezTo>
                    <a:cubicBezTo>
                      <a:pt x="78" y="24"/>
                      <a:pt x="79" y="23"/>
                      <a:pt x="80" y="23"/>
                    </a:cubicBezTo>
                    <a:cubicBezTo>
                      <a:pt x="81" y="24"/>
                      <a:pt x="82" y="25"/>
                      <a:pt x="83" y="25"/>
                    </a:cubicBezTo>
                    <a:cubicBezTo>
                      <a:pt x="84" y="25"/>
                      <a:pt x="86" y="24"/>
                      <a:pt x="86" y="25"/>
                    </a:cubicBezTo>
                    <a:cubicBezTo>
                      <a:pt x="87" y="27"/>
                      <a:pt x="85" y="29"/>
                      <a:pt x="85" y="30"/>
                    </a:cubicBezTo>
                    <a:cubicBezTo>
                      <a:pt x="84" y="33"/>
                      <a:pt x="86" y="35"/>
                      <a:pt x="86" y="38"/>
                    </a:cubicBezTo>
                    <a:cubicBezTo>
                      <a:pt x="85" y="39"/>
                      <a:pt x="83" y="38"/>
                      <a:pt x="82" y="39"/>
                    </a:cubicBezTo>
                    <a:cubicBezTo>
                      <a:pt x="80" y="42"/>
                      <a:pt x="80" y="45"/>
                      <a:pt x="80" y="48"/>
                    </a:cubicBezTo>
                    <a:cubicBezTo>
                      <a:pt x="80" y="51"/>
                      <a:pt x="79" y="54"/>
                      <a:pt x="80" y="56"/>
                    </a:cubicBezTo>
                    <a:cubicBezTo>
                      <a:pt x="82" y="61"/>
                      <a:pt x="86" y="64"/>
                      <a:pt x="89" y="68"/>
                    </a:cubicBezTo>
                    <a:cubicBezTo>
                      <a:pt x="89" y="69"/>
                      <a:pt x="88" y="70"/>
                      <a:pt x="89" y="71"/>
                    </a:cubicBezTo>
                    <a:cubicBezTo>
                      <a:pt x="94" y="75"/>
                      <a:pt x="100" y="78"/>
                      <a:pt x="105" y="83"/>
                    </a:cubicBezTo>
                    <a:cubicBezTo>
                      <a:pt x="108" y="87"/>
                      <a:pt x="110" y="90"/>
                      <a:pt x="111" y="94"/>
                    </a:cubicBezTo>
                    <a:cubicBezTo>
                      <a:pt x="112" y="97"/>
                      <a:pt x="111" y="100"/>
                      <a:pt x="111" y="102"/>
                    </a:cubicBezTo>
                    <a:cubicBezTo>
                      <a:pt x="112" y="104"/>
                      <a:pt x="114" y="103"/>
                      <a:pt x="114" y="105"/>
                    </a:cubicBezTo>
                    <a:cubicBezTo>
                      <a:pt x="115" y="107"/>
                      <a:pt x="113" y="109"/>
                      <a:pt x="114" y="111"/>
                    </a:cubicBezTo>
                    <a:cubicBezTo>
                      <a:pt x="117" y="114"/>
                      <a:pt x="120" y="116"/>
                      <a:pt x="123" y="119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96" name="Freeform 2616"/>
              <p:cNvSpPr>
                <a:spLocks noChangeAspect="1"/>
              </p:cNvSpPr>
              <p:nvPr/>
            </p:nvSpPr>
            <p:spPr bwMode="auto">
              <a:xfrm>
                <a:off x="5158861" y="2332294"/>
                <a:ext cx="336667" cy="231756"/>
              </a:xfrm>
              <a:custGeom>
                <a:avLst/>
                <a:gdLst>
                  <a:gd name="T0" fmla="*/ 13 w 251"/>
                  <a:gd name="T1" fmla="*/ 46 h 233"/>
                  <a:gd name="T2" fmla="*/ 6 w 251"/>
                  <a:gd name="T3" fmla="*/ 32 h 233"/>
                  <a:gd name="T4" fmla="*/ 1 w 251"/>
                  <a:gd name="T5" fmla="*/ 10 h 233"/>
                  <a:gd name="T6" fmla="*/ 14 w 251"/>
                  <a:gd name="T7" fmla="*/ 6 h 233"/>
                  <a:gd name="T8" fmla="*/ 24 w 251"/>
                  <a:gd name="T9" fmla="*/ 12 h 233"/>
                  <a:gd name="T10" fmla="*/ 34 w 251"/>
                  <a:gd name="T11" fmla="*/ 20 h 233"/>
                  <a:gd name="T12" fmla="*/ 38 w 251"/>
                  <a:gd name="T13" fmla="*/ 18 h 233"/>
                  <a:gd name="T14" fmla="*/ 44 w 251"/>
                  <a:gd name="T15" fmla="*/ 13 h 233"/>
                  <a:gd name="T16" fmla="*/ 64 w 251"/>
                  <a:gd name="T17" fmla="*/ 7 h 233"/>
                  <a:gd name="T18" fmla="*/ 65 w 251"/>
                  <a:gd name="T19" fmla="*/ 18 h 233"/>
                  <a:gd name="T20" fmla="*/ 68 w 251"/>
                  <a:gd name="T21" fmla="*/ 26 h 233"/>
                  <a:gd name="T22" fmla="*/ 74 w 251"/>
                  <a:gd name="T23" fmla="*/ 41 h 233"/>
                  <a:gd name="T24" fmla="*/ 96 w 251"/>
                  <a:gd name="T25" fmla="*/ 51 h 233"/>
                  <a:gd name="T26" fmla="*/ 127 w 251"/>
                  <a:gd name="T27" fmla="*/ 62 h 233"/>
                  <a:gd name="T28" fmla="*/ 152 w 251"/>
                  <a:gd name="T29" fmla="*/ 59 h 233"/>
                  <a:gd name="T30" fmla="*/ 150 w 251"/>
                  <a:gd name="T31" fmla="*/ 49 h 233"/>
                  <a:gd name="T32" fmla="*/ 165 w 251"/>
                  <a:gd name="T33" fmla="*/ 38 h 233"/>
                  <a:gd name="T34" fmla="*/ 186 w 251"/>
                  <a:gd name="T35" fmla="*/ 31 h 233"/>
                  <a:gd name="T36" fmla="*/ 197 w 251"/>
                  <a:gd name="T37" fmla="*/ 37 h 233"/>
                  <a:gd name="T38" fmla="*/ 219 w 251"/>
                  <a:gd name="T39" fmla="*/ 44 h 233"/>
                  <a:gd name="T40" fmla="*/ 227 w 251"/>
                  <a:gd name="T41" fmla="*/ 53 h 233"/>
                  <a:gd name="T42" fmla="*/ 241 w 251"/>
                  <a:gd name="T43" fmla="*/ 60 h 233"/>
                  <a:gd name="T44" fmla="*/ 258 w 251"/>
                  <a:gd name="T45" fmla="*/ 69 h 233"/>
                  <a:gd name="T46" fmla="*/ 261 w 251"/>
                  <a:gd name="T47" fmla="*/ 84 h 233"/>
                  <a:gd name="T48" fmla="*/ 253 w 251"/>
                  <a:gd name="T49" fmla="*/ 101 h 233"/>
                  <a:gd name="T50" fmla="*/ 252 w 251"/>
                  <a:gd name="T51" fmla="*/ 104 h 233"/>
                  <a:gd name="T52" fmla="*/ 254 w 251"/>
                  <a:gd name="T53" fmla="*/ 122 h 233"/>
                  <a:gd name="T54" fmla="*/ 254 w 251"/>
                  <a:gd name="T55" fmla="*/ 134 h 233"/>
                  <a:gd name="T56" fmla="*/ 260 w 251"/>
                  <a:gd name="T57" fmla="*/ 159 h 233"/>
                  <a:gd name="T58" fmla="*/ 272 w 251"/>
                  <a:gd name="T59" fmla="*/ 169 h 233"/>
                  <a:gd name="T60" fmla="*/ 261 w 251"/>
                  <a:gd name="T61" fmla="*/ 188 h 233"/>
                  <a:gd name="T62" fmla="*/ 273 w 251"/>
                  <a:gd name="T63" fmla="*/ 208 h 233"/>
                  <a:gd name="T64" fmla="*/ 285 w 251"/>
                  <a:gd name="T65" fmla="*/ 216 h 233"/>
                  <a:gd name="T66" fmla="*/ 293 w 251"/>
                  <a:gd name="T67" fmla="*/ 237 h 233"/>
                  <a:gd name="T68" fmla="*/ 299 w 251"/>
                  <a:gd name="T69" fmla="*/ 247 h 233"/>
                  <a:gd name="T70" fmla="*/ 290 w 251"/>
                  <a:gd name="T71" fmla="*/ 251 h 233"/>
                  <a:gd name="T72" fmla="*/ 279 w 251"/>
                  <a:gd name="T73" fmla="*/ 266 h 233"/>
                  <a:gd name="T74" fmla="*/ 277 w 251"/>
                  <a:gd name="T75" fmla="*/ 279 h 233"/>
                  <a:gd name="T76" fmla="*/ 258 w 251"/>
                  <a:gd name="T77" fmla="*/ 274 h 233"/>
                  <a:gd name="T78" fmla="*/ 234 w 251"/>
                  <a:gd name="T79" fmla="*/ 271 h 233"/>
                  <a:gd name="T80" fmla="*/ 212 w 251"/>
                  <a:gd name="T81" fmla="*/ 260 h 233"/>
                  <a:gd name="T82" fmla="*/ 198 w 251"/>
                  <a:gd name="T83" fmla="*/ 239 h 233"/>
                  <a:gd name="T84" fmla="*/ 177 w 251"/>
                  <a:gd name="T85" fmla="*/ 250 h 233"/>
                  <a:gd name="T86" fmla="*/ 158 w 251"/>
                  <a:gd name="T87" fmla="*/ 247 h 233"/>
                  <a:gd name="T88" fmla="*/ 149 w 251"/>
                  <a:gd name="T89" fmla="*/ 239 h 233"/>
                  <a:gd name="T90" fmla="*/ 143 w 251"/>
                  <a:gd name="T91" fmla="*/ 232 h 233"/>
                  <a:gd name="T92" fmla="*/ 128 w 251"/>
                  <a:gd name="T93" fmla="*/ 229 h 233"/>
                  <a:gd name="T94" fmla="*/ 116 w 251"/>
                  <a:gd name="T95" fmla="*/ 205 h 233"/>
                  <a:gd name="T96" fmla="*/ 112 w 251"/>
                  <a:gd name="T97" fmla="*/ 199 h 233"/>
                  <a:gd name="T98" fmla="*/ 94 w 251"/>
                  <a:gd name="T99" fmla="*/ 187 h 233"/>
                  <a:gd name="T100" fmla="*/ 88 w 251"/>
                  <a:gd name="T101" fmla="*/ 186 h 233"/>
                  <a:gd name="T102" fmla="*/ 85 w 251"/>
                  <a:gd name="T103" fmla="*/ 188 h 233"/>
                  <a:gd name="T104" fmla="*/ 71 w 251"/>
                  <a:gd name="T105" fmla="*/ 180 h 233"/>
                  <a:gd name="T106" fmla="*/ 67 w 251"/>
                  <a:gd name="T107" fmla="*/ 169 h 233"/>
                  <a:gd name="T108" fmla="*/ 60 w 251"/>
                  <a:gd name="T109" fmla="*/ 146 h 233"/>
                  <a:gd name="T110" fmla="*/ 41 w 251"/>
                  <a:gd name="T111" fmla="*/ 128 h 233"/>
                  <a:gd name="T112" fmla="*/ 30 w 251"/>
                  <a:gd name="T113" fmla="*/ 104 h 233"/>
                  <a:gd name="T114" fmla="*/ 37 w 251"/>
                  <a:gd name="T115" fmla="*/ 92 h 233"/>
                  <a:gd name="T116" fmla="*/ 37 w 251"/>
                  <a:gd name="T117" fmla="*/ 77 h 233"/>
                  <a:gd name="T118" fmla="*/ 30 w 251"/>
                  <a:gd name="T119" fmla="*/ 74 h 233"/>
                  <a:gd name="T120" fmla="*/ 20 w 251"/>
                  <a:gd name="T121" fmla="*/ 65 h 233"/>
                  <a:gd name="T122" fmla="*/ 13 w 251"/>
                  <a:gd name="T123" fmla="*/ 53 h 23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251"/>
                  <a:gd name="T187" fmla="*/ 0 h 233"/>
                  <a:gd name="T188" fmla="*/ 251 w 251"/>
                  <a:gd name="T189" fmla="*/ 233 h 233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251" h="233">
                    <a:moveTo>
                      <a:pt x="11" y="44"/>
                    </a:moveTo>
                    <a:cubicBezTo>
                      <a:pt x="11" y="42"/>
                      <a:pt x="12" y="40"/>
                      <a:pt x="11" y="38"/>
                    </a:cubicBezTo>
                    <a:cubicBezTo>
                      <a:pt x="10" y="36"/>
                      <a:pt x="6" y="36"/>
                      <a:pt x="5" y="34"/>
                    </a:cubicBezTo>
                    <a:cubicBezTo>
                      <a:pt x="4" y="32"/>
                      <a:pt x="5" y="29"/>
                      <a:pt x="5" y="27"/>
                    </a:cubicBezTo>
                    <a:cubicBezTo>
                      <a:pt x="5" y="24"/>
                      <a:pt x="7" y="22"/>
                      <a:pt x="6" y="20"/>
                    </a:cubicBezTo>
                    <a:cubicBezTo>
                      <a:pt x="5" y="16"/>
                      <a:pt x="0" y="12"/>
                      <a:pt x="1" y="8"/>
                    </a:cubicBezTo>
                    <a:cubicBezTo>
                      <a:pt x="2" y="5"/>
                      <a:pt x="7" y="4"/>
                      <a:pt x="10" y="2"/>
                    </a:cubicBezTo>
                    <a:cubicBezTo>
                      <a:pt x="11" y="3"/>
                      <a:pt x="11" y="4"/>
                      <a:pt x="12" y="5"/>
                    </a:cubicBezTo>
                    <a:cubicBezTo>
                      <a:pt x="13" y="7"/>
                      <a:pt x="15" y="9"/>
                      <a:pt x="17" y="10"/>
                    </a:cubicBezTo>
                    <a:cubicBezTo>
                      <a:pt x="18" y="11"/>
                      <a:pt x="20" y="9"/>
                      <a:pt x="20" y="10"/>
                    </a:cubicBezTo>
                    <a:cubicBezTo>
                      <a:pt x="22" y="11"/>
                      <a:pt x="19" y="14"/>
                      <a:pt x="20" y="15"/>
                    </a:cubicBezTo>
                    <a:cubicBezTo>
                      <a:pt x="22" y="17"/>
                      <a:pt x="26" y="16"/>
                      <a:pt x="28" y="17"/>
                    </a:cubicBezTo>
                    <a:cubicBezTo>
                      <a:pt x="29" y="16"/>
                      <a:pt x="29" y="16"/>
                      <a:pt x="30" y="16"/>
                    </a:cubicBezTo>
                    <a:cubicBezTo>
                      <a:pt x="31" y="16"/>
                      <a:pt x="31" y="16"/>
                      <a:pt x="32" y="15"/>
                    </a:cubicBezTo>
                    <a:cubicBezTo>
                      <a:pt x="34" y="15"/>
                      <a:pt x="36" y="17"/>
                      <a:pt x="37" y="16"/>
                    </a:cubicBezTo>
                    <a:cubicBezTo>
                      <a:pt x="38" y="15"/>
                      <a:pt x="36" y="12"/>
                      <a:pt x="37" y="11"/>
                    </a:cubicBezTo>
                    <a:cubicBezTo>
                      <a:pt x="41" y="7"/>
                      <a:pt x="44" y="3"/>
                      <a:pt x="49" y="1"/>
                    </a:cubicBezTo>
                    <a:cubicBezTo>
                      <a:pt x="51" y="0"/>
                      <a:pt x="53" y="3"/>
                      <a:pt x="53" y="6"/>
                    </a:cubicBezTo>
                    <a:cubicBezTo>
                      <a:pt x="53" y="7"/>
                      <a:pt x="49" y="7"/>
                      <a:pt x="50" y="9"/>
                    </a:cubicBezTo>
                    <a:cubicBezTo>
                      <a:pt x="50" y="11"/>
                      <a:pt x="54" y="12"/>
                      <a:pt x="54" y="15"/>
                    </a:cubicBezTo>
                    <a:cubicBezTo>
                      <a:pt x="55" y="16"/>
                      <a:pt x="50" y="16"/>
                      <a:pt x="50" y="18"/>
                    </a:cubicBezTo>
                    <a:cubicBezTo>
                      <a:pt x="51" y="21"/>
                      <a:pt x="54" y="21"/>
                      <a:pt x="57" y="22"/>
                    </a:cubicBezTo>
                    <a:cubicBezTo>
                      <a:pt x="58" y="23"/>
                      <a:pt x="58" y="22"/>
                      <a:pt x="59" y="22"/>
                    </a:cubicBezTo>
                    <a:cubicBezTo>
                      <a:pt x="60" y="26"/>
                      <a:pt x="60" y="30"/>
                      <a:pt x="62" y="34"/>
                    </a:cubicBezTo>
                    <a:cubicBezTo>
                      <a:pt x="64" y="37"/>
                      <a:pt x="68" y="38"/>
                      <a:pt x="71" y="40"/>
                    </a:cubicBezTo>
                    <a:cubicBezTo>
                      <a:pt x="74" y="41"/>
                      <a:pt x="77" y="41"/>
                      <a:pt x="80" y="43"/>
                    </a:cubicBezTo>
                    <a:cubicBezTo>
                      <a:pt x="83" y="45"/>
                      <a:pt x="85" y="48"/>
                      <a:pt x="89" y="50"/>
                    </a:cubicBezTo>
                    <a:cubicBezTo>
                      <a:pt x="94" y="52"/>
                      <a:pt x="100" y="52"/>
                      <a:pt x="106" y="52"/>
                    </a:cubicBezTo>
                    <a:cubicBezTo>
                      <a:pt x="111" y="52"/>
                      <a:pt x="115" y="50"/>
                      <a:pt x="120" y="49"/>
                    </a:cubicBezTo>
                    <a:cubicBezTo>
                      <a:pt x="122" y="49"/>
                      <a:pt x="125" y="51"/>
                      <a:pt x="127" y="49"/>
                    </a:cubicBezTo>
                    <a:cubicBezTo>
                      <a:pt x="128" y="48"/>
                      <a:pt x="125" y="46"/>
                      <a:pt x="125" y="44"/>
                    </a:cubicBezTo>
                    <a:cubicBezTo>
                      <a:pt x="124" y="43"/>
                      <a:pt x="125" y="42"/>
                      <a:pt x="125" y="41"/>
                    </a:cubicBezTo>
                    <a:cubicBezTo>
                      <a:pt x="128" y="40"/>
                      <a:pt x="132" y="40"/>
                      <a:pt x="135" y="38"/>
                    </a:cubicBezTo>
                    <a:cubicBezTo>
                      <a:pt x="137" y="37"/>
                      <a:pt x="136" y="33"/>
                      <a:pt x="138" y="32"/>
                    </a:cubicBezTo>
                    <a:cubicBezTo>
                      <a:pt x="141" y="29"/>
                      <a:pt x="146" y="30"/>
                      <a:pt x="150" y="29"/>
                    </a:cubicBezTo>
                    <a:cubicBezTo>
                      <a:pt x="152" y="28"/>
                      <a:pt x="152" y="26"/>
                      <a:pt x="155" y="26"/>
                    </a:cubicBezTo>
                    <a:cubicBezTo>
                      <a:pt x="157" y="26"/>
                      <a:pt x="159" y="27"/>
                      <a:pt x="161" y="28"/>
                    </a:cubicBezTo>
                    <a:cubicBezTo>
                      <a:pt x="162" y="29"/>
                      <a:pt x="163" y="30"/>
                      <a:pt x="164" y="31"/>
                    </a:cubicBezTo>
                    <a:cubicBezTo>
                      <a:pt x="168" y="32"/>
                      <a:pt x="171" y="33"/>
                      <a:pt x="175" y="34"/>
                    </a:cubicBezTo>
                    <a:cubicBezTo>
                      <a:pt x="177" y="35"/>
                      <a:pt x="180" y="36"/>
                      <a:pt x="183" y="37"/>
                    </a:cubicBezTo>
                    <a:cubicBezTo>
                      <a:pt x="185" y="38"/>
                      <a:pt x="188" y="38"/>
                      <a:pt x="189" y="39"/>
                    </a:cubicBezTo>
                    <a:cubicBezTo>
                      <a:pt x="190" y="41"/>
                      <a:pt x="187" y="43"/>
                      <a:pt x="189" y="44"/>
                    </a:cubicBezTo>
                    <a:cubicBezTo>
                      <a:pt x="191" y="46"/>
                      <a:pt x="195" y="44"/>
                      <a:pt x="197" y="45"/>
                    </a:cubicBezTo>
                    <a:cubicBezTo>
                      <a:pt x="199" y="46"/>
                      <a:pt x="199" y="50"/>
                      <a:pt x="201" y="50"/>
                    </a:cubicBezTo>
                    <a:cubicBezTo>
                      <a:pt x="205" y="52"/>
                      <a:pt x="210" y="51"/>
                      <a:pt x="214" y="53"/>
                    </a:cubicBezTo>
                    <a:cubicBezTo>
                      <a:pt x="215" y="54"/>
                      <a:pt x="215" y="56"/>
                      <a:pt x="215" y="58"/>
                    </a:cubicBezTo>
                    <a:cubicBezTo>
                      <a:pt x="215" y="60"/>
                      <a:pt x="215" y="62"/>
                      <a:pt x="215" y="64"/>
                    </a:cubicBezTo>
                    <a:cubicBezTo>
                      <a:pt x="215" y="66"/>
                      <a:pt x="217" y="68"/>
                      <a:pt x="218" y="70"/>
                    </a:cubicBezTo>
                    <a:cubicBezTo>
                      <a:pt x="217" y="72"/>
                      <a:pt x="217" y="75"/>
                      <a:pt x="216" y="77"/>
                    </a:cubicBezTo>
                    <a:cubicBezTo>
                      <a:pt x="215" y="79"/>
                      <a:pt x="212" y="81"/>
                      <a:pt x="211" y="84"/>
                    </a:cubicBezTo>
                    <a:cubicBezTo>
                      <a:pt x="211" y="85"/>
                      <a:pt x="213" y="86"/>
                      <a:pt x="213" y="87"/>
                    </a:cubicBezTo>
                    <a:cubicBezTo>
                      <a:pt x="212" y="88"/>
                      <a:pt x="210" y="86"/>
                      <a:pt x="210" y="87"/>
                    </a:cubicBezTo>
                    <a:cubicBezTo>
                      <a:pt x="209" y="90"/>
                      <a:pt x="208" y="94"/>
                      <a:pt x="209" y="97"/>
                    </a:cubicBezTo>
                    <a:cubicBezTo>
                      <a:pt x="209" y="99"/>
                      <a:pt x="212" y="100"/>
                      <a:pt x="212" y="102"/>
                    </a:cubicBezTo>
                    <a:cubicBezTo>
                      <a:pt x="212" y="104"/>
                      <a:pt x="209" y="104"/>
                      <a:pt x="209" y="106"/>
                    </a:cubicBezTo>
                    <a:cubicBezTo>
                      <a:pt x="209" y="108"/>
                      <a:pt x="212" y="110"/>
                      <a:pt x="212" y="112"/>
                    </a:cubicBezTo>
                    <a:cubicBezTo>
                      <a:pt x="213" y="116"/>
                      <a:pt x="214" y="122"/>
                      <a:pt x="212" y="126"/>
                    </a:cubicBezTo>
                    <a:cubicBezTo>
                      <a:pt x="213" y="129"/>
                      <a:pt x="215" y="131"/>
                      <a:pt x="217" y="133"/>
                    </a:cubicBezTo>
                    <a:cubicBezTo>
                      <a:pt x="219" y="134"/>
                      <a:pt x="223" y="131"/>
                      <a:pt x="225" y="133"/>
                    </a:cubicBezTo>
                    <a:cubicBezTo>
                      <a:pt x="227" y="134"/>
                      <a:pt x="228" y="138"/>
                      <a:pt x="227" y="141"/>
                    </a:cubicBezTo>
                    <a:cubicBezTo>
                      <a:pt x="226" y="145"/>
                      <a:pt x="222" y="148"/>
                      <a:pt x="220" y="152"/>
                    </a:cubicBezTo>
                    <a:cubicBezTo>
                      <a:pt x="219" y="153"/>
                      <a:pt x="219" y="155"/>
                      <a:pt x="218" y="157"/>
                    </a:cubicBezTo>
                    <a:cubicBezTo>
                      <a:pt x="221" y="160"/>
                      <a:pt x="224" y="163"/>
                      <a:pt x="226" y="166"/>
                    </a:cubicBezTo>
                    <a:cubicBezTo>
                      <a:pt x="228" y="169"/>
                      <a:pt x="227" y="172"/>
                      <a:pt x="228" y="174"/>
                    </a:cubicBezTo>
                    <a:cubicBezTo>
                      <a:pt x="228" y="176"/>
                      <a:pt x="230" y="177"/>
                      <a:pt x="231" y="178"/>
                    </a:cubicBezTo>
                    <a:cubicBezTo>
                      <a:pt x="233" y="179"/>
                      <a:pt x="236" y="179"/>
                      <a:pt x="238" y="180"/>
                    </a:cubicBezTo>
                    <a:cubicBezTo>
                      <a:pt x="240" y="181"/>
                      <a:pt x="241" y="182"/>
                      <a:pt x="242" y="183"/>
                    </a:cubicBezTo>
                    <a:cubicBezTo>
                      <a:pt x="243" y="188"/>
                      <a:pt x="241" y="194"/>
                      <a:pt x="244" y="198"/>
                    </a:cubicBezTo>
                    <a:cubicBezTo>
                      <a:pt x="245" y="200"/>
                      <a:pt x="249" y="198"/>
                      <a:pt x="250" y="200"/>
                    </a:cubicBezTo>
                    <a:cubicBezTo>
                      <a:pt x="251" y="201"/>
                      <a:pt x="250" y="204"/>
                      <a:pt x="249" y="206"/>
                    </a:cubicBezTo>
                    <a:cubicBezTo>
                      <a:pt x="249" y="207"/>
                      <a:pt x="250" y="208"/>
                      <a:pt x="249" y="209"/>
                    </a:cubicBezTo>
                    <a:cubicBezTo>
                      <a:pt x="247" y="210"/>
                      <a:pt x="244" y="209"/>
                      <a:pt x="242" y="210"/>
                    </a:cubicBezTo>
                    <a:cubicBezTo>
                      <a:pt x="239" y="211"/>
                      <a:pt x="237" y="212"/>
                      <a:pt x="235" y="214"/>
                    </a:cubicBezTo>
                    <a:cubicBezTo>
                      <a:pt x="234" y="216"/>
                      <a:pt x="233" y="219"/>
                      <a:pt x="233" y="222"/>
                    </a:cubicBezTo>
                    <a:cubicBezTo>
                      <a:pt x="233" y="224"/>
                      <a:pt x="234" y="227"/>
                      <a:pt x="234" y="229"/>
                    </a:cubicBezTo>
                    <a:cubicBezTo>
                      <a:pt x="233" y="230"/>
                      <a:pt x="232" y="233"/>
                      <a:pt x="231" y="233"/>
                    </a:cubicBezTo>
                    <a:cubicBezTo>
                      <a:pt x="229" y="232"/>
                      <a:pt x="227" y="230"/>
                      <a:pt x="225" y="230"/>
                    </a:cubicBezTo>
                    <a:cubicBezTo>
                      <a:pt x="221" y="229"/>
                      <a:pt x="218" y="229"/>
                      <a:pt x="215" y="229"/>
                    </a:cubicBezTo>
                    <a:cubicBezTo>
                      <a:pt x="210" y="229"/>
                      <a:pt x="205" y="230"/>
                      <a:pt x="201" y="229"/>
                    </a:cubicBezTo>
                    <a:cubicBezTo>
                      <a:pt x="199" y="229"/>
                      <a:pt x="197" y="227"/>
                      <a:pt x="195" y="226"/>
                    </a:cubicBezTo>
                    <a:cubicBezTo>
                      <a:pt x="190" y="225"/>
                      <a:pt x="185" y="225"/>
                      <a:pt x="181" y="222"/>
                    </a:cubicBezTo>
                    <a:cubicBezTo>
                      <a:pt x="179" y="221"/>
                      <a:pt x="178" y="219"/>
                      <a:pt x="177" y="217"/>
                    </a:cubicBezTo>
                    <a:cubicBezTo>
                      <a:pt x="176" y="213"/>
                      <a:pt x="176" y="208"/>
                      <a:pt x="173" y="204"/>
                    </a:cubicBezTo>
                    <a:cubicBezTo>
                      <a:pt x="171" y="202"/>
                      <a:pt x="168" y="200"/>
                      <a:pt x="165" y="200"/>
                    </a:cubicBezTo>
                    <a:cubicBezTo>
                      <a:pt x="162" y="201"/>
                      <a:pt x="159" y="203"/>
                      <a:pt x="156" y="205"/>
                    </a:cubicBezTo>
                    <a:cubicBezTo>
                      <a:pt x="153" y="206"/>
                      <a:pt x="151" y="209"/>
                      <a:pt x="148" y="209"/>
                    </a:cubicBezTo>
                    <a:cubicBezTo>
                      <a:pt x="145" y="209"/>
                      <a:pt x="143" y="206"/>
                      <a:pt x="141" y="205"/>
                    </a:cubicBezTo>
                    <a:cubicBezTo>
                      <a:pt x="138" y="205"/>
                      <a:pt x="135" y="206"/>
                      <a:pt x="132" y="206"/>
                    </a:cubicBezTo>
                    <a:cubicBezTo>
                      <a:pt x="131" y="206"/>
                      <a:pt x="132" y="204"/>
                      <a:pt x="132" y="203"/>
                    </a:cubicBezTo>
                    <a:cubicBezTo>
                      <a:pt x="129" y="202"/>
                      <a:pt x="126" y="202"/>
                      <a:pt x="124" y="200"/>
                    </a:cubicBezTo>
                    <a:cubicBezTo>
                      <a:pt x="122" y="200"/>
                      <a:pt x="120" y="199"/>
                      <a:pt x="119" y="197"/>
                    </a:cubicBezTo>
                    <a:cubicBezTo>
                      <a:pt x="118" y="196"/>
                      <a:pt x="120" y="195"/>
                      <a:pt x="119" y="194"/>
                    </a:cubicBezTo>
                    <a:cubicBezTo>
                      <a:pt x="118" y="192"/>
                      <a:pt x="116" y="192"/>
                      <a:pt x="114" y="192"/>
                    </a:cubicBezTo>
                    <a:cubicBezTo>
                      <a:pt x="112" y="191"/>
                      <a:pt x="109" y="193"/>
                      <a:pt x="107" y="191"/>
                    </a:cubicBezTo>
                    <a:cubicBezTo>
                      <a:pt x="103" y="188"/>
                      <a:pt x="101" y="184"/>
                      <a:pt x="99" y="179"/>
                    </a:cubicBezTo>
                    <a:cubicBezTo>
                      <a:pt x="97" y="177"/>
                      <a:pt x="99" y="173"/>
                      <a:pt x="97" y="171"/>
                    </a:cubicBezTo>
                    <a:cubicBezTo>
                      <a:pt x="96" y="169"/>
                      <a:pt x="94" y="172"/>
                      <a:pt x="93" y="171"/>
                    </a:cubicBezTo>
                    <a:cubicBezTo>
                      <a:pt x="92" y="170"/>
                      <a:pt x="94" y="168"/>
                      <a:pt x="93" y="166"/>
                    </a:cubicBezTo>
                    <a:cubicBezTo>
                      <a:pt x="91" y="161"/>
                      <a:pt x="88" y="155"/>
                      <a:pt x="83" y="152"/>
                    </a:cubicBezTo>
                    <a:cubicBezTo>
                      <a:pt x="81" y="151"/>
                      <a:pt x="80" y="156"/>
                      <a:pt x="78" y="156"/>
                    </a:cubicBezTo>
                    <a:cubicBezTo>
                      <a:pt x="78" y="156"/>
                      <a:pt x="78" y="155"/>
                      <a:pt x="78" y="155"/>
                    </a:cubicBezTo>
                    <a:cubicBezTo>
                      <a:pt x="76" y="155"/>
                      <a:pt x="75" y="156"/>
                      <a:pt x="73" y="155"/>
                    </a:cubicBezTo>
                    <a:cubicBezTo>
                      <a:pt x="72" y="154"/>
                      <a:pt x="72" y="151"/>
                      <a:pt x="71" y="152"/>
                    </a:cubicBezTo>
                    <a:cubicBezTo>
                      <a:pt x="70" y="153"/>
                      <a:pt x="72" y="155"/>
                      <a:pt x="71" y="157"/>
                    </a:cubicBezTo>
                    <a:cubicBezTo>
                      <a:pt x="71" y="157"/>
                      <a:pt x="69" y="158"/>
                      <a:pt x="68" y="158"/>
                    </a:cubicBezTo>
                    <a:cubicBezTo>
                      <a:pt x="65" y="155"/>
                      <a:pt x="62" y="153"/>
                      <a:pt x="59" y="150"/>
                    </a:cubicBezTo>
                    <a:cubicBezTo>
                      <a:pt x="58" y="148"/>
                      <a:pt x="60" y="146"/>
                      <a:pt x="59" y="144"/>
                    </a:cubicBezTo>
                    <a:cubicBezTo>
                      <a:pt x="59" y="142"/>
                      <a:pt x="57" y="143"/>
                      <a:pt x="56" y="141"/>
                    </a:cubicBezTo>
                    <a:cubicBezTo>
                      <a:pt x="56" y="139"/>
                      <a:pt x="57" y="136"/>
                      <a:pt x="56" y="133"/>
                    </a:cubicBezTo>
                    <a:cubicBezTo>
                      <a:pt x="55" y="129"/>
                      <a:pt x="53" y="126"/>
                      <a:pt x="50" y="122"/>
                    </a:cubicBezTo>
                    <a:cubicBezTo>
                      <a:pt x="45" y="117"/>
                      <a:pt x="39" y="114"/>
                      <a:pt x="34" y="110"/>
                    </a:cubicBezTo>
                    <a:cubicBezTo>
                      <a:pt x="33" y="109"/>
                      <a:pt x="34" y="108"/>
                      <a:pt x="34" y="107"/>
                    </a:cubicBezTo>
                    <a:cubicBezTo>
                      <a:pt x="31" y="103"/>
                      <a:pt x="27" y="100"/>
                      <a:pt x="25" y="95"/>
                    </a:cubicBezTo>
                    <a:cubicBezTo>
                      <a:pt x="24" y="93"/>
                      <a:pt x="25" y="90"/>
                      <a:pt x="25" y="87"/>
                    </a:cubicBezTo>
                    <a:cubicBezTo>
                      <a:pt x="25" y="84"/>
                      <a:pt x="25" y="81"/>
                      <a:pt x="27" y="78"/>
                    </a:cubicBezTo>
                    <a:cubicBezTo>
                      <a:pt x="28" y="77"/>
                      <a:pt x="30" y="78"/>
                      <a:pt x="31" y="77"/>
                    </a:cubicBezTo>
                    <a:cubicBezTo>
                      <a:pt x="31" y="74"/>
                      <a:pt x="29" y="72"/>
                      <a:pt x="30" y="69"/>
                    </a:cubicBezTo>
                    <a:cubicBezTo>
                      <a:pt x="30" y="68"/>
                      <a:pt x="32" y="66"/>
                      <a:pt x="31" y="64"/>
                    </a:cubicBezTo>
                    <a:cubicBezTo>
                      <a:pt x="31" y="63"/>
                      <a:pt x="29" y="64"/>
                      <a:pt x="28" y="64"/>
                    </a:cubicBezTo>
                    <a:cubicBezTo>
                      <a:pt x="27" y="64"/>
                      <a:pt x="26" y="63"/>
                      <a:pt x="25" y="62"/>
                    </a:cubicBezTo>
                    <a:cubicBezTo>
                      <a:pt x="24" y="62"/>
                      <a:pt x="23" y="63"/>
                      <a:pt x="23" y="62"/>
                    </a:cubicBezTo>
                    <a:cubicBezTo>
                      <a:pt x="21" y="60"/>
                      <a:pt x="19" y="57"/>
                      <a:pt x="17" y="54"/>
                    </a:cubicBezTo>
                    <a:cubicBezTo>
                      <a:pt x="16" y="53"/>
                      <a:pt x="15" y="51"/>
                      <a:pt x="14" y="50"/>
                    </a:cubicBezTo>
                    <a:cubicBezTo>
                      <a:pt x="13" y="48"/>
                      <a:pt x="12" y="46"/>
                      <a:pt x="11" y="44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97" name="Freeform 2617"/>
              <p:cNvSpPr>
                <a:spLocks noChangeAspect="1"/>
              </p:cNvSpPr>
              <p:nvPr/>
            </p:nvSpPr>
            <p:spPr bwMode="auto">
              <a:xfrm>
                <a:off x="5088397" y="2269995"/>
                <a:ext cx="111850" cy="42364"/>
              </a:xfrm>
              <a:custGeom>
                <a:avLst/>
                <a:gdLst>
                  <a:gd name="T0" fmla="*/ 0 w 83"/>
                  <a:gd name="T1" fmla="*/ 1 h 42"/>
                  <a:gd name="T2" fmla="*/ 10 w 83"/>
                  <a:gd name="T3" fmla="*/ 7 h 42"/>
                  <a:gd name="T4" fmla="*/ 14 w 83"/>
                  <a:gd name="T5" fmla="*/ 13 h 42"/>
                  <a:gd name="T6" fmla="*/ 23 w 83"/>
                  <a:gd name="T7" fmla="*/ 17 h 42"/>
                  <a:gd name="T8" fmla="*/ 23 w 83"/>
                  <a:gd name="T9" fmla="*/ 24 h 42"/>
                  <a:gd name="T10" fmla="*/ 28 w 83"/>
                  <a:gd name="T11" fmla="*/ 34 h 42"/>
                  <a:gd name="T12" fmla="*/ 24 w 83"/>
                  <a:gd name="T13" fmla="*/ 44 h 42"/>
                  <a:gd name="T14" fmla="*/ 30 w 83"/>
                  <a:gd name="T15" fmla="*/ 44 h 42"/>
                  <a:gd name="T16" fmla="*/ 39 w 83"/>
                  <a:gd name="T17" fmla="*/ 41 h 42"/>
                  <a:gd name="T18" fmla="*/ 47 w 83"/>
                  <a:gd name="T19" fmla="*/ 45 h 42"/>
                  <a:gd name="T20" fmla="*/ 53 w 83"/>
                  <a:gd name="T21" fmla="*/ 49 h 42"/>
                  <a:gd name="T22" fmla="*/ 59 w 83"/>
                  <a:gd name="T23" fmla="*/ 46 h 42"/>
                  <a:gd name="T24" fmla="*/ 64 w 83"/>
                  <a:gd name="T25" fmla="*/ 46 h 42"/>
                  <a:gd name="T26" fmla="*/ 70 w 83"/>
                  <a:gd name="T27" fmla="*/ 46 h 42"/>
                  <a:gd name="T28" fmla="*/ 75 w 83"/>
                  <a:gd name="T29" fmla="*/ 46 h 42"/>
                  <a:gd name="T30" fmla="*/ 78 w 83"/>
                  <a:gd name="T31" fmla="*/ 41 h 42"/>
                  <a:gd name="T32" fmla="*/ 84 w 83"/>
                  <a:gd name="T33" fmla="*/ 45 h 42"/>
                  <a:gd name="T34" fmla="*/ 90 w 83"/>
                  <a:gd name="T35" fmla="*/ 47 h 42"/>
                  <a:gd name="T36" fmla="*/ 99 w 83"/>
                  <a:gd name="T37" fmla="*/ 50 h 42"/>
                  <a:gd name="T38" fmla="*/ 99 w 83"/>
                  <a:gd name="T39" fmla="*/ 45 h 42"/>
                  <a:gd name="T40" fmla="*/ 94 w 83"/>
                  <a:gd name="T41" fmla="*/ 43 h 42"/>
                  <a:gd name="T42" fmla="*/ 90 w 83"/>
                  <a:gd name="T43" fmla="*/ 36 h 42"/>
                  <a:gd name="T44" fmla="*/ 95 w 83"/>
                  <a:gd name="T45" fmla="*/ 33 h 42"/>
                  <a:gd name="T46" fmla="*/ 82 w 83"/>
                  <a:gd name="T47" fmla="*/ 25 h 42"/>
                  <a:gd name="T48" fmla="*/ 82 w 83"/>
                  <a:gd name="T49" fmla="*/ 21 h 42"/>
                  <a:gd name="T50" fmla="*/ 73 w 83"/>
                  <a:gd name="T51" fmla="*/ 16 h 42"/>
                  <a:gd name="T52" fmla="*/ 70 w 83"/>
                  <a:gd name="T53" fmla="*/ 16 h 42"/>
                  <a:gd name="T54" fmla="*/ 65 w 83"/>
                  <a:gd name="T55" fmla="*/ 17 h 42"/>
                  <a:gd name="T56" fmla="*/ 58 w 83"/>
                  <a:gd name="T57" fmla="*/ 19 h 42"/>
                  <a:gd name="T58" fmla="*/ 54 w 83"/>
                  <a:gd name="T59" fmla="*/ 16 h 42"/>
                  <a:gd name="T60" fmla="*/ 45 w 83"/>
                  <a:gd name="T61" fmla="*/ 11 h 42"/>
                  <a:gd name="T62" fmla="*/ 35 w 83"/>
                  <a:gd name="T63" fmla="*/ 5 h 42"/>
                  <a:gd name="T64" fmla="*/ 23 w 83"/>
                  <a:gd name="T65" fmla="*/ 6 h 42"/>
                  <a:gd name="T66" fmla="*/ 13 w 83"/>
                  <a:gd name="T67" fmla="*/ 1 h 42"/>
                  <a:gd name="T68" fmla="*/ 0 w 83"/>
                  <a:gd name="T69" fmla="*/ 1 h 42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83"/>
                  <a:gd name="T106" fmla="*/ 0 h 42"/>
                  <a:gd name="T107" fmla="*/ 83 w 83"/>
                  <a:gd name="T108" fmla="*/ 42 h 42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83" h="42">
                    <a:moveTo>
                      <a:pt x="0" y="1"/>
                    </a:moveTo>
                    <a:cubicBezTo>
                      <a:pt x="3" y="3"/>
                      <a:pt x="6" y="4"/>
                      <a:pt x="8" y="6"/>
                    </a:cubicBezTo>
                    <a:cubicBezTo>
                      <a:pt x="10" y="7"/>
                      <a:pt x="10" y="10"/>
                      <a:pt x="12" y="11"/>
                    </a:cubicBezTo>
                    <a:cubicBezTo>
                      <a:pt x="14" y="13"/>
                      <a:pt x="18" y="12"/>
                      <a:pt x="19" y="14"/>
                    </a:cubicBezTo>
                    <a:cubicBezTo>
                      <a:pt x="20" y="16"/>
                      <a:pt x="18" y="18"/>
                      <a:pt x="19" y="20"/>
                    </a:cubicBezTo>
                    <a:cubicBezTo>
                      <a:pt x="20" y="23"/>
                      <a:pt x="23" y="25"/>
                      <a:pt x="23" y="28"/>
                    </a:cubicBezTo>
                    <a:cubicBezTo>
                      <a:pt x="23" y="30"/>
                      <a:pt x="21" y="33"/>
                      <a:pt x="20" y="36"/>
                    </a:cubicBezTo>
                    <a:cubicBezTo>
                      <a:pt x="21" y="36"/>
                      <a:pt x="23" y="36"/>
                      <a:pt x="25" y="36"/>
                    </a:cubicBezTo>
                    <a:cubicBezTo>
                      <a:pt x="27" y="35"/>
                      <a:pt x="29" y="33"/>
                      <a:pt x="32" y="34"/>
                    </a:cubicBezTo>
                    <a:cubicBezTo>
                      <a:pt x="34" y="34"/>
                      <a:pt x="37" y="36"/>
                      <a:pt x="39" y="37"/>
                    </a:cubicBezTo>
                    <a:cubicBezTo>
                      <a:pt x="41" y="38"/>
                      <a:pt x="42" y="39"/>
                      <a:pt x="44" y="40"/>
                    </a:cubicBezTo>
                    <a:cubicBezTo>
                      <a:pt x="46" y="40"/>
                      <a:pt x="47" y="39"/>
                      <a:pt x="49" y="38"/>
                    </a:cubicBezTo>
                    <a:cubicBezTo>
                      <a:pt x="50" y="38"/>
                      <a:pt x="52" y="38"/>
                      <a:pt x="53" y="38"/>
                    </a:cubicBezTo>
                    <a:cubicBezTo>
                      <a:pt x="55" y="38"/>
                      <a:pt x="56" y="38"/>
                      <a:pt x="58" y="38"/>
                    </a:cubicBezTo>
                    <a:cubicBezTo>
                      <a:pt x="59" y="38"/>
                      <a:pt x="60" y="38"/>
                      <a:pt x="62" y="38"/>
                    </a:cubicBezTo>
                    <a:cubicBezTo>
                      <a:pt x="63" y="37"/>
                      <a:pt x="63" y="34"/>
                      <a:pt x="65" y="34"/>
                    </a:cubicBezTo>
                    <a:cubicBezTo>
                      <a:pt x="67" y="34"/>
                      <a:pt x="68" y="36"/>
                      <a:pt x="70" y="37"/>
                    </a:cubicBezTo>
                    <a:cubicBezTo>
                      <a:pt x="72" y="38"/>
                      <a:pt x="74" y="39"/>
                      <a:pt x="75" y="39"/>
                    </a:cubicBezTo>
                    <a:cubicBezTo>
                      <a:pt x="78" y="40"/>
                      <a:pt x="80" y="42"/>
                      <a:pt x="82" y="41"/>
                    </a:cubicBezTo>
                    <a:cubicBezTo>
                      <a:pt x="83" y="41"/>
                      <a:pt x="83" y="38"/>
                      <a:pt x="82" y="37"/>
                    </a:cubicBezTo>
                    <a:cubicBezTo>
                      <a:pt x="82" y="36"/>
                      <a:pt x="79" y="36"/>
                      <a:pt x="78" y="35"/>
                    </a:cubicBezTo>
                    <a:cubicBezTo>
                      <a:pt x="77" y="33"/>
                      <a:pt x="75" y="32"/>
                      <a:pt x="75" y="30"/>
                    </a:cubicBezTo>
                    <a:cubicBezTo>
                      <a:pt x="76" y="28"/>
                      <a:pt x="78" y="28"/>
                      <a:pt x="79" y="27"/>
                    </a:cubicBezTo>
                    <a:cubicBezTo>
                      <a:pt x="75" y="25"/>
                      <a:pt x="71" y="24"/>
                      <a:pt x="68" y="21"/>
                    </a:cubicBezTo>
                    <a:cubicBezTo>
                      <a:pt x="67" y="20"/>
                      <a:pt x="69" y="18"/>
                      <a:pt x="68" y="17"/>
                    </a:cubicBezTo>
                    <a:cubicBezTo>
                      <a:pt x="67" y="15"/>
                      <a:pt x="64" y="14"/>
                      <a:pt x="61" y="13"/>
                    </a:cubicBezTo>
                    <a:cubicBezTo>
                      <a:pt x="60" y="13"/>
                      <a:pt x="59" y="13"/>
                      <a:pt x="58" y="13"/>
                    </a:cubicBezTo>
                    <a:cubicBezTo>
                      <a:pt x="57" y="13"/>
                      <a:pt x="55" y="13"/>
                      <a:pt x="54" y="14"/>
                    </a:cubicBezTo>
                    <a:cubicBezTo>
                      <a:pt x="52" y="14"/>
                      <a:pt x="50" y="16"/>
                      <a:pt x="48" y="16"/>
                    </a:cubicBezTo>
                    <a:cubicBezTo>
                      <a:pt x="46" y="16"/>
                      <a:pt x="46" y="14"/>
                      <a:pt x="45" y="13"/>
                    </a:cubicBezTo>
                    <a:cubicBezTo>
                      <a:pt x="42" y="11"/>
                      <a:pt x="40" y="11"/>
                      <a:pt x="37" y="9"/>
                    </a:cubicBezTo>
                    <a:cubicBezTo>
                      <a:pt x="34" y="8"/>
                      <a:pt x="32" y="5"/>
                      <a:pt x="29" y="4"/>
                    </a:cubicBezTo>
                    <a:cubicBezTo>
                      <a:pt x="26" y="3"/>
                      <a:pt x="22" y="6"/>
                      <a:pt x="19" y="5"/>
                    </a:cubicBezTo>
                    <a:cubicBezTo>
                      <a:pt x="16" y="5"/>
                      <a:pt x="14" y="2"/>
                      <a:pt x="11" y="1"/>
                    </a:cubicBezTo>
                    <a:cubicBezTo>
                      <a:pt x="7" y="0"/>
                      <a:pt x="3" y="0"/>
                      <a:pt x="0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98" name="Freeform 2618"/>
              <p:cNvSpPr>
                <a:spLocks noChangeAspect="1"/>
              </p:cNvSpPr>
              <p:nvPr/>
            </p:nvSpPr>
            <p:spPr bwMode="auto">
              <a:xfrm>
                <a:off x="5172284" y="2333956"/>
                <a:ext cx="23489" cy="14953"/>
              </a:xfrm>
              <a:custGeom>
                <a:avLst/>
                <a:gdLst>
                  <a:gd name="T0" fmla="*/ 21 w 18"/>
                  <a:gd name="T1" fmla="*/ 18 h 15"/>
                  <a:gd name="T2" fmla="*/ 16 w 18"/>
                  <a:gd name="T3" fmla="*/ 7 h 15"/>
                  <a:gd name="T4" fmla="*/ 14 w 18"/>
                  <a:gd name="T5" fmla="*/ 1 h 15"/>
                  <a:gd name="T6" fmla="*/ 8 w 18"/>
                  <a:gd name="T7" fmla="*/ 4 h 15"/>
                  <a:gd name="T8" fmla="*/ 7 w 18"/>
                  <a:gd name="T9" fmla="*/ 0 h 15"/>
                  <a:gd name="T10" fmla="*/ 0 w 18"/>
                  <a:gd name="T11" fmla="*/ 0 h 15"/>
                  <a:gd name="T12" fmla="*/ 2 w 18"/>
                  <a:gd name="T13" fmla="*/ 4 h 15"/>
                  <a:gd name="T14" fmla="*/ 8 w 18"/>
                  <a:gd name="T15" fmla="*/ 10 h 15"/>
                  <a:gd name="T16" fmla="*/ 12 w 18"/>
                  <a:gd name="T17" fmla="*/ 10 h 15"/>
                  <a:gd name="T18" fmla="*/ 12 w 18"/>
                  <a:gd name="T19" fmla="*/ 16 h 15"/>
                  <a:gd name="T20" fmla="*/ 21 w 18"/>
                  <a:gd name="T21" fmla="*/ 18 h 1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8"/>
                  <a:gd name="T34" fmla="*/ 0 h 15"/>
                  <a:gd name="T35" fmla="*/ 18 w 18"/>
                  <a:gd name="T36" fmla="*/ 15 h 1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8" h="15">
                    <a:moveTo>
                      <a:pt x="18" y="15"/>
                    </a:moveTo>
                    <a:cubicBezTo>
                      <a:pt x="17" y="12"/>
                      <a:pt x="16" y="9"/>
                      <a:pt x="14" y="6"/>
                    </a:cubicBezTo>
                    <a:cubicBezTo>
                      <a:pt x="13" y="5"/>
                      <a:pt x="13" y="2"/>
                      <a:pt x="12" y="1"/>
                    </a:cubicBezTo>
                    <a:cubicBezTo>
                      <a:pt x="10" y="1"/>
                      <a:pt x="9" y="3"/>
                      <a:pt x="7" y="3"/>
                    </a:cubicBezTo>
                    <a:cubicBezTo>
                      <a:pt x="6" y="2"/>
                      <a:pt x="6" y="1"/>
                      <a:pt x="6" y="0"/>
                    </a:cubicBezTo>
                    <a:cubicBezTo>
                      <a:pt x="4" y="0"/>
                      <a:pt x="2" y="1"/>
                      <a:pt x="0" y="0"/>
                    </a:cubicBezTo>
                    <a:cubicBezTo>
                      <a:pt x="1" y="1"/>
                      <a:pt x="1" y="2"/>
                      <a:pt x="2" y="3"/>
                    </a:cubicBezTo>
                    <a:cubicBezTo>
                      <a:pt x="3" y="5"/>
                      <a:pt x="5" y="7"/>
                      <a:pt x="7" y="8"/>
                    </a:cubicBezTo>
                    <a:cubicBezTo>
                      <a:pt x="8" y="9"/>
                      <a:pt x="10" y="7"/>
                      <a:pt x="10" y="8"/>
                    </a:cubicBezTo>
                    <a:cubicBezTo>
                      <a:pt x="12" y="9"/>
                      <a:pt x="9" y="12"/>
                      <a:pt x="10" y="13"/>
                    </a:cubicBezTo>
                    <a:cubicBezTo>
                      <a:pt x="12" y="15"/>
                      <a:pt x="16" y="14"/>
                      <a:pt x="18" y="15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399" name="Freeform 2619"/>
              <p:cNvSpPr>
                <a:spLocks noChangeAspect="1"/>
              </p:cNvSpPr>
              <p:nvPr/>
            </p:nvSpPr>
            <p:spPr bwMode="auto">
              <a:xfrm>
                <a:off x="5147677" y="2308206"/>
                <a:ext cx="54806" cy="40702"/>
              </a:xfrm>
              <a:custGeom>
                <a:avLst/>
                <a:gdLst>
                  <a:gd name="T0" fmla="*/ 48 w 41"/>
                  <a:gd name="T1" fmla="*/ 47 h 41"/>
                  <a:gd name="T2" fmla="*/ 48 w 41"/>
                  <a:gd name="T3" fmla="*/ 39 h 41"/>
                  <a:gd name="T4" fmla="*/ 44 w 41"/>
                  <a:gd name="T5" fmla="*/ 36 h 41"/>
                  <a:gd name="T6" fmla="*/ 39 w 41"/>
                  <a:gd name="T7" fmla="*/ 31 h 41"/>
                  <a:gd name="T8" fmla="*/ 32 w 41"/>
                  <a:gd name="T9" fmla="*/ 26 h 41"/>
                  <a:gd name="T10" fmla="*/ 36 w 41"/>
                  <a:gd name="T11" fmla="*/ 24 h 41"/>
                  <a:gd name="T12" fmla="*/ 36 w 41"/>
                  <a:gd name="T13" fmla="*/ 20 h 41"/>
                  <a:gd name="T14" fmla="*/ 29 w 41"/>
                  <a:gd name="T15" fmla="*/ 17 h 41"/>
                  <a:gd name="T16" fmla="*/ 30 w 41"/>
                  <a:gd name="T17" fmla="*/ 11 h 41"/>
                  <a:gd name="T18" fmla="*/ 29 w 41"/>
                  <a:gd name="T19" fmla="*/ 6 h 41"/>
                  <a:gd name="T20" fmla="*/ 23 w 41"/>
                  <a:gd name="T21" fmla="*/ 5 h 41"/>
                  <a:gd name="T22" fmla="*/ 22 w 41"/>
                  <a:gd name="T23" fmla="*/ 0 h 41"/>
                  <a:gd name="T24" fmla="*/ 17 w 41"/>
                  <a:gd name="T25" fmla="*/ 0 h 41"/>
                  <a:gd name="T26" fmla="*/ 11 w 41"/>
                  <a:gd name="T27" fmla="*/ 0 h 41"/>
                  <a:gd name="T28" fmla="*/ 6 w 41"/>
                  <a:gd name="T29" fmla="*/ 0 h 41"/>
                  <a:gd name="T30" fmla="*/ 0 w 41"/>
                  <a:gd name="T31" fmla="*/ 2 h 41"/>
                  <a:gd name="T32" fmla="*/ 2 w 41"/>
                  <a:gd name="T33" fmla="*/ 11 h 41"/>
                  <a:gd name="T34" fmla="*/ 2 w 41"/>
                  <a:gd name="T35" fmla="*/ 19 h 41"/>
                  <a:gd name="T36" fmla="*/ 6 w 41"/>
                  <a:gd name="T37" fmla="*/ 24 h 41"/>
                  <a:gd name="T38" fmla="*/ 16 w 41"/>
                  <a:gd name="T39" fmla="*/ 25 h 41"/>
                  <a:gd name="T40" fmla="*/ 22 w 41"/>
                  <a:gd name="T41" fmla="*/ 31 h 41"/>
                  <a:gd name="T42" fmla="*/ 29 w 41"/>
                  <a:gd name="T43" fmla="*/ 31 h 41"/>
                  <a:gd name="T44" fmla="*/ 30 w 41"/>
                  <a:gd name="T45" fmla="*/ 35 h 41"/>
                  <a:gd name="T46" fmla="*/ 36 w 41"/>
                  <a:gd name="T47" fmla="*/ 32 h 41"/>
                  <a:gd name="T48" fmla="*/ 38 w 41"/>
                  <a:gd name="T49" fmla="*/ 38 h 41"/>
                  <a:gd name="T50" fmla="*/ 43 w 41"/>
                  <a:gd name="T51" fmla="*/ 49 h 41"/>
                  <a:gd name="T52" fmla="*/ 45 w 41"/>
                  <a:gd name="T53" fmla="*/ 48 h 41"/>
                  <a:gd name="T54" fmla="*/ 48 w 41"/>
                  <a:gd name="T55" fmla="*/ 47 h 4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41"/>
                  <a:gd name="T85" fmla="*/ 0 h 41"/>
                  <a:gd name="T86" fmla="*/ 41 w 41"/>
                  <a:gd name="T87" fmla="*/ 41 h 41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41" h="41">
                    <a:moveTo>
                      <a:pt x="40" y="39"/>
                    </a:moveTo>
                    <a:cubicBezTo>
                      <a:pt x="40" y="37"/>
                      <a:pt x="41" y="35"/>
                      <a:pt x="40" y="33"/>
                    </a:cubicBezTo>
                    <a:cubicBezTo>
                      <a:pt x="40" y="32"/>
                      <a:pt x="38" y="31"/>
                      <a:pt x="37" y="30"/>
                    </a:cubicBezTo>
                    <a:cubicBezTo>
                      <a:pt x="36" y="29"/>
                      <a:pt x="34" y="27"/>
                      <a:pt x="33" y="26"/>
                    </a:cubicBezTo>
                    <a:cubicBezTo>
                      <a:pt x="31" y="25"/>
                      <a:pt x="28" y="24"/>
                      <a:pt x="27" y="22"/>
                    </a:cubicBezTo>
                    <a:cubicBezTo>
                      <a:pt x="27" y="21"/>
                      <a:pt x="29" y="21"/>
                      <a:pt x="30" y="20"/>
                    </a:cubicBezTo>
                    <a:cubicBezTo>
                      <a:pt x="30" y="19"/>
                      <a:pt x="31" y="18"/>
                      <a:pt x="30" y="17"/>
                    </a:cubicBezTo>
                    <a:cubicBezTo>
                      <a:pt x="29" y="15"/>
                      <a:pt x="26" y="16"/>
                      <a:pt x="24" y="14"/>
                    </a:cubicBezTo>
                    <a:cubicBezTo>
                      <a:pt x="23" y="13"/>
                      <a:pt x="25" y="11"/>
                      <a:pt x="25" y="9"/>
                    </a:cubicBezTo>
                    <a:cubicBezTo>
                      <a:pt x="25" y="8"/>
                      <a:pt x="25" y="6"/>
                      <a:pt x="24" y="5"/>
                    </a:cubicBezTo>
                    <a:cubicBezTo>
                      <a:pt x="23" y="4"/>
                      <a:pt x="20" y="5"/>
                      <a:pt x="19" y="4"/>
                    </a:cubicBezTo>
                    <a:cubicBezTo>
                      <a:pt x="18" y="3"/>
                      <a:pt x="18" y="1"/>
                      <a:pt x="18" y="0"/>
                    </a:cubicBezTo>
                    <a:cubicBezTo>
                      <a:pt x="16" y="0"/>
                      <a:pt x="15" y="0"/>
                      <a:pt x="14" y="0"/>
                    </a:cubicBezTo>
                    <a:cubicBezTo>
                      <a:pt x="12" y="0"/>
                      <a:pt x="11" y="0"/>
                      <a:pt x="9" y="0"/>
                    </a:cubicBezTo>
                    <a:cubicBezTo>
                      <a:pt x="8" y="0"/>
                      <a:pt x="6" y="0"/>
                      <a:pt x="5" y="0"/>
                    </a:cubicBezTo>
                    <a:cubicBezTo>
                      <a:pt x="3" y="1"/>
                      <a:pt x="2" y="2"/>
                      <a:pt x="0" y="2"/>
                    </a:cubicBezTo>
                    <a:cubicBezTo>
                      <a:pt x="1" y="5"/>
                      <a:pt x="2" y="7"/>
                      <a:pt x="2" y="9"/>
                    </a:cubicBezTo>
                    <a:cubicBezTo>
                      <a:pt x="2" y="11"/>
                      <a:pt x="1" y="14"/>
                      <a:pt x="2" y="16"/>
                    </a:cubicBezTo>
                    <a:cubicBezTo>
                      <a:pt x="2" y="17"/>
                      <a:pt x="4" y="19"/>
                      <a:pt x="5" y="20"/>
                    </a:cubicBezTo>
                    <a:cubicBezTo>
                      <a:pt x="8" y="21"/>
                      <a:pt x="11" y="20"/>
                      <a:pt x="13" y="21"/>
                    </a:cubicBezTo>
                    <a:cubicBezTo>
                      <a:pt x="15" y="22"/>
                      <a:pt x="17" y="25"/>
                      <a:pt x="18" y="26"/>
                    </a:cubicBezTo>
                    <a:cubicBezTo>
                      <a:pt x="20" y="27"/>
                      <a:pt x="22" y="26"/>
                      <a:pt x="24" y="26"/>
                    </a:cubicBezTo>
                    <a:cubicBezTo>
                      <a:pt x="24" y="27"/>
                      <a:pt x="24" y="28"/>
                      <a:pt x="25" y="29"/>
                    </a:cubicBezTo>
                    <a:cubicBezTo>
                      <a:pt x="27" y="29"/>
                      <a:pt x="28" y="27"/>
                      <a:pt x="30" y="27"/>
                    </a:cubicBezTo>
                    <a:cubicBezTo>
                      <a:pt x="31" y="28"/>
                      <a:pt x="31" y="31"/>
                      <a:pt x="32" y="32"/>
                    </a:cubicBezTo>
                    <a:cubicBezTo>
                      <a:pt x="34" y="35"/>
                      <a:pt x="35" y="38"/>
                      <a:pt x="36" y="41"/>
                    </a:cubicBezTo>
                    <a:cubicBezTo>
                      <a:pt x="37" y="40"/>
                      <a:pt x="37" y="40"/>
                      <a:pt x="38" y="40"/>
                    </a:cubicBezTo>
                    <a:cubicBezTo>
                      <a:pt x="39" y="40"/>
                      <a:pt x="39" y="40"/>
                      <a:pt x="40" y="39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00" name="Freeform 2620"/>
              <p:cNvSpPr>
                <a:spLocks noChangeAspect="1"/>
              </p:cNvSpPr>
              <p:nvPr/>
            </p:nvSpPr>
            <p:spPr bwMode="auto">
              <a:xfrm>
                <a:off x="5172284" y="2297407"/>
                <a:ext cx="89480" cy="57316"/>
              </a:xfrm>
              <a:custGeom>
                <a:avLst/>
                <a:gdLst>
                  <a:gd name="T0" fmla="*/ 59 w 67"/>
                  <a:gd name="T1" fmla="*/ 68 h 58"/>
                  <a:gd name="T2" fmla="*/ 56 w 67"/>
                  <a:gd name="T3" fmla="*/ 68 h 58"/>
                  <a:gd name="T4" fmla="*/ 48 w 67"/>
                  <a:gd name="T5" fmla="*/ 63 h 58"/>
                  <a:gd name="T6" fmla="*/ 53 w 67"/>
                  <a:gd name="T7" fmla="*/ 59 h 58"/>
                  <a:gd name="T8" fmla="*/ 48 w 67"/>
                  <a:gd name="T9" fmla="*/ 52 h 58"/>
                  <a:gd name="T10" fmla="*/ 51 w 67"/>
                  <a:gd name="T11" fmla="*/ 49 h 58"/>
                  <a:gd name="T12" fmla="*/ 47 w 67"/>
                  <a:gd name="T13" fmla="*/ 43 h 58"/>
                  <a:gd name="T14" fmla="*/ 32 w 67"/>
                  <a:gd name="T15" fmla="*/ 55 h 58"/>
                  <a:gd name="T16" fmla="*/ 32 w 67"/>
                  <a:gd name="T17" fmla="*/ 61 h 58"/>
                  <a:gd name="T18" fmla="*/ 26 w 67"/>
                  <a:gd name="T19" fmla="*/ 59 h 58"/>
                  <a:gd name="T20" fmla="*/ 26 w 67"/>
                  <a:gd name="T21" fmla="*/ 52 h 58"/>
                  <a:gd name="T22" fmla="*/ 23 w 67"/>
                  <a:gd name="T23" fmla="*/ 49 h 58"/>
                  <a:gd name="T24" fmla="*/ 18 w 67"/>
                  <a:gd name="T25" fmla="*/ 44 h 58"/>
                  <a:gd name="T26" fmla="*/ 11 w 67"/>
                  <a:gd name="T27" fmla="*/ 39 h 58"/>
                  <a:gd name="T28" fmla="*/ 14 w 67"/>
                  <a:gd name="T29" fmla="*/ 37 h 58"/>
                  <a:gd name="T30" fmla="*/ 14 w 67"/>
                  <a:gd name="T31" fmla="*/ 33 h 58"/>
                  <a:gd name="T32" fmla="*/ 7 w 67"/>
                  <a:gd name="T33" fmla="*/ 30 h 58"/>
                  <a:gd name="T34" fmla="*/ 8 w 67"/>
                  <a:gd name="T35" fmla="*/ 24 h 58"/>
                  <a:gd name="T36" fmla="*/ 7 w 67"/>
                  <a:gd name="T37" fmla="*/ 19 h 58"/>
                  <a:gd name="T38" fmla="*/ 1 w 67"/>
                  <a:gd name="T39" fmla="*/ 18 h 58"/>
                  <a:gd name="T40" fmla="*/ 0 w 67"/>
                  <a:gd name="T41" fmla="*/ 13 h 58"/>
                  <a:gd name="T42" fmla="*/ 4 w 67"/>
                  <a:gd name="T43" fmla="*/ 8 h 58"/>
                  <a:gd name="T44" fmla="*/ 10 w 67"/>
                  <a:gd name="T45" fmla="*/ 12 h 58"/>
                  <a:gd name="T46" fmla="*/ 16 w 67"/>
                  <a:gd name="T47" fmla="*/ 14 h 58"/>
                  <a:gd name="T48" fmla="*/ 24 w 67"/>
                  <a:gd name="T49" fmla="*/ 17 h 58"/>
                  <a:gd name="T50" fmla="*/ 24 w 67"/>
                  <a:gd name="T51" fmla="*/ 12 h 58"/>
                  <a:gd name="T52" fmla="*/ 19 w 67"/>
                  <a:gd name="T53" fmla="*/ 10 h 58"/>
                  <a:gd name="T54" fmla="*/ 16 w 67"/>
                  <a:gd name="T55" fmla="*/ 4 h 58"/>
                  <a:gd name="T56" fmla="*/ 20 w 67"/>
                  <a:gd name="T57" fmla="*/ 0 h 58"/>
                  <a:gd name="T58" fmla="*/ 29 w 67"/>
                  <a:gd name="T59" fmla="*/ 5 h 58"/>
                  <a:gd name="T60" fmla="*/ 32 w 67"/>
                  <a:gd name="T61" fmla="*/ 12 h 58"/>
                  <a:gd name="T62" fmla="*/ 42 w 67"/>
                  <a:gd name="T63" fmla="*/ 14 h 58"/>
                  <a:gd name="T64" fmla="*/ 43 w 67"/>
                  <a:gd name="T65" fmla="*/ 8 h 58"/>
                  <a:gd name="T66" fmla="*/ 48 w 67"/>
                  <a:gd name="T67" fmla="*/ 7 h 58"/>
                  <a:gd name="T68" fmla="*/ 50 w 67"/>
                  <a:gd name="T69" fmla="*/ 2 h 58"/>
                  <a:gd name="T70" fmla="*/ 59 w 67"/>
                  <a:gd name="T71" fmla="*/ 12 h 58"/>
                  <a:gd name="T72" fmla="*/ 62 w 67"/>
                  <a:gd name="T73" fmla="*/ 21 h 58"/>
                  <a:gd name="T74" fmla="*/ 69 w 67"/>
                  <a:gd name="T75" fmla="*/ 26 h 58"/>
                  <a:gd name="T76" fmla="*/ 75 w 67"/>
                  <a:gd name="T77" fmla="*/ 26 h 58"/>
                  <a:gd name="T78" fmla="*/ 80 w 67"/>
                  <a:gd name="T79" fmla="*/ 29 h 58"/>
                  <a:gd name="T80" fmla="*/ 79 w 67"/>
                  <a:gd name="T81" fmla="*/ 30 h 58"/>
                  <a:gd name="T82" fmla="*/ 70 w 67"/>
                  <a:gd name="T83" fmla="*/ 30 h 58"/>
                  <a:gd name="T84" fmla="*/ 66 w 67"/>
                  <a:gd name="T85" fmla="*/ 38 h 58"/>
                  <a:gd name="T86" fmla="*/ 66 w 67"/>
                  <a:gd name="T87" fmla="*/ 46 h 58"/>
                  <a:gd name="T88" fmla="*/ 68 w 67"/>
                  <a:gd name="T89" fmla="*/ 51 h 58"/>
                  <a:gd name="T90" fmla="*/ 66 w 67"/>
                  <a:gd name="T91" fmla="*/ 56 h 58"/>
                  <a:gd name="T92" fmla="*/ 60 w 67"/>
                  <a:gd name="T93" fmla="*/ 55 h 58"/>
                  <a:gd name="T94" fmla="*/ 59 w 67"/>
                  <a:gd name="T95" fmla="*/ 59 h 58"/>
                  <a:gd name="T96" fmla="*/ 59 w 67"/>
                  <a:gd name="T97" fmla="*/ 68 h 58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67"/>
                  <a:gd name="T148" fmla="*/ 0 h 58"/>
                  <a:gd name="T149" fmla="*/ 67 w 67"/>
                  <a:gd name="T150" fmla="*/ 58 h 58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67" h="58">
                    <a:moveTo>
                      <a:pt x="49" y="57"/>
                    </a:moveTo>
                    <a:cubicBezTo>
                      <a:pt x="48" y="57"/>
                      <a:pt x="48" y="58"/>
                      <a:pt x="47" y="57"/>
                    </a:cubicBezTo>
                    <a:cubicBezTo>
                      <a:pt x="44" y="56"/>
                      <a:pt x="41" y="56"/>
                      <a:pt x="40" y="53"/>
                    </a:cubicBezTo>
                    <a:cubicBezTo>
                      <a:pt x="40" y="51"/>
                      <a:pt x="45" y="51"/>
                      <a:pt x="44" y="50"/>
                    </a:cubicBezTo>
                    <a:cubicBezTo>
                      <a:pt x="44" y="47"/>
                      <a:pt x="40" y="46"/>
                      <a:pt x="40" y="44"/>
                    </a:cubicBezTo>
                    <a:cubicBezTo>
                      <a:pt x="39" y="42"/>
                      <a:pt x="43" y="42"/>
                      <a:pt x="43" y="41"/>
                    </a:cubicBezTo>
                    <a:cubicBezTo>
                      <a:pt x="43" y="38"/>
                      <a:pt x="41" y="35"/>
                      <a:pt x="39" y="36"/>
                    </a:cubicBezTo>
                    <a:cubicBezTo>
                      <a:pt x="34" y="38"/>
                      <a:pt x="31" y="42"/>
                      <a:pt x="27" y="46"/>
                    </a:cubicBezTo>
                    <a:cubicBezTo>
                      <a:pt x="26" y="47"/>
                      <a:pt x="28" y="50"/>
                      <a:pt x="27" y="51"/>
                    </a:cubicBezTo>
                    <a:cubicBezTo>
                      <a:pt x="26" y="52"/>
                      <a:pt x="24" y="50"/>
                      <a:pt x="22" y="50"/>
                    </a:cubicBezTo>
                    <a:cubicBezTo>
                      <a:pt x="22" y="48"/>
                      <a:pt x="23" y="46"/>
                      <a:pt x="22" y="44"/>
                    </a:cubicBezTo>
                    <a:cubicBezTo>
                      <a:pt x="22" y="43"/>
                      <a:pt x="20" y="42"/>
                      <a:pt x="19" y="41"/>
                    </a:cubicBezTo>
                    <a:cubicBezTo>
                      <a:pt x="18" y="40"/>
                      <a:pt x="16" y="38"/>
                      <a:pt x="15" y="37"/>
                    </a:cubicBezTo>
                    <a:cubicBezTo>
                      <a:pt x="13" y="36"/>
                      <a:pt x="10" y="35"/>
                      <a:pt x="9" y="33"/>
                    </a:cubicBezTo>
                    <a:cubicBezTo>
                      <a:pt x="9" y="32"/>
                      <a:pt x="11" y="32"/>
                      <a:pt x="12" y="31"/>
                    </a:cubicBezTo>
                    <a:cubicBezTo>
                      <a:pt x="12" y="30"/>
                      <a:pt x="13" y="29"/>
                      <a:pt x="12" y="28"/>
                    </a:cubicBezTo>
                    <a:cubicBezTo>
                      <a:pt x="11" y="26"/>
                      <a:pt x="8" y="27"/>
                      <a:pt x="6" y="25"/>
                    </a:cubicBezTo>
                    <a:cubicBezTo>
                      <a:pt x="5" y="24"/>
                      <a:pt x="7" y="22"/>
                      <a:pt x="7" y="20"/>
                    </a:cubicBezTo>
                    <a:cubicBezTo>
                      <a:pt x="7" y="19"/>
                      <a:pt x="7" y="17"/>
                      <a:pt x="6" y="16"/>
                    </a:cubicBezTo>
                    <a:cubicBezTo>
                      <a:pt x="5" y="15"/>
                      <a:pt x="2" y="16"/>
                      <a:pt x="1" y="15"/>
                    </a:cubicBezTo>
                    <a:cubicBezTo>
                      <a:pt x="0" y="14"/>
                      <a:pt x="0" y="12"/>
                      <a:pt x="0" y="11"/>
                    </a:cubicBezTo>
                    <a:cubicBezTo>
                      <a:pt x="1" y="10"/>
                      <a:pt x="1" y="7"/>
                      <a:pt x="3" y="7"/>
                    </a:cubicBezTo>
                    <a:cubicBezTo>
                      <a:pt x="5" y="7"/>
                      <a:pt x="6" y="9"/>
                      <a:pt x="8" y="10"/>
                    </a:cubicBezTo>
                    <a:cubicBezTo>
                      <a:pt x="10" y="11"/>
                      <a:pt x="12" y="12"/>
                      <a:pt x="13" y="12"/>
                    </a:cubicBezTo>
                    <a:cubicBezTo>
                      <a:pt x="16" y="13"/>
                      <a:pt x="18" y="15"/>
                      <a:pt x="20" y="14"/>
                    </a:cubicBezTo>
                    <a:cubicBezTo>
                      <a:pt x="21" y="14"/>
                      <a:pt x="21" y="11"/>
                      <a:pt x="20" y="10"/>
                    </a:cubicBezTo>
                    <a:cubicBezTo>
                      <a:pt x="20" y="9"/>
                      <a:pt x="17" y="9"/>
                      <a:pt x="16" y="8"/>
                    </a:cubicBezTo>
                    <a:cubicBezTo>
                      <a:pt x="15" y="6"/>
                      <a:pt x="13" y="5"/>
                      <a:pt x="13" y="3"/>
                    </a:cubicBezTo>
                    <a:cubicBezTo>
                      <a:pt x="14" y="1"/>
                      <a:pt x="16" y="1"/>
                      <a:pt x="17" y="0"/>
                    </a:cubicBezTo>
                    <a:cubicBezTo>
                      <a:pt x="19" y="1"/>
                      <a:pt x="22" y="2"/>
                      <a:pt x="24" y="4"/>
                    </a:cubicBezTo>
                    <a:cubicBezTo>
                      <a:pt x="25" y="5"/>
                      <a:pt x="26" y="9"/>
                      <a:pt x="27" y="10"/>
                    </a:cubicBezTo>
                    <a:cubicBezTo>
                      <a:pt x="29" y="12"/>
                      <a:pt x="32" y="13"/>
                      <a:pt x="35" y="12"/>
                    </a:cubicBezTo>
                    <a:cubicBezTo>
                      <a:pt x="36" y="11"/>
                      <a:pt x="35" y="8"/>
                      <a:pt x="36" y="7"/>
                    </a:cubicBezTo>
                    <a:cubicBezTo>
                      <a:pt x="37" y="6"/>
                      <a:pt x="39" y="7"/>
                      <a:pt x="40" y="6"/>
                    </a:cubicBezTo>
                    <a:cubicBezTo>
                      <a:pt x="41" y="5"/>
                      <a:pt x="41" y="4"/>
                      <a:pt x="42" y="2"/>
                    </a:cubicBezTo>
                    <a:cubicBezTo>
                      <a:pt x="44" y="5"/>
                      <a:pt x="47" y="8"/>
                      <a:pt x="49" y="10"/>
                    </a:cubicBezTo>
                    <a:cubicBezTo>
                      <a:pt x="50" y="13"/>
                      <a:pt x="51" y="16"/>
                      <a:pt x="52" y="18"/>
                    </a:cubicBezTo>
                    <a:cubicBezTo>
                      <a:pt x="54" y="20"/>
                      <a:pt x="56" y="22"/>
                      <a:pt x="58" y="22"/>
                    </a:cubicBezTo>
                    <a:cubicBezTo>
                      <a:pt x="60" y="23"/>
                      <a:pt x="62" y="22"/>
                      <a:pt x="63" y="22"/>
                    </a:cubicBezTo>
                    <a:cubicBezTo>
                      <a:pt x="65" y="22"/>
                      <a:pt x="66" y="23"/>
                      <a:pt x="67" y="24"/>
                    </a:cubicBezTo>
                    <a:cubicBezTo>
                      <a:pt x="67" y="25"/>
                      <a:pt x="66" y="25"/>
                      <a:pt x="66" y="25"/>
                    </a:cubicBezTo>
                    <a:cubicBezTo>
                      <a:pt x="63" y="25"/>
                      <a:pt x="61" y="24"/>
                      <a:pt x="59" y="25"/>
                    </a:cubicBezTo>
                    <a:cubicBezTo>
                      <a:pt x="57" y="27"/>
                      <a:pt x="56" y="30"/>
                      <a:pt x="55" y="32"/>
                    </a:cubicBezTo>
                    <a:cubicBezTo>
                      <a:pt x="54" y="34"/>
                      <a:pt x="55" y="37"/>
                      <a:pt x="55" y="39"/>
                    </a:cubicBezTo>
                    <a:cubicBezTo>
                      <a:pt x="55" y="40"/>
                      <a:pt x="57" y="41"/>
                      <a:pt x="57" y="43"/>
                    </a:cubicBezTo>
                    <a:cubicBezTo>
                      <a:pt x="54" y="43"/>
                      <a:pt x="56" y="47"/>
                      <a:pt x="55" y="47"/>
                    </a:cubicBezTo>
                    <a:cubicBezTo>
                      <a:pt x="53" y="48"/>
                      <a:pt x="51" y="45"/>
                      <a:pt x="50" y="46"/>
                    </a:cubicBezTo>
                    <a:cubicBezTo>
                      <a:pt x="48" y="46"/>
                      <a:pt x="49" y="49"/>
                      <a:pt x="49" y="50"/>
                    </a:cubicBezTo>
                    <a:cubicBezTo>
                      <a:pt x="48" y="53"/>
                      <a:pt x="49" y="55"/>
                      <a:pt x="49" y="57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01" name="Freeform 2621"/>
              <p:cNvSpPr>
                <a:spLocks noChangeAspect="1"/>
              </p:cNvSpPr>
              <p:nvPr/>
            </p:nvSpPr>
            <p:spPr bwMode="auto">
              <a:xfrm>
                <a:off x="5294199" y="2284116"/>
                <a:ext cx="240476" cy="122108"/>
              </a:xfrm>
              <a:custGeom>
                <a:avLst/>
                <a:gdLst>
                  <a:gd name="T0" fmla="*/ 210 w 179"/>
                  <a:gd name="T1" fmla="*/ 107 h 122"/>
                  <a:gd name="T2" fmla="*/ 198 w 179"/>
                  <a:gd name="T3" fmla="*/ 107 h 122"/>
                  <a:gd name="T4" fmla="*/ 190 w 179"/>
                  <a:gd name="T5" fmla="*/ 108 h 122"/>
                  <a:gd name="T6" fmla="*/ 184 w 179"/>
                  <a:gd name="T7" fmla="*/ 124 h 122"/>
                  <a:gd name="T8" fmla="*/ 167 w 179"/>
                  <a:gd name="T9" fmla="*/ 136 h 122"/>
                  <a:gd name="T10" fmla="*/ 161 w 179"/>
                  <a:gd name="T11" fmla="*/ 147 h 122"/>
                  <a:gd name="T12" fmla="*/ 153 w 179"/>
                  <a:gd name="T13" fmla="*/ 146 h 122"/>
                  <a:gd name="T14" fmla="*/ 141 w 179"/>
                  <a:gd name="T15" fmla="*/ 142 h 122"/>
                  <a:gd name="T16" fmla="*/ 137 w 179"/>
                  <a:gd name="T17" fmla="*/ 128 h 122"/>
                  <a:gd name="T18" fmla="*/ 120 w 179"/>
                  <a:gd name="T19" fmla="*/ 118 h 122"/>
                  <a:gd name="T20" fmla="*/ 106 w 179"/>
                  <a:gd name="T21" fmla="*/ 111 h 122"/>
                  <a:gd name="T22" fmla="*/ 98 w 179"/>
                  <a:gd name="T23" fmla="*/ 102 h 122"/>
                  <a:gd name="T24" fmla="*/ 76 w 179"/>
                  <a:gd name="T25" fmla="*/ 95 h 122"/>
                  <a:gd name="T26" fmla="*/ 65 w 179"/>
                  <a:gd name="T27" fmla="*/ 89 h 122"/>
                  <a:gd name="T28" fmla="*/ 44 w 179"/>
                  <a:gd name="T29" fmla="*/ 96 h 122"/>
                  <a:gd name="T30" fmla="*/ 29 w 179"/>
                  <a:gd name="T31" fmla="*/ 107 h 122"/>
                  <a:gd name="T32" fmla="*/ 24 w 179"/>
                  <a:gd name="T33" fmla="*/ 86 h 122"/>
                  <a:gd name="T34" fmla="*/ 19 w 179"/>
                  <a:gd name="T35" fmla="*/ 66 h 122"/>
                  <a:gd name="T36" fmla="*/ 13 w 179"/>
                  <a:gd name="T37" fmla="*/ 71 h 122"/>
                  <a:gd name="T38" fmla="*/ 13 w 179"/>
                  <a:gd name="T39" fmla="*/ 60 h 122"/>
                  <a:gd name="T40" fmla="*/ 20 w 179"/>
                  <a:gd name="T41" fmla="*/ 63 h 122"/>
                  <a:gd name="T42" fmla="*/ 17 w 179"/>
                  <a:gd name="T43" fmla="*/ 55 h 122"/>
                  <a:gd name="T44" fmla="*/ 6 w 179"/>
                  <a:gd name="T45" fmla="*/ 55 h 122"/>
                  <a:gd name="T46" fmla="*/ 5 w 179"/>
                  <a:gd name="T47" fmla="*/ 39 h 122"/>
                  <a:gd name="T48" fmla="*/ 10 w 179"/>
                  <a:gd name="T49" fmla="*/ 40 h 122"/>
                  <a:gd name="T50" fmla="*/ 20 w 179"/>
                  <a:gd name="T51" fmla="*/ 37 h 122"/>
                  <a:gd name="T52" fmla="*/ 29 w 179"/>
                  <a:gd name="T53" fmla="*/ 41 h 122"/>
                  <a:gd name="T54" fmla="*/ 32 w 179"/>
                  <a:gd name="T55" fmla="*/ 37 h 122"/>
                  <a:gd name="T56" fmla="*/ 34 w 179"/>
                  <a:gd name="T57" fmla="*/ 30 h 122"/>
                  <a:gd name="T58" fmla="*/ 19 w 179"/>
                  <a:gd name="T59" fmla="*/ 11 h 122"/>
                  <a:gd name="T60" fmla="*/ 5 w 179"/>
                  <a:gd name="T61" fmla="*/ 18 h 122"/>
                  <a:gd name="T62" fmla="*/ 4 w 179"/>
                  <a:gd name="T63" fmla="*/ 31 h 122"/>
                  <a:gd name="T64" fmla="*/ 0 w 179"/>
                  <a:gd name="T65" fmla="*/ 19 h 122"/>
                  <a:gd name="T66" fmla="*/ 11 w 179"/>
                  <a:gd name="T67" fmla="*/ 7 h 122"/>
                  <a:gd name="T68" fmla="*/ 30 w 179"/>
                  <a:gd name="T69" fmla="*/ 11 h 122"/>
                  <a:gd name="T70" fmla="*/ 41 w 179"/>
                  <a:gd name="T71" fmla="*/ 29 h 122"/>
                  <a:gd name="T72" fmla="*/ 50 w 179"/>
                  <a:gd name="T73" fmla="*/ 28 h 122"/>
                  <a:gd name="T74" fmla="*/ 66 w 179"/>
                  <a:gd name="T75" fmla="*/ 31 h 122"/>
                  <a:gd name="T76" fmla="*/ 66 w 179"/>
                  <a:gd name="T77" fmla="*/ 20 h 122"/>
                  <a:gd name="T78" fmla="*/ 73 w 179"/>
                  <a:gd name="T79" fmla="*/ 11 h 122"/>
                  <a:gd name="T80" fmla="*/ 84 w 179"/>
                  <a:gd name="T81" fmla="*/ 10 h 122"/>
                  <a:gd name="T82" fmla="*/ 89 w 179"/>
                  <a:gd name="T83" fmla="*/ 1 h 122"/>
                  <a:gd name="T84" fmla="*/ 96 w 179"/>
                  <a:gd name="T85" fmla="*/ 10 h 122"/>
                  <a:gd name="T86" fmla="*/ 106 w 179"/>
                  <a:gd name="T87" fmla="*/ 19 h 122"/>
                  <a:gd name="T88" fmla="*/ 111 w 179"/>
                  <a:gd name="T89" fmla="*/ 30 h 122"/>
                  <a:gd name="T90" fmla="*/ 130 w 179"/>
                  <a:gd name="T91" fmla="*/ 30 h 122"/>
                  <a:gd name="T92" fmla="*/ 142 w 179"/>
                  <a:gd name="T93" fmla="*/ 35 h 122"/>
                  <a:gd name="T94" fmla="*/ 147 w 179"/>
                  <a:gd name="T95" fmla="*/ 46 h 122"/>
                  <a:gd name="T96" fmla="*/ 150 w 179"/>
                  <a:gd name="T97" fmla="*/ 53 h 122"/>
                  <a:gd name="T98" fmla="*/ 166 w 179"/>
                  <a:gd name="T99" fmla="*/ 69 h 122"/>
                  <a:gd name="T100" fmla="*/ 198 w 179"/>
                  <a:gd name="T101" fmla="*/ 90 h 122"/>
                  <a:gd name="T102" fmla="*/ 213 w 179"/>
                  <a:gd name="T103" fmla="*/ 96 h 122"/>
                  <a:gd name="T104" fmla="*/ 214 w 179"/>
                  <a:gd name="T105" fmla="*/ 104 h 12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79"/>
                  <a:gd name="T160" fmla="*/ 0 h 122"/>
                  <a:gd name="T161" fmla="*/ 179 w 179"/>
                  <a:gd name="T162" fmla="*/ 122 h 122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79" h="122">
                    <a:moveTo>
                      <a:pt x="179" y="89"/>
                    </a:moveTo>
                    <a:cubicBezTo>
                      <a:pt x="177" y="89"/>
                      <a:pt x="176" y="89"/>
                      <a:pt x="175" y="89"/>
                    </a:cubicBezTo>
                    <a:cubicBezTo>
                      <a:pt x="173" y="88"/>
                      <a:pt x="171" y="86"/>
                      <a:pt x="168" y="86"/>
                    </a:cubicBezTo>
                    <a:cubicBezTo>
                      <a:pt x="167" y="86"/>
                      <a:pt x="166" y="88"/>
                      <a:pt x="165" y="89"/>
                    </a:cubicBezTo>
                    <a:cubicBezTo>
                      <a:pt x="165" y="90"/>
                      <a:pt x="164" y="90"/>
                      <a:pt x="163" y="90"/>
                    </a:cubicBezTo>
                    <a:cubicBezTo>
                      <a:pt x="161" y="90"/>
                      <a:pt x="160" y="90"/>
                      <a:pt x="158" y="90"/>
                    </a:cubicBezTo>
                    <a:cubicBezTo>
                      <a:pt x="157" y="91"/>
                      <a:pt x="156" y="92"/>
                      <a:pt x="156" y="93"/>
                    </a:cubicBezTo>
                    <a:cubicBezTo>
                      <a:pt x="154" y="96"/>
                      <a:pt x="155" y="100"/>
                      <a:pt x="153" y="103"/>
                    </a:cubicBezTo>
                    <a:cubicBezTo>
                      <a:pt x="151" y="106"/>
                      <a:pt x="148" y="109"/>
                      <a:pt x="144" y="111"/>
                    </a:cubicBezTo>
                    <a:cubicBezTo>
                      <a:pt x="143" y="112"/>
                      <a:pt x="140" y="112"/>
                      <a:pt x="139" y="113"/>
                    </a:cubicBezTo>
                    <a:cubicBezTo>
                      <a:pt x="138" y="114"/>
                      <a:pt x="139" y="116"/>
                      <a:pt x="138" y="117"/>
                    </a:cubicBezTo>
                    <a:cubicBezTo>
                      <a:pt x="137" y="119"/>
                      <a:pt x="136" y="121"/>
                      <a:pt x="134" y="122"/>
                    </a:cubicBezTo>
                    <a:cubicBezTo>
                      <a:pt x="133" y="122"/>
                      <a:pt x="132" y="121"/>
                      <a:pt x="131" y="121"/>
                    </a:cubicBezTo>
                    <a:cubicBezTo>
                      <a:pt x="130" y="121"/>
                      <a:pt x="128" y="122"/>
                      <a:pt x="127" y="121"/>
                    </a:cubicBezTo>
                    <a:cubicBezTo>
                      <a:pt x="125" y="121"/>
                      <a:pt x="123" y="120"/>
                      <a:pt x="121" y="119"/>
                    </a:cubicBezTo>
                    <a:cubicBezTo>
                      <a:pt x="120" y="119"/>
                      <a:pt x="118" y="118"/>
                      <a:pt x="117" y="118"/>
                    </a:cubicBezTo>
                    <a:cubicBezTo>
                      <a:pt x="116" y="116"/>
                      <a:pt x="114" y="114"/>
                      <a:pt x="114" y="112"/>
                    </a:cubicBezTo>
                    <a:cubicBezTo>
                      <a:pt x="114" y="110"/>
                      <a:pt x="114" y="108"/>
                      <a:pt x="114" y="106"/>
                    </a:cubicBezTo>
                    <a:cubicBezTo>
                      <a:pt x="114" y="104"/>
                      <a:pt x="114" y="102"/>
                      <a:pt x="113" y="101"/>
                    </a:cubicBezTo>
                    <a:cubicBezTo>
                      <a:pt x="109" y="99"/>
                      <a:pt x="104" y="100"/>
                      <a:pt x="100" y="98"/>
                    </a:cubicBezTo>
                    <a:cubicBezTo>
                      <a:pt x="98" y="98"/>
                      <a:pt x="98" y="94"/>
                      <a:pt x="96" y="93"/>
                    </a:cubicBezTo>
                    <a:cubicBezTo>
                      <a:pt x="94" y="92"/>
                      <a:pt x="90" y="94"/>
                      <a:pt x="88" y="92"/>
                    </a:cubicBezTo>
                    <a:cubicBezTo>
                      <a:pt x="86" y="91"/>
                      <a:pt x="89" y="89"/>
                      <a:pt x="88" y="87"/>
                    </a:cubicBezTo>
                    <a:cubicBezTo>
                      <a:pt x="87" y="86"/>
                      <a:pt x="84" y="86"/>
                      <a:pt x="82" y="85"/>
                    </a:cubicBezTo>
                    <a:cubicBezTo>
                      <a:pt x="79" y="84"/>
                      <a:pt x="76" y="83"/>
                      <a:pt x="74" y="82"/>
                    </a:cubicBezTo>
                    <a:cubicBezTo>
                      <a:pt x="70" y="81"/>
                      <a:pt x="67" y="80"/>
                      <a:pt x="63" y="79"/>
                    </a:cubicBezTo>
                    <a:cubicBezTo>
                      <a:pt x="62" y="78"/>
                      <a:pt x="61" y="77"/>
                      <a:pt x="60" y="76"/>
                    </a:cubicBezTo>
                    <a:cubicBezTo>
                      <a:pt x="58" y="75"/>
                      <a:pt x="56" y="74"/>
                      <a:pt x="54" y="74"/>
                    </a:cubicBezTo>
                    <a:cubicBezTo>
                      <a:pt x="51" y="74"/>
                      <a:pt x="51" y="76"/>
                      <a:pt x="49" y="77"/>
                    </a:cubicBezTo>
                    <a:cubicBezTo>
                      <a:pt x="45" y="78"/>
                      <a:pt x="40" y="77"/>
                      <a:pt x="37" y="80"/>
                    </a:cubicBezTo>
                    <a:cubicBezTo>
                      <a:pt x="35" y="81"/>
                      <a:pt x="36" y="85"/>
                      <a:pt x="34" y="86"/>
                    </a:cubicBezTo>
                    <a:cubicBezTo>
                      <a:pt x="31" y="88"/>
                      <a:pt x="27" y="88"/>
                      <a:pt x="24" y="89"/>
                    </a:cubicBezTo>
                    <a:cubicBezTo>
                      <a:pt x="23" y="86"/>
                      <a:pt x="22" y="84"/>
                      <a:pt x="21" y="81"/>
                    </a:cubicBezTo>
                    <a:cubicBezTo>
                      <a:pt x="21" y="78"/>
                      <a:pt x="20" y="74"/>
                      <a:pt x="20" y="71"/>
                    </a:cubicBezTo>
                    <a:cubicBezTo>
                      <a:pt x="20" y="68"/>
                      <a:pt x="22" y="65"/>
                      <a:pt x="21" y="62"/>
                    </a:cubicBezTo>
                    <a:cubicBezTo>
                      <a:pt x="20" y="60"/>
                      <a:pt x="18" y="57"/>
                      <a:pt x="16" y="55"/>
                    </a:cubicBezTo>
                    <a:cubicBezTo>
                      <a:pt x="15" y="54"/>
                      <a:pt x="13" y="55"/>
                      <a:pt x="12" y="56"/>
                    </a:cubicBezTo>
                    <a:cubicBezTo>
                      <a:pt x="11" y="56"/>
                      <a:pt x="12" y="58"/>
                      <a:pt x="11" y="59"/>
                    </a:cubicBezTo>
                    <a:cubicBezTo>
                      <a:pt x="10" y="59"/>
                      <a:pt x="10" y="57"/>
                      <a:pt x="10" y="56"/>
                    </a:cubicBezTo>
                    <a:cubicBezTo>
                      <a:pt x="10" y="54"/>
                      <a:pt x="9" y="51"/>
                      <a:pt x="11" y="50"/>
                    </a:cubicBezTo>
                    <a:cubicBezTo>
                      <a:pt x="12" y="49"/>
                      <a:pt x="13" y="52"/>
                      <a:pt x="14" y="53"/>
                    </a:cubicBezTo>
                    <a:cubicBezTo>
                      <a:pt x="15" y="53"/>
                      <a:pt x="17" y="53"/>
                      <a:pt x="17" y="52"/>
                    </a:cubicBezTo>
                    <a:cubicBezTo>
                      <a:pt x="17" y="51"/>
                      <a:pt x="15" y="51"/>
                      <a:pt x="14" y="50"/>
                    </a:cubicBezTo>
                    <a:cubicBezTo>
                      <a:pt x="14" y="48"/>
                      <a:pt x="15" y="46"/>
                      <a:pt x="14" y="46"/>
                    </a:cubicBezTo>
                    <a:cubicBezTo>
                      <a:pt x="11" y="46"/>
                      <a:pt x="10" y="49"/>
                      <a:pt x="7" y="49"/>
                    </a:cubicBezTo>
                    <a:cubicBezTo>
                      <a:pt x="6" y="49"/>
                      <a:pt x="5" y="47"/>
                      <a:pt x="5" y="46"/>
                    </a:cubicBezTo>
                    <a:cubicBezTo>
                      <a:pt x="4" y="44"/>
                      <a:pt x="3" y="42"/>
                      <a:pt x="3" y="40"/>
                    </a:cubicBezTo>
                    <a:cubicBezTo>
                      <a:pt x="3" y="37"/>
                      <a:pt x="4" y="35"/>
                      <a:pt x="4" y="32"/>
                    </a:cubicBezTo>
                    <a:cubicBezTo>
                      <a:pt x="5" y="31"/>
                      <a:pt x="4" y="28"/>
                      <a:pt x="5" y="29"/>
                    </a:cubicBezTo>
                    <a:cubicBezTo>
                      <a:pt x="7" y="29"/>
                      <a:pt x="6" y="32"/>
                      <a:pt x="8" y="33"/>
                    </a:cubicBezTo>
                    <a:cubicBezTo>
                      <a:pt x="10" y="34"/>
                      <a:pt x="12" y="34"/>
                      <a:pt x="14" y="33"/>
                    </a:cubicBezTo>
                    <a:cubicBezTo>
                      <a:pt x="15" y="33"/>
                      <a:pt x="15" y="31"/>
                      <a:pt x="17" y="31"/>
                    </a:cubicBezTo>
                    <a:cubicBezTo>
                      <a:pt x="18" y="32"/>
                      <a:pt x="17" y="34"/>
                      <a:pt x="18" y="34"/>
                    </a:cubicBezTo>
                    <a:cubicBezTo>
                      <a:pt x="20" y="35"/>
                      <a:pt x="23" y="35"/>
                      <a:pt x="24" y="34"/>
                    </a:cubicBezTo>
                    <a:cubicBezTo>
                      <a:pt x="25" y="33"/>
                      <a:pt x="22" y="31"/>
                      <a:pt x="23" y="30"/>
                    </a:cubicBezTo>
                    <a:cubicBezTo>
                      <a:pt x="24" y="29"/>
                      <a:pt x="26" y="31"/>
                      <a:pt x="27" y="31"/>
                    </a:cubicBezTo>
                    <a:cubicBezTo>
                      <a:pt x="28" y="30"/>
                      <a:pt x="30" y="30"/>
                      <a:pt x="30" y="29"/>
                    </a:cubicBezTo>
                    <a:cubicBezTo>
                      <a:pt x="30" y="27"/>
                      <a:pt x="29" y="26"/>
                      <a:pt x="28" y="25"/>
                    </a:cubicBezTo>
                    <a:cubicBezTo>
                      <a:pt x="25" y="22"/>
                      <a:pt x="21" y="21"/>
                      <a:pt x="19" y="18"/>
                    </a:cubicBezTo>
                    <a:cubicBezTo>
                      <a:pt x="17" y="16"/>
                      <a:pt x="19" y="11"/>
                      <a:pt x="16" y="9"/>
                    </a:cubicBezTo>
                    <a:cubicBezTo>
                      <a:pt x="14" y="8"/>
                      <a:pt x="11" y="8"/>
                      <a:pt x="9" y="9"/>
                    </a:cubicBezTo>
                    <a:cubicBezTo>
                      <a:pt x="6" y="11"/>
                      <a:pt x="5" y="13"/>
                      <a:pt x="4" y="15"/>
                    </a:cubicBezTo>
                    <a:cubicBezTo>
                      <a:pt x="4" y="17"/>
                      <a:pt x="5" y="19"/>
                      <a:pt x="4" y="21"/>
                    </a:cubicBezTo>
                    <a:cubicBezTo>
                      <a:pt x="4" y="23"/>
                      <a:pt x="5" y="25"/>
                      <a:pt x="3" y="26"/>
                    </a:cubicBezTo>
                    <a:cubicBezTo>
                      <a:pt x="2" y="26"/>
                      <a:pt x="3" y="23"/>
                      <a:pt x="2" y="22"/>
                    </a:cubicBezTo>
                    <a:cubicBezTo>
                      <a:pt x="1" y="20"/>
                      <a:pt x="1" y="18"/>
                      <a:pt x="0" y="16"/>
                    </a:cubicBezTo>
                    <a:cubicBezTo>
                      <a:pt x="1" y="14"/>
                      <a:pt x="1" y="12"/>
                      <a:pt x="3" y="11"/>
                    </a:cubicBezTo>
                    <a:cubicBezTo>
                      <a:pt x="4" y="9"/>
                      <a:pt x="6" y="7"/>
                      <a:pt x="9" y="6"/>
                    </a:cubicBezTo>
                    <a:cubicBezTo>
                      <a:pt x="11" y="6"/>
                      <a:pt x="14" y="6"/>
                      <a:pt x="16" y="6"/>
                    </a:cubicBezTo>
                    <a:cubicBezTo>
                      <a:pt x="19" y="7"/>
                      <a:pt x="23" y="7"/>
                      <a:pt x="25" y="9"/>
                    </a:cubicBezTo>
                    <a:cubicBezTo>
                      <a:pt x="27" y="11"/>
                      <a:pt x="27" y="14"/>
                      <a:pt x="29" y="17"/>
                    </a:cubicBezTo>
                    <a:cubicBezTo>
                      <a:pt x="30" y="19"/>
                      <a:pt x="31" y="22"/>
                      <a:pt x="34" y="24"/>
                    </a:cubicBezTo>
                    <a:cubicBezTo>
                      <a:pt x="35" y="25"/>
                      <a:pt x="37" y="24"/>
                      <a:pt x="38" y="24"/>
                    </a:cubicBezTo>
                    <a:cubicBezTo>
                      <a:pt x="40" y="24"/>
                      <a:pt x="41" y="24"/>
                      <a:pt x="42" y="23"/>
                    </a:cubicBezTo>
                    <a:cubicBezTo>
                      <a:pt x="43" y="24"/>
                      <a:pt x="45" y="23"/>
                      <a:pt x="46" y="24"/>
                    </a:cubicBezTo>
                    <a:cubicBezTo>
                      <a:pt x="49" y="25"/>
                      <a:pt x="52" y="26"/>
                      <a:pt x="55" y="26"/>
                    </a:cubicBezTo>
                    <a:cubicBezTo>
                      <a:pt x="56" y="26"/>
                      <a:pt x="57" y="26"/>
                      <a:pt x="57" y="25"/>
                    </a:cubicBezTo>
                    <a:cubicBezTo>
                      <a:pt x="57" y="23"/>
                      <a:pt x="55" y="20"/>
                      <a:pt x="55" y="17"/>
                    </a:cubicBezTo>
                    <a:cubicBezTo>
                      <a:pt x="54" y="15"/>
                      <a:pt x="54" y="12"/>
                      <a:pt x="56" y="10"/>
                    </a:cubicBezTo>
                    <a:cubicBezTo>
                      <a:pt x="57" y="9"/>
                      <a:pt x="60" y="10"/>
                      <a:pt x="61" y="9"/>
                    </a:cubicBezTo>
                    <a:cubicBezTo>
                      <a:pt x="63" y="8"/>
                      <a:pt x="62" y="4"/>
                      <a:pt x="64" y="4"/>
                    </a:cubicBezTo>
                    <a:cubicBezTo>
                      <a:pt x="67" y="3"/>
                      <a:pt x="68" y="9"/>
                      <a:pt x="70" y="8"/>
                    </a:cubicBezTo>
                    <a:cubicBezTo>
                      <a:pt x="72" y="7"/>
                      <a:pt x="67" y="4"/>
                      <a:pt x="68" y="2"/>
                    </a:cubicBezTo>
                    <a:cubicBezTo>
                      <a:pt x="68" y="0"/>
                      <a:pt x="72" y="0"/>
                      <a:pt x="74" y="1"/>
                    </a:cubicBezTo>
                    <a:cubicBezTo>
                      <a:pt x="75" y="1"/>
                      <a:pt x="74" y="3"/>
                      <a:pt x="75" y="4"/>
                    </a:cubicBezTo>
                    <a:cubicBezTo>
                      <a:pt x="76" y="6"/>
                      <a:pt x="79" y="7"/>
                      <a:pt x="80" y="8"/>
                    </a:cubicBezTo>
                    <a:cubicBezTo>
                      <a:pt x="84" y="9"/>
                      <a:pt x="88" y="10"/>
                      <a:pt x="90" y="12"/>
                    </a:cubicBezTo>
                    <a:cubicBezTo>
                      <a:pt x="90" y="15"/>
                      <a:pt x="88" y="15"/>
                      <a:pt x="88" y="16"/>
                    </a:cubicBezTo>
                    <a:cubicBezTo>
                      <a:pt x="90" y="18"/>
                      <a:pt x="94" y="18"/>
                      <a:pt x="95" y="21"/>
                    </a:cubicBezTo>
                    <a:cubicBezTo>
                      <a:pt x="96" y="23"/>
                      <a:pt x="92" y="23"/>
                      <a:pt x="92" y="25"/>
                    </a:cubicBezTo>
                    <a:cubicBezTo>
                      <a:pt x="92" y="27"/>
                      <a:pt x="95" y="26"/>
                      <a:pt x="96" y="26"/>
                    </a:cubicBezTo>
                    <a:cubicBezTo>
                      <a:pt x="100" y="26"/>
                      <a:pt x="104" y="26"/>
                      <a:pt x="108" y="25"/>
                    </a:cubicBezTo>
                    <a:cubicBezTo>
                      <a:pt x="110" y="25"/>
                      <a:pt x="110" y="21"/>
                      <a:pt x="111" y="22"/>
                    </a:cubicBezTo>
                    <a:cubicBezTo>
                      <a:pt x="114" y="23"/>
                      <a:pt x="116" y="26"/>
                      <a:pt x="118" y="29"/>
                    </a:cubicBezTo>
                    <a:cubicBezTo>
                      <a:pt x="119" y="30"/>
                      <a:pt x="118" y="30"/>
                      <a:pt x="119" y="31"/>
                    </a:cubicBezTo>
                    <a:cubicBezTo>
                      <a:pt x="119" y="33"/>
                      <a:pt x="120" y="36"/>
                      <a:pt x="122" y="38"/>
                    </a:cubicBezTo>
                    <a:cubicBezTo>
                      <a:pt x="122" y="39"/>
                      <a:pt x="124" y="37"/>
                      <a:pt x="125" y="38"/>
                    </a:cubicBezTo>
                    <a:cubicBezTo>
                      <a:pt x="126" y="40"/>
                      <a:pt x="124" y="42"/>
                      <a:pt x="125" y="44"/>
                    </a:cubicBezTo>
                    <a:cubicBezTo>
                      <a:pt x="125" y="45"/>
                      <a:pt x="126" y="47"/>
                      <a:pt x="128" y="48"/>
                    </a:cubicBezTo>
                    <a:cubicBezTo>
                      <a:pt x="131" y="51"/>
                      <a:pt x="134" y="54"/>
                      <a:pt x="138" y="57"/>
                    </a:cubicBezTo>
                    <a:cubicBezTo>
                      <a:pt x="142" y="59"/>
                      <a:pt x="145" y="62"/>
                      <a:pt x="149" y="64"/>
                    </a:cubicBezTo>
                    <a:cubicBezTo>
                      <a:pt x="154" y="68"/>
                      <a:pt x="160" y="72"/>
                      <a:pt x="165" y="75"/>
                    </a:cubicBezTo>
                    <a:cubicBezTo>
                      <a:pt x="166" y="75"/>
                      <a:pt x="168" y="74"/>
                      <a:pt x="169" y="75"/>
                    </a:cubicBezTo>
                    <a:cubicBezTo>
                      <a:pt x="172" y="76"/>
                      <a:pt x="174" y="78"/>
                      <a:pt x="177" y="80"/>
                    </a:cubicBezTo>
                    <a:cubicBezTo>
                      <a:pt x="177" y="80"/>
                      <a:pt x="178" y="80"/>
                      <a:pt x="178" y="81"/>
                    </a:cubicBezTo>
                    <a:cubicBezTo>
                      <a:pt x="179" y="82"/>
                      <a:pt x="178" y="84"/>
                      <a:pt x="178" y="86"/>
                    </a:cubicBezTo>
                    <a:cubicBezTo>
                      <a:pt x="178" y="87"/>
                      <a:pt x="178" y="88"/>
                      <a:pt x="179" y="89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02" name="Freeform 2622"/>
              <p:cNvSpPr>
                <a:spLocks noChangeAspect="1"/>
              </p:cNvSpPr>
              <p:nvPr/>
            </p:nvSpPr>
            <p:spPr bwMode="auto">
              <a:xfrm>
                <a:off x="5344531" y="2234276"/>
                <a:ext cx="290808" cy="139552"/>
              </a:xfrm>
              <a:custGeom>
                <a:avLst/>
                <a:gdLst>
                  <a:gd name="T0" fmla="*/ 176 w 216"/>
                  <a:gd name="T1" fmla="*/ 166 h 140"/>
                  <a:gd name="T2" fmla="*/ 185 w 216"/>
                  <a:gd name="T3" fmla="*/ 166 h 140"/>
                  <a:gd name="T4" fmla="*/ 194 w 216"/>
                  <a:gd name="T5" fmla="*/ 150 h 140"/>
                  <a:gd name="T6" fmla="*/ 188 w 216"/>
                  <a:gd name="T7" fmla="*/ 140 h 140"/>
                  <a:gd name="T8" fmla="*/ 181 w 216"/>
                  <a:gd name="T9" fmla="*/ 133 h 140"/>
                  <a:gd name="T10" fmla="*/ 181 w 216"/>
                  <a:gd name="T11" fmla="*/ 125 h 140"/>
                  <a:gd name="T12" fmla="*/ 195 w 216"/>
                  <a:gd name="T13" fmla="*/ 118 h 140"/>
                  <a:gd name="T14" fmla="*/ 193 w 216"/>
                  <a:gd name="T15" fmla="*/ 113 h 140"/>
                  <a:gd name="T16" fmla="*/ 205 w 216"/>
                  <a:gd name="T17" fmla="*/ 103 h 140"/>
                  <a:gd name="T18" fmla="*/ 217 w 216"/>
                  <a:gd name="T19" fmla="*/ 98 h 140"/>
                  <a:gd name="T20" fmla="*/ 223 w 216"/>
                  <a:gd name="T21" fmla="*/ 108 h 140"/>
                  <a:gd name="T22" fmla="*/ 229 w 216"/>
                  <a:gd name="T23" fmla="*/ 113 h 140"/>
                  <a:gd name="T24" fmla="*/ 236 w 216"/>
                  <a:gd name="T25" fmla="*/ 113 h 140"/>
                  <a:gd name="T26" fmla="*/ 248 w 216"/>
                  <a:gd name="T27" fmla="*/ 106 h 140"/>
                  <a:gd name="T28" fmla="*/ 259 w 216"/>
                  <a:gd name="T29" fmla="*/ 97 h 140"/>
                  <a:gd name="T30" fmla="*/ 242 w 216"/>
                  <a:gd name="T31" fmla="*/ 94 h 140"/>
                  <a:gd name="T32" fmla="*/ 232 w 216"/>
                  <a:gd name="T33" fmla="*/ 95 h 140"/>
                  <a:gd name="T34" fmla="*/ 223 w 216"/>
                  <a:gd name="T35" fmla="*/ 88 h 140"/>
                  <a:gd name="T36" fmla="*/ 215 w 216"/>
                  <a:gd name="T37" fmla="*/ 83 h 140"/>
                  <a:gd name="T38" fmla="*/ 221 w 216"/>
                  <a:gd name="T39" fmla="*/ 68 h 140"/>
                  <a:gd name="T40" fmla="*/ 211 w 216"/>
                  <a:gd name="T41" fmla="*/ 74 h 140"/>
                  <a:gd name="T42" fmla="*/ 191 w 216"/>
                  <a:gd name="T43" fmla="*/ 98 h 140"/>
                  <a:gd name="T44" fmla="*/ 183 w 216"/>
                  <a:gd name="T45" fmla="*/ 90 h 140"/>
                  <a:gd name="T46" fmla="*/ 163 w 216"/>
                  <a:gd name="T47" fmla="*/ 92 h 140"/>
                  <a:gd name="T48" fmla="*/ 155 w 216"/>
                  <a:gd name="T49" fmla="*/ 83 h 140"/>
                  <a:gd name="T50" fmla="*/ 147 w 216"/>
                  <a:gd name="T51" fmla="*/ 72 h 140"/>
                  <a:gd name="T52" fmla="*/ 148 w 216"/>
                  <a:gd name="T53" fmla="*/ 60 h 140"/>
                  <a:gd name="T54" fmla="*/ 136 w 216"/>
                  <a:gd name="T55" fmla="*/ 48 h 140"/>
                  <a:gd name="T56" fmla="*/ 124 w 216"/>
                  <a:gd name="T57" fmla="*/ 46 h 140"/>
                  <a:gd name="T58" fmla="*/ 84 w 216"/>
                  <a:gd name="T59" fmla="*/ 47 h 140"/>
                  <a:gd name="T60" fmla="*/ 36 w 216"/>
                  <a:gd name="T61" fmla="*/ 0 h 140"/>
                  <a:gd name="T62" fmla="*/ 0 w 216"/>
                  <a:gd name="T63" fmla="*/ 11 h 140"/>
                  <a:gd name="T64" fmla="*/ 10 w 216"/>
                  <a:gd name="T65" fmla="*/ 89 h 140"/>
                  <a:gd name="T66" fmla="*/ 23 w 216"/>
                  <a:gd name="T67" fmla="*/ 90 h 140"/>
                  <a:gd name="T68" fmla="*/ 22 w 216"/>
                  <a:gd name="T69" fmla="*/ 72 h 140"/>
                  <a:gd name="T70" fmla="*/ 31 w 216"/>
                  <a:gd name="T71" fmla="*/ 65 h 140"/>
                  <a:gd name="T72" fmla="*/ 36 w 216"/>
                  <a:gd name="T73" fmla="*/ 62 h 140"/>
                  <a:gd name="T74" fmla="*/ 45 w 216"/>
                  <a:gd name="T75" fmla="*/ 65 h 140"/>
                  <a:gd name="T76" fmla="*/ 63 w 216"/>
                  <a:gd name="T77" fmla="*/ 74 h 140"/>
                  <a:gd name="T78" fmla="*/ 69 w 216"/>
                  <a:gd name="T79" fmla="*/ 85 h 140"/>
                  <a:gd name="T80" fmla="*/ 70 w 216"/>
                  <a:gd name="T81" fmla="*/ 91 h 140"/>
                  <a:gd name="T82" fmla="*/ 88 w 216"/>
                  <a:gd name="T83" fmla="*/ 86 h 140"/>
                  <a:gd name="T84" fmla="*/ 98 w 216"/>
                  <a:gd name="T85" fmla="*/ 97 h 140"/>
                  <a:gd name="T86" fmla="*/ 105 w 216"/>
                  <a:gd name="T87" fmla="*/ 106 h 140"/>
                  <a:gd name="T88" fmla="*/ 108 w 216"/>
                  <a:gd name="T89" fmla="*/ 118 h 140"/>
                  <a:gd name="T90" fmla="*/ 134 w 216"/>
                  <a:gd name="T91" fmla="*/ 137 h 140"/>
                  <a:gd name="T92" fmla="*/ 158 w 216"/>
                  <a:gd name="T93" fmla="*/ 150 h 140"/>
                  <a:gd name="T94" fmla="*/ 169 w 216"/>
                  <a:gd name="T95" fmla="*/ 157 h 140"/>
                  <a:gd name="T96" fmla="*/ 170 w 216"/>
                  <a:gd name="T97" fmla="*/ 167 h 140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216"/>
                  <a:gd name="T148" fmla="*/ 0 h 140"/>
                  <a:gd name="T149" fmla="*/ 216 w 216"/>
                  <a:gd name="T150" fmla="*/ 140 h 140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216" h="140">
                    <a:moveTo>
                      <a:pt x="141" y="139"/>
                    </a:moveTo>
                    <a:cubicBezTo>
                      <a:pt x="142" y="139"/>
                      <a:pt x="144" y="138"/>
                      <a:pt x="146" y="138"/>
                    </a:cubicBezTo>
                    <a:cubicBezTo>
                      <a:pt x="148" y="138"/>
                      <a:pt x="148" y="140"/>
                      <a:pt x="150" y="140"/>
                    </a:cubicBezTo>
                    <a:cubicBezTo>
                      <a:pt x="151" y="140"/>
                      <a:pt x="153" y="139"/>
                      <a:pt x="154" y="138"/>
                    </a:cubicBezTo>
                    <a:cubicBezTo>
                      <a:pt x="154" y="137"/>
                      <a:pt x="154" y="135"/>
                      <a:pt x="154" y="134"/>
                    </a:cubicBezTo>
                    <a:cubicBezTo>
                      <a:pt x="156" y="131"/>
                      <a:pt x="159" y="129"/>
                      <a:pt x="161" y="125"/>
                    </a:cubicBezTo>
                    <a:cubicBezTo>
                      <a:pt x="161" y="124"/>
                      <a:pt x="160" y="122"/>
                      <a:pt x="160" y="121"/>
                    </a:cubicBezTo>
                    <a:cubicBezTo>
                      <a:pt x="159" y="120"/>
                      <a:pt x="157" y="119"/>
                      <a:pt x="156" y="117"/>
                    </a:cubicBezTo>
                    <a:cubicBezTo>
                      <a:pt x="156" y="116"/>
                      <a:pt x="158" y="113"/>
                      <a:pt x="156" y="112"/>
                    </a:cubicBezTo>
                    <a:cubicBezTo>
                      <a:pt x="155" y="110"/>
                      <a:pt x="152" y="112"/>
                      <a:pt x="150" y="111"/>
                    </a:cubicBezTo>
                    <a:cubicBezTo>
                      <a:pt x="149" y="111"/>
                      <a:pt x="148" y="110"/>
                      <a:pt x="148" y="109"/>
                    </a:cubicBezTo>
                    <a:cubicBezTo>
                      <a:pt x="148" y="107"/>
                      <a:pt x="148" y="105"/>
                      <a:pt x="150" y="104"/>
                    </a:cubicBezTo>
                    <a:cubicBezTo>
                      <a:pt x="153" y="103"/>
                      <a:pt x="156" y="104"/>
                      <a:pt x="159" y="103"/>
                    </a:cubicBezTo>
                    <a:cubicBezTo>
                      <a:pt x="161" y="102"/>
                      <a:pt x="161" y="100"/>
                      <a:pt x="162" y="98"/>
                    </a:cubicBezTo>
                    <a:cubicBezTo>
                      <a:pt x="162" y="97"/>
                      <a:pt x="162" y="96"/>
                      <a:pt x="162" y="95"/>
                    </a:cubicBezTo>
                    <a:cubicBezTo>
                      <a:pt x="161" y="94"/>
                      <a:pt x="159" y="95"/>
                      <a:pt x="160" y="94"/>
                    </a:cubicBezTo>
                    <a:cubicBezTo>
                      <a:pt x="163" y="93"/>
                      <a:pt x="166" y="94"/>
                      <a:pt x="168" y="92"/>
                    </a:cubicBezTo>
                    <a:cubicBezTo>
                      <a:pt x="170" y="90"/>
                      <a:pt x="169" y="87"/>
                      <a:pt x="170" y="86"/>
                    </a:cubicBezTo>
                    <a:cubicBezTo>
                      <a:pt x="172" y="85"/>
                      <a:pt x="174" y="87"/>
                      <a:pt x="176" y="87"/>
                    </a:cubicBezTo>
                    <a:cubicBezTo>
                      <a:pt x="178" y="86"/>
                      <a:pt x="178" y="82"/>
                      <a:pt x="180" y="82"/>
                    </a:cubicBezTo>
                    <a:cubicBezTo>
                      <a:pt x="183" y="82"/>
                      <a:pt x="185" y="84"/>
                      <a:pt x="187" y="86"/>
                    </a:cubicBezTo>
                    <a:cubicBezTo>
                      <a:pt x="187" y="88"/>
                      <a:pt x="185" y="89"/>
                      <a:pt x="185" y="90"/>
                    </a:cubicBezTo>
                    <a:cubicBezTo>
                      <a:pt x="185" y="92"/>
                      <a:pt x="186" y="93"/>
                      <a:pt x="187" y="94"/>
                    </a:cubicBezTo>
                    <a:cubicBezTo>
                      <a:pt x="188" y="94"/>
                      <a:pt x="189" y="94"/>
                      <a:pt x="190" y="94"/>
                    </a:cubicBezTo>
                    <a:cubicBezTo>
                      <a:pt x="191" y="93"/>
                      <a:pt x="192" y="92"/>
                      <a:pt x="193" y="92"/>
                    </a:cubicBezTo>
                    <a:cubicBezTo>
                      <a:pt x="194" y="92"/>
                      <a:pt x="195" y="93"/>
                      <a:pt x="196" y="94"/>
                    </a:cubicBezTo>
                    <a:cubicBezTo>
                      <a:pt x="198" y="94"/>
                      <a:pt x="199" y="95"/>
                      <a:pt x="200" y="94"/>
                    </a:cubicBezTo>
                    <a:cubicBezTo>
                      <a:pt x="203" y="93"/>
                      <a:pt x="204" y="89"/>
                      <a:pt x="206" y="88"/>
                    </a:cubicBezTo>
                    <a:cubicBezTo>
                      <a:pt x="208" y="87"/>
                      <a:pt x="210" y="89"/>
                      <a:pt x="212" y="88"/>
                    </a:cubicBezTo>
                    <a:cubicBezTo>
                      <a:pt x="214" y="86"/>
                      <a:pt x="216" y="84"/>
                      <a:pt x="215" y="81"/>
                    </a:cubicBezTo>
                    <a:cubicBezTo>
                      <a:pt x="214" y="79"/>
                      <a:pt x="211" y="80"/>
                      <a:pt x="208" y="79"/>
                    </a:cubicBezTo>
                    <a:cubicBezTo>
                      <a:pt x="206" y="78"/>
                      <a:pt x="203" y="79"/>
                      <a:pt x="201" y="78"/>
                    </a:cubicBezTo>
                    <a:cubicBezTo>
                      <a:pt x="199" y="76"/>
                      <a:pt x="198" y="71"/>
                      <a:pt x="195" y="71"/>
                    </a:cubicBezTo>
                    <a:cubicBezTo>
                      <a:pt x="193" y="72"/>
                      <a:pt x="195" y="77"/>
                      <a:pt x="193" y="79"/>
                    </a:cubicBezTo>
                    <a:cubicBezTo>
                      <a:pt x="191" y="81"/>
                      <a:pt x="188" y="81"/>
                      <a:pt x="185" y="79"/>
                    </a:cubicBezTo>
                    <a:cubicBezTo>
                      <a:pt x="184" y="78"/>
                      <a:pt x="186" y="74"/>
                      <a:pt x="185" y="73"/>
                    </a:cubicBezTo>
                    <a:cubicBezTo>
                      <a:pt x="183" y="72"/>
                      <a:pt x="180" y="74"/>
                      <a:pt x="179" y="73"/>
                    </a:cubicBezTo>
                    <a:cubicBezTo>
                      <a:pt x="178" y="72"/>
                      <a:pt x="178" y="70"/>
                      <a:pt x="179" y="69"/>
                    </a:cubicBezTo>
                    <a:cubicBezTo>
                      <a:pt x="182" y="65"/>
                      <a:pt x="188" y="64"/>
                      <a:pt x="190" y="59"/>
                    </a:cubicBezTo>
                    <a:cubicBezTo>
                      <a:pt x="191" y="58"/>
                      <a:pt x="186" y="58"/>
                      <a:pt x="184" y="57"/>
                    </a:cubicBezTo>
                    <a:cubicBezTo>
                      <a:pt x="182" y="60"/>
                      <a:pt x="181" y="63"/>
                      <a:pt x="178" y="65"/>
                    </a:cubicBezTo>
                    <a:cubicBezTo>
                      <a:pt x="177" y="66"/>
                      <a:pt x="176" y="62"/>
                      <a:pt x="175" y="62"/>
                    </a:cubicBezTo>
                    <a:cubicBezTo>
                      <a:pt x="172" y="63"/>
                      <a:pt x="171" y="66"/>
                      <a:pt x="169" y="68"/>
                    </a:cubicBezTo>
                    <a:cubicBezTo>
                      <a:pt x="166" y="73"/>
                      <a:pt x="164" y="79"/>
                      <a:pt x="159" y="82"/>
                    </a:cubicBezTo>
                    <a:cubicBezTo>
                      <a:pt x="157" y="83"/>
                      <a:pt x="154" y="82"/>
                      <a:pt x="152" y="80"/>
                    </a:cubicBezTo>
                    <a:cubicBezTo>
                      <a:pt x="151" y="79"/>
                      <a:pt x="154" y="76"/>
                      <a:pt x="152" y="75"/>
                    </a:cubicBezTo>
                    <a:cubicBezTo>
                      <a:pt x="151" y="74"/>
                      <a:pt x="148" y="76"/>
                      <a:pt x="146" y="76"/>
                    </a:cubicBezTo>
                    <a:cubicBezTo>
                      <a:pt x="143" y="77"/>
                      <a:pt x="139" y="78"/>
                      <a:pt x="135" y="77"/>
                    </a:cubicBezTo>
                    <a:cubicBezTo>
                      <a:pt x="134" y="77"/>
                      <a:pt x="132" y="76"/>
                      <a:pt x="131" y="75"/>
                    </a:cubicBezTo>
                    <a:cubicBezTo>
                      <a:pt x="130" y="73"/>
                      <a:pt x="131" y="70"/>
                      <a:pt x="129" y="69"/>
                    </a:cubicBezTo>
                    <a:cubicBezTo>
                      <a:pt x="128" y="68"/>
                      <a:pt x="125" y="70"/>
                      <a:pt x="124" y="69"/>
                    </a:cubicBezTo>
                    <a:cubicBezTo>
                      <a:pt x="122" y="67"/>
                      <a:pt x="122" y="63"/>
                      <a:pt x="122" y="60"/>
                    </a:cubicBezTo>
                    <a:cubicBezTo>
                      <a:pt x="122" y="59"/>
                      <a:pt x="124" y="58"/>
                      <a:pt x="124" y="56"/>
                    </a:cubicBezTo>
                    <a:cubicBezTo>
                      <a:pt x="124" y="54"/>
                      <a:pt x="124" y="52"/>
                      <a:pt x="123" y="50"/>
                    </a:cubicBezTo>
                    <a:cubicBezTo>
                      <a:pt x="121" y="47"/>
                      <a:pt x="120" y="43"/>
                      <a:pt x="117" y="40"/>
                    </a:cubicBezTo>
                    <a:cubicBezTo>
                      <a:pt x="116" y="39"/>
                      <a:pt x="114" y="41"/>
                      <a:pt x="113" y="40"/>
                    </a:cubicBezTo>
                    <a:cubicBezTo>
                      <a:pt x="111" y="39"/>
                      <a:pt x="113" y="35"/>
                      <a:pt x="111" y="34"/>
                    </a:cubicBezTo>
                    <a:cubicBezTo>
                      <a:pt x="108" y="34"/>
                      <a:pt x="106" y="39"/>
                      <a:pt x="103" y="38"/>
                    </a:cubicBezTo>
                    <a:lnTo>
                      <a:pt x="81" y="36"/>
                    </a:lnTo>
                    <a:cubicBezTo>
                      <a:pt x="77" y="37"/>
                      <a:pt x="73" y="38"/>
                      <a:pt x="70" y="39"/>
                    </a:cubicBezTo>
                    <a:cubicBezTo>
                      <a:pt x="67" y="34"/>
                      <a:pt x="65" y="29"/>
                      <a:pt x="62" y="24"/>
                    </a:cubicBezTo>
                    <a:cubicBezTo>
                      <a:pt x="52" y="16"/>
                      <a:pt x="41" y="8"/>
                      <a:pt x="30" y="0"/>
                    </a:cubicBezTo>
                    <a:cubicBezTo>
                      <a:pt x="25" y="1"/>
                      <a:pt x="20" y="2"/>
                      <a:pt x="15" y="3"/>
                    </a:cubicBezTo>
                    <a:cubicBezTo>
                      <a:pt x="10" y="5"/>
                      <a:pt x="5" y="7"/>
                      <a:pt x="0" y="9"/>
                    </a:cubicBezTo>
                    <a:cubicBezTo>
                      <a:pt x="1" y="30"/>
                      <a:pt x="3" y="52"/>
                      <a:pt x="4" y="73"/>
                    </a:cubicBezTo>
                    <a:cubicBezTo>
                      <a:pt x="5" y="74"/>
                      <a:pt x="7" y="73"/>
                      <a:pt x="8" y="74"/>
                    </a:cubicBezTo>
                    <a:cubicBezTo>
                      <a:pt x="11" y="75"/>
                      <a:pt x="14" y="76"/>
                      <a:pt x="17" y="76"/>
                    </a:cubicBezTo>
                    <a:cubicBezTo>
                      <a:pt x="18" y="76"/>
                      <a:pt x="19" y="76"/>
                      <a:pt x="19" y="75"/>
                    </a:cubicBezTo>
                    <a:cubicBezTo>
                      <a:pt x="19" y="73"/>
                      <a:pt x="17" y="70"/>
                      <a:pt x="17" y="67"/>
                    </a:cubicBezTo>
                    <a:cubicBezTo>
                      <a:pt x="16" y="65"/>
                      <a:pt x="16" y="62"/>
                      <a:pt x="18" y="60"/>
                    </a:cubicBezTo>
                    <a:cubicBezTo>
                      <a:pt x="19" y="59"/>
                      <a:pt x="22" y="60"/>
                      <a:pt x="23" y="59"/>
                    </a:cubicBezTo>
                    <a:cubicBezTo>
                      <a:pt x="25" y="58"/>
                      <a:pt x="24" y="54"/>
                      <a:pt x="26" y="54"/>
                    </a:cubicBezTo>
                    <a:cubicBezTo>
                      <a:pt x="29" y="53"/>
                      <a:pt x="30" y="59"/>
                      <a:pt x="32" y="58"/>
                    </a:cubicBezTo>
                    <a:cubicBezTo>
                      <a:pt x="34" y="57"/>
                      <a:pt x="29" y="54"/>
                      <a:pt x="30" y="52"/>
                    </a:cubicBezTo>
                    <a:cubicBezTo>
                      <a:pt x="30" y="50"/>
                      <a:pt x="34" y="50"/>
                      <a:pt x="36" y="51"/>
                    </a:cubicBezTo>
                    <a:cubicBezTo>
                      <a:pt x="37" y="51"/>
                      <a:pt x="36" y="53"/>
                      <a:pt x="37" y="54"/>
                    </a:cubicBezTo>
                    <a:cubicBezTo>
                      <a:pt x="38" y="56"/>
                      <a:pt x="41" y="57"/>
                      <a:pt x="42" y="58"/>
                    </a:cubicBezTo>
                    <a:cubicBezTo>
                      <a:pt x="46" y="59"/>
                      <a:pt x="50" y="60"/>
                      <a:pt x="52" y="62"/>
                    </a:cubicBezTo>
                    <a:cubicBezTo>
                      <a:pt x="52" y="65"/>
                      <a:pt x="50" y="65"/>
                      <a:pt x="50" y="66"/>
                    </a:cubicBezTo>
                    <a:cubicBezTo>
                      <a:pt x="52" y="68"/>
                      <a:pt x="56" y="68"/>
                      <a:pt x="57" y="71"/>
                    </a:cubicBezTo>
                    <a:cubicBezTo>
                      <a:pt x="58" y="73"/>
                      <a:pt x="54" y="73"/>
                      <a:pt x="54" y="75"/>
                    </a:cubicBezTo>
                    <a:cubicBezTo>
                      <a:pt x="54" y="77"/>
                      <a:pt x="57" y="76"/>
                      <a:pt x="58" y="76"/>
                    </a:cubicBezTo>
                    <a:cubicBezTo>
                      <a:pt x="62" y="76"/>
                      <a:pt x="66" y="76"/>
                      <a:pt x="70" y="75"/>
                    </a:cubicBezTo>
                    <a:cubicBezTo>
                      <a:pt x="72" y="75"/>
                      <a:pt x="72" y="71"/>
                      <a:pt x="73" y="72"/>
                    </a:cubicBezTo>
                    <a:cubicBezTo>
                      <a:pt x="76" y="73"/>
                      <a:pt x="78" y="76"/>
                      <a:pt x="80" y="79"/>
                    </a:cubicBezTo>
                    <a:cubicBezTo>
                      <a:pt x="81" y="80"/>
                      <a:pt x="80" y="80"/>
                      <a:pt x="81" y="81"/>
                    </a:cubicBezTo>
                    <a:cubicBezTo>
                      <a:pt x="81" y="83"/>
                      <a:pt x="82" y="86"/>
                      <a:pt x="84" y="88"/>
                    </a:cubicBezTo>
                    <a:cubicBezTo>
                      <a:pt x="84" y="89"/>
                      <a:pt x="86" y="87"/>
                      <a:pt x="87" y="88"/>
                    </a:cubicBezTo>
                    <a:cubicBezTo>
                      <a:pt x="88" y="90"/>
                      <a:pt x="86" y="92"/>
                      <a:pt x="87" y="94"/>
                    </a:cubicBezTo>
                    <a:cubicBezTo>
                      <a:pt x="87" y="95"/>
                      <a:pt x="88" y="97"/>
                      <a:pt x="90" y="98"/>
                    </a:cubicBezTo>
                    <a:cubicBezTo>
                      <a:pt x="93" y="101"/>
                      <a:pt x="96" y="104"/>
                      <a:pt x="100" y="107"/>
                    </a:cubicBezTo>
                    <a:cubicBezTo>
                      <a:pt x="104" y="109"/>
                      <a:pt x="107" y="112"/>
                      <a:pt x="111" y="114"/>
                    </a:cubicBezTo>
                    <a:cubicBezTo>
                      <a:pt x="116" y="118"/>
                      <a:pt x="122" y="122"/>
                      <a:pt x="127" y="125"/>
                    </a:cubicBezTo>
                    <a:cubicBezTo>
                      <a:pt x="128" y="125"/>
                      <a:pt x="130" y="124"/>
                      <a:pt x="131" y="125"/>
                    </a:cubicBezTo>
                    <a:cubicBezTo>
                      <a:pt x="134" y="126"/>
                      <a:pt x="136" y="128"/>
                      <a:pt x="139" y="130"/>
                    </a:cubicBezTo>
                    <a:cubicBezTo>
                      <a:pt x="139" y="130"/>
                      <a:pt x="140" y="130"/>
                      <a:pt x="140" y="131"/>
                    </a:cubicBezTo>
                    <a:cubicBezTo>
                      <a:pt x="141" y="132"/>
                      <a:pt x="140" y="134"/>
                      <a:pt x="140" y="136"/>
                    </a:cubicBezTo>
                    <a:cubicBezTo>
                      <a:pt x="140" y="137"/>
                      <a:pt x="140" y="138"/>
                      <a:pt x="141" y="139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03" name="Freeform 2623"/>
              <p:cNvSpPr>
                <a:spLocks noChangeAspect="1"/>
              </p:cNvSpPr>
              <p:nvPr/>
            </p:nvSpPr>
            <p:spPr bwMode="auto">
              <a:xfrm>
                <a:off x="5437366" y="2353892"/>
                <a:ext cx="232647" cy="140383"/>
              </a:xfrm>
              <a:custGeom>
                <a:avLst/>
                <a:gdLst>
                  <a:gd name="T0" fmla="*/ 23 w 173"/>
                  <a:gd name="T1" fmla="*/ 164 h 141"/>
                  <a:gd name="T2" fmla="*/ 59 w 173"/>
                  <a:gd name="T3" fmla="*/ 167 h 141"/>
                  <a:gd name="T4" fmla="*/ 66 w 173"/>
                  <a:gd name="T5" fmla="*/ 167 h 141"/>
                  <a:gd name="T6" fmla="*/ 93 w 173"/>
                  <a:gd name="T7" fmla="*/ 162 h 141"/>
                  <a:gd name="T8" fmla="*/ 91 w 173"/>
                  <a:gd name="T9" fmla="*/ 150 h 141"/>
                  <a:gd name="T10" fmla="*/ 105 w 173"/>
                  <a:gd name="T11" fmla="*/ 137 h 141"/>
                  <a:gd name="T12" fmla="*/ 111 w 173"/>
                  <a:gd name="T13" fmla="*/ 137 h 141"/>
                  <a:gd name="T14" fmla="*/ 115 w 173"/>
                  <a:gd name="T15" fmla="*/ 133 h 141"/>
                  <a:gd name="T16" fmla="*/ 125 w 173"/>
                  <a:gd name="T17" fmla="*/ 128 h 141"/>
                  <a:gd name="T18" fmla="*/ 135 w 173"/>
                  <a:gd name="T19" fmla="*/ 126 h 141"/>
                  <a:gd name="T20" fmla="*/ 133 w 173"/>
                  <a:gd name="T21" fmla="*/ 115 h 141"/>
                  <a:gd name="T22" fmla="*/ 145 w 173"/>
                  <a:gd name="T23" fmla="*/ 104 h 141"/>
                  <a:gd name="T24" fmla="*/ 141 w 173"/>
                  <a:gd name="T25" fmla="*/ 89 h 141"/>
                  <a:gd name="T26" fmla="*/ 149 w 173"/>
                  <a:gd name="T27" fmla="*/ 89 h 141"/>
                  <a:gd name="T28" fmla="*/ 160 w 173"/>
                  <a:gd name="T29" fmla="*/ 79 h 141"/>
                  <a:gd name="T30" fmla="*/ 165 w 173"/>
                  <a:gd name="T31" fmla="*/ 68 h 141"/>
                  <a:gd name="T32" fmla="*/ 156 w 173"/>
                  <a:gd name="T33" fmla="*/ 50 h 141"/>
                  <a:gd name="T34" fmla="*/ 166 w 173"/>
                  <a:gd name="T35" fmla="*/ 43 h 141"/>
                  <a:gd name="T36" fmla="*/ 194 w 173"/>
                  <a:gd name="T37" fmla="*/ 31 h 141"/>
                  <a:gd name="T38" fmla="*/ 207 w 173"/>
                  <a:gd name="T39" fmla="*/ 29 h 141"/>
                  <a:gd name="T40" fmla="*/ 208 w 173"/>
                  <a:gd name="T41" fmla="*/ 22 h 141"/>
                  <a:gd name="T42" fmla="*/ 194 w 173"/>
                  <a:gd name="T43" fmla="*/ 26 h 141"/>
                  <a:gd name="T44" fmla="*/ 180 w 173"/>
                  <a:gd name="T45" fmla="*/ 26 h 141"/>
                  <a:gd name="T46" fmla="*/ 168 w 173"/>
                  <a:gd name="T47" fmla="*/ 30 h 141"/>
                  <a:gd name="T48" fmla="*/ 161 w 173"/>
                  <a:gd name="T49" fmla="*/ 31 h 141"/>
                  <a:gd name="T50" fmla="*/ 159 w 173"/>
                  <a:gd name="T51" fmla="*/ 12 h 141"/>
                  <a:gd name="T52" fmla="*/ 153 w 173"/>
                  <a:gd name="T53" fmla="*/ 5 h 141"/>
                  <a:gd name="T54" fmla="*/ 135 w 173"/>
                  <a:gd name="T55" fmla="*/ 12 h 141"/>
                  <a:gd name="T56" fmla="*/ 131 w 173"/>
                  <a:gd name="T57" fmla="*/ 17 h 141"/>
                  <a:gd name="T58" fmla="*/ 127 w 173"/>
                  <a:gd name="T59" fmla="*/ 28 h 141"/>
                  <a:gd name="T60" fmla="*/ 113 w 173"/>
                  <a:gd name="T61" fmla="*/ 30 h 141"/>
                  <a:gd name="T62" fmla="*/ 102 w 173"/>
                  <a:gd name="T63" fmla="*/ 22 h 141"/>
                  <a:gd name="T64" fmla="*/ 93 w 173"/>
                  <a:gd name="T65" fmla="*/ 22 h 141"/>
                  <a:gd name="T66" fmla="*/ 82 w 173"/>
                  <a:gd name="T67" fmla="*/ 23 h 141"/>
                  <a:gd name="T68" fmla="*/ 70 w 173"/>
                  <a:gd name="T69" fmla="*/ 23 h 141"/>
                  <a:gd name="T70" fmla="*/ 61 w 173"/>
                  <a:gd name="T71" fmla="*/ 24 h 141"/>
                  <a:gd name="T72" fmla="*/ 55 w 173"/>
                  <a:gd name="T73" fmla="*/ 40 h 141"/>
                  <a:gd name="T74" fmla="*/ 38 w 173"/>
                  <a:gd name="T75" fmla="*/ 52 h 141"/>
                  <a:gd name="T76" fmla="*/ 32 w 173"/>
                  <a:gd name="T77" fmla="*/ 62 h 141"/>
                  <a:gd name="T78" fmla="*/ 24 w 173"/>
                  <a:gd name="T79" fmla="*/ 61 h 141"/>
                  <a:gd name="T80" fmla="*/ 12 w 173"/>
                  <a:gd name="T81" fmla="*/ 58 h 141"/>
                  <a:gd name="T82" fmla="*/ 4 w 173"/>
                  <a:gd name="T83" fmla="*/ 74 h 141"/>
                  <a:gd name="T84" fmla="*/ 2 w 173"/>
                  <a:gd name="T85" fmla="*/ 78 h 141"/>
                  <a:gd name="T86" fmla="*/ 5 w 173"/>
                  <a:gd name="T87" fmla="*/ 96 h 141"/>
                  <a:gd name="T88" fmla="*/ 5 w 173"/>
                  <a:gd name="T89" fmla="*/ 108 h 141"/>
                  <a:gd name="T90" fmla="*/ 11 w 173"/>
                  <a:gd name="T91" fmla="*/ 133 h 141"/>
                  <a:gd name="T92" fmla="*/ 23 w 173"/>
                  <a:gd name="T93" fmla="*/ 143 h 141"/>
                  <a:gd name="T94" fmla="*/ 12 w 173"/>
                  <a:gd name="T95" fmla="*/ 162 h 141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173"/>
                  <a:gd name="T145" fmla="*/ 0 h 141"/>
                  <a:gd name="T146" fmla="*/ 173 w 173"/>
                  <a:gd name="T147" fmla="*/ 141 h 141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173" h="141">
                    <a:moveTo>
                      <a:pt x="10" y="135"/>
                    </a:moveTo>
                    <a:cubicBezTo>
                      <a:pt x="13" y="136"/>
                      <a:pt x="16" y="136"/>
                      <a:pt x="19" y="137"/>
                    </a:cubicBezTo>
                    <a:cubicBezTo>
                      <a:pt x="23" y="138"/>
                      <a:pt x="28" y="139"/>
                      <a:pt x="32" y="140"/>
                    </a:cubicBezTo>
                    <a:cubicBezTo>
                      <a:pt x="38" y="140"/>
                      <a:pt x="43" y="138"/>
                      <a:pt x="49" y="139"/>
                    </a:cubicBezTo>
                    <a:cubicBezTo>
                      <a:pt x="50" y="139"/>
                      <a:pt x="51" y="140"/>
                      <a:pt x="53" y="140"/>
                    </a:cubicBezTo>
                    <a:cubicBezTo>
                      <a:pt x="54" y="140"/>
                      <a:pt x="54" y="139"/>
                      <a:pt x="55" y="139"/>
                    </a:cubicBezTo>
                    <a:cubicBezTo>
                      <a:pt x="57" y="139"/>
                      <a:pt x="59" y="141"/>
                      <a:pt x="62" y="141"/>
                    </a:cubicBezTo>
                    <a:cubicBezTo>
                      <a:pt x="67" y="140"/>
                      <a:pt x="73" y="138"/>
                      <a:pt x="77" y="135"/>
                    </a:cubicBezTo>
                    <a:cubicBezTo>
                      <a:pt x="79" y="134"/>
                      <a:pt x="78" y="132"/>
                      <a:pt x="78" y="131"/>
                    </a:cubicBezTo>
                    <a:cubicBezTo>
                      <a:pt x="77" y="129"/>
                      <a:pt x="76" y="127"/>
                      <a:pt x="76" y="125"/>
                    </a:cubicBezTo>
                    <a:cubicBezTo>
                      <a:pt x="77" y="122"/>
                      <a:pt x="79" y="119"/>
                      <a:pt x="81" y="116"/>
                    </a:cubicBezTo>
                    <a:cubicBezTo>
                      <a:pt x="82" y="114"/>
                      <a:pt x="85" y="114"/>
                      <a:pt x="87" y="114"/>
                    </a:cubicBezTo>
                    <a:cubicBezTo>
                      <a:pt x="87" y="114"/>
                      <a:pt x="86" y="116"/>
                      <a:pt x="87" y="116"/>
                    </a:cubicBezTo>
                    <a:cubicBezTo>
                      <a:pt x="89" y="116"/>
                      <a:pt x="91" y="115"/>
                      <a:pt x="92" y="114"/>
                    </a:cubicBezTo>
                    <a:cubicBezTo>
                      <a:pt x="93" y="113"/>
                      <a:pt x="90" y="111"/>
                      <a:pt x="90" y="111"/>
                    </a:cubicBezTo>
                    <a:cubicBezTo>
                      <a:pt x="92" y="109"/>
                      <a:pt x="94" y="112"/>
                      <a:pt x="96" y="111"/>
                    </a:cubicBezTo>
                    <a:cubicBezTo>
                      <a:pt x="98" y="109"/>
                      <a:pt x="98" y="106"/>
                      <a:pt x="100" y="105"/>
                    </a:cubicBezTo>
                    <a:cubicBezTo>
                      <a:pt x="102" y="104"/>
                      <a:pt x="103" y="106"/>
                      <a:pt x="104" y="107"/>
                    </a:cubicBezTo>
                    <a:cubicBezTo>
                      <a:pt x="106" y="108"/>
                      <a:pt x="107" y="110"/>
                      <a:pt x="108" y="110"/>
                    </a:cubicBezTo>
                    <a:cubicBezTo>
                      <a:pt x="110" y="109"/>
                      <a:pt x="112" y="107"/>
                      <a:pt x="112" y="105"/>
                    </a:cubicBezTo>
                    <a:cubicBezTo>
                      <a:pt x="113" y="104"/>
                      <a:pt x="110" y="104"/>
                      <a:pt x="110" y="102"/>
                    </a:cubicBezTo>
                    <a:cubicBezTo>
                      <a:pt x="110" y="100"/>
                      <a:pt x="110" y="98"/>
                      <a:pt x="111" y="96"/>
                    </a:cubicBezTo>
                    <a:cubicBezTo>
                      <a:pt x="112" y="93"/>
                      <a:pt x="112" y="89"/>
                      <a:pt x="114" y="88"/>
                    </a:cubicBezTo>
                    <a:cubicBezTo>
                      <a:pt x="116" y="86"/>
                      <a:pt x="120" y="89"/>
                      <a:pt x="121" y="87"/>
                    </a:cubicBezTo>
                    <a:cubicBezTo>
                      <a:pt x="123" y="86"/>
                      <a:pt x="122" y="83"/>
                      <a:pt x="121" y="81"/>
                    </a:cubicBezTo>
                    <a:cubicBezTo>
                      <a:pt x="120" y="78"/>
                      <a:pt x="118" y="76"/>
                      <a:pt x="117" y="74"/>
                    </a:cubicBezTo>
                    <a:cubicBezTo>
                      <a:pt x="117" y="73"/>
                      <a:pt x="117" y="71"/>
                      <a:pt x="118" y="71"/>
                    </a:cubicBezTo>
                    <a:cubicBezTo>
                      <a:pt x="120" y="71"/>
                      <a:pt x="121" y="74"/>
                      <a:pt x="124" y="74"/>
                    </a:cubicBezTo>
                    <a:cubicBezTo>
                      <a:pt x="126" y="74"/>
                      <a:pt x="129" y="73"/>
                      <a:pt x="130" y="72"/>
                    </a:cubicBezTo>
                    <a:cubicBezTo>
                      <a:pt x="132" y="70"/>
                      <a:pt x="132" y="68"/>
                      <a:pt x="133" y="66"/>
                    </a:cubicBezTo>
                    <a:cubicBezTo>
                      <a:pt x="133" y="65"/>
                      <a:pt x="132" y="64"/>
                      <a:pt x="133" y="63"/>
                    </a:cubicBezTo>
                    <a:cubicBezTo>
                      <a:pt x="134" y="61"/>
                      <a:pt x="137" y="59"/>
                      <a:pt x="137" y="57"/>
                    </a:cubicBezTo>
                    <a:cubicBezTo>
                      <a:pt x="138" y="53"/>
                      <a:pt x="136" y="49"/>
                      <a:pt x="134" y="45"/>
                    </a:cubicBezTo>
                    <a:cubicBezTo>
                      <a:pt x="134" y="43"/>
                      <a:pt x="131" y="43"/>
                      <a:pt x="130" y="42"/>
                    </a:cubicBezTo>
                    <a:cubicBezTo>
                      <a:pt x="130" y="40"/>
                      <a:pt x="131" y="37"/>
                      <a:pt x="133" y="36"/>
                    </a:cubicBezTo>
                    <a:cubicBezTo>
                      <a:pt x="135" y="35"/>
                      <a:pt x="137" y="37"/>
                      <a:pt x="138" y="36"/>
                    </a:cubicBezTo>
                    <a:cubicBezTo>
                      <a:pt x="143" y="34"/>
                      <a:pt x="145" y="29"/>
                      <a:pt x="149" y="27"/>
                    </a:cubicBezTo>
                    <a:cubicBezTo>
                      <a:pt x="153" y="25"/>
                      <a:pt x="157" y="26"/>
                      <a:pt x="161" y="26"/>
                    </a:cubicBezTo>
                    <a:cubicBezTo>
                      <a:pt x="162" y="26"/>
                      <a:pt x="164" y="27"/>
                      <a:pt x="166" y="27"/>
                    </a:cubicBezTo>
                    <a:cubicBezTo>
                      <a:pt x="168" y="27"/>
                      <a:pt x="170" y="25"/>
                      <a:pt x="172" y="24"/>
                    </a:cubicBezTo>
                    <a:cubicBezTo>
                      <a:pt x="171" y="24"/>
                      <a:pt x="171" y="23"/>
                      <a:pt x="171" y="22"/>
                    </a:cubicBezTo>
                    <a:cubicBezTo>
                      <a:pt x="171" y="21"/>
                      <a:pt x="172" y="20"/>
                      <a:pt x="173" y="18"/>
                    </a:cubicBezTo>
                    <a:cubicBezTo>
                      <a:pt x="172" y="18"/>
                      <a:pt x="171" y="18"/>
                      <a:pt x="170" y="18"/>
                    </a:cubicBezTo>
                    <a:cubicBezTo>
                      <a:pt x="167" y="19"/>
                      <a:pt x="164" y="22"/>
                      <a:pt x="161" y="22"/>
                    </a:cubicBezTo>
                    <a:cubicBezTo>
                      <a:pt x="159" y="22"/>
                      <a:pt x="159" y="19"/>
                      <a:pt x="157" y="19"/>
                    </a:cubicBezTo>
                    <a:cubicBezTo>
                      <a:pt x="155" y="19"/>
                      <a:pt x="152" y="21"/>
                      <a:pt x="150" y="22"/>
                    </a:cubicBezTo>
                    <a:cubicBezTo>
                      <a:pt x="148" y="23"/>
                      <a:pt x="146" y="24"/>
                      <a:pt x="144" y="24"/>
                    </a:cubicBezTo>
                    <a:cubicBezTo>
                      <a:pt x="143" y="25"/>
                      <a:pt x="141" y="24"/>
                      <a:pt x="140" y="25"/>
                    </a:cubicBezTo>
                    <a:cubicBezTo>
                      <a:pt x="139" y="26"/>
                      <a:pt x="139" y="29"/>
                      <a:pt x="137" y="30"/>
                    </a:cubicBezTo>
                    <a:cubicBezTo>
                      <a:pt x="135" y="30"/>
                      <a:pt x="135" y="27"/>
                      <a:pt x="134" y="26"/>
                    </a:cubicBezTo>
                    <a:cubicBezTo>
                      <a:pt x="133" y="23"/>
                      <a:pt x="132" y="21"/>
                      <a:pt x="132" y="19"/>
                    </a:cubicBezTo>
                    <a:cubicBezTo>
                      <a:pt x="131" y="16"/>
                      <a:pt x="133" y="12"/>
                      <a:pt x="132" y="10"/>
                    </a:cubicBezTo>
                    <a:cubicBezTo>
                      <a:pt x="131" y="8"/>
                      <a:pt x="128" y="11"/>
                      <a:pt x="127" y="10"/>
                    </a:cubicBezTo>
                    <a:cubicBezTo>
                      <a:pt x="126" y="8"/>
                      <a:pt x="128" y="6"/>
                      <a:pt x="127" y="4"/>
                    </a:cubicBezTo>
                    <a:cubicBezTo>
                      <a:pt x="126" y="2"/>
                      <a:pt x="123" y="0"/>
                      <a:pt x="120" y="1"/>
                    </a:cubicBezTo>
                    <a:cubicBezTo>
                      <a:pt x="116" y="2"/>
                      <a:pt x="113" y="6"/>
                      <a:pt x="112" y="10"/>
                    </a:cubicBezTo>
                    <a:cubicBezTo>
                      <a:pt x="112" y="12"/>
                      <a:pt x="117" y="12"/>
                      <a:pt x="116" y="13"/>
                    </a:cubicBezTo>
                    <a:cubicBezTo>
                      <a:pt x="115" y="15"/>
                      <a:pt x="111" y="13"/>
                      <a:pt x="109" y="14"/>
                    </a:cubicBezTo>
                    <a:cubicBezTo>
                      <a:pt x="107" y="15"/>
                      <a:pt x="107" y="17"/>
                      <a:pt x="106" y="19"/>
                    </a:cubicBezTo>
                    <a:cubicBezTo>
                      <a:pt x="106" y="20"/>
                      <a:pt x="107" y="23"/>
                      <a:pt x="106" y="23"/>
                    </a:cubicBezTo>
                    <a:cubicBezTo>
                      <a:pt x="104" y="22"/>
                      <a:pt x="104" y="18"/>
                      <a:pt x="102" y="19"/>
                    </a:cubicBezTo>
                    <a:cubicBezTo>
                      <a:pt x="99" y="19"/>
                      <a:pt x="97" y="24"/>
                      <a:pt x="94" y="25"/>
                    </a:cubicBezTo>
                    <a:cubicBezTo>
                      <a:pt x="92" y="25"/>
                      <a:pt x="90" y="24"/>
                      <a:pt x="88" y="23"/>
                    </a:cubicBezTo>
                    <a:cubicBezTo>
                      <a:pt x="87" y="21"/>
                      <a:pt x="86" y="20"/>
                      <a:pt x="85" y="18"/>
                    </a:cubicBezTo>
                    <a:cubicBezTo>
                      <a:pt x="84" y="19"/>
                      <a:pt x="82" y="20"/>
                      <a:pt x="81" y="20"/>
                    </a:cubicBezTo>
                    <a:cubicBezTo>
                      <a:pt x="79" y="20"/>
                      <a:pt x="79" y="18"/>
                      <a:pt x="77" y="18"/>
                    </a:cubicBezTo>
                    <a:cubicBezTo>
                      <a:pt x="75" y="18"/>
                      <a:pt x="73" y="19"/>
                      <a:pt x="72" y="19"/>
                    </a:cubicBezTo>
                    <a:cubicBezTo>
                      <a:pt x="70" y="19"/>
                      <a:pt x="69" y="19"/>
                      <a:pt x="68" y="19"/>
                    </a:cubicBezTo>
                    <a:cubicBezTo>
                      <a:pt x="66" y="18"/>
                      <a:pt x="64" y="16"/>
                      <a:pt x="61" y="16"/>
                    </a:cubicBezTo>
                    <a:cubicBezTo>
                      <a:pt x="60" y="16"/>
                      <a:pt x="59" y="18"/>
                      <a:pt x="58" y="19"/>
                    </a:cubicBezTo>
                    <a:cubicBezTo>
                      <a:pt x="58" y="20"/>
                      <a:pt x="57" y="20"/>
                      <a:pt x="56" y="20"/>
                    </a:cubicBezTo>
                    <a:cubicBezTo>
                      <a:pt x="54" y="20"/>
                      <a:pt x="53" y="20"/>
                      <a:pt x="51" y="20"/>
                    </a:cubicBezTo>
                    <a:cubicBezTo>
                      <a:pt x="50" y="21"/>
                      <a:pt x="49" y="22"/>
                      <a:pt x="49" y="23"/>
                    </a:cubicBezTo>
                    <a:cubicBezTo>
                      <a:pt x="47" y="26"/>
                      <a:pt x="48" y="30"/>
                      <a:pt x="46" y="33"/>
                    </a:cubicBezTo>
                    <a:cubicBezTo>
                      <a:pt x="44" y="36"/>
                      <a:pt x="41" y="39"/>
                      <a:pt x="37" y="41"/>
                    </a:cubicBezTo>
                    <a:cubicBezTo>
                      <a:pt x="36" y="42"/>
                      <a:pt x="33" y="42"/>
                      <a:pt x="32" y="43"/>
                    </a:cubicBezTo>
                    <a:cubicBezTo>
                      <a:pt x="31" y="44"/>
                      <a:pt x="32" y="46"/>
                      <a:pt x="31" y="47"/>
                    </a:cubicBezTo>
                    <a:cubicBezTo>
                      <a:pt x="30" y="49"/>
                      <a:pt x="29" y="51"/>
                      <a:pt x="27" y="52"/>
                    </a:cubicBezTo>
                    <a:cubicBezTo>
                      <a:pt x="26" y="52"/>
                      <a:pt x="25" y="51"/>
                      <a:pt x="24" y="51"/>
                    </a:cubicBezTo>
                    <a:cubicBezTo>
                      <a:pt x="23" y="51"/>
                      <a:pt x="21" y="52"/>
                      <a:pt x="20" y="51"/>
                    </a:cubicBezTo>
                    <a:cubicBezTo>
                      <a:pt x="18" y="51"/>
                      <a:pt x="16" y="50"/>
                      <a:pt x="14" y="49"/>
                    </a:cubicBezTo>
                    <a:cubicBezTo>
                      <a:pt x="13" y="49"/>
                      <a:pt x="11" y="48"/>
                      <a:pt x="10" y="48"/>
                    </a:cubicBezTo>
                    <a:cubicBezTo>
                      <a:pt x="9" y="50"/>
                      <a:pt x="9" y="53"/>
                      <a:pt x="8" y="55"/>
                    </a:cubicBezTo>
                    <a:cubicBezTo>
                      <a:pt x="7" y="57"/>
                      <a:pt x="4" y="59"/>
                      <a:pt x="3" y="62"/>
                    </a:cubicBezTo>
                    <a:cubicBezTo>
                      <a:pt x="3" y="63"/>
                      <a:pt x="5" y="64"/>
                      <a:pt x="5" y="65"/>
                    </a:cubicBezTo>
                    <a:cubicBezTo>
                      <a:pt x="4" y="66"/>
                      <a:pt x="2" y="64"/>
                      <a:pt x="2" y="65"/>
                    </a:cubicBezTo>
                    <a:cubicBezTo>
                      <a:pt x="1" y="68"/>
                      <a:pt x="0" y="72"/>
                      <a:pt x="1" y="75"/>
                    </a:cubicBezTo>
                    <a:cubicBezTo>
                      <a:pt x="1" y="77"/>
                      <a:pt x="4" y="78"/>
                      <a:pt x="4" y="80"/>
                    </a:cubicBezTo>
                    <a:cubicBezTo>
                      <a:pt x="4" y="82"/>
                      <a:pt x="1" y="82"/>
                      <a:pt x="1" y="84"/>
                    </a:cubicBezTo>
                    <a:cubicBezTo>
                      <a:pt x="1" y="86"/>
                      <a:pt x="4" y="88"/>
                      <a:pt x="4" y="90"/>
                    </a:cubicBezTo>
                    <a:cubicBezTo>
                      <a:pt x="5" y="94"/>
                      <a:pt x="6" y="100"/>
                      <a:pt x="4" y="104"/>
                    </a:cubicBezTo>
                    <a:cubicBezTo>
                      <a:pt x="5" y="107"/>
                      <a:pt x="7" y="109"/>
                      <a:pt x="9" y="111"/>
                    </a:cubicBezTo>
                    <a:cubicBezTo>
                      <a:pt x="11" y="112"/>
                      <a:pt x="15" y="109"/>
                      <a:pt x="17" y="111"/>
                    </a:cubicBezTo>
                    <a:cubicBezTo>
                      <a:pt x="19" y="112"/>
                      <a:pt x="20" y="116"/>
                      <a:pt x="19" y="119"/>
                    </a:cubicBezTo>
                    <a:cubicBezTo>
                      <a:pt x="18" y="123"/>
                      <a:pt x="14" y="126"/>
                      <a:pt x="12" y="130"/>
                    </a:cubicBezTo>
                    <a:cubicBezTo>
                      <a:pt x="11" y="131"/>
                      <a:pt x="11" y="133"/>
                      <a:pt x="10" y="135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04" name="Freeform 2624"/>
              <p:cNvSpPr>
                <a:spLocks noChangeAspect="1"/>
              </p:cNvSpPr>
              <p:nvPr/>
            </p:nvSpPr>
            <p:spPr bwMode="auto">
              <a:xfrm>
                <a:off x="5450788" y="2377982"/>
                <a:ext cx="270675" cy="206005"/>
              </a:xfrm>
              <a:custGeom>
                <a:avLst/>
                <a:gdLst>
                  <a:gd name="T0" fmla="*/ 237 w 201"/>
                  <a:gd name="T1" fmla="*/ 40 h 207"/>
                  <a:gd name="T2" fmla="*/ 224 w 201"/>
                  <a:gd name="T3" fmla="*/ 50 h 207"/>
                  <a:gd name="T4" fmla="*/ 200 w 201"/>
                  <a:gd name="T5" fmla="*/ 46 h 207"/>
                  <a:gd name="T6" fmla="*/ 195 w 201"/>
                  <a:gd name="T7" fmla="*/ 59 h 207"/>
                  <a:gd name="T8" fmla="*/ 202 w 201"/>
                  <a:gd name="T9" fmla="*/ 80 h 207"/>
                  <a:gd name="T10" fmla="*/ 212 w 201"/>
                  <a:gd name="T11" fmla="*/ 83 h 207"/>
                  <a:gd name="T12" fmla="*/ 208 w 201"/>
                  <a:gd name="T13" fmla="*/ 95 h 207"/>
                  <a:gd name="T14" fmla="*/ 206 w 201"/>
                  <a:gd name="T15" fmla="*/ 105 h 207"/>
                  <a:gd name="T16" fmla="*/ 206 w 201"/>
                  <a:gd name="T17" fmla="*/ 114 h 207"/>
                  <a:gd name="T18" fmla="*/ 197 w 201"/>
                  <a:gd name="T19" fmla="*/ 125 h 207"/>
                  <a:gd name="T20" fmla="*/ 188 w 201"/>
                  <a:gd name="T21" fmla="*/ 134 h 207"/>
                  <a:gd name="T22" fmla="*/ 178 w 201"/>
                  <a:gd name="T23" fmla="*/ 155 h 207"/>
                  <a:gd name="T24" fmla="*/ 169 w 201"/>
                  <a:gd name="T25" fmla="*/ 163 h 207"/>
                  <a:gd name="T26" fmla="*/ 161 w 201"/>
                  <a:gd name="T27" fmla="*/ 171 h 207"/>
                  <a:gd name="T28" fmla="*/ 149 w 201"/>
                  <a:gd name="T29" fmla="*/ 171 h 207"/>
                  <a:gd name="T30" fmla="*/ 132 w 201"/>
                  <a:gd name="T31" fmla="*/ 189 h 207"/>
                  <a:gd name="T32" fmla="*/ 141 w 201"/>
                  <a:gd name="T33" fmla="*/ 195 h 207"/>
                  <a:gd name="T34" fmla="*/ 144 w 201"/>
                  <a:gd name="T35" fmla="*/ 206 h 207"/>
                  <a:gd name="T36" fmla="*/ 155 w 201"/>
                  <a:gd name="T37" fmla="*/ 214 h 207"/>
                  <a:gd name="T38" fmla="*/ 163 w 201"/>
                  <a:gd name="T39" fmla="*/ 232 h 207"/>
                  <a:gd name="T40" fmla="*/ 161 w 201"/>
                  <a:gd name="T41" fmla="*/ 238 h 207"/>
                  <a:gd name="T42" fmla="*/ 157 w 201"/>
                  <a:gd name="T43" fmla="*/ 236 h 207"/>
                  <a:gd name="T44" fmla="*/ 140 w 201"/>
                  <a:gd name="T45" fmla="*/ 240 h 207"/>
                  <a:gd name="T46" fmla="*/ 126 w 201"/>
                  <a:gd name="T47" fmla="*/ 242 h 207"/>
                  <a:gd name="T48" fmla="*/ 117 w 201"/>
                  <a:gd name="T49" fmla="*/ 248 h 207"/>
                  <a:gd name="T50" fmla="*/ 102 w 201"/>
                  <a:gd name="T51" fmla="*/ 230 h 207"/>
                  <a:gd name="T52" fmla="*/ 92 w 201"/>
                  <a:gd name="T53" fmla="*/ 219 h 207"/>
                  <a:gd name="T54" fmla="*/ 67 w 201"/>
                  <a:gd name="T55" fmla="*/ 218 h 207"/>
                  <a:gd name="T56" fmla="*/ 47 w 201"/>
                  <a:gd name="T57" fmla="*/ 220 h 207"/>
                  <a:gd name="T58" fmla="*/ 31 w 201"/>
                  <a:gd name="T59" fmla="*/ 220 h 207"/>
                  <a:gd name="T60" fmla="*/ 19 w 201"/>
                  <a:gd name="T61" fmla="*/ 219 h 207"/>
                  <a:gd name="T62" fmla="*/ 20 w 201"/>
                  <a:gd name="T63" fmla="*/ 201 h 207"/>
                  <a:gd name="T64" fmla="*/ 37 w 201"/>
                  <a:gd name="T65" fmla="*/ 195 h 207"/>
                  <a:gd name="T66" fmla="*/ 39 w 201"/>
                  <a:gd name="T67" fmla="*/ 185 h 207"/>
                  <a:gd name="T68" fmla="*/ 29 w 201"/>
                  <a:gd name="T69" fmla="*/ 164 h 207"/>
                  <a:gd name="T70" fmla="*/ 16 w 201"/>
                  <a:gd name="T71" fmla="*/ 158 h 207"/>
                  <a:gd name="T72" fmla="*/ 10 w 201"/>
                  <a:gd name="T73" fmla="*/ 144 h 207"/>
                  <a:gd name="T74" fmla="*/ 11 w 201"/>
                  <a:gd name="T75" fmla="*/ 135 h 207"/>
                  <a:gd name="T76" fmla="*/ 47 w 201"/>
                  <a:gd name="T77" fmla="*/ 138 h 207"/>
                  <a:gd name="T78" fmla="*/ 54 w 201"/>
                  <a:gd name="T79" fmla="*/ 138 h 207"/>
                  <a:gd name="T80" fmla="*/ 81 w 201"/>
                  <a:gd name="T81" fmla="*/ 133 h 207"/>
                  <a:gd name="T82" fmla="*/ 79 w 201"/>
                  <a:gd name="T83" fmla="*/ 121 h 207"/>
                  <a:gd name="T84" fmla="*/ 93 w 201"/>
                  <a:gd name="T85" fmla="*/ 108 h 207"/>
                  <a:gd name="T86" fmla="*/ 99 w 201"/>
                  <a:gd name="T87" fmla="*/ 108 h 207"/>
                  <a:gd name="T88" fmla="*/ 104 w 201"/>
                  <a:gd name="T89" fmla="*/ 104 h 207"/>
                  <a:gd name="T90" fmla="*/ 113 w 201"/>
                  <a:gd name="T91" fmla="*/ 99 h 207"/>
                  <a:gd name="T92" fmla="*/ 123 w 201"/>
                  <a:gd name="T93" fmla="*/ 97 h 207"/>
                  <a:gd name="T94" fmla="*/ 122 w 201"/>
                  <a:gd name="T95" fmla="*/ 86 h 207"/>
                  <a:gd name="T96" fmla="*/ 134 w 201"/>
                  <a:gd name="T97" fmla="*/ 75 h 207"/>
                  <a:gd name="T98" fmla="*/ 129 w 201"/>
                  <a:gd name="T99" fmla="*/ 60 h 207"/>
                  <a:gd name="T100" fmla="*/ 137 w 201"/>
                  <a:gd name="T101" fmla="*/ 60 h 207"/>
                  <a:gd name="T102" fmla="*/ 148 w 201"/>
                  <a:gd name="T103" fmla="*/ 50 h 207"/>
                  <a:gd name="T104" fmla="*/ 153 w 201"/>
                  <a:gd name="T105" fmla="*/ 40 h 207"/>
                  <a:gd name="T106" fmla="*/ 144 w 201"/>
                  <a:gd name="T107" fmla="*/ 22 h 207"/>
                  <a:gd name="T108" fmla="*/ 154 w 201"/>
                  <a:gd name="T109" fmla="*/ 14 h 207"/>
                  <a:gd name="T110" fmla="*/ 182 w 201"/>
                  <a:gd name="T111" fmla="*/ 2 h 207"/>
                  <a:gd name="T112" fmla="*/ 195 w 201"/>
                  <a:gd name="T113" fmla="*/ 0 h 207"/>
                  <a:gd name="T114" fmla="*/ 206 w 201"/>
                  <a:gd name="T115" fmla="*/ 1 h 207"/>
                  <a:gd name="T116" fmla="*/ 217 w 201"/>
                  <a:gd name="T117" fmla="*/ 20 h 207"/>
                  <a:gd name="T118" fmla="*/ 230 w 201"/>
                  <a:gd name="T119" fmla="*/ 25 h 207"/>
                  <a:gd name="T120" fmla="*/ 242 w 201"/>
                  <a:gd name="T121" fmla="*/ 32 h 207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201"/>
                  <a:gd name="T184" fmla="*/ 0 h 207"/>
                  <a:gd name="T185" fmla="*/ 201 w 201"/>
                  <a:gd name="T186" fmla="*/ 207 h 207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201" h="207">
                    <a:moveTo>
                      <a:pt x="201" y="27"/>
                    </a:moveTo>
                    <a:cubicBezTo>
                      <a:pt x="200" y="29"/>
                      <a:pt x="199" y="31"/>
                      <a:pt x="197" y="33"/>
                    </a:cubicBezTo>
                    <a:cubicBezTo>
                      <a:pt x="196" y="35"/>
                      <a:pt x="195" y="37"/>
                      <a:pt x="194" y="38"/>
                    </a:cubicBezTo>
                    <a:cubicBezTo>
                      <a:pt x="192" y="40"/>
                      <a:pt x="189" y="41"/>
                      <a:pt x="186" y="42"/>
                    </a:cubicBezTo>
                    <a:cubicBezTo>
                      <a:pt x="182" y="42"/>
                      <a:pt x="178" y="43"/>
                      <a:pt x="174" y="42"/>
                    </a:cubicBezTo>
                    <a:cubicBezTo>
                      <a:pt x="171" y="41"/>
                      <a:pt x="169" y="38"/>
                      <a:pt x="166" y="38"/>
                    </a:cubicBezTo>
                    <a:cubicBezTo>
                      <a:pt x="164" y="38"/>
                      <a:pt x="162" y="39"/>
                      <a:pt x="162" y="40"/>
                    </a:cubicBezTo>
                    <a:cubicBezTo>
                      <a:pt x="161" y="43"/>
                      <a:pt x="162" y="46"/>
                      <a:pt x="162" y="49"/>
                    </a:cubicBezTo>
                    <a:cubicBezTo>
                      <a:pt x="162" y="53"/>
                      <a:pt x="161" y="58"/>
                      <a:pt x="162" y="62"/>
                    </a:cubicBezTo>
                    <a:cubicBezTo>
                      <a:pt x="163" y="64"/>
                      <a:pt x="166" y="65"/>
                      <a:pt x="168" y="67"/>
                    </a:cubicBezTo>
                    <a:cubicBezTo>
                      <a:pt x="168" y="68"/>
                      <a:pt x="167" y="69"/>
                      <a:pt x="168" y="70"/>
                    </a:cubicBezTo>
                    <a:cubicBezTo>
                      <a:pt x="170" y="70"/>
                      <a:pt x="173" y="68"/>
                      <a:pt x="176" y="69"/>
                    </a:cubicBezTo>
                    <a:cubicBezTo>
                      <a:pt x="178" y="70"/>
                      <a:pt x="182" y="72"/>
                      <a:pt x="181" y="75"/>
                    </a:cubicBezTo>
                    <a:cubicBezTo>
                      <a:pt x="180" y="77"/>
                      <a:pt x="176" y="77"/>
                      <a:pt x="173" y="79"/>
                    </a:cubicBezTo>
                    <a:cubicBezTo>
                      <a:pt x="172" y="80"/>
                      <a:pt x="170" y="82"/>
                      <a:pt x="170" y="84"/>
                    </a:cubicBezTo>
                    <a:cubicBezTo>
                      <a:pt x="169" y="85"/>
                      <a:pt x="171" y="87"/>
                      <a:pt x="171" y="88"/>
                    </a:cubicBezTo>
                    <a:cubicBezTo>
                      <a:pt x="171" y="90"/>
                      <a:pt x="169" y="91"/>
                      <a:pt x="169" y="92"/>
                    </a:cubicBezTo>
                    <a:cubicBezTo>
                      <a:pt x="169" y="94"/>
                      <a:pt x="172" y="94"/>
                      <a:pt x="171" y="95"/>
                    </a:cubicBezTo>
                    <a:cubicBezTo>
                      <a:pt x="171" y="97"/>
                      <a:pt x="169" y="96"/>
                      <a:pt x="168" y="97"/>
                    </a:cubicBezTo>
                    <a:cubicBezTo>
                      <a:pt x="166" y="99"/>
                      <a:pt x="165" y="102"/>
                      <a:pt x="164" y="104"/>
                    </a:cubicBezTo>
                    <a:cubicBezTo>
                      <a:pt x="163" y="105"/>
                      <a:pt x="164" y="107"/>
                      <a:pt x="164" y="108"/>
                    </a:cubicBezTo>
                    <a:cubicBezTo>
                      <a:pt x="162" y="109"/>
                      <a:pt x="157" y="109"/>
                      <a:pt x="156" y="112"/>
                    </a:cubicBezTo>
                    <a:cubicBezTo>
                      <a:pt x="155" y="115"/>
                      <a:pt x="158" y="120"/>
                      <a:pt x="156" y="123"/>
                    </a:cubicBezTo>
                    <a:cubicBezTo>
                      <a:pt x="155" y="126"/>
                      <a:pt x="150" y="126"/>
                      <a:pt x="148" y="129"/>
                    </a:cubicBezTo>
                    <a:cubicBezTo>
                      <a:pt x="146" y="130"/>
                      <a:pt x="146" y="133"/>
                      <a:pt x="144" y="135"/>
                    </a:cubicBezTo>
                    <a:cubicBezTo>
                      <a:pt x="143" y="136"/>
                      <a:pt x="141" y="135"/>
                      <a:pt x="140" y="136"/>
                    </a:cubicBezTo>
                    <a:cubicBezTo>
                      <a:pt x="140" y="139"/>
                      <a:pt x="142" y="142"/>
                      <a:pt x="140" y="144"/>
                    </a:cubicBezTo>
                    <a:cubicBezTo>
                      <a:pt x="139" y="146"/>
                      <a:pt x="136" y="143"/>
                      <a:pt x="134" y="143"/>
                    </a:cubicBezTo>
                    <a:cubicBezTo>
                      <a:pt x="132" y="144"/>
                      <a:pt x="131" y="147"/>
                      <a:pt x="129" y="147"/>
                    </a:cubicBezTo>
                    <a:cubicBezTo>
                      <a:pt x="127" y="146"/>
                      <a:pt x="126" y="143"/>
                      <a:pt x="124" y="143"/>
                    </a:cubicBezTo>
                    <a:cubicBezTo>
                      <a:pt x="123" y="142"/>
                      <a:pt x="122" y="143"/>
                      <a:pt x="121" y="143"/>
                    </a:cubicBezTo>
                    <a:cubicBezTo>
                      <a:pt x="117" y="148"/>
                      <a:pt x="112" y="152"/>
                      <a:pt x="110" y="158"/>
                    </a:cubicBezTo>
                    <a:cubicBezTo>
                      <a:pt x="109" y="160"/>
                      <a:pt x="110" y="162"/>
                      <a:pt x="112" y="163"/>
                    </a:cubicBezTo>
                    <a:cubicBezTo>
                      <a:pt x="113" y="164"/>
                      <a:pt x="115" y="163"/>
                      <a:pt x="117" y="163"/>
                    </a:cubicBezTo>
                    <a:cubicBezTo>
                      <a:pt x="118" y="164"/>
                      <a:pt x="120" y="164"/>
                      <a:pt x="120" y="165"/>
                    </a:cubicBezTo>
                    <a:cubicBezTo>
                      <a:pt x="121" y="168"/>
                      <a:pt x="119" y="170"/>
                      <a:pt x="120" y="172"/>
                    </a:cubicBezTo>
                    <a:cubicBezTo>
                      <a:pt x="121" y="175"/>
                      <a:pt x="122" y="178"/>
                      <a:pt x="125" y="179"/>
                    </a:cubicBezTo>
                    <a:cubicBezTo>
                      <a:pt x="126" y="180"/>
                      <a:pt x="128" y="179"/>
                      <a:pt x="129" y="179"/>
                    </a:cubicBezTo>
                    <a:cubicBezTo>
                      <a:pt x="130" y="180"/>
                      <a:pt x="128" y="182"/>
                      <a:pt x="129" y="183"/>
                    </a:cubicBezTo>
                    <a:cubicBezTo>
                      <a:pt x="130" y="187"/>
                      <a:pt x="134" y="190"/>
                      <a:pt x="135" y="194"/>
                    </a:cubicBezTo>
                    <a:cubicBezTo>
                      <a:pt x="135" y="194"/>
                      <a:pt x="132" y="194"/>
                      <a:pt x="132" y="195"/>
                    </a:cubicBezTo>
                    <a:cubicBezTo>
                      <a:pt x="132" y="196"/>
                      <a:pt x="135" y="198"/>
                      <a:pt x="134" y="199"/>
                    </a:cubicBezTo>
                    <a:cubicBezTo>
                      <a:pt x="134" y="200"/>
                      <a:pt x="131" y="201"/>
                      <a:pt x="130" y="200"/>
                    </a:cubicBezTo>
                    <a:cubicBezTo>
                      <a:pt x="128" y="200"/>
                      <a:pt x="131" y="197"/>
                      <a:pt x="130" y="197"/>
                    </a:cubicBezTo>
                    <a:cubicBezTo>
                      <a:pt x="127" y="197"/>
                      <a:pt x="125" y="201"/>
                      <a:pt x="122" y="201"/>
                    </a:cubicBezTo>
                    <a:cubicBezTo>
                      <a:pt x="120" y="201"/>
                      <a:pt x="118" y="200"/>
                      <a:pt x="116" y="200"/>
                    </a:cubicBezTo>
                    <a:cubicBezTo>
                      <a:pt x="112" y="199"/>
                      <a:pt x="109" y="198"/>
                      <a:pt x="105" y="199"/>
                    </a:cubicBezTo>
                    <a:cubicBezTo>
                      <a:pt x="104" y="199"/>
                      <a:pt x="106" y="201"/>
                      <a:pt x="105" y="202"/>
                    </a:cubicBezTo>
                    <a:cubicBezTo>
                      <a:pt x="104" y="203"/>
                      <a:pt x="102" y="203"/>
                      <a:pt x="101" y="204"/>
                    </a:cubicBezTo>
                    <a:cubicBezTo>
                      <a:pt x="100" y="205"/>
                      <a:pt x="98" y="206"/>
                      <a:pt x="97" y="207"/>
                    </a:cubicBezTo>
                    <a:cubicBezTo>
                      <a:pt x="95" y="206"/>
                      <a:pt x="92" y="205"/>
                      <a:pt x="90" y="203"/>
                    </a:cubicBezTo>
                    <a:cubicBezTo>
                      <a:pt x="88" y="200"/>
                      <a:pt x="88" y="195"/>
                      <a:pt x="85" y="192"/>
                    </a:cubicBezTo>
                    <a:cubicBezTo>
                      <a:pt x="83" y="190"/>
                      <a:pt x="79" y="190"/>
                      <a:pt x="76" y="188"/>
                    </a:cubicBezTo>
                    <a:cubicBezTo>
                      <a:pt x="75" y="187"/>
                      <a:pt x="77" y="184"/>
                      <a:pt x="76" y="183"/>
                    </a:cubicBezTo>
                    <a:cubicBezTo>
                      <a:pt x="74" y="181"/>
                      <a:pt x="71" y="180"/>
                      <a:pt x="68" y="180"/>
                    </a:cubicBezTo>
                    <a:cubicBezTo>
                      <a:pt x="64" y="180"/>
                      <a:pt x="60" y="181"/>
                      <a:pt x="56" y="182"/>
                    </a:cubicBezTo>
                    <a:cubicBezTo>
                      <a:pt x="54" y="182"/>
                      <a:pt x="52" y="183"/>
                      <a:pt x="50" y="184"/>
                    </a:cubicBezTo>
                    <a:cubicBezTo>
                      <a:pt x="46" y="184"/>
                      <a:pt x="43" y="184"/>
                      <a:pt x="39" y="184"/>
                    </a:cubicBezTo>
                    <a:cubicBezTo>
                      <a:pt x="37" y="184"/>
                      <a:pt x="35" y="184"/>
                      <a:pt x="33" y="184"/>
                    </a:cubicBezTo>
                    <a:cubicBezTo>
                      <a:pt x="31" y="184"/>
                      <a:pt x="28" y="184"/>
                      <a:pt x="26" y="184"/>
                    </a:cubicBezTo>
                    <a:cubicBezTo>
                      <a:pt x="23" y="185"/>
                      <a:pt x="21" y="188"/>
                      <a:pt x="18" y="187"/>
                    </a:cubicBezTo>
                    <a:cubicBezTo>
                      <a:pt x="16" y="187"/>
                      <a:pt x="16" y="184"/>
                      <a:pt x="16" y="183"/>
                    </a:cubicBezTo>
                    <a:cubicBezTo>
                      <a:pt x="16" y="181"/>
                      <a:pt x="15" y="178"/>
                      <a:pt x="15" y="176"/>
                    </a:cubicBezTo>
                    <a:cubicBezTo>
                      <a:pt x="15" y="173"/>
                      <a:pt x="16" y="170"/>
                      <a:pt x="17" y="168"/>
                    </a:cubicBezTo>
                    <a:cubicBezTo>
                      <a:pt x="19" y="166"/>
                      <a:pt x="21" y="165"/>
                      <a:pt x="24" y="164"/>
                    </a:cubicBezTo>
                    <a:cubicBezTo>
                      <a:pt x="26" y="163"/>
                      <a:pt x="29" y="164"/>
                      <a:pt x="31" y="163"/>
                    </a:cubicBezTo>
                    <a:cubicBezTo>
                      <a:pt x="32" y="162"/>
                      <a:pt x="31" y="161"/>
                      <a:pt x="31" y="160"/>
                    </a:cubicBezTo>
                    <a:cubicBezTo>
                      <a:pt x="32" y="158"/>
                      <a:pt x="33" y="155"/>
                      <a:pt x="32" y="154"/>
                    </a:cubicBezTo>
                    <a:cubicBezTo>
                      <a:pt x="31" y="152"/>
                      <a:pt x="27" y="154"/>
                      <a:pt x="26" y="152"/>
                    </a:cubicBezTo>
                    <a:cubicBezTo>
                      <a:pt x="23" y="148"/>
                      <a:pt x="25" y="142"/>
                      <a:pt x="24" y="137"/>
                    </a:cubicBezTo>
                    <a:cubicBezTo>
                      <a:pt x="23" y="136"/>
                      <a:pt x="22" y="135"/>
                      <a:pt x="20" y="134"/>
                    </a:cubicBezTo>
                    <a:cubicBezTo>
                      <a:pt x="18" y="133"/>
                      <a:pt x="15" y="133"/>
                      <a:pt x="13" y="132"/>
                    </a:cubicBezTo>
                    <a:cubicBezTo>
                      <a:pt x="12" y="131"/>
                      <a:pt x="10" y="130"/>
                      <a:pt x="10" y="128"/>
                    </a:cubicBezTo>
                    <a:cubicBezTo>
                      <a:pt x="9" y="126"/>
                      <a:pt x="10" y="123"/>
                      <a:pt x="8" y="120"/>
                    </a:cubicBezTo>
                    <a:cubicBezTo>
                      <a:pt x="6" y="117"/>
                      <a:pt x="3" y="114"/>
                      <a:pt x="0" y="111"/>
                    </a:cubicBezTo>
                    <a:cubicBezTo>
                      <a:pt x="3" y="112"/>
                      <a:pt x="6" y="112"/>
                      <a:pt x="9" y="113"/>
                    </a:cubicBezTo>
                    <a:cubicBezTo>
                      <a:pt x="13" y="114"/>
                      <a:pt x="18" y="115"/>
                      <a:pt x="22" y="116"/>
                    </a:cubicBezTo>
                    <a:cubicBezTo>
                      <a:pt x="28" y="116"/>
                      <a:pt x="33" y="114"/>
                      <a:pt x="39" y="115"/>
                    </a:cubicBezTo>
                    <a:cubicBezTo>
                      <a:pt x="40" y="115"/>
                      <a:pt x="41" y="116"/>
                      <a:pt x="43" y="116"/>
                    </a:cubicBezTo>
                    <a:cubicBezTo>
                      <a:pt x="44" y="116"/>
                      <a:pt x="44" y="115"/>
                      <a:pt x="45" y="115"/>
                    </a:cubicBezTo>
                    <a:cubicBezTo>
                      <a:pt x="47" y="115"/>
                      <a:pt x="49" y="117"/>
                      <a:pt x="52" y="117"/>
                    </a:cubicBezTo>
                    <a:cubicBezTo>
                      <a:pt x="57" y="116"/>
                      <a:pt x="63" y="114"/>
                      <a:pt x="67" y="111"/>
                    </a:cubicBezTo>
                    <a:cubicBezTo>
                      <a:pt x="69" y="110"/>
                      <a:pt x="68" y="108"/>
                      <a:pt x="68" y="107"/>
                    </a:cubicBezTo>
                    <a:cubicBezTo>
                      <a:pt x="67" y="105"/>
                      <a:pt x="66" y="103"/>
                      <a:pt x="66" y="101"/>
                    </a:cubicBezTo>
                    <a:cubicBezTo>
                      <a:pt x="67" y="98"/>
                      <a:pt x="69" y="95"/>
                      <a:pt x="71" y="92"/>
                    </a:cubicBezTo>
                    <a:cubicBezTo>
                      <a:pt x="72" y="90"/>
                      <a:pt x="75" y="90"/>
                      <a:pt x="77" y="90"/>
                    </a:cubicBezTo>
                    <a:cubicBezTo>
                      <a:pt x="77" y="90"/>
                      <a:pt x="76" y="92"/>
                      <a:pt x="77" y="92"/>
                    </a:cubicBezTo>
                    <a:cubicBezTo>
                      <a:pt x="79" y="92"/>
                      <a:pt x="81" y="91"/>
                      <a:pt x="82" y="90"/>
                    </a:cubicBezTo>
                    <a:cubicBezTo>
                      <a:pt x="83" y="89"/>
                      <a:pt x="80" y="87"/>
                      <a:pt x="80" y="87"/>
                    </a:cubicBezTo>
                    <a:cubicBezTo>
                      <a:pt x="82" y="85"/>
                      <a:pt x="84" y="88"/>
                      <a:pt x="86" y="87"/>
                    </a:cubicBezTo>
                    <a:cubicBezTo>
                      <a:pt x="88" y="85"/>
                      <a:pt x="88" y="82"/>
                      <a:pt x="90" y="81"/>
                    </a:cubicBezTo>
                    <a:cubicBezTo>
                      <a:pt x="92" y="80"/>
                      <a:pt x="93" y="82"/>
                      <a:pt x="94" y="83"/>
                    </a:cubicBezTo>
                    <a:cubicBezTo>
                      <a:pt x="96" y="84"/>
                      <a:pt x="97" y="86"/>
                      <a:pt x="98" y="86"/>
                    </a:cubicBezTo>
                    <a:cubicBezTo>
                      <a:pt x="100" y="85"/>
                      <a:pt x="102" y="83"/>
                      <a:pt x="102" y="81"/>
                    </a:cubicBezTo>
                    <a:cubicBezTo>
                      <a:pt x="103" y="80"/>
                      <a:pt x="100" y="80"/>
                      <a:pt x="100" y="78"/>
                    </a:cubicBezTo>
                    <a:cubicBezTo>
                      <a:pt x="100" y="76"/>
                      <a:pt x="100" y="74"/>
                      <a:pt x="101" y="72"/>
                    </a:cubicBezTo>
                    <a:cubicBezTo>
                      <a:pt x="102" y="69"/>
                      <a:pt x="102" y="65"/>
                      <a:pt x="104" y="64"/>
                    </a:cubicBezTo>
                    <a:cubicBezTo>
                      <a:pt x="106" y="62"/>
                      <a:pt x="110" y="65"/>
                      <a:pt x="111" y="63"/>
                    </a:cubicBezTo>
                    <a:cubicBezTo>
                      <a:pt x="113" y="62"/>
                      <a:pt x="112" y="59"/>
                      <a:pt x="111" y="57"/>
                    </a:cubicBezTo>
                    <a:cubicBezTo>
                      <a:pt x="110" y="54"/>
                      <a:pt x="108" y="52"/>
                      <a:pt x="107" y="50"/>
                    </a:cubicBezTo>
                    <a:cubicBezTo>
                      <a:pt x="107" y="49"/>
                      <a:pt x="107" y="47"/>
                      <a:pt x="108" y="47"/>
                    </a:cubicBezTo>
                    <a:cubicBezTo>
                      <a:pt x="110" y="47"/>
                      <a:pt x="111" y="50"/>
                      <a:pt x="114" y="50"/>
                    </a:cubicBezTo>
                    <a:cubicBezTo>
                      <a:pt x="116" y="50"/>
                      <a:pt x="119" y="49"/>
                      <a:pt x="120" y="48"/>
                    </a:cubicBezTo>
                    <a:cubicBezTo>
                      <a:pt x="122" y="46"/>
                      <a:pt x="122" y="44"/>
                      <a:pt x="123" y="42"/>
                    </a:cubicBezTo>
                    <a:cubicBezTo>
                      <a:pt x="123" y="41"/>
                      <a:pt x="122" y="40"/>
                      <a:pt x="123" y="39"/>
                    </a:cubicBezTo>
                    <a:cubicBezTo>
                      <a:pt x="124" y="37"/>
                      <a:pt x="127" y="35"/>
                      <a:pt x="127" y="33"/>
                    </a:cubicBezTo>
                    <a:cubicBezTo>
                      <a:pt x="128" y="29"/>
                      <a:pt x="126" y="25"/>
                      <a:pt x="124" y="21"/>
                    </a:cubicBezTo>
                    <a:cubicBezTo>
                      <a:pt x="124" y="19"/>
                      <a:pt x="121" y="19"/>
                      <a:pt x="120" y="18"/>
                    </a:cubicBezTo>
                    <a:cubicBezTo>
                      <a:pt x="120" y="16"/>
                      <a:pt x="121" y="13"/>
                      <a:pt x="123" y="12"/>
                    </a:cubicBezTo>
                    <a:cubicBezTo>
                      <a:pt x="125" y="11"/>
                      <a:pt x="127" y="13"/>
                      <a:pt x="128" y="12"/>
                    </a:cubicBezTo>
                    <a:cubicBezTo>
                      <a:pt x="133" y="10"/>
                      <a:pt x="135" y="5"/>
                      <a:pt x="139" y="3"/>
                    </a:cubicBezTo>
                    <a:cubicBezTo>
                      <a:pt x="143" y="1"/>
                      <a:pt x="147" y="2"/>
                      <a:pt x="151" y="2"/>
                    </a:cubicBezTo>
                    <a:cubicBezTo>
                      <a:pt x="152" y="2"/>
                      <a:pt x="154" y="3"/>
                      <a:pt x="156" y="3"/>
                    </a:cubicBezTo>
                    <a:cubicBezTo>
                      <a:pt x="158" y="3"/>
                      <a:pt x="160" y="1"/>
                      <a:pt x="162" y="0"/>
                    </a:cubicBezTo>
                    <a:cubicBezTo>
                      <a:pt x="164" y="1"/>
                      <a:pt x="166" y="2"/>
                      <a:pt x="168" y="3"/>
                    </a:cubicBezTo>
                    <a:cubicBezTo>
                      <a:pt x="169" y="3"/>
                      <a:pt x="170" y="1"/>
                      <a:pt x="171" y="1"/>
                    </a:cubicBezTo>
                    <a:cubicBezTo>
                      <a:pt x="175" y="4"/>
                      <a:pt x="178" y="7"/>
                      <a:pt x="180" y="11"/>
                    </a:cubicBezTo>
                    <a:cubicBezTo>
                      <a:pt x="181" y="12"/>
                      <a:pt x="179" y="15"/>
                      <a:pt x="180" y="17"/>
                    </a:cubicBezTo>
                    <a:cubicBezTo>
                      <a:pt x="180" y="18"/>
                      <a:pt x="181" y="20"/>
                      <a:pt x="182" y="21"/>
                    </a:cubicBezTo>
                    <a:cubicBezTo>
                      <a:pt x="185" y="22"/>
                      <a:pt x="188" y="20"/>
                      <a:pt x="191" y="21"/>
                    </a:cubicBezTo>
                    <a:cubicBezTo>
                      <a:pt x="192" y="22"/>
                      <a:pt x="191" y="25"/>
                      <a:pt x="192" y="26"/>
                    </a:cubicBezTo>
                    <a:cubicBezTo>
                      <a:pt x="195" y="27"/>
                      <a:pt x="198" y="27"/>
                      <a:pt x="201" y="27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05" name="Freeform 2625"/>
              <p:cNvSpPr>
                <a:spLocks noChangeAspect="1"/>
              </p:cNvSpPr>
              <p:nvPr/>
            </p:nvSpPr>
            <p:spPr bwMode="auto">
              <a:xfrm>
                <a:off x="5647642" y="2100538"/>
                <a:ext cx="956310" cy="538272"/>
              </a:xfrm>
              <a:custGeom>
                <a:avLst/>
                <a:gdLst>
                  <a:gd name="T0" fmla="*/ 49 w 713"/>
                  <a:gd name="T1" fmla="*/ 254 h 540"/>
                  <a:gd name="T2" fmla="*/ 1 w 713"/>
                  <a:gd name="T3" fmla="*/ 276 h 540"/>
                  <a:gd name="T4" fmla="*/ 20 w 713"/>
                  <a:gd name="T5" fmla="*/ 326 h 540"/>
                  <a:gd name="T6" fmla="*/ 54 w 713"/>
                  <a:gd name="T7" fmla="*/ 359 h 540"/>
                  <a:gd name="T8" fmla="*/ 88 w 713"/>
                  <a:gd name="T9" fmla="*/ 401 h 540"/>
                  <a:gd name="T10" fmla="*/ 89 w 713"/>
                  <a:gd name="T11" fmla="*/ 437 h 540"/>
                  <a:gd name="T12" fmla="*/ 132 w 713"/>
                  <a:gd name="T13" fmla="*/ 463 h 540"/>
                  <a:gd name="T14" fmla="*/ 176 w 713"/>
                  <a:gd name="T15" fmla="*/ 491 h 540"/>
                  <a:gd name="T16" fmla="*/ 219 w 713"/>
                  <a:gd name="T17" fmla="*/ 509 h 540"/>
                  <a:gd name="T18" fmla="*/ 252 w 713"/>
                  <a:gd name="T19" fmla="*/ 510 h 540"/>
                  <a:gd name="T20" fmla="*/ 287 w 713"/>
                  <a:gd name="T21" fmla="*/ 509 h 540"/>
                  <a:gd name="T22" fmla="*/ 330 w 713"/>
                  <a:gd name="T23" fmla="*/ 481 h 540"/>
                  <a:gd name="T24" fmla="*/ 363 w 713"/>
                  <a:gd name="T25" fmla="*/ 499 h 540"/>
                  <a:gd name="T26" fmla="*/ 396 w 713"/>
                  <a:gd name="T27" fmla="*/ 538 h 540"/>
                  <a:gd name="T28" fmla="*/ 392 w 713"/>
                  <a:gd name="T29" fmla="*/ 576 h 540"/>
                  <a:gd name="T30" fmla="*/ 421 w 713"/>
                  <a:gd name="T31" fmla="*/ 613 h 540"/>
                  <a:gd name="T32" fmla="*/ 451 w 713"/>
                  <a:gd name="T33" fmla="*/ 625 h 540"/>
                  <a:gd name="T34" fmla="*/ 462 w 713"/>
                  <a:gd name="T35" fmla="*/ 602 h 540"/>
                  <a:gd name="T36" fmla="*/ 488 w 713"/>
                  <a:gd name="T37" fmla="*/ 602 h 540"/>
                  <a:gd name="T38" fmla="*/ 523 w 713"/>
                  <a:gd name="T39" fmla="*/ 601 h 540"/>
                  <a:gd name="T40" fmla="*/ 570 w 713"/>
                  <a:gd name="T41" fmla="*/ 622 h 540"/>
                  <a:gd name="T42" fmla="*/ 583 w 713"/>
                  <a:gd name="T43" fmla="*/ 628 h 540"/>
                  <a:gd name="T44" fmla="*/ 621 w 713"/>
                  <a:gd name="T45" fmla="*/ 613 h 540"/>
                  <a:gd name="T46" fmla="*/ 651 w 713"/>
                  <a:gd name="T47" fmla="*/ 605 h 540"/>
                  <a:gd name="T48" fmla="*/ 710 w 713"/>
                  <a:gd name="T49" fmla="*/ 541 h 540"/>
                  <a:gd name="T50" fmla="*/ 733 w 713"/>
                  <a:gd name="T51" fmla="*/ 491 h 540"/>
                  <a:gd name="T52" fmla="*/ 709 w 713"/>
                  <a:gd name="T53" fmla="*/ 460 h 540"/>
                  <a:gd name="T54" fmla="*/ 706 w 713"/>
                  <a:gd name="T55" fmla="*/ 426 h 540"/>
                  <a:gd name="T56" fmla="*/ 710 w 713"/>
                  <a:gd name="T57" fmla="*/ 412 h 540"/>
                  <a:gd name="T58" fmla="*/ 693 w 713"/>
                  <a:gd name="T59" fmla="*/ 355 h 540"/>
                  <a:gd name="T60" fmla="*/ 716 w 713"/>
                  <a:gd name="T61" fmla="*/ 334 h 540"/>
                  <a:gd name="T62" fmla="*/ 696 w 713"/>
                  <a:gd name="T63" fmla="*/ 317 h 540"/>
                  <a:gd name="T64" fmla="*/ 644 w 713"/>
                  <a:gd name="T65" fmla="*/ 305 h 540"/>
                  <a:gd name="T66" fmla="*/ 705 w 713"/>
                  <a:gd name="T67" fmla="*/ 266 h 540"/>
                  <a:gd name="T68" fmla="*/ 717 w 713"/>
                  <a:gd name="T69" fmla="*/ 282 h 540"/>
                  <a:gd name="T70" fmla="*/ 771 w 713"/>
                  <a:gd name="T71" fmla="*/ 244 h 540"/>
                  <a:gd name="T72" fmla="*/ 807 w 713"/>
                  <a:gd name="T73" fmla="*/ 215 h 540"/>
                  <a:gd name="T74" fmla="*/ 815 w 713"/>
                  <a:gd name="T75" fmla="*/ 180 h 540"/>
                  <a:gd name="T76" fmla="*/ 850 w 713"/>
                  <a:gd name="T77" fmla="*/ 145 h 540"/>
                  <a:gd name="T78" fmla="*/ 791 w 713"/>
                  <a:gd name="T79" fmla="*/ 110 h 540"/>
                  <a:gd name="T80" fmla="*/ 739 w 713"/>
                  <a:gd name="T81" fmla="*/ 71 h 540"/>
                  <a:gd name="T82" fmla="*/ 710 w 713"/>
                  <a:gd name="T83" fmla="*/ 23 h 540"/>
                  <a:gd name="T84" fmla="*/ 630 w 713"/>
                  <a:gd name="T85" fmla="*/ 7 h 540"/>
                  <a:gd name="T86" fmla="*/ 622 w 713"/>
                  <a:gd name="T87" fmla="*/ 71 h 540"/>
                  <a:gd name="T88" fmla="*/ 586 w 713"/>
                  <a:gd name="T89" fmla="*/ 120 h 540"/>
                  <a:gd name="T90" fmla="*/ 643 w 713"/>
                  <a:gd name="T91" fmla="*/ 145 h 540"/>
                  <a:gd name="T92" fmla="*/ 598 w 713"/>
                  <a:gd name="T93" fmla="*/ 162 h 540"/>
                  <a:gd name="T94" fmla="*/ 540 w 713"/>
                  <a:gd name="T95" fmla="*/ 194 h 540"/>
                  <a:gd name="T96" fmla="*/ 442 w 713"/>
                  <a:gd name="T97" fmla="*/ 241 h 540"/>
                  <a:gd name="T98" fmla="*/ 324 w 713"/>
                  <a:gd name="T99" fmla="*/ 223 h 540"/>
                  <a:gd name="T100" fmla="*/ 265 w 713"/>
                  <a:gd name="T101" fmla="*/ 176 h 540"/>
                  <a:gd name="T102" fmla="*/ 224 w 713"/>
                  <a:gd name="T103" fmla="*/ 134 h 540"/>
                  <a:gd name="T104" fmla="*/ 179 w 713"/>
                  <a:gd name="T105" fmla="*/ 98 h 540"/>
                  <a:gd name="T106" fmla="*/ 149 w 713"/>
                  <a:gd name="T107" fmla="*/ 119 h 540"/>
                  <a:gd name="T108" fmla="*/ 109 w 713"/>
                  <a:gd name="T109" fmla="*/ 174 h 540"/>
                  <a:gd name="T110" fmla="*/ 91 w 713"/>
                  <a:gd name="T111" fmla="*/ 212 h 540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713"/>
                  <a:gd name="T169" fmla="*/ 0 h 540"/>
                  <a:gd name="T170" fmla="*/ 713 w 713"/>
                  <a:gd name="T171" fmla="*/ 540 h 540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713" h="540">
                    <a:moveTo>
                      <a:pt x="72" y="191"/>
                    </a:moveTo>
                    <a:cubicBezTo>
                      <a:pt x="72" y="191"/>
                      <a:pt x="74" y="193"/>
                      <a:pt x="74" y="193"/>
                    </a:cubicBezTo>
                    <a:cubicBezTo>
                      <a:pt x="73" y="194"/>
                      <a:pt x="71" y="194"/>
                      <a:pt x="70" y="196"/>
                    </a:cubicBezTo>
                    <a:cubicBezTo>
                      <a:pt x="68" y="197"/>
                      <a:pt x="69" y="200"/>
                      <a:pt x="67" y="201"/>
                    </a:cubicBezTo>
                    <a:cubicBezTo>
                      <a:pt x="65" y="201"/>
                      <a:pt x="64" y="198"/>
                      <a:pt x="63" y="199"/>
                    </a:cubicBezTo>
                    <a:cubicBezTo>
                      <a:pt x="59" y="200"/>
                      <a:pt x="57" y="203"/>
                      <a:pt x="55" y="206"/>
                    </a:cubicBezTo>
                    <a:cubicBezTo>
                      <a:pt x="53" y="207"/>
                      <a:pt x="54" y="211"/>
                      <a:pt x="52" y="212"/>
                    </a:cubicBezTo>
                    <a:cubicBezTo>
                      <a:pt x="49" y="213"/>
                      <a:pt x="45" y="211"/>
                      <a:pt x="41" y="212"/>
                    </a:cubicBezTo>
                    <a:cubicBezTo>
                      <a:pt x="39" y="212"/>
                      <a:pt x="37" y="212"/>
                      <a:pt x="36" y="213"/>
                    </a:cubicBezTo>
                    <a:cubicBezTo>
                      <a:pt x="33" y="216"/>
                      <a:pt x="35" y="220"/>
                      <a:pt x="32" y="223"/>
                    </a:cubicBezTo>
                    <a:cubicBezTo>
                      <a:pt x="30" y="225"/>
                      <a:pt x="26" y="226"/>
                      <a:pt x="23" y="225"/>
                    </a:cubicBezTo>
                    <a:cubicBezTo>
                      <a:pt x="22" y="225"/>
                      <a:pt x="24" y="221"/>
                      <a:pt x="22" y="220"/>
                    </a:cubicBezTo>
                    <a:cubicBezTo>
                      <a:pt x="20" y="220"/>
                      <a:pt x="19" y="223"/>
                      <a:pt x="18" y="224"/>
                    </a:cubicBezTo>
                    <a:cubicBezTo>
                      <a:pt x="16" y="224"/>
                      <a:pt x="14" y="222"/>
                      <a:pt x="13" y="223"/>
                    </a:cubicBezTo>
                    <a:cubicBezTo>
                      <a:pt x="11" y="224"/>
                      <a:pt x="9" y="226"/>
                      <a:pt x="7" y="227"/>
                    </a:cubicBezTo>
                    <a:cubicBezTo>
                      <a:pt x="5" y="228"/>
                      <a:pt x="2" y="228"/>
                      <a:pt x="1" y="230"/>
                    </a:cubicBezTo>
                    <a:cubicBezTo>
                      <a:pt x="0" y="232"/>
                      <a:pt x="1" y="236"/>
                      <a:pt x="1" y="239"/>
                    </a:cubicBezTo>
                    <a:cubicBezTo>
                      <a:pt x="1" y="240"/>
                      <a:pt x="3" y="243"/>
                      <a:pt x="3" y="245"/>
                    </a:cubicBezTo>
                    <a:cubicBezTo>
                      <a:pt x="3" y="246"/>
                      <a:pt x="3" y="247"/>
                      <a:pt x="2" y="248"/>
                    </a:cubicBezTo>
                    <a:cubicBezTo>
                      <a:pt x="2" y="250"/>
                      <a:pt x="1" y="253"/>
                      <a:pt x="2" y="253"/>
                    </a:cubicBezTo>
                    <a:cubicBezTo>
                      <a:pt x="5" y="253"/>
                      <a:pt x="8" y="249"/>
                      <a:pt x="11" y="249"/>
                    </a:cubicBezTo>
                    <a:cubicBezTo>
                      <a:pt x="14" y="250"/>
                      <a:pt x="16" y="254"/>
                      <a:pt x="17" y="256"/>
                    </a:cubicBezTo>
                    <a:cubicBezTo>
                      <a:pt x="19" y="260"/>
                      <a:pt x="22" y="264"/>
                      <a:pt x="22" y="269"/>
                    </a:cubicBezTo>
                    <a:cubicBezTo>
                      <a:pt x="22" y="271"/>
                      <a:pt x="18" y="271"/>
                      <a:pt x="17" y="272"/>
                    </a:cubicBezTo>
                    <a:cubicBezTo>
                      <a:pt x="16" y="274"/>
                      <a:pt x="15" y="275"/>
                      <a:pt x="15" y="276"/>
                    </a:cubicBezTo>
                    <a:cubicBezTo>
                      <a:pt x="15" y="277"/>
                      <a:pt x="15" y="278"/>
                      <a:pt x="16" y="278"/>
                    </a:cubicBezTo>
                    <a:cubicBezTo>
                      <a:pt x="18" y="279"/>
                      <a:pt x="20" y="280"/>
                      <a:pt x="22" y="281"/>
                    </a:cubicBezTo>
                    <a:cubicBezTo>
                      <a:pt x="23" y="281"/>
                      <a:pt x="24" y="279"/>
                      <a:pt x="25" y="279"/>
                    </a:cubicBezTo>
                    <a:cubicBezTo>
                      <a:pt x="29" y="282"/>
                      <a:pt x="32" y="285"/>
                      <a:pt x="34" y="289"/>
                    </a:cubicBezTo>
                    <a:cubicBezTo>
                      <a:pt x="35" y="290"/>
                      <a:pt x="33" y="293"/>
                      <a:pt x="34" y="295"/>
                    </a:cubicBezTo>
                    <a:cubicBezTo>
                      <a:pt x="34" y="296"/>
                      <a:pt x="35" y="298"/>
                      <a:pt x="36" y="299"/>
                    </a:cubicBezTo>
                    <a:cubicBezTo>
                      <a:pt x="39" y="300"/>
                      <a:pt x="42" y="298"/>
                      <a:pt x="45" y="299"/>
                    </a:cubicBezTo>
                    <a:cubicBezTo>
                      <a:pt x="46" y="300"/>
                      <a:pt x="45" y="303"/>
                      <a:pt x="46" y="304"/>
                    </a:cubicBezTo>
                    <a:cubicBezTo>
                      <a:pt x="49" y="305"/>
                      <a:pt x="52" y="305"/>
                      <a:pt x="55" y="305"/>
                    </a:cubicBezTo>
                    <a:cubicBezTo>
                      <a:pt x="57" y="305"/>
                      <a:pt x="59" y="303"/>
                      <a:pt x="61" y="304"/>
                    </a:cubicBezTo>
                    <a:cubicBezTo>
                      <a:pt x="63" y="306"/>
                      <a:pt x="62" y="310"/>
                      <a:pt x="64" y="312"/>
                    </a:cubicBezTo>
                    <a:cubicBezTo>
                      <a:pt x="66" y="315"/>
                      <a:pt x="69" y="316"/>
                      <a:pt x="71" y="319"/>
                    </a:cubicBezTo>
                    <a:cubicBezTo>
                      <a:pt x="72" y="321"/>
                      <a:pt x="74" y="322"/>
                      <a:pt x="74" y="325"/>
                    </a:cubicBezTo>
                    <a:cubicBezTo>
                      <a:pt x="73" y="326"/>
                      <a:pt x="69" y="323"/>
                      <a:pt x="69" y="325"/>
                    </a:cubicBezTo>
                    <a:cubicBezTo>
                      <a:pt x="69" y="328"/>
                      <a:pt x="71" y="331"/>
                      <a:pt x="73" y="334"/>
                    </a:cubicBezTo>
                    <a:cubicBezTo>
                      <a:pt x="74" y="336"/>
                      <a:pt x="77" y="337"/>
                      <a:pt x="79" y="339"/>
                    </a:cubicBezTo>
                    <a:cubicBezTo>
                      <a:pt x="82" y="342"/>
                      <a:pt x="86" y="345"/>
                      <a:pt x="86" y="348"/>
                    </a:cubicBezTo>
                    <a:cubicBezTo>
                      <a:pt x="86" y="352"/>
                      <a:pt x="81" y="354"/>
                      <a:pt x="78" y="355"/>
                    </a:cubicBezTo>
                    <a:cubicBezTo>
                      <a:pt x="76" y="355"/>
                      <a:pt x="75" y="353"/>
                      <a:pt x="74" y="352"/>
                    </a:cubicBezTo>
                    <a:cubicBezTo>
                      <a:pt x="74" y="351"/>
                      <a:pt x="75" y="349"/>
                      <a:pt x="74" y="349"/>
                    </a:cubicBezTo>
                    <a:cubicBezTo>
                      <a:pt x="73" y="349"/>
                      <a:pt x="72" y="351"/>
                      <a:pt x="71" y="352"/>
                    </a:cubicBezTo>
                    <a:cubicBezTo>
                      <a:pt x="70" y="353"/>
                      <a:pt x="70" y="354"/>
                      <a:pt x="70" y="355"/>
                    </a:cubicBezTo>
                    <a:cubicBezTo>
                      <a:pt x="71" y="358"/>
                      <a:pt x="73" y="361"/>
                      <a:pt x="74" y="364"/>
                    </a:cubicBezTo>
                    <a:cubicBezTo>
                      <a:pt x="75" y="366"/>
                      <a:pt x="75" y="369"/>
                      <a:pt x="77" y="370"/>
                    </a:cubicBezTo>
                    <a:cubicBezTo>
                      <a:pt x="78" y="371"/>
                      <a:pt x="80" y="369"/>
                      <a:pt x="81" y="370"/>
                    </a:cubicBezTo>
                    <a:cubicBezTo>
                      <a:pt x="84" y="372"/>
                      <a:pt x="84" y="375"/>
                      <a:pt x="87" y="377"/>
                    </a:cubicBezTo>
                    <a:cubicBezTo>
                      <a:pt x="88" y="378"/>
                      <a:pt x="90" y="377"/>
                      <a:pt x="92" y="377"/>
                    </a:cubicBezTo>
                    <a:cubicBezTo>
                      <a:pt x="95" y="379"/>
                      <a:pt x="98" y="382"/>
                      <a:pt x="101" y="384"/>
                    </a:cubicBezTo>
                    <a:cubicBezTo>
                      <a:pt x="103" y="385"/>
                      <a:pt x="104" y="386"/>
                      <a:pt x="106" y="387"/>
                    </a:cubicBezTo>
                    <a:cubicBezTo>
                      <a:pt x="107" y="388"/>
                      <a:pt x="108" y="391"/>
                      <a:pt x="110" y="390"/>
                    </a:cubicBezTo>
                    <a:cubicBezTo>
                      <a:pt x="111" y="390"/>
                      <a:pt x="109" y="387"/>
                      <a:pt x="110" y="386"/>
                    </a:cubicBezTo>
                    <a:cubicBezTo>
                      <a:pt x="111" y="385"/>
                      <a:pt x="113" y="386"/>
                      <a:pt x="114" y="386"/>
                    </a:cubicBezTo>
                    <a:cubicBezTo>
                      <a:pt x="116" y="387"/>
                      <a:pt x="119" y="388"/>
                      <a:pt x="122" y="389"/>
                    </a:cubicBezTo>
                    <a:cubicBezTo>
                      <a:pt x="125" y="391"/>
                      <a:pt x="129" y="394"/>
                      <a:pt x="132" y="396"/>
                    </a:cubicBezTo>
                    <a:cubicBezTo>
                      <a:pt x="134" y="398"/>
                      <a:pt x="135" y="402"/>
                      <a:pt x="138" y="403"/>
                    </a:cubicBezTo>
                    <a:cubicBezTo>
                      <a:pt x="140" y="403"/>
                      <a:pt x="140" y="399"/>
                      <a:pt x="141" y="399"/>
                    </a:cubicBezTo>
                    <a:cubicBezTo>
                      <a:pt x="142" y="398"/>
                      <a:pt x="144" y="398"/>
                      <a:pt x="145" y="399"/>
                    </a:cubicBezTo>
                    <a:cubicBezTo>
                      <a:pt x="146" y="401"/>
                      <a:pt x="144" y="403"/>
                      <a:pt x="145" y="405"/>
                    </a:cubicBezTo>
                    <a:cubicBezTo>
                      <a:pt x="145" y="407"/>
                      <a:pt x="146" y="408"/>
                      <a:pt x="147" y="409"/>
                    </a:cubicBezTo>
                    <a:cubicBezTo>
                      <a:pt x="150" y="410"/>
                      <a:pt x="155" y="409"/>
                      <a:pt x="158" y="410"/>
                    </a:cubicBezTo>
                    <a:cubicBezTo>
                      <a:pt x="159" y="411"/>
                      <a:pt x="157" y="414"/>
                      <a:pt x="158" y="415"/>
                    </a:cubicBezTo>
                    <a:cubicBezTo>
                      <a:pt x="159" y="416"/>
                      <a:pt x="162" y="415"/>
                      <a:pt x="164" y="416"/>
                    </a:cubicBezTo>
                    <a:cubicBezTo>
                      <a:pt x="166" y="417"/>
                      <a:pt x="166" y="420"/>
                      <a:pt x="168" y="421"/>
                    </a:cubicBezTo>
                    <a:cubicBezTo>
                      <a:pt x="169" y="422"/>
                      <a:pt x="171" y="419"/>
                      <a:pt x="172" y="420"/>
                    </a:cubicBezTo>
                    <a:cubicBezTo>
                      <a:pt x="173" y="420"/>
                      <a:pt x="173" y="423"/>
                      <a:pt x="175" y="423"/>
                    </a:cubicBezTo>
                    <a:cubicBezTo>
                      <a:pt x="176" y="423"/>
                      <a:pt x="177" y="420"/>
                      <a:pt x="179" y="420"/>
                    </a:cubicBezTo>
                    <a:cubicBezTo>
                      <a:pt x="181" y="420"/>
                      <a:pt x="181" y="423"/>
                      <a:pt x="183" y="424"/>
                    </a:cubicBezTo>
                    <a:cubicBezTo>
                      <a:pt x="184" y="425"/>
                      <a:pt x="186" y="426"/>
                      <a:pt x="187" y="426"/>
                    </a:cubicBezTo>
                    <a:cubicBezTo>
                      <a:pt x="189" y="426"/>
                      <a:pt x="191" y="424"/>
                      <a:pt x="193" y="423"/>
                    </a:cubicBezTo>
                    <a:cubicBezTo>
                      <a:pt x="194" y="423"/>
                      <a:pt x="195" y="424"/>
                      <a:pt x="196" y="424"/>
                    </a:cubicBezTo>
                    <a:cubicBezTo>
                      <a:pt x="198" y="422"/>
                      <a:pt x="199" y="420"/>
                      <a:pt x="201" y="419"/>
                    </a:cubicBezTo>
                    <a:cubicBezTo>
                      <a:pt x="202" y="419"/>
                      <a:pt x="204" y="418"/>
                      <a:pt x="205" y="419"/>
                    </a:cubicBezTo>
                    <a:cubicBezTo>
                      <a:pt x="206" y="421"/>
                      <a:pt x="205" y="424"/>
                      <a:pt x="205" y="426"/>
                    </a:cubicBezTo>
                    <a:cubicBezTo>
                      <a:pt x="205" y="429"/>
                      <a:pt x="206" y="431"/>
                      <a:pt x="206" y="433"/>
                    </a:cubicBezTo>
                    <a:cubicBezTo>
                      <a:pt x="208" y="431"/>
                      <a:pt x="210" y="427"/>
                      <a:pt x="210" y="425"/>
                    </a:cubicBezTo>
                    <a:cubicBezTo>
                      <a:pt x="211" y="423"/>
                      <a:pt x="210" y="422"/>
                      <a:pt x="211" y="420"/>
                    </a:cubicBezTo>
                    <a:cubicBezTo>
                      <a:pt x="212" y="419"/>
                      <a:pt x="214" y="418"/>
                      <a:pt x="215" y="417"/>
                    </a:cubicBezTo>
                    <a:cubicBezTo>
                      <a:pt x="217" y="417"/>
                      <a:pt x="218" y="418"/>
                      <a:pt x="219" y="418"/>
                    </a:cubicBezTo>
                    <a:cubicBezTo>
                      <a:pt x="221" y="418"/>
                      <a:pt x="222" y="416"/>
                      <a:pt x="223" y="417"/>
                    </a:cubicBezTo>
                    <a:cubicBezTo>
                      <a:pt x="225" y="417"/>
                      <a:pt x="226" y="419"/>
                      <a:pt x="227" y="420"/>
                    </a:cubicBezTo>
                    <a:cubicBezTo>
                      <a:pt x="229" y="421"/>
                      <a:pt x="231" y="421"/>
                      <a:pt x="234" y="421"/>
                    </a:cubicBezTo>
                    <a:cubicBezTo>
                      <a:pt x="235" y="421"/>
                      <a:pt x="237" y="420"/>
                      <a:pt x="238" y="420"/>
                    </a:cubicBezTo>
                    <a:cubicBezTo>
                      <a:pt x="239" y="421"/>
                      <a:pt x="239" y="423"/>
                      <a:pt x="239" y="424"/>
                    </a:cubicBezTo>
                    <a:cubicBezTo>
                      <a:pt x="242" y="424"/>
                      <a:pt x="244" y="423"/>
                      <a:pt x="247" y="423"/>
                    </a:cubicBezTo>
                    <a:cubicBezTo>
                      <a:pt x="249" y="422"/>
                      <a:pt x="252" y="424"/>
                      <a:pt x="253" y="423"/>
                    </a:cubicBezTo>
                    <a:cubicBezTo>
                      <a:pt x="254" y="422"/>
                      <a:pt x="251" y="419"/>
                      <a:pt x="252" y="418"/>
                    </a:cubicBezTo>
                    <a:cubicBezTo>
                      <a:pt x="253" y="416"/>
                      <a:pt x="256" y="416"/>
                      <a:pt x="258" y="414"/>
                    </a:cubicBezTo>
                    <a:cubicBezTo>
                      <a:pt x="259" y="413"/>
                      <a:pt x="258" y="410"/>
                      <a:pt x="259" y="409"/>
                    </a:cubicBezTo>
                    <a:cubicBezTo>
                      <a:pt x="262" y="407"/>
                      <a:pt x="266" y="409"/>
                      <a:pt x="269" y="408"/>
                    </a:cubicBezTo>
                    <a:cubicBezTo>
                      <a:pt x="270" y="407"/>
                      <a:pt x="268" y="405"/>
                      <a:pt x="268" y="404"/>
                    </a:cubicBezTo>
                    <a:cubicBezTo>
                      <a:pt x="270" y="402"/>
                      <a:pt x="273" y="401"/>
                      <a:pt x="275" y="401"/>
                    </a:cubicBezTo>
                    <a:cubicBezTo>
                      <a:pt x="278" y="401"/>
                      <a:pt x="280" y="404"/>
                      <a:pt x="283" y="404"/>
                    </a:cubicBezTo>
                    <a:cubicBezTo>
                      <a:pt x="284" y="405"/>
                      <a:pt x="284" y="403"/>
                      <a:pt x="285" y="403"/>
                    </a:cubicBezTo>
                    <a:cubicBezTo>
                      <a:pt x="287" y="401"/>
                      <a:pt x="289" y="399"/>
                      <a:pt x="292" y="398"/>
                    </a:cubicBezTo>
                    <a:cubicBezTo>
                      <a:pt x="294" y="398"/>
                      <a:pt x="296" y="400"/>
                      <a:pt x="297" y="401"/>
                    </a:cubicBezTo>
                    <a:cubicBezTo>
                      <a:pt x="298" y="403"/>
                      <a:pt x="300" y="405"/>
                      <a:pt x="300" y="408"/>
                    </a:cubicBezTo>
                    <a:cubicBezTo>
                      <a:pt x="299" y="410"/>
                      <a:pt x="295" y="411"/>
                      <a:pt x="295" y="414"/>
                    </a:cubicBezTo>
                    <a:cubicBezTo>
                      <a:pt x="295" y="415"/>
                      <a:pt x="298" y="413"/>
                      <a:pt x="300" y="414"/>
                    </a:cubicBezTo>
                    <a:cubicBezTo>
                      <a:pt x="301" y="414"/>
                      <a:pt x="302" y="416"/>
                      <a:pt x="303" y="416"/>
                    </a:cubicBezTo>
                    <a:cubicBezTo>
                      <a:pt x="305" y="417"/>
                      <a:pt x="308" y="415"/>
                      <a:pt x="310" y="416"/>
                    </a:cubicBezTo>
                    <a:cubicBezTo>
                      <a:pt x="311" y="416"/>
                      <a:pt x="311" y="418"/>
                      <a:pt x="312" y="419"/>
                    </a:cubicBezTo>
                    <a:cubicBezTo>
                      <a:pt x="312" y="418"/>
                      <a:pt x="312" y="414"/>
                      <a:pt x="313" y="414"/>
                    </a:cubicBezTo>
                    <a:cubicBezTo>
                      <a:pt x="316" y="414"/>
                      <a:pt x="318" y="417"/>
                      <a:pt x="320" y="419"/>
                    </a:cubicBezTo>
                    <a:cubicBezTo>
                      <a:pt x="321" y="422"/>
                      <a:pt x="320" y="426"/>
                      <a:pt x="322" y="428"/>
                    </a:cubicBezTo>
                    <a:cubicBezTo>
                      <a:pt x="323" y="429"/>
                      <a:pt x="326" y="427"/>
                      <a:pt x="326" y="428"/>
                    </a:cubicBezTo>
                    <a:cubicBezTo>
                      <a:pt x="328" y="432"/>
                      <a:pt x="327" y="437"/>
                      <a:pt x="328" y="442"/>
                    </a:cubicBezTo>
                    <a:cubicBezTo>
                      <a:pt x="328" y="444"/>
                      <a:pt x="330" y="446"/>
                      <a:pt x="330" y="448"/>
                    </a:cubicBezTo>
                    <a:cubicBezTo>
                      <a:pt x="329" y="449"/>
                      <a:pt x="327" y="448"/>
                      <a:pt x="327" y="448"/>
                    </a:cubicBezTo>
                    <a:cubicBezTo>
                      <a:pt x="327" y="451"/>
                      <a:pt x="330" y="452"/>
                      <a:pt x="329" y="454"/>
                    </a:cubicBezTo>
                    <a:cubicBezTo>
                      <a:pt x="328" y="458"/>
                      <a:pt x="324" y="459"/>
                      <a:pt x="322" y="462"/>
                    </a:cubicBezTo>
                    <a:cubicBezTo>
                      <a:pt x="320" y="467"/>
                      <a:pt x="316" y="469"/>
                      <a:pt x="316" y="473"/>
                    </a:cubicBezTo>
                    <a:cubicBezTo>
                      <a:pt x="315" y="476"/>
                      <a:pt x="320" y="475"/>
                      <a:pt x="321" y="478"/>
                    </a:cubicBezTo>
                    <a:cubicBezTo>
                      <a:pt x="321" y="480"/>
                      <a:pt x="317" y="480"/>
                      <a:pt x="318" y="482"/>
                    </a:cubicBezTo>
                    <a:cubicBezTo>
                      <a:pt x="318" y="484"/>
                      <a:pt x="320" y="485"/>
                      <a:pt x="321" y="485"/>
                    </a:cubicBezTo>
                    <a:cubicBezTo>
                      <a:pt x="323" y="484"/>
                      <a:pt x="324" y="481"/>
                      <a:pt x="327" y="480"/>
                    </a:cubicBezTo>
                    <a:cubicBezTo>
                      <a:pt x="330" y="479"/>
                      <a:pt x="334" y="480"/>
                      <a:pt x="337" y="479"/>
                    </a:cubicBezTo>
                    <a:cubicBezTo>
                      <a:pt x="339" y="480"/>
                      <a:pt x="334" y="481"/>
                      <a:pt x="334" y="483"/>
                    </a:cubicBezTo>
                    <a:cubicBezTo>
                      <a:pt x="333" y="487"/>
                      <a:pt x="333" y="491"/>
                      <a:pt x="335" y="494"/>
                    </a:cubicBezTo>
                    <a:cubicBezTo>
                      <a:pt x="337" y="496"/>
                      <a:pt x="341" y="495"/>
                      <a:pt x="343" y="497"/>
                    </a:cubicBezTo>
                    <a:cubicBezTo>
                      <a:pt x="344" y="498"/>
                      <a:pt x="340" y="498"/>
                      <a:pt x="340" y="499"/>
                    </a:cubicBezTo>
                    <a:cubicBezTo>
                      <a:pt x="340" y="501"/>
                      <a:pt x="343" y="502"/>
                      <a:pt x="342" y="504"/>
                    </a:cubicBezTo>
                    <a:cubicBezTo>
                      <a:pt x="342" y="506"/>
                      <a:pt x="338" y="509"/>
                      <a:pt x="340" y="511"/>
                    </a:cubicBezTo>
                    <a:cubicBezTo>
                      <a:pt x="343" y="513"/>
                      <a:pt x="348" y="509"/>
                      <a:pt x="351" y="511"/>
                    </a:cubicBezTo>
                    <a:cubicBezTo>
                      <a:pt x="352" y="512"/>
                      <a:pt x="350" y="516"/>
                      <a:pt x="351" y="517"/>
                    </a:cubicBezTo>
                    <a:cubicBezTo>
                      <a:pt x="352" y="518"/>
                      <a:pt x="354" y="517"/>
                      <a:pt x="355" y="517"/>
                    </a:cubicBezTo>
                    <a:cubicBezTo>
                      <a:pt x="359" y="516"/>
                      <a:pt x="362" y="514"/>
                      <a:pt x="366" y="515"/>
                    </a:cubicBezTo>
                    <a:cubicBezTo>
                      <a:pt x="367" y="515"/>
                      <a:pt x="366" y="516"/>
                      <a:pt x="366" y="517"/>
                    </a:cubicBezTo>
                    <a:cubicBezTo>
                      <a:pt x="367" y="518"/>
                      <a:pt x="366" y="520"/>
                      <a:pt x="367" y="521"/>
                    </a:cubicBezTo>
                    <a:cubicBezTo>
                      <a:pt x="368" y="522"/>
                      <a:pt x="369" y="522"/>
                      <a:pt x="370" y="522"/>
                    </a:cubicBezTo>
                    <a:cubicBezTo>
                      <a:pt x="371" y="522"/>
                      <a:pt x="373" y="522"/>
                      <a:pt x="374" y="522"/>
                    </a:cubicBezTo>
                    <a:cubicBezTo>
                      <a:pt x="374" y="521"/>
                      <a:pt x="376" y="521"/>
                      <a:pt x="376" y="521"/>
                    </a:cubicBezTo>
                    <a:cubicBezTo>
                      <a:pt x="376" y="519"/>
                      <a:pt x="375" y="518"/>
                      <a:pt x="374" y="516"/>
                    </a:cubicBezTo>
                    <a:cubicBezTo>
                      <a:pt x="374" y="515"/>
                      <a:pt x="373" y="513"/>
                      <a:pt x="372" y="511"/>
                    </a:cubicBezTo>
                    <a:cubicBezTo>
                      <a:pt x="371" y="510"/>
                      <a:pt x="371" y="508"/>
                      <a:pt x="371" y="507"/>
                    </a:cubicBezTo>
                    <a:cubicBezTo>
                      <a:pt x="371" y="506"/>
                      <a:pt x="372" y="505"/>
                      <a:pt x="373" y="504"/>
                    </a:cubicBezTo>
                    <a:cubicBezTo>
                      <a:pt x="374" y="504"/>
                      <a:pt x="375" y="505"/>
                      <a:pt x="376" y="506"/>
                    </a:cubicBezTo>
                    <a:cubicBezTo>
                      <a:pt x="377" y="506"/>
                      <a:pt x="378" y="506"/>
                      <a:pt x="379" y="506"/>
                    </a:cubicBezTo>
                    <a:cubicBezTo>
                      <a:pt x="380" y="504"/>
                      <a:pt x="380" y="503"/>
                      <a:pt x="381" y="502"/>
                    </a:cubicBezTo>
                    <a:cubicBezTo>
                      <a:pt x="382" y="501"/>
                      <a:pt x="384" y="501"/>
                      <a:pt x="385" y="502"/>
                    </a:cubicBezTo>
                    <a:cubicBezTo>
                      <a:pt x="386" y="503"/>
                      <a:pt x="385" y="505"/>
                      <a:pt x="386" y="506"/>
                    </a:cubicBezTo>
                    <a:cubicBezTo>
                      <a:pt x="387" y="506"/>
                      <a:pt x="388" y="506"/>
                      <a:pt x="390" y="506"/>
                    </a:cubicBezTo>
                    <a:cubicBezTo>
                      <a:pt x="391" y="505"/>
                      <a:pt x="391" y="502"/>
                      <a:pt x="393" y="502"/>
                    </a:cubicBezTo>
                    <a:cubicBezTo>
                      <a:pt x="394" y="502"/>
                      <a:pt x="394" y="505"/>
                      <a:pt x="395" y="505"/>
                    </a:cubicBezTo>
                    <a:cubicBezTo>
                      <a:pt x="396" y="505"/>
                      <a:pt x="397" y="503"/>
                      <a:pt x="398" y="502"/>
                    </a:cubicBezTo>
                    <a:cubicBezTo>
                      <a:pt x="399" y="502"/>
                      <a:pt x="400" y="504"/>
                      <a:pt x="401" y="504"/>
                    </a:cubicBezTo>
                    <a:cubicBezTo>
                      <a:pt x="402" y="503"/>
                      <a:pt x="401" y="501"/>
                      <a:pt x="403" y="501"/>
                    </a:cubicBezTo>
                    <a:cubicBezTo>
                      <a:pt x="404" y="500"/>
                      <a:pt x="405" y="503"/>
                      <a:pt x="407" y="502"/>
                    </a:cubicBezTo>
                    <a:cubicBezTo>
                      <a:pt x="408" y="502"/>
                      <a:pt x="407" y="500"/>
                      <a:pt x="407" y="500"/>
                    </a:cubicBezTo>
                    <a:cubicBezTo>
                      <a:pt x="409" y="498"/>
                      <a:pt x="411" y="496"/>
                      <a:pt x="413" y="494"/>
                    </a:cubicBezTo>
                    <a:cubicBezTo>
                      <a:pt x="415" y="493"/>
                      <a:pt x="417" y="490"/>
                      <a:pt x="419" y="491"/>
                    </a:cubicBezTo>
                    <a:cubicBezTo>
                      <a:pt x="422" y="492"/>
                      <a:pt x="421" y="496"/>
                      <a:pt x="423" y="498"/>
                    </a:cubicBezTo>
                    <a:cubicBezTo>
                      <a:pt x="424" y="498"/>
                      <a:pt x="425" y="497"/>
                      <a:pt x="427" y="497"/>
                    </a:cubicBezTo>
                    <a:cubicBezTo>
                      <a:pt x="428" y="497"/>
                      <a:pt x="429" y="499"/>
                      <a:pt x="431" y="499"/>
                    </a:cubicBezTo>
                    <a:cubicBezTo>
                      <a:pt x="432" y="499"/>
                      <a:pt x="433" y="498"/>
                      <a:pt x="434" y="498"/>
                    </a:cubicBezTo>
                    <a:cubicBezTo>
                      <a:pt x="435" y="498"/>
                      <a:pt x="436" y="500"/>
                      <a:pt x="436" y="501"/>
                    </a:cubicBezTo>
                    <a:cubicBezTo>
                      <a:pt x="436" y="503"/>
                      <a:pt x="433" y="504"/>
                      <a:pt x="433" y="506"/>
                    </a:cubicBezTo>
                    <a:cubicBezTo>
                      <a:pt x="435" y="508"/>
                      <a:pt x="436" y="511"/>
                      <a:pt x="437" y="513"/>
                    </a:cubicBezTo>
                    <a:cubicBezTo>
                      <a:pt x="439" y="513"/>
                      <a:pt x="441" y="515"/>
                      <a:pt x="444" y="516"/>
                    </a:cubicBezTo>
                    <a:cubicBezTo>
                      <a:pt x="446" y="517"/>
                      <a:pt x="449" y="518"/>
                      <a:pt x="451" y="519"/>
                    </a:cubicBezTo>
                    <a:cubicBezTo>
                      <a:pt x="454" y="518"/>
                      <a:pt x="457" y="516"/>
                      <a:pt x="460" y="516"/>
                    </a:cubicBezTo>
                    <a:cubicBezTo>
                      <a:pt x="462" y="516"/>
                      <a:pt x="464" y="518"/>
                      <a:pt x="466" y="518"/>
                    </a:cubicBezTo>
                    <a:cubicBezTo>
                      <a:pt x="468" y="517"/>
                      <a:pt x="469" y="514"/>
                      <a:pt x="471" y="514"/>
                    </a:cubicBezTo>
                    <a:cubicBezTo>
                      <a:pt x="473" y="514"/>
                      <a:pt x="475" y="516"/>
                      <a:pt x="475" y="518"/>
                    </a:cubicBezTo>
                    <a:cubicBezTo>
                      <a:pt x="475" y="519"/>
                      <a:pt x="472" y="518"/>
                      <a:pt x="472" y="520"/>
                    </a:cubicBezTo>
                    <a:cubicBezTo>
                      <a:pt x="471" y="522"/>
                      <a:pt x="471" y="526"/>
                      <a:pt x="472" y="528"/>
                    </a:cubicBezTo>
                    <a:cubicBezTo>
                      <a:pt x="473" y="532"/>
                      <a:pt x="474" y="536"/>
                      <a:pt x="477" y="539"/>
                    </a:cubicBezTo>
                    <a:cubicBezTo>
                      <a:pt x="479" y="540"/>
                      <a:pt x="482" y="539"/>
                      <a:pt x="483" y="538"/>
                    </a:cubicBezTo>
                    <a:cubicBezTo>
                      <a:pt x="485" y="537"/>
                      <a:pt x="486" y="534"/>
                      <a:pt x="485" y="533"/>
                    </a:cubicBezTo>
                    <a:cubicBezTo>
                      <a:pt x="484" y="530"/>
                      <a:pt x="481" y="530"/>
                      <a:pt x="480" y="527"/>
                    </a:cubicBezTo>
                    <a:cubicBezTo>
                      <a:pt x="480" y="525"/>
                      <a:pt x="480" y="522"/>
                      <a:pt x="482" y="521"/>
                    </a:cubicBezTo>
                    <a:cubicBezTo>
                      <a:pt x="483" y="520"/>
                      <a:pt x="485" y="523"/>
                      <a:pt x="486" y="523"/>
                    </a:cubicBezTo>
                    <a:cubicBezTo>
                      <a:pt x="488" y="522"/>
                      <a:pt x="489" y="521"/>
                      <a:pt x="490" y="520"/>
                    </a:cubicBezTo>
                    <a:cubicBezTo>
                      <a:pt x="490" y="520"/>
                      <a:pt x="490" y="518"/>
                      <a:pt x="491" y="518"/>
                    </a:cubicBezTo>
                    <a:cubicBezTo>
                      <a:pt x="492" y="518"/>
                      <a:pt x="493" y="520"/>
                      <a:pt x="494" y="520"/>
                    </a:cubicBezTo>
                    <a:cubicBezTo>
                      <a:pt x="497" y="519"/>
                      <a:pt x="499" y="518"/>
                      <a:pt x="501" y="517"/>
                    </a:cubicBezTo>
                    <a:cubicBezTo>
                      <a:pt x="502" y="517"/>
                      <a:pt x="504" y="516"/>
                      <a:pt x="505" y="515"/>
                    </a:cubicBezTo>
                    <a:cubicBezTo>
                      <a:pt x="507" y="514"/>
                      <a:pt x="508" y="514"/>
                      <a:pt x="510" y="514"/>
                    </a:cubicBezTo>
                    <a:cubicBezTo>
                      <a:pt x="510" y="514"/>
                      <a:pt x="511" y="515"/>
                      <a:pt x="512" y="515"/>
                    </a:cubicBezTo>
                    <a:cubicBezTo>
                      <a:pt x="514" y="514"/>
                      <a:pt x="516" y="512"/>
                      <a:pt x="518" y="511"/>
                    </a:cubicBezTo>
                    <a:cubicBezTo>
                      <a:pt x="519" y="511"/>
                      <a:pt x="522" y="512"/>
                      <a:pt x="522" y="510"/>
                    </a:cubicBezTo>
                    <a:cubicBezTo>
                      <a:pt x="522" y="507"/>
                      <a:pt x="519" y="505"/>
                      <a:pt x="519" y="501"/>
                    </a:cubicBezTo>
                    <a:cubicBezTo>
                      <a:pt x="519" y="500"/>
                      <a:pt x="521" y="502"/>
                      <a:pt x="522" y="501"/>
                    </a:cubicBezTo>
                    <a:cubicBezTo>
                      <a:pt x="522" y="501"/>
                      <a:pt x="521" y="497"/>
                      <a:pt x="522" y="498"/>
                    </a:cubicBezTo>
                    <a:cubicBezTo>
                      <a:pt x="524" y="500"/>
                      <a:pt x="525" y="505"/>
                      <a:pt x="528" y="506"/>
                    </a:cubicBezTo>
                    <a:cubicBezTo>
                      <a:pt x="529" y="507"/>
                      <a:pt x="530" y="504"/>
                      <a:pt x="532" y="503"/>
                    </a:cubicBezTo>
                    <a:cubicBezTo>
                      <a:pt x="534" y="501"/>
                      <a:pt x="537" y="500"/>
                      <a:pt x="539" y="500"/>
                    </a:cubicBezTo>
                    <a:cubicBezTo>
                      <a:pt x="541" y="500"/>
                      <a:pt x="541" y="504"/>
                      <a:pt x="543" y="504"/>
                    </a:cubicBezTo>
                    <a:cubicBezTo>
                      <a:pt x="544" y="504"/>
                      <a:pt x="545" y="501"/>
                      <a:pt x="547" y="501"/>
                    </a:cubicBezTo>
                    <a:cubicBezTo>
                      <a:pt x="550" y="499"/>
                      <a:pt x="554" y="500"/>
                      <a:pt x="557" y="498"/>
                    </a:cubicBezTo>
                    <a:cubicBezTo>
                      <a:pt x="560" y="496"/>
                      <a:pt x="559" y="492"/>
                      <a:pt x="561" y="489"/>
                    </a:cubicBezTo>
                    <a:cubicBezTo>
                      <a:pt x="564" y="485"/>
                      <a:pt x="569" y="482"/>
                      <a:pt x="573" y="478"/>
                    </a:cubicBezTo>
                    <a:cubicBezTo>
                      <a:pt x="576" y="475"/>
                      <a:pt x="579" y="472"/>
                      <a:pt x="582" y="468"/>
                    </a:cubicBezTo>
                    <a:cubicBezTo>
                      <a:pt x="584" y="465"/>
                      <a:pt x="585" y="461"/>
                      <a:pt x="587" y="459"/>
                    </a:cubicBezTo>
                    <a:cubicBezTo>
                      <a:pt x="589" y="458"/>
                      <a:pt x="592" y="460"/>
                      <a:pt x="593" y="459"/>
                    </a:cubicBezTo>
                    <a:cubicBezTo>
                      <a:pt x="594" y="457"/>
                      <a:pt x="593" y="454"/>
                      <a:pt x="592" y="451"/>
                    </a:cubicBezTo>
                    <a:cubicBezTo>
                      <a:pt x="592" y="450"/>
                      <a:pt x="588" y="450"/>
                      <a:pt x="589" y="449"/>
                    </a:cubicBezTo>
                    <a:cubicBezTo>
                      <a:pt x="590" y="445"/>
                      <a:pt x="594" y="443"/>
                      <a:pt x="596" y="440"/>
                    </a:cubicBezTo>
                    <a:cubicBezTo>
                      <a:pt x="598" y="435"/>
                      <a:pt x="599" y="429"/>
                      <a:pt x="602" y="424"/>
                    </a:cubicBezTo>
                    <a:cubicBezTo>
                      <a:pt x="603" y="421"/>
                      <a:pt x="604" y="418"/>
                      <a:pt x="607" y="417"/>
                    </a:cubicBezTo>
                    <a:cubicBezTo>
                      <a:pt x="608" y="416"/>
                      <a:pt x="608" y="420"/>
                      <a:pt x="609" y="420"/>
                    </a:cubicBezTo>
                    <a:cubicBezTo>
                      <a:pt x="611" y="420"/>
                      <a:pt x="611" y="418"/>
                      <a:pt x="611" y="416"/>
                    </a:cubicBezTo>
                    <a:cubicBezTo>
                      <a:pt x="611" y="414"/>
                      <a:pt x="608" y="413"/>
                      <a:pt x="608" y="411"/>
                    </a:cubicBezTo>
                    <a:cubicBezTo>
                      <a:pt x="608" y="410"/>
                      <a:pt x="611" y="410"/>
                      <a:pt x="611" y="409"/>
                    </a:cubicBezTo>
                    <a:cubicBezTo>
                      <a:pt x="611" y="407"/>
                      <a:pt x="608" y="405"/>
                      <a:pt x="609" y="403"/>
                    </a:cubicBezTo>
                    <a:cubicBezTo>
                      <a:pt x="609" y="401"/>
                      <a:pt x="612" y="404"/>
                      <a:pt x="613" y="402"/>
                    </a:cubicBezTo>
                    <a:cubicBezTo>
                      <a:pt x="615" y="400"/>
                      <a:pt x="616" y="397"/>
                      <a:pt x="614" y="394"/>
                    </a:cubicBezTo>
                    <a:cubicBezTo>
                      <a:pt x="614" y="393"/>
                      <a:pt x="610" y="397"/>
                      <a:pt x="610" y="395"/>
                    </a:cubicBezTo>
                    <a:cubicBezTo>
                      <a:pt x="609" y="394"/>
                      <a:pt x="614" y="392"/>
                      <a:pt x="613" y="391"/>
                    </a:cubicBezTo>
                    <a:cubicBezTo>
                      <a:pt x="611" y="388"/>
                      <a:pt x="607" y="386"/>
                      <a:pt x="603" y="386"/>
                    </a:cubicBezTo>
                    <a:cubicBezTo>
                      <a:pt x="602" y="385"/>
                      <a:pt x="601" y="388"/>
                      <a:pt x="600" y="388"/>
                    </a:cubicBezTo>
                    <a:cubicBezTo>
                      <a:pt x="597" y="388"/>
                      <a:pt x="590" y="387"/>
                      <a:pt x="591" y="383"/>
                    </a:cubicBezTo>
                    <a:cubicBezTo>
                      <a:pt x="591" y="380"/>
                      <a:pt x="597" y="386"/>
                      <a:pt x="600" y="384"/>
                    </a:cubicBezTo>
                    <a:cubicBezTo>
                      <a:pt x="603" y="383"/>
                      <a:pt x="604" y="378"/>
                      <a:pt x="607" y="376"/>
                    </a:cubicBezTo>
                    <a:cubicBezTo>
                      <a:pt x="608" y="375"/>
                      <a:pt x="611" y="376"/>
                      <a:pt x="610" y="375"/>
                    </a:cubicBezTo>
                    <a:cubicBezTo>
                      <a:pt x="609" y="372"/>
                      <a:pt x="606" y="370"/>
                      <a:pt x="604" y="367"/>
                    </a:cubicBezTo>
                    <a:cubicBezTo>
                      <a:pt x="603" y="366"/>
                      <a:pt x="602" y="366"/>
                      <a:pt x="601" y="365"/>
                    </a:cubicBezTo>
                    <a:cubicBezTo>
                      <a:pt x="599" y="364"/>
                      <a:pt x="597" y="362"/>
                      <a:pt x="595" y="361"/>
                    </a:cubicBezTo>
                    <a:cubicBezTo>
                      <a:pt x="593" y="359"/>
                      <a:pt x="590" y="359"/>
                      <a:pt x="588" y="357"/>
                    </a:cubicBezTo>
                    <a:cubicBezTo>
                      <a:pt x="587" y="356"/>
                      <a:pt x="589" y="355"/>
                      <a:pt x="589" y="355"/>
                    </a:cubicBezTo>
                    <a:cubicBezTo>
                      <a:pt x="593" y="356"/>
                      <a:pt x="595" y="359"/>
                      <a:pt x="598" y="360"/>
                    </a:cubicBezTo>
                    <a:cubicBezTo>
                      <a:pt x="599" y="361"/>
                      <a:pt x="602" y="360"/>
                      <a:pt x="603" y="361"/>
                    </a:cubicBezTo>
                    <a:cubicBezTo>
                      <a:pt x="606" y="362"/>
                      <a:pt x="607" y="365"/>
                      <a:pt x="609" y="365"/>
                    </a:cubicBezTo>
                    <a:cubicBezTo>
                      <a:pt x="610" y="366"/>
                      <a:pt x="612" y="364"/>
                      <a:pt x="612" y="363"/>
                    </a:cubicBezTo>
                    <a:cubicBezTo>
                      <a:pt x="610" y="360"/>
                      <a:pt x="608" y="359"/>
                      <a:pt x="606" y="357"/>
                    </a:cubicBezTo>
                    <a:cubicBezTo>
                      <a:pt x="602" y="355"/>
                      <a:pt x="598" y="353"/>
                      <a:pt x="594" y="351"/>
                    </a:cubicBezTo>
                    <a:cubicBezTo>
                      <a:pt x="593" y="349"/>
                      <a:pt x="592" y="347"/>
                      <a:pt x="592" y="346"/>
                    </a:cubicBezTo>
                    <a:cubicBezTo>
                      <a:pt x="591" y="345"/>
                      <a:pt x="592" y="344"/>
                      <a:pt x="592" y="343"/>
                    </a:cubicBezTo>
                    <a:cubicBezTo>
                      <a:pt x="591" y="341"/>
                      <a:pt x="589" y="340"/>
                      <a:pt x="589" y="338"/>
                    </a:cubicBezTo>
                    <a:cubicBezTo>
                      <a:pt x="587" y="335"/>
                      <a:pt x="587" y="331"/>
                      <a:pt x="585" y="329"/>
                    </a:cubicBezTo>
                    <a:cubicBezTo>
                      <a:pt x="583" y="326"/>
                      <a:pt x="580" y="323"/>
                      <a:pt x="578" y="320"/>
                    </a:cubicBezTo>
                    <a:cubicBezTo>
                      <a:pt x="576" y="319"/>
                      <a:pt x="573" y="318"/>
                      <a:pt x="571" y="316"/>
                    </a:cubicBezTo>
                    <a:cubicBezTo>
                      <a:pt x="570" y="316"/>
                      <a:pt x="568" y="315"/>
                      <a:pt x="567" y="314"/>
                    </a:cubicBezTo>
                    <a:cubicBezTo>
                      <a:pt x="567" y="312"/>
                      <a:pt x="569" y="310"/>
                      <a:pt x="569" y="309"/>
                    </a:cubicBezTo>
                    <a:cubicBezTo>
                      <a:pt x="570" y="307"/>
                      <a:pt x="570" y="304"/>
                      <a:pt x="571" y="303"/>
                    </a:cubicBezTo>
                    <a:cubicBezTo>
                      <a:pt x="573" y="300"/>
                      <a:pt x="577" y="299"/>
                      <a:pt x="578" y="296"/>
                    </a:cubicBezTo>
                    <a:cubicBezTo>
                      <a:pt x="578" y="294"/>
                      <a:pt x="574" y="293"/>
                      <a:pt x="574" y="292"/>
                    </a:cubicBezTo>
                    <a:cubicBezTo>
                      <a:pt x="575" y="290"/>
                      <a:pt x="578" y="290"/>
                      <a:pt x="579" y="290"/>
                    </a:cubicBezTo>
                    <a:cubicBezTo>
                      <a:pt x="581" y="290"/>
                      <a:pt x="582" y="293"/>
                      <a:pt x="583" y="292"/>
                    </a:cubicBezTo>
                    <a:cubicBezTo>
                      <a:pt x="584" y="290"/>
                      <a:pt x="581" y="287"/>
                      <a:pt x="582" y="285"/>
                    </a:cubicBezTo>
                    <a:cubicBezTo>
                      <a:pt x="584" y="283"/>
                      <a:pt x="587" y="282"/>
                      <a:pt x="590" y="281"/>
                    </a:cubicBezTo>
                    <a:cubicBezTo>
                      <a:pt x="591" y="281"/>
                      <a:pt x="591" y="284"/>
                      <a:pt x="592" y="283"/>
                    </a:cubicBezTo>
                    <a:cubicBezTo>
                      <a:pt x="594" y="282"/>
                      <a:pt x="594" y="280"/>
                      <a:pt x="595" y="278"/>
                    </a:cubicBezTo>
                    <a:cubicBezTo>
                      <a:pt x="596" y="278"/>
                      <a:pt x="597" y="278"/>
                      <a:pt x="597" y="278"/>
                    </a:cubicBezTo>
                    <a:cubicBezTo>
                      <a:pt x="598" y="279"/>
                      <a:pt x="597" y="281"/>
                      <a:pt x="599" y="281"/>
                    </a:cubicBezTo>
                    <a:cubicBezTo>
                      <a:pt x="600" y="281"/>
                      <a:pt x="602" y="280"/>
                      <a:pt x="603" y="278"/>
                    </a:cubicBezTo>
                    <a:cubicBezTo>
                      <a:pt x="603" y="277"/>
                      <a:pt x="601" y="276"/>
                      <a:pt x="601" y="274"/>
                    </a:cubicBezTo>
                    <a:cubicBezTo>
                      <a:pt x="601" y="273"/>
                      <a:pt x="602" y="273"/>
                      <a:pt x="602" y="272"/>
                    </a:cubicBezTo>
                    <a:cubicBezTo>
                      <a:pt x="602" y="270"/>
                      <a:pt x="603" y="268"/>
                      <a:pt x="602" y="267"/>
                    </a:cubicBezTo>
                    <a:cubicBezTo>
                      <a:pt x="600" y="266"/>
                      <a:pt x="597" y="268"/>
                      <a:pt x="595" y="268"/>
                    </a:cubicBezTo>
                    <a:cubicBezTo>
                      <a:pt x="593" y="268"/>
                      <a:pt x="590" y="269"/>
                      <a:pt x="588" y="269"/>
                    </a:cubicBezTo>
                    <a:cubicBezTo>
                      <a:pt x="585" y="268"/>
                      <a:pt x="583" y="264"/>
                      <a:pt x="580" y="264"/>
                    </a:cubicBezTo>
                    <a:cubicBezTo>
                      <a:pt x="578" y="263"/>
                      <a:pt x="575" y="263"/>
                      <a:pt x="573" y="265"/>
                    </a:cubicBezTo>
                    <a:cubicBezTo>
                      <a:pt x="570" y="267"/>
                      <a:pt x="570" y="272"/>
                      <a:pt x="567" y="274"/>
                    </a:cubicBezTo>
                    <a:cubicBezTo>
                      <a:pt x="566" y="275"/>
                      <a:pt x="565" y="273"/>
                      <a:pt x="564" y="272"/>
                    </a:cubicBezTo>
                    <a:cubicBezTo>
                      <a:pt x="561" y="271"/>
                      <a:pt x="558" y="271"/>
                      <a:pt x="557" y="269"/>
                    </a:cubicBezTo>
                    <a:cubicBezTo>
                      <a:pt x="556" y="268"/>
                      <a:pt x="557" y="267"/>
                      <a:pt x="557" y="265"/>
                    </a:cubicBezTo>
                    <a:cubicBezTo>
                      <a:pt x="556" y="263"/>
                      <a:pt x="557" y="261"/>
                      <a:pt x="555" y="260"/>
                    </a:cubicBezTo>
                    <a:cubicBezTo>
                      <a:pt x="552" y="259"/>
                      <a:pt x="548" y="261"/>
                      <a:pt x="545" y="260"/>
                    </a:cubicBezTo>
                    <a:cubicBezTo>
                      <a:pt x="542" y="259"/>
                      <a:pt x="538" y="257"/>
                      <a:pt x="537" y="254"/>
                    </a:cubicBezTo>
                    <a:cubicBezTo>
                      <a:pt x="536" y="250"/>
                      <a:pt x="538" y="245"/>
                      <a:pt x="541" y="243"/>
                    </a:cubicBezTo>
                    <a:cubicBezTo>
                      <a:pt x="543" y="241"/>
                      <a:pt x="545" y="245"/>
                      <a:pt x="548" y="246"/>
                    </a:cubicBezTo>
                    <a:cubicBezTo>
                      <a:pt x="550" y="246"/>
                      <a:pt x="553" y="246"/>
                      <a:pt x="555" y="244"/>
                    </a:cubicBezTo>
                    <a:cubicBezTo>
                      <a:pt x="557" y="241"/>
                      <a:pt x="556" y="236"/>
                      <a:pt x="559" y="233"/>
                    </a:cubicBezTo>
                    <a:cubicBezTo>
                      <a:pt x="561" y="230"/>
                      <a:pt x="566" y="229"/>
                      <a:pt x="569" y="225"/>
                    </a:cubicBezTo>
                    <a:cubicBezTo>
                      <a:pt x="571" y="222"/>
                      <a:pt x="571" y="217"/>
                      <a:pt x="574" y="214"/>
                    </a:cubicBezTo>
                    <a:cubicBezTo>
                      <a:pt x="577" y="213"/>
                      <a:pt x="580" y="214"/>
                      <a:pt x="583" y="215"/>
                    </a:cubicBezTo>
                    <a:cubicBezTo>
                      <a:pt x="586" y="216"/>
                      <a:pt x="588" y="219"/>
                      <a:pt x="588" y="222"/>
                    </a:cubicBezTo>
                    <a:cubicBezTo>
                      <a:pt x="589" y="225"/>
                      <a:pt x="588" y="229"/>
                      <a:pt x="586" y="231"/>
                    </a:cubicBezTo>
                    <a:cubicBezTo>
                      <a:pt x="585" y="232"/>
                      <a:pt x="583" y="231"/>
                      <a:pt x="582" y="232"/>
                    </a:cubicBezTo>
                    <a:cubicBezTo>
                      <a:pt x="581" y="234"/>
                      <a:pt x="579" y="238"/>
                      <a:pt x="581" y="240"/>
                    </a:cubicBezTo>
                    <a:cubicBezTo>
                      <a:pt x="582" y="242"/>
                      <a:pt x="586" y="238"/>
                      <a:pt x="586" y="240"/>
                    </a:cubicBezTo>
                    <a:cubicBezTo>
                      <a:pt x="587" y="243"/>
                      <a:pt x="582" y="243"/>
                      <a:pt x="581" y="246"/>
                    </a:cubicBezTo>
                    <a:cubicBezTo>
                      <a:pt x="580" y="247"/>
                      <a:pt x="580" y="250"/>
                      <a:pt x="581" y="250"/>
                    </a:cubicBezTo>
                    <a:cubicBezTo>
                      <a:pt x="585" y="250"/>
                      <a:pt x="588" y="247"/>
                      <a:pt x="591" y="244"/>
                    </a:cubicBezTo>
                    <a:cubicBezTo>
                      <a:pt x="594" y="242"/>
                      <a:pt x="595" y="237"/>
                      <a:pt x="598" y="235"/>
                    </a:cubicBezTo>
                    <a:cubicBezTo>
                      <a:pt x="601" y="233"/>
                      <a:pt x="604" y="233"/>
                      <a:pt x="608" y="232"/>
                    </a:cubicBezTo>
                    <a:cubicBezTo>
                      <a:pt x="610" y="232"/>
                      <a:pt x="613" y="231"/>
                      <a:pt x="616" y="231"/>
                    </a:cubicBezTo>
                    <a:cubicBezTo>
                      <a:pt x="620" y="227"/>
                      <a:pt x="624" y="223"/>
                      <a:pt x="628" y="219"/>
                    </a:cubicBezTo>
                    <a:cubicBezTo>
                      <a:pt x="630" y="217"/>
                      <a:pt x="632" y="217"/>
                      <a:pt x="633" y="215"/>
                    </a:cubicBezTo>
                    <a:cubicBezTo>
                      <a:pt x="635" y="214"/>
                      <a:pt x="637" y="211"/>
                      <a:pt x="637" y="209"/>
                    </a:cubicBezTo>
                    <a:cubicBezTo>
                      <a:pt x="638" y="206"/>
                      <a:pt x="636" y="204"/>
                      <a:pt x="637" y="202"/>
                    </a:cubicBezTo>
                    <a:cubicBezTo>
                      <a:pt x="638" y="200"/>
                      <a:pt x="640" y="200"/>
                      <a:pt x="642" y="200"/>
                    </a:cubicBezTo>
                    <a:cubicBezTo>
                      <a:pt x="643" y="200"/>
                      <a:pt x="643" y="202"/>
                      <a:pt x="643" y="203"/>
                    </a:cubicBezTo>
                    <a:cubicBezTo>
                      <a:pt x="645" y="204"/>
                      <a:pt x="646" y="205"/>
                      <a:pt x="648" y="205"/>
                    </a:cubicBezTo>
                    <a:cubicBezTo>
                      <a:pt x="650" y="205"/>
                      <a:pt x="653" y="206"/>
                      <a:pt x="655" y="205"/>
                    </a:cubicBezTo>
                    <a:cubicBezTo>
                      <a:pt x="656" y="204"/>
                      <a:pt x="655" y="202"/>
                      <a:pt x="655" y="201"/>
                    </a:cubicBezTo>
                    <a:cubicBezTo>
                      <a:pt x="655" y="200"/>
                      <a:pt x="654" y="198"/>
                      <a:pt x="655" y="197"/>
                    </a:cubicBezTo>
                    <a:cubicBezTo>
                      <a:pt x="657" y="196"/>
                      <a:pt x="661" y="199"/>
                      <a:pt x="663" y="197"/>
                    </a:cubicBezTo>
                    <a:cubicBezTo>
                      <a:pt x="667" y="195"/>
                      <a:pt x="667" y="190"/>
                      <a:pt x="669" y="186"/>
                    </a:cubicBezTo>
                    <a:cubicBezTo>
                      <a:pt x="670" y="186"/>
                      <a:pt x="672" y="187"/>
                      <a:pt x="672" y="186"/>
                    </a:cubicBezTo>
                    <a:cubicBezTo>
                      <a:pt x="673" y="184"/>
                      <a:pt x="672" y="181"/>
                      <a:pt x="673" y="179"/>
                    </a:cubicBezTo>
                    <a:cubicBezTo>
                      <a:pt x="674" y="178"/>
                      <a:pt x="676" y="178"/>
                      <a:pt x="677" y="179"/>
                    </a:cubicBezTo>
                    <a:cubicBezTo>
                      <a:pt x="678" y="181"/>
                      <a:pt x="678" y="183"/>
                      <a:pt x="678" y="185"/>
                    </a:cubicBezTo>
                    <a:cubicBezTo>
                      <a:pt x="679" y="186"/>
                      <a:pt x="680" y="187"/>
                      <a:pt x="681" y="189"/>
                    </a:cubicBezTo>
                    <a:cubicBezTo>
                      <a:pt x="681" y="187"/>
                      <a:pt x="681" y="185"/>
                      <a:pt x="682" y="184"/>
                    </a:cubicBezTo>
                    <a:cubicBezTo>
                      <a:pt x="683" y="182"/>
                      <a:pt x="686" y="183"/>
                      <a:pt x="686" y="181"/>
                    </a:cubicBezTo>
                    <a:cubicBezTo>
                      <a:pt x="687" y="175"/>
                      <a:pt x="688" y="169"/>
                      <a:pt x="686" y="164"/>
                    </a:cubicBezTo>
                    <a:cubicBezTo>
                      <a:pt x="686" y="160"/>
                      <a:pt x="682" y="156"/>
                      <a:pt x="681" y="152"/>
                    </a:cubicBezTo>
                    <a:cubicBezTo>
                      <a:pt x="680" y="152"/>
                      <a:pt x="679" y="150"/>
                      <a:pt x="680" y="150"/>
                    </a:cubicBezTo>
                    <a:cubicBezTo>
                      <a:pt x="681" y="148"/>
                      <a:pt x="684" y="148"/>
                      <a:pt x="686" y="147"/>
                    </a:cubicBezTo>
                    <a:cubicBezTo>
                      <a:pt x="687" y="145"/>
                      <a:pt x="687" y="142"/>
                      <a:pt x="689" y="141"/>
                    </a:cubicBezTo>
                    <a:cubicBezTo>
                      <a:pt x="692" y="141"/>
                      <a:pt x="695" y="144"/>
                      <a:pt x="699" y="145"/>
                    </a:cubicBezTo>
                    <a:cubicBezTo>
                      <a:pt x="700" y="145"/>
                      <a:pt x="702" y="145"/>
                      <a:pt x="703" y="144"/>
                    </a:cubicBezTo>
                    <a:cubicBezTo>
                      <a:pt x="705" y="143"/>
                      <a:pt x="704" y="140"/>
                      <a:pt x="704" y="139"/>
                    </a:cubicBezTo>
                    <a:cubicBezTo>
                      <a:pt x="705" y="137"/>
                      <a:pt x="707" y="137"/>
                      <a:pt x="707" y="136"/>
                    </a:cubicBezTo>
                    <a:cubicBezTo>
                      <a:pt x="708" y="134"/>
                      <a:pt x="708" y="131"/>
                      <a:pt x="708" y="129"/>
                    </a:cubicBezTo>
                    <a:cubicBezTo>
                      <a:pt x="709" y="126"/>
                      <a:pt x="709" y="124"/>
                      <a:pt x="709" y="121"/>
                    </a:cubicBezTo>
                    <a:cubicBezTo>
                      <a:pt x="709" y="117"/>
                      <a:pt x="708" y="113"/>
                      <a:pt x="709" y="109"/>
                    </a:cubicBezTo>
                    <a:cubicBezTo>
                      <a:pt x="709" y="107"/>
                      <a:pt x="713" y="105"/>
                      <a:pt x="713" y="102"/>
                    </a:cubicBezTo>
                    <a:cubicBezTo>
                      <a:pt x="713" y="99"/>
                      <a:pt x="711" y="96"/>
                      <a:pt x="710" y="93"/>
                    </a:cubicBezTo>
                    <a:cubicBezTo>
                      <a:pt x="709" y="92"/>
                      <a:pt x="711" y="88"/>
                      <a:pt x="709" y="88"/>
                    </a:cubicBezTo>
                    <a:cubicBezTo>
                      <a:pt x="702" y="89"/>
                      <a:pt x="696" y="92"/>
                      <a:pt x="689" y="94"/>
                    </a:cubicBezTo>
                    <a:cubicBezTo>
                      <a:pt x="687" y="95"/>
                      <a:pt x="687" y="100"/>
                      <a:pt x="685" y="100"/>
                    </a:cubicBezTo>
                    <a:cubicBezTo>
                      <a:pt x="679" y="100"/>
                      <a:pt x="672" y="101"/>
                      <a:pt x="666" y="100"/>
                    </a:cubicBezTo>
                    <a:cubicBezTo>
                      <a:pt x="663" y="100"/>
                      <a:pt x="661" y="95"/>
                      <a:pt x="660" y="92"/>
                    </a:cubicBezTo>
                    <a:cubicBezTo>
                      <a:pt x="659" y="90"/>
                      <a:pt x="660" y="88"/>
                      <a:pt x="660" y="87"/>
                    </a:cubicBezTo>
                    <a:cubicBezTo>
                      <a:pt x="659" y="84"/>
                      <a:pt x="659" y="81"/>
                      <a:pt x="658" y="79"/>
                    </a:cubicBezTo>
                    <a:cubicBezTo>
                      <a:pt x="656" y="78"/>
                      <a:pt x="653" y="79"/>
                      <a:pt x="652" y="78"/>
                    </a:cubicBezTo>
                    <a:cubicBezTo>
                      <a:pt x="648" y="75"/>
                      <a:pt x="646" y="70"/>
                      <a:pt x="642" y="68"/>
                    </a:cubicBezTo>
                    <a:cubicBezTo>
                      <a:pt x="640" y="67"/>
                      <a:pt x="639" y="70"/>
                      <a:pt x="637" y="70"/>
                    </a:cubicBezTo>
                    <a:cubicBezTo>
                      <a:pt x="634" y="70"/>
                      <a:pt x="632" y="67"/>
                      <a:pt x="629" y="67"/>
                    </a:cubicBezTo>
                    <a:cubicBezTo>
                      <a:pt x="626" y="65"/>
                      <a:pt x="622" y="66"/>
                      <a:pt x="619" y="65"/>
                    </a:cubicBezTo>
                    <a:cubicBezTo>
                      <a:pt x="617" y="64"/>
                      <a:pt x="616" y="61"/>
                      <a:pt x="616" y="59"/>
                    </a:cubicBezTo>
                    <a:cubicBezTo>
                      <a:pt x="615" y="58"/>
                      <a:pt x="617" y="57"/>
                      <a:pt x="617" y="56"/>
                    </a:cubicBezTo>
                    <a:cubicBezTo>
                      <a:pt x="616" y="55"/>
                      <a:pt x="613" y="56"/>
                      <a:pt x="612" y="54"/>
                    </a:cubicBezTo>
                    <a:cubicBezTo>
                      <a:pt x="611" y="50"/>
                      <a:pt x="609" y="47"/>
                      <a:pt x="607" y="43"/>
                    </a:cubicBezTo>
                    <a:cubicBezTo>
                      <a:pt x="606" y="42"/>
                      <a:pt x="604" y="41"/>
                      <a:pt x="603" y="39"/>
                    </a:cubicBezTo>
                    <a:cubicBezTo>
                      <a:pt x="602" y="38"/>
                      <a:pt x="603" y="36"/>
                      <a:pt x="602" y="35"/>
                    </a:cubicBezTo>
                    <a:cubicBezTo>
                      <a:pt x="599" y="31"/>
                      <a:pt x="595" y="28"/>
                      <a:pt x="593" y="24"/>
                    </a:cubicBezTo>
                    <a:cubicBezTo>
                      <a:pt x="592" y="23"/>
                      <a:pt x="594" y="22"/>
                      <a:pt x="594" y="21"/>
                    </a:cubicBezTo>
                    <a:cubicBezTo>
                      <a:pt x="594" y="20"/>
                      <a:pt x="592" y="20"/>
                      <a:pt x="592" y="19"/>
                    </a:cubicBezTo>
                    <a:cubicBezTo>
                      <a:pt x="590" y="17"/>
                      <a:pt x="590" y="13"/>
                      <a:pt x="588" y="11"/>
                    </a:cubicBezTo>
                    <a:cubicBezTo>
                      <a:pt x="584" y="8"/>
                      <a:pt x="579" y="5"/>
                      <a:pt x="575" y="3"/>
                    </a:cubicBezTo>
                    <a:cubicBezTo>
                      <a:pt x="574" y="3"/>
                      <a:pt x="573" y="4"/>
                      <a:pt x="571" y="4"/>
                    </a:cubicBezTo>
                    <a:cubicBezTo>
                      <a:pt x="570" y="4"/>
                      <a:pt x="568" y="4"/>
                      <a:pt x="567" y="3"/>
                    </a:cubicBezTo>
                    <a:cubicBezTo>
                      <a:pt x="563" y="2"/>
                      <a:pt x="560" y="0"/>
                      <a:pt x="556" y="0"/>
                    </a:cubicBezTo>
                    <a:cubicBezTo>
                      <a:pt x="550" y="0"/>
                      <a:pt x="544" y="1"/>
                      <a:pt x="539" y="2"/>
                    </a:cubicBezTo>
                    <a:cubicBezTo>
                      <a:pt x="536" y="3"/>
                      <a:pt x="534" y="5"/>
                      <a:pt x="532" y="6"/>
                    </a:cubicBezTo>
                    <a:cubicBezTo>
                      <a:pt x="530" y="6"/>
                      <a:pt x="527" y="4"/>
                      <a:pt x="525" y="6"/>
                    </a:cubicBezTo>
                    <a:cubicBezTo>
                      <a:pt x="522" y="7"/>
                      <a:pt x="519" y="10"/>
                      <a:pt x="518" y="14"/>
                    </a:cubicBezTo>
                    <a:cubicBezTo>
                      <a:pt x="517" y="15"/>
                      <a:pt x="519" y="17"/>
                      <a:pt x="521" y="18"/>
                    </a:cubicBezTo>
                    <a:cubicBezTo>
                      <a:pt x="523" y="18"/>
                      <a:pt x="525" y="13"/>
                      <a:pt x="527" y="15"/>
                    </a:cubicBezTo>
                    <a:cubicBezTo>
                      <a:pt x="529" y="18"/>
                      <a:pt x="529" y="23"/>
                      <a:pt x="528" y="27"/>
                    </a:cubicBezTo>
                    <a:cubicBezTo>
                      <a:pt x="527" y="31"/>
                      <a:pt x="523" y="32"/>
                      <a:pt x="522" y="35"/>
                    </a:cubicBezTo>
                    <a:cubicBezTo>
                      <a:pt x="520" y="40"/>
                      <a:pt x="522" y="44"/>
                      <a:pt x="522" y="48"/>
                    </a:cubicBezTo>
                    <a:cubicBezTo>
                      <a:pt x="521" y="51"/>
                      <a:pt x="519" y="53"/>
                      <a:pt x="518" y="55"/>
                    </a:cubicBezTo>
                    <a:cubicBezTo>
                      <a:pt x="518" y="56"/>
                      <a:pt x="520" y="58"/>
                      <a:pt x="519" y="59"/>
                    </a:cubicBezTo>
                    <a:cubicBezTo>
                      <a:pt x="516" y="62"/>
                      <a:pt x="510" y="64"/>
                      <a:pt x="506" y="67"/>
                    </a:cubicBezTo>
                    <a:cubicBezTo>
                      <a:pt x="501" y="66"/>
                      <a:pt x="495" y="65"/>
                      <a:pt x="490" y="63"/>
                    </a:cubicBezTo>
                    <a:cubicBezTo>
                      <a:pt x="489" y="67"/>
                      <a:pt x="486" y="71"/>
                      <a:pt x="485" y="76"/>
                    </a:cubicBezTo>
                    <a:cubicBezTo>
                      <a:pt x="484" y="79"/>
                      <a:pt x="485" y="82"/>
                      <a:pt x="485" y="85"/>
                    </a:cubicBezTo>
                    <a:cubicBezTo>
                      <a:pt x="485" y="87"/>
                      <a:pt x="486" y="90"/>
                      <a:pt x="485" y="92"/>
                    </a:cubicBezTo>
                    <a:cubicBezTo>
                      <a:pt x="485" y="93"/>
                      <a:pt x="483" y="93"/>
                      <a:pt x="483" y="94"/>
                    </a:cubicBezTo>
                    <a:cubicBezTo>
                      <a:pt x="483" y="95"/>
                      <a:pt x="483" y="97"/>
                      <a:pt x="484" y="98"/>
                    </a:cubicBezTo>
                    <a:cubicBezTo>
                      <a:pt x="485" y="100"/>
                      <a:pt x="487" y="100"/>
                      <a:pt x="489" y="100"/>
                    </a:cubicBezTo>
                    <a:cubicBezTo>
                      <a:pt x="492" y="100"/>
                      <a:pt x="495" y="96"/>
                      <a:pt x="499" y="96"/>
                    </a:cubicBezTo>
                    <a:cubicBezTo>
                      <a:pt x="502" y="97"/>
                      <a:pt x="502" y="102"/>
                      <a:pt x="505" y="102"/>
                    </a:cubicBezTo>
                    <a:cubicBezTo>
                      <a:pt x="507" y="102"/>
                      <a:pt x="508" y="98"/>
                      <a:pt x="510" y="96"/>
                    </a:cubicBezTo>
                    <a:cubicBezTo>
                      <a:pt x="510" y="95"/>
                      <a:pt x="509" y="93"/>
                      <a:pt x="510" y="93"/>
                    </a:cubicBezTo>
                    <a:cubicBezTo>
                      <a:pt x="514" y="93"/>
                      <a:pt x="518" y="94"/>
                      <a:pt x="522" y="96"/>
                    </a:cubicBezTo>
                    <a:cubicBezTo>
                      <a:pt x="524" y="100"/>
                      <a:pt x="530" y="104"/>
                      <a:pt x="533" y="107"/>
                    </a:cubicBezTo>
                    <a:cubicBezTo>
                      <a:pt x="536" y="110"/>
                      <a:pt x="539" y="112"/>
                      <a:pt x="540" y="116"/>
                    </a:cubicBezTo>
                    <a:cubicBezTo>
                      <a:pt x="539" y="117"/>
                      <a:pt x="537" y="120"/>
                      <a:pt x="536" y="121"/>
                    </a:cubicBezTo>
                    <a:cubicBezTo>
                      <a:pt x="533" y="122"/>
                      <a:pt x="531" y="118"/>
                      <a:pt x="528" y="118"/>
                    </a:cubicBezTo>
                    <a:cubicBezTo>
                      <a:pt x="525" y="118"/>
                      <a:pt x="522" y="118"/>
                      <a:pt x="520" y="119"/>
                    </a:cubicBezTo>
                    <a:cubicBezTo>
                      <a:pt x="518" y="120"/>
                      <a:pt x="517" y="122"/>
                      <a:pt x="516" y="123"/>
                    </a:cubicBezTo>
                    <a:cubicBezTo>
                      <a:pt x="514" y="123"/>
                      <a:pt x="513" y="120"/>
                      <a:pt x="512" y="121"/>
                    </a:cubicBezTo>
                    <a:cubicBezTo>
                      <a:pt x="511" y="122"/>
                      <a:pt x="513" y="126"/>
                      <a:pt x="511" y="127"/>
                    </a:cubicBezTo>
                    <a:cubicBezTo>
                      <a:pt x="509" y="128"/>
                      <a:pt x="508" y="124"/>
                      <a:pt x="506" y="124"/>
                    </a:cubicBezTo>
                    <a:cubicBezTo>
                      <a:pt x="503" y="126"/>
                      <a:pt x="500" y="128"/>
                      <a:pt x="499" y="131"/>
                    </a:cubicBezTo>
                    <a:cubicBezTo>
                      <a:pt x="498" y="132"/>
                      <a:pt x="500" y="134"/>
                      <a:pt x="499" y="135"/>
                    </a:cubicBezTo>
                    <a:cubicBezTo>
                      <a:pt x="497" y="138"/>
                      <a:pt x="495" y="140"/>
                      <a:pt x="492" y="141"/>
                    </a:cubicBezTo>
                    <a:cubicBezTo>
                      <a:pt x="489" y="142"/>
                      <a:pt x="486" y="139"/>
                      <a:pt x="483" y="140"/>
                    </a:cubicBezTo>
                    <a:cubicBezTo>
                      <a:pt x="480" y="142"/>
                      <a:pt x="480" y="147"/>
                      <a:pt x="477" y="149"/>
                    </a:cubicBezTo>
                    <a:cubicBezTo>
                      <a:pt x="474" y="151"/>
                      <a:pt x="470" y="153"/>
                      <a:pt x="467" y="152"/>
                    </a:cubicBezTo>
                    <a:cubicBezTo>
                      <a:pt x="464" y="152"/>
                      <a:pt x="462" y="148"/>
                      <a:pt x="458" y="147"/>
                    </a:cubicBezTo>
                    <a:cubicBezTo>
                      <a:pt x="456" y="146"/>
                      <a:pt x="452" y="146"/>
                      <a:pt x="450" y="147"/>
                    </a:cubicBezTo>
                    <a:cubicBezTo>
                      <a:pt x="448" y="149"/>
                      <a:pt x="447" y="152"/>
                      <a:pt x="447" y="155"/>
                    </a:cubicBezTo>
                    <a:cubicBezTo>
                      <a:pt x="447" y="157"/>
                      <a:pt x="448" y="160"/>
                      <a:pt x="450" y="162"/>
                    </a:cubicBezTo>
                    <a:cubicBezTo>
                      <a:pt x="451" y="163"/>
                      <a:pt x="455" y="162"/>
                      <a:pt x="454" y="164"/>
                    </a:cubicBezTo>
                    <a:cubicBezTo>
                      <a:pt x="453" y="169"/>
                      <a:pt x="448" y="171"/>
                      <a:pt x="445" y="176"/>
                    </a:cubicBezTo>
                    <a:cubicBezTo>
                      <a:pt x="443" y="179"/>
                      <a:pt x="442" y="182"/>
                      <a:pt x="439" y="185"/>
                    </a:cubicBezTo>
                    <a:cubicBezTo>
                      <a:pt x="435" y="188"/>
                      <a:pt x="431" y="192"/>
                      <a:pt x="426" y="192"/>
                    </a:cubicBezTo>
                    <a:cubicBezTo>
                      <a:pt x="423" y="193"/>
                      <a:pt x="420" y="190"/>
                      <a:pt x="416" y="190"/>
                    </a:cubicBezTo>
                    <a:cubicBezTo>
                      <a:pt x="409" y="189"/>
                      <a:pt x="402" y="189"/>
                      <a:pt x="396" y="191"/>
                    </a:cubicBezTo>
                    <a:cubicBezTo>
                      <a:pt x="389" y="194"/>
                      <a:pt x="385" y="202"/>
                      <a:pt x="378" y="204"/>
                    </a:cubicBezTo>
                    <a:cubicBezTo>
                      <a:pt x="375" y="205"/>
                      <a:pt x="372" y="202"/>
                      <a:pt x="369" y="201"/>
                    </a:cubicBezTo>
                    <a:cubicBezTo>
                      <a:pt x="367" y="199"/>
                      <a:pt x="363" y="201"/>
                      <a:pt x="360" y="200"/>
                    </a:cubicBezTo>
                    <a:cubicBezTo>
                      <a:pt x="353" y="198"/>
                      <a:pt x="346" y="196"/>
                      <a:pt x="340" y="193"/>
                    </a:cubicBezTo>
                    <a:cubicBezTo>
                      <a:pt x="338" y="192"/>
                      <a:pt x="337" y="188"/>
                      <a:pt x="335" y="188"/>
                    </a:cubicBezTo>
                    <a:cubicBezTo>
                      <a:pt x="329" y="186"/>
                      <a:pt x="322" y="185"/>
                      <a:pt x="315" y="185"/>
                    </a:cubicBezTo>
                    <a:cubicBezTo>
                      <a:pt x="311" y="185"/>
                      <a:pt x="308" y="188"/>
                      <a:pt x="304" y="188"/>
                    </a:cubicBezTo>
                    <a:cubicBezTo>
                      <a:pt x="298" y="188"/>
                      <a:pt x="293" y="186"/>
                      <a:pt x="288" y="185"/>
                    </a:cubicBezTo>
                    <a:cubicBezTo>
                      <a:pt x="285" y="185"/>
                      <a:pt x="283" y="187"/>
                      <a:pt x="280" y="187"/>
                    </a:cubicBezTo>
                    <a:cubicBezTo>
                      <a:pt x="277" y="187"/>
                      <a:pt x="273" y="187"/>
                      <a:pt x="270" y="186"/>
                    </a:cubicBezTo>
                    <a:cubicBezTo>
                      <a:pt x="268" y="186"/>
                      <a:pt x="269" y="183"/>
                      <a:pt x="267" y="182"/>
                    </a:cubicBezTo>
                    <a:cubicBezTo>
                      <a:pt x="266" y="181"/>
                      <a:pt x="264" y="180"/>
                      <a:pt x="263" y="179"/>
                    </a:cubicBezTo>
                    <a:cubicBezTo>
                      <a:pt x="261" y="175"/>
                      <a:pt x="261" y="170"/>
                      <a:pt x="258" y="166"/>
                    </a:cubicBezTo>
                    <a:cubicBezTo>
                      <a:pt x="256" y="164"/>
                      <a:pt x="253" y="166"/>
                      <a:pt x="252" y="164"/>
                    </a:cubicBezTo>
                    <a:cubicBezTo>
                      <a:pt x="251" y="163"/>
                      <a:pt x="253" y="161"/>
                      <a:pt x="252" y="160"/>
                    </a:cubicBezTo>
                    <a:cubicBezTo>
                      <a:pt x="250" y="159"/>
                      <a:pt x="247" y="161"/>
                      <a:pt x="244" y="160"/>
                    </a:cubicBezTo>
                    <a:cubicBezTo>
                      <a:pt x="240" y="158"/>
                      <a:pt x="237" y="155"/>
                      <a:pt x="233" y="153"/>
                    </a:cubicBezTo>
                    <a:cubicBezTo>
                      <a:pt x="229" y="150"/>
                      <a:pt x="226" y="147"/>
                      <a:pt x="221" y="147"/>
                    </a:cubicBezTo>
                    <a:cubicBezTo>
                      <a:pt x="217" y="146"/>
                      <a:pt x="212" y="149"/>
                      <a:pt x="208" y="149"/>
                    </a:cubicBezTo>
                    <a:cubicBezTo>
                      <a:pt x="205" y="149"/>
                      <a:pt x="202" y="147"/>
                      <a:pt x="200" y="146"/>
                    </a:cubicBezTo>
                    <a:cubicBezTo>
                      <a:pt x="197" y="146"/>
                      <a:pt x="195" y="145"/>
                      <a:pt x="193" y="144"/>
                    </a:cubicBezTo>
                    <a:cubicBezTo>
                      <a:pt x="192" y="143"/>
                      <a:pt x="192" y="141"/>
                      <a:pt x="192" y="140"/>
                    </a:cubicBezTo>
                    <a:cubicBezTo>
                      <a:pt x="192" y="135"/>
                      <a:pt x="194" y="130"/>
                      <a:pt x="192" y="125"/>
                    </a:cubicBezTo>
                    <a:cubicBezTo>
                      <a:pt x="192" y="123"/>
                      <a:pt x="193" y="122"/>
                      <a:pt x="193" y="120"/>
                    </a:cubicBezTo>
                    <a:cubicBezTo>
                      <a:pt x="193" y="118"/>
                      <a:pt x="194" y="116"/>
                      <a:pt x="193" y="114"/>
                    </a:cubicBezTo>
                    <a:cubicBezTo>
                      <a:pt x="192" y="112"/>
                      <a:pt x="188" y="114"/>
                      <a:pt x="187" y="112"/>
                    </a:cubicBezTo>
                    <a:cubicBezTo>
                      <a:pt x="186" y="110"/>
                      <a:pt x="186" y="106"/>
                      <a:pt x="185" y="103"/>
                    </a:cubicBezTo>
                    <a:cubicBezTo>
                      <a:pt x="183" y="101"/>
                      <a:pt x="180" y="99"/>
                      <a:pt x="178" y="98"/>
                    </a:cubicBezTo>
                    <a:cubicBezTo>
                      <a:pt x="176" y="97"/>
                      <a:pt x="173" y="99"/>
                      <a:pt x="172" y="98"/>
                    </a:cubicBezTo>
                    <a:cubicBezTo>
                      <a:pt x="170" y="98"/>
                      <a:pt x="171" y="95"/>
                      <a:pt x="170" y="95"/>
                    </a:cubicBezTo>
                    <a:cubicBezTo>
                      <a:pt x="168" y="95"/>
                      <a:pt x="167" y="98"/>
                      <a:pt x="165" y="97"/>
                    </a:cubicBezTo>
                    <a:cubicBezTo>
                      <a:pt x="162" y="97"/>
                      <a:pt x="161" y="94"/>
                      <a:pt x="159" y="92"/>
                    </a:cubicBezTo>
                    <a:cubicBezTo>
                      <a:pt x="157" y="91"/>
                      <a:pt x="155" y="90"/>
                      <a:pt x="153" y="88"/>
                    </a:cubicBezTo>
                    <a:cubicBezTo>
                      <a:pt x="152" y="86"/>
                      <a:pt x="150" y="84"/>
                      <a:pt x="149" y="82"/>
                    </a:cubicBezTo>
                    <a:cubicBezTo>
                      <a:pt x="148" y="82"/>
                      <a:pt x="147" y="81"/>
                      <a:pt x="147" y="80"/>
                    </a:cubicBezTo>
                    <a:cubicBezTo>
                      <a:pt x="147" y="78"/>
                      <a:pt x="148" y="77"/>
                      <a:pt x="148" y="75"/>
                    </a:cubicBezTo>
                    <a:cubicBezTo>
                      <a:pt x="145" y="75"/>
                      <a:pt x="142" y="75"/>
                      <a:pt x="140" y="75"/>
                    </a:cubicBezTo>
                    <a:cubicBezTo>
                      <a:pt x="138" y="76"/>
                      <a:pt x="136" y="76"/>
                      <a:pt x="135" y="78"/>
                    </a:cubicBezTo>
                    <a:cubicBezTo>
                      <a:pt x="134" y="80"/>
                      <a:pt x="135" y="81"/>
                      <a:pt x="135" y="83"/>
                    </a:cubicBezTo>
                    <a:cubicBezTo>
                      <a:pt x="135" y="85"/>
                      <a:pt x="136" y="87"/>
                      <a:pt x="134" y="88"/>
                    </a:cubicBezTo>
                    <a:cubicBezTo>
                      <a:pt x="132" y="89"/>
                      <a:pt x="127" y="86"/>
                      <a:pt x="125" y="88"/>
                    </a:cubicBezTo>
                    <a:cubicBezTo>
                      <a:pt x="123" y="91"/>
                      <a:pt x="123" y="96"/>
                      <a:pt x="124" y="99"/>
                    </a:cubicBezTo>
                    <a:cubicBezTo>
                      <a:pt x="124" y="103"/>
                      <a:pt x="127" y="106"/>
                      <a:pt x="127" y="110"/>
                    </a:cubicBezTo>
                    <a:cubicBezTo>
                      <a:pt x="126" y="112"/>
                      <a:pt x="124" y="112"/>
                      <a:pt x="122" y="113"/>
                    </a:cubicBezTo>
                    <a:cubicBezTo>
                      <a:pt x="118" y="114"/>
                      <a:pt x="113" y="115"/>
                      <a:pt x="109" y="114"/>
                    </a:cubicBezTo>
                    <a:cubicBezTo>
                      <a:pt x="105" y="114"/>
                      <a:pt x="100" y="109"/>
                      <a:pt x="96" y="111"/>
                    </a:cubicBezTo>
                    <a:cubicBezTo>
                      <a:pt x="92" y="113"/>
                      <a:pt x="93" y="119"/>
                      <a:pt x="93" y="123"/>
                    </a:cubicBezTo>
                    <a:cubicBezTo>
                      <a:pt x="92" y="128"/>
                      <a:pt x="91" y="133"/>
                      <a:pt x="92" y="138"/>
                    </a:cubicBezTo>
                    <a:cubicBezTo>
                      <a:pt x="92" y="141"/>
                      <a:pt x="95" y="142"/>
                      <a:pt x="95" y="144"/>
                    </a:cubicBezTo>
                    <a:cubicBezTo>
                      <a:pt x="94" y="145"/>
                      <a:pt x="92" y="145"/>
                      <a:pt x="91" y="145"/>
                    </a:cubicBezTo>
                    <a:cubicBezTo>
                      <a:pt x="89" y="144"/>
                      <a:pt x="87" y="142"/>
                      <a:pt x="84" y="142"/>
                    </a:cubicBezTo>
                    <a:cubicBezTo>
                      <a:pt x="81" y="142"/>
                      <a:pt x="79" y="145"/>
                      <a:pt x="76" y="145"/>
                    </a:cubicBezTo>
                    <a:cubicBezTo>
                      <a:pt x="72" y="146"/>
                      <a:pt x="68" y="146"/>
                      <a:pt x="65" y="147"/>
                    </a:cubicBezTo>
                    <a:cubicBezTo>
                      <a:pt x="64" y="147"/>
                      <a:pt x="61" y="148"/>
                      <a:pt x="62" y="149"/>
                    </a:cubicBezTo>
                    <a:cubicBezTo>
                      <a:pt x="64" y="151"/>
                      <a:pt x="67" y="149"/>
                      <a:pt x="68" y="151"/>
                    </a:cubicBezTo>
                    <a:cubicBezTo>
                      <a:pt x="69" y="151"/>
                      <a:pt x="68" y="153"/>
                      <a:pt x="68" y="154"/>
                    </a:cubicBezTo>
                    <a:cubicBezTo>
                      <a:pt x="68" y="157"/>
                      <a:pt x="68" y="161"/>
                      <a:pt x="69" y="164"/>
                    </a:cubicBezTo>
                    <a:cubicBezTo>
                      <a:pt x="71" y="169"/>
                      <a:pt x="75" y="172"/>
                      <a:pt x="76" y="177"/>
                    </a:cubicBezTo>
                    <a:cubicBezTo>
                      <a:pt x="76" y="180"/>
                      <a:pt x="72" y="182"/>
                      <a:pt x="71" y="184"/>
                    </a:cubicBezTo>
                    <a:cubicBezTo>
                      <a:pt x="71" y="186"/>
                      <a:pt x="71" y="189"/>
                      <a:pt x="72" y="19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06" name="Freeform 2626"/>
              <p:cNvSpPr>
                <a:spLocks noChangeAspect="1"/>
              </p:cNvSpPr>
              <p:nvPr/>
            </p:nvSpPr>
            <p:spPr bwMode="auto">
              <a:xfrm>
                <a:off x="5844497" y="2120475"/>
                <a:ext cx="527928" cy="184408"/>
              </a:xfrm>
              <a:custGeom>
                <a:avLst/>
                <a:gdLst>
                  <a:gd name="T0" fmla="*/ 407 w 393"/>
                  <a:gd name="T1" fmla="*/ 49 h 185"/>
                  <a:gd name="T2" fmla="*/ 390 w 393"/>
                  <a:gd name="T3" fmla="*/ 48 h 185"/>
                  <a:gd name="T4" fmla="*/ 372 w 393"/>
                  <a:gd name="T5" fmla="*/ 46 h 185"/>
                  <a:gd name="T6" fmla="*/ 357 w 393"/>
                  <a:gd name="T7" fmla="*/ 55 h 185"/>
                  <a:gd name="T8" fmla="*/ 335 w 393"/>
                  <a:gd name="T9" fmla="*/ 60 h 185"/>
                  <a:gd name="T10" fmla="*/ 322 w 393"/>
                  <a:gd name="T11" fmla="*/ 64 h 185"/>
                  <a:gd name="T12" fmla="*/ 288 w 393"/>
                  <a:gd name="T13" fmla="*/ 55 h 185"/>
                  <a:gd name="T14" fmla="*/ 276 w 393"/>
                  <a:gd name="T15" fmla="*/ 46 h 185"/>
                  <a:gd name="T16" fmla="*/ 245 w 393"/>
                  <a:gd name="T17" fmla="*/ 42 h 185"/>
                  <a:gd name="T18" fmla="*/ 226 w 393"/>
                  <a:gd name="T19" fmla="*/ 44 h 185"/>
                  <a:gd name="T20" fmla="*/ 219 w 393"/>
                  <a:gd name="T21" fmla="*/ 41 h 185"/>
                  <a:gd name="T22" fmla="*/ 202 w 393"/>
                  <a:gd name="T23" fmla="*/ 35 h 185"/>
                  <a:gd name="T24" fmla="*/ 192 w 393"/>
                  <a:gd name="T25" fmla="*/ 14 h 185"/>
                  <a:gd name="T26" fmla="*/ 173 w 393"/>
                  <a:gd name="T27" fmla="*/ 7 h 185"/>
                  <a:gd name="T28" fmla="*/ 145 w 393"/>
                  <a:gd name="T29" fmla="*/ 1 h 185"/>
                  <a:gd name="T30" fmla="*/ 139 w 393"/>
                  <a:gd name="T31" fmla="*/ 14 h 185"/>
                  <a:gd name="T32" fmla="*/ 141 w 393"/>
                  <a:gd name="T33" fmla="*/ 34 h 185"/>
                  <a:gd name="T34" fmla="*/ 142 w 393"/>
                  <a:gd name="T35" fmla="*/ 48 h 185"/>
                  <a:gd name="T36" fmla="*/ 129 w 393"/>
                  <a:gd name="T37" fmla="*/ 49 h 185"/>
                  <a:gd name="T38" fmla="*/ 106 w 393"/>
                  <a:gd name="T39" fmla="*/ 50 h 185"/>
                  <a:gd name="T40" fmla="*/ 89 w 393"/>
                  <a:gd name="T41" fmla="*/ 40 h 185"/>
                  <a:gd name="T42" fmla="*/ 72 w 393"/>
                  <a:gd name="T43" fmla="*/ 34 h 185"/>
                  <a:gd name="T44" fmla="*/ 64 w 393"/>
                  <a:gd name="T45" fmla="*/ 32 h 185"/>
                  <a:gd name="T46" fmla="*/ 56 w 393"/>
                  <a:gd name="T47" fmla="*/ 34 h 185"/>
                  <a:gd name="T48" fmla="*/ 47 w 393"/>
                  <a:gd name="T49" fmla="*/ 38 h 185"/>
                  <a:gd name="T50" fmla="*/ 29 w 393"/>
                  <a:gd name="T51" fmla="*/ 48 h 185"/>
                  <a:gd name="T52" fmla="*/ 10 w 393"/>
                  <a:gd name="T53" fmla="*/ 59 h 185"/>
                  <a:gd name="T54" fmla="*/ 0 w 393"/>
                  <a:gd name="T55" fmla="*/ 72 h 185"/>
                  <a:gd name="T56" fmla="*/ 7 w 393"/>
                  <a:gd name="T57" fmla="*/ 82 h 185"/>
                  <a:gd name="T58" fmla="*/ 22 w 393"/>
                  <a:gd name="T59" fmla="*/ 92 h 185"/>
                  <a:gd name="T60" fmla="*/ 30 w 393"/>
                  <a:gd name="T61" fmla="*/ 94 h 185"/>
                  <a:gd name="T62" fmla="*/ 46 w 393"/>
                  <a:gd name="T63" fmla="*/ 100 h 185"/>
                  <a:gd name="T64" fmla="*/ 55 w 393"/>
                  <a:gd name="T65" fmla="*/ 113 h 185"/>
                  <a:gd name="T66" fmla="*/ 54 w 393"/>
                  <a:gd name="T67" fmla="*/ 126 h 185"/>
                  <a:gd name="T68" fmla="*/ 55 w 393"/>
                  <a:gd name="T69" fmla="*/ 149 h 185"/>
                  <a:gd name="T70" fmla="*/ 73 w 393"/>
                  <a:gd name="T71" fmla="*/ 155 h 185"/>
                  <a:gd name="T72" fmla="*/ 103 w 393"/>
                  <a:gd name="T73" fmla="*/ 160 h 185"/>
                  <a:gd name="T74" fmla="*/ 126 w 393"/>
                  <a:gd name="T75" fmla="*/ 168 h 185"/>
                  <a:gd name="T76" fmla="*/ 133 w 393"/>
                  <a:gd name="T77" fmla="*/ 175 h 185"/>
                  <a:gd name="T78" fmla="*/ 144 w 393"/>
                  <a:gd name="T79" fmla="*/ 194 h 185"/>
                  <a:gd name="T80" fmla="*/ 160 w 393"/>
                  <a:gd name="T81" fmla="*/ 200 h 185"/>
                  <a:gd name="T82" fmla="*/ 189 w 393"/>
                  <a:gd name="T83" fmla="*/ 202 h 185"/>
                  <a:gd name="T84" fmla="*/ 226 w 393"/>
                  <a:gd name="T85" fmla="*/ 202 h 185"/>
                  <a:gd name="T86" fmla="*/ 256 w 393"/>
                  <a:gd name="T87" fmla="*/ 216 h 185"/>
                  <a:gd name="T88" fmla="*/ 277 w 393"/>
                  <a:gd name="T89" fmla="*/ 221 h 185"/>
                  <a:gd name="T90" fmla="*/ 323 w 393"/>
                  <a:gd name="T91" fmla="*/ 204 h 185"/>
                  <a:gd name="T92" fmla="*/ 351 w 393"/>
                  <a:gd name="T93" fmla="*/ 198 h 185"/>
                  <a:gd name="T94" fmla="*/ 369 w 393"/>
                  <a:gd name="T95" fmla="*/ 173 h 185"/>
                  <a:gd name="T96" fmla="*/ 360 w 393"/>
                  <a:gd name="T97" fmla="*/ 162 h 185"/>
                  <a:gd name="T98" fmla="*/ 374 w 393"/>
                  <a:gd name="T99" fmla="*/ 152 h 185"/>
                  <a:gd name="T100" fmla="*/ 396 w 393"/>
                  <a:gd name="T101" fmla="*/ 155 h 185"/>
                  <a:gd name="T102" fmla="*/ 414 w 393"/>
                  <a:gd name="T103" fmla="*/ 145 h 185"/>
                  <a:gd name="T104" fmla="*/ 423 w 393"/>
                  <a:gd name="T105" fmla="*/ 133 h 185"/>
                  <a:gd name="T106" fmla="*/ 437 w 393"/>
                  <a:gd name="T107" fmla="*/ 128 h 185"/>
                  <a:gd name="T108" fmla="*/ 443 w 393"/>
                  <a:gd name="T109" fmla="*/ 124 h 185"/>
                  <a:gd name="T110" fmla="*/ 458 w 393"/>
                  <a:gd name="T111" fmla="*/ 118 h 185"/>
                  <a:gd name="T112" fmla="*/ 472 w 393"/>
                  <a:gd name="T113" fmla="*/ 115 h 185"/>
                  <a:gd name="T114" fmla="*/ 450 w 393"/>
                  <a:gd name="T115" fmla="*/ 91 h 185"/>
                  <a:gd name="T116" fmla="*/ 436 w 393"/>
                  <a:gd name="T117" fmla="*/ 91 h 185"/>
                  <a:gd name="T118" fmla="*/ 423 w 393"/>
                  <a:gd name="T119" fmla="*/ 91 h 185"/>
                  <a:gd name="T120" fmla="*/ 405 w 393"/>
                  <a:gd name="T121" fmla="*/ 94 h 185"/>
                  <a:gd name="T122" fmla="*/ 406 w 393"/>
                  <a:gd name="T123" fmla="*/ 86 h 185"/>
                  <a:gd name="T124" fmla="*/ 406 w 393"/>
                  <a:gd name="T125" fmla="*/ 67 h 185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93"/>
                  <a:gd name="T190" fmla="*/ 0 h 185"/>
                  <a:gd name="T191" fmla="*/ 393 w 393"/>
                  <a:gd name="T192" fmla="*/ 185 h 185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93" h="185">
                    <a:moveTo>
                      <a:pt x="343" y="43"/>
                    </a:moveTo>
                    <a:cubicBezTo>
                      <a:pt x="342" y="43"/>
                      <a:pt x="341" y="41"/>
                      <a:pt x="339" y="41"/>
                    </a:cubicBezTo>
                    <a:cubicBezTo>
                      <a:pt x="337" y="41"/>
                      <a:pt x="334" y="42"/>
                      <a:pt x="332" y="42"/>
                    </a:cubicBezTo>
                    <a:cubicBezTo>
                      <a:pt x="329" y="42"/>
                      <a:pt x="327" y="41"/>
                      <a:pt x="325" y="40"/>
                    </a:cubicBezTo>
                    <a:cubicBezTo>
                      <a:pt x="322" y="39"/>
                      <a:pt x="320" y="36"/>
                      <a:pt x="317" y="36"/>
                    </a:cubicBezTo>
                    <a:cubicBezTo>
                      <a:pt x="315" y="35"/>
                      <a:pt x="312" y="37"/>
                      <a:pt x="310" y="38"/>
                    </a:cubicBezTo>
                    <a:cubicBezTo>
                      <a:pt x="307" y="39"/>
                      <a:pt x="304" y="40"/>
                      <a:pt x="301" y="42"/>
                    </a:cubicBezTo>
                    <a:cubicBezTo>
                      <a:pt x="300" y="43"/>
                      <a:pt x="299" y="44"/>
                      <a:pt x="297" y="46"/>
                    </a:cubicBezTo>
                    <a:cubicBezTo>
                      <a:pt x="295" y="47"/>
                      <a:pt x="293" y="49"/>
                      <a:pt x="291" y="49"/>
                    </a:cubicBezTo>
                    <a:cubicBezTo>
                      <a:pt x="287" y="50"/>
                      <a:pt x="283" y="49"/>
                      <a:pt x="279" y="50"/>
                    </a:cubicBezTo>
                    <a:cubicBezTo>
                      <a:pt x="277" y="50"/>
                      <a:pt x="276" y="53"/>
                      <a:pt x="273" y="54"/>
                    </a:cubicBezTo>
                    <a:cubicBezTo>
                      <a:pt x="271" y="55"/>
                      <a:pt x="269" y="53"/>
                      <a:pt x="268" y="53"/>
                    </a:cubicBezTo>
                    <a:cubicBezTo>
                      <a:pt x="260" y="52"/>
                      <a:pt x="253" y="54"/>
                      <a:pt x="246" y="52"/>
                    </a:cubicBezTo>
                    <a:cubicBezTo>
                      <a:pt x="243" y="51"/>
                      <a:pt x="241" y="49"/>
                      <a:pt x="240" y="46"/>
                    </a:cubicBezTo>
                    <a:cubicBezTo>
                      <a:pt x="239" y="45"/>
                      <a:pt x="241" y="42"/>
                      <a:pt x="240" y="40"/>
                    </a:cubicBezTo>
                    <a:cubicBezTo>
                      <a:pt x="237" y="38"/>
                      <a:pt x="233" y="39"/>
                      <a:pt x="230" y="38"/>
                    </a:cubicBezTo>
                    <a:cubicBezTo>
                      <a:pt x="227" y="37"/>
                      <a:pt x="224" y="35"/>
                      <a:pt x="221" y="35"/>
                    </a:cubicBezTo>
                    <a:cubicBezTo>
                      <a:pt x="216" y="34"/>
                      <a:pt x="210" y="35"/>
                      <a:pt x="204" y="35"/>
                    </a:cubicBezTo>
                    <a:cubicBezTo>
                      <a:pt x="203" y="35"/>
                      <a:pt x="203" y="36"/>
                      <a:pt x="202" y="36"/>
                    </a:cubicBezTo>
                    <a:cubicBezTo>
                      <a:pt x="197" y="37"/>
                      <a:pt x="193" y="37"/>
                      <a:pt x="188" y="37"/>
                    </a:cubicBezTo>
                    <a:cubicBezTo>
                      <a:pt x="186" y="37"/>
                      <a:pt x="184" y="37"/>
                      <a:pt x="182" y="36"/>
                    </a:cubicBezTo>
                    <a:cubicBezTo>
                      <a:pt x="181" y="36"/>
                      <a:pt x="182" y="34"/>
                      <a:pt x="182" y="34"/>
                    </a:cubicBezTo>
                    <a:cubicBezTo>
                      <a:pt x="180" y="34"/>
                      <a:pt x="178" y="37"/>
                      <a:pt x="176" y="36"/>
                    </a:cubicBezTo>
                    <a:cubicBezTo>
                      <a:pt x="173" y="35"/>
                      <a:pt x="170" y="32"/>
                      <a:pt x="168" y="29"/>
                    </a:cubicBezTo>
                    <a:cubicBezTo>
                      <a:pt x="166" y="26"/>
                      <a:pt x="168" y="21"/>
                      <a:pt x="167" y="18"/>
                    </a:cubicBezTo>
                    <a:cubicBezTo>
                      <a:pt x="166" y="15"/>
                      <a:pt x="163" y="13"/>
                      <a:pt x="160" y="12"/>
                    </a:cubicBezTo>
                    <a:cubicBezTo>
                      <a:pt x="158" y="10"/>
                      <a:pt x="154" y="12"/>
                      <a:pt x="151" y="11"/>
                    </a:cubicBezTo>
                    <a:cubicBezTo>
                      <a:pt x="149" y="10"/>
                      <a:pt x="147" y="6"/>
                      <a:pt x="144" y="6"/>
                    </a:cubicBezTo>
                    <a:cubicBezTo>
                      <a:pt x="140" y="5"/>
                      <a:pt x="136" y="9"/>
                      <a:pt x="132" y="8"/>
                    </a:cubicBezTo>
                    <a:cubicBezTo>
                      <a:pt x="128" y="7"/>
                      <a:pt x="125" y="0"/>
                      <a:pt x="121" y="1"/>
                    </a:cubicBezTo>
                    <a:cubicBezTo>
                      <a:pt x="118" y="2"/>
                      <a:pt x="120" y="8"/>
                      <a:pt x="119" y="11"/>
                    </a:cubicBezTo>
                    <a:cubicBezTo>
                      <a:pt x="118" y="12"/>
                      <a:pt x="116" y="11"/>
                      <a:pt x="116" y="12"/>
                    </a:cubicBezTo>
                    <a:cubicBezTo>
                      <a:pt x="115" y="14"/>
                      <a:pt x="114" y="17"/>
                      <a:pt x="114" y="20"/>
                    </a:cubicBezTo>
                    <a:cubicBezTo>
                      <a:pt x="115" y="22"/>
                      <a:pt x="116" y="25"/>
                      <a:pt x="117" y="28"/>
                    </a:cubicBezTo>
                    <a:cubicBezTo>
                      <a:pt x="118" y="30"/>
                      <a:pt x="121" y="31"/>
                      <a:pt x="121" y="34"/>
                    </a:cubicBezTo>
                    <a:cubicBezTo>
                      <a:pt x="122" y="36"/>
                      <a:pt x="120" y="39"/>
                      <a:pt x="118" y="40"/>
                    </a:cubicBezTo>
                    <a:cubicBezTo>
                      <a:pt x="117" y="42"/>
                      <a:pt x="115" y="43"/>
                      <a:pt x="113" y="43"/>
                    </a:cubicBezTo>
                    <a:cubicBezTo>
                      <a:pt x="111" y="43"/>
                      <a:pt x="109" y="42"/>
                      <a:pt x="107" y="41"/>
                    </a:cubicBezTo>
                    <a:cubicBezTo>
                      <a:pt x="103" y="41"/>
                      <a:pt x="100" y="41"/>
                      <a:pt x="96" y="41"/>
                    </a:cubicBezTo>
                    <a:cubicBezTo>
                      <a:pt x="94" y="41"/>
                      <a:pt x="91" y="42"/>
                      <a:pt x="88" y="42"/>
                    </a:cubicBezTo>
                    <a:cubicBezTo>
                      <a:pt x="85" y="41"/>
                      <a:pt x="81" y="40"/>
                      <a:pt x="78" y="38"/>
                    </a:cubicBezTo>
                    <a:cubicBezTo>
                      <a:pt x="76" y="37"/>
                      <a:pt x="75" y="35"/>
                      <a:pt x="74" y="33"/>
                    </a:cubicBezTo>
                    <a:cubicBezTo>
                      <a:pt x="74" y="32"/>
                      <a:pt x="75" y="30"/>
                      <a:pt x="74" y="30"/>
                    </a:cubicBezTo>
                    <a:cubicBezTo>
                      <a:pt x="69" y="28"/>
                      <a:pt x="64" y="29"/>
                      <a:pt x="60" y="28"/>
                    </a:cubicBezTo>
                    <a:cubicBezTo>
                      <a:pt x="58" y="28"/>
                      <a:pt x="58" y="26"/>
                      <a:pt x="56" y="25"/>
                    </a:cubicBezTo>
                    <a:cubicBezTo>
                      <a:pt x="55" y="25"/>
                      <a:pt x="54" y="27"/>
                      <a:pt x="53" y="27"/>
                    </a:cubicBezTo>
                    <a:cubicBezTo>
                      <a:pt x="52" y="27"/>
                      <a:pt x="51" y="26"/>
                      <a:pt x="50" y="26"/>
                    </a:cubicBezTo>
                    <a:cubicBezTo>
                      <a:pt x="49" y="26"/>
                      <a:pt x="48" y="28"/>
                      <a:pt x="47" y="28"/>
                    </a:cubicBezTo>
                    <a:cubicBezTo>
                      <a:pt x="45" y="29"/>
                      <a:pt x="43" y="27"/>
                      <a:pt x="42" y="28"/>
                    </a:cubicBezTo>
                    <a:cubicBezTo>
                      <a:pt x="40" y="29"/>
                      <a:pt x="40" y="31"/>
                      <a:pt x="39" y="32"/>
                    </a:cubicBezTo>
                    <a:cubicBezTo>
                      <a:pt x="37" y="33"/>
                      <a:pt x="35" y="31"/>
                      <a:pt x="33" y="32"/>
                    </a:cubicBezTo>
                    <a:cubicBezTo>
                      <a:pt x="30" y="34"/>
                      <a:pt x="27" y="37"/>
                      <a:pt x="24" y="40"/>
                    </a:cubicBezTo>
                    <a:cubicBezTo>
                      <a:pt x="22" y="42"/>
                      <a:pt x="20" y="45"/>
                      <a:pt x="18" y="46"/>
                    </a:cubicBezTo>
                    <a:cubicBezTo>
                      <a:pt x="15" y="48"/>
                      <a:pt x="11" y="47"/>
                      <a:pt x="8" y="49"/>
                    </a:cubicBezTo>
                    <a:cubicBezTo>
                      <a:pt x="6" y="50"/>
                      <a:pt x="3" y="53"/>
                      <a:pt x="1" y="55"/>
                    </a:cubicBezTo>
                    <a:cubicBezTo>
                      <a:pt x="1" y="57"/>
                      <a:pt x="0" y="58"/>
                      <a:pt x="0" y="60"/>
                    </a:cubicBezTo>
                    <a:cubicBezTo>
                      <a:pt x="0" y="61"/>
                      <a:pt x="1" y="62"/>
                      <a:pt x="2" y="62"/>
                    </a:cubicBezTo>
                    <a:cubicBezTo>
                      <a:pt x="3" y="64"/>
                      <a:pt x="5" y="66"/>
                      <a:pt x="6" y="68"/>
                    </a:cubicBezTo>
                    <a:cubicBezTo>
                      <a:pt x="8" y="70"/>
                      <a:pt x="10" y="71"/>
                      <a:pt x="12" y="72"/>
                    </a:cubicBezTo>
                    <a:cubicBezTo>
                      <a:pt x="14" y="74"/>
                      <a:pt x="15" y="77"/>
                      <a:pt x="18" y="77"/>
                    </a:cubicBezTo>
                    <a:cubicBezTo>
                      <a:pt x="20" y="78"/>
                      <a:pt x="21" y="75"/>
                      <a:pt x="23" y="75"/>
                    </a:cubicBezTo>
                    <a:cubicBezTo>
                      <a:pt x="24" y="75"/>
                      <a:pt x="23" y="78"/>
                      <a:pt x="25" y="78"/>
                    </a:cubicBezTo>
                    <a:cubicBezTo>
                      <a:pt x="26" y="79"/>
                      <a:pt x="29" y="77"/>
                      <a:pt x="31" y="78"/>
                    </a:cubicBezTo>
                    <a:cubicBezTo>
                      <a:pt x="33" y="79"/>
                      <a:pt x="36" y="81"/>
                      <a:pt x="38" y="83"/>
                    </a:cubicBezTo>
                    <a:cubicBezTo>
                      <a:pt x="39" y="86"/>
                      <a:pt x="39" y="90"/>
                      <a:pt x="40" y="92"/>
                    </a:cubicBezTo>
                    <a:cubicBezTo>
                      <a:pt x="41" y="94"/>
                      <a:pt x="45" y="92"/>
                      <a:pt x="46" y="94"/>
                    </a:cubicBezTo>
                    <a:cubicBezTo>
                      <a:pt x="47" y="96"/>
                      <a:pt x="46" y="98"/>
                      <a:pt x="46" y="100"/>
                    </a:cubicBezTo>
                    <a:cubicBezTo>
                      <a:pt x="46" y="102"/>
                      <a:pt x="45" y="103"/>
                      <a:pt x="45" y="105"/>
                    </a:cubicBezTo>
                    <a:cubicBezTo>
                      <a:pt x="47" y="110"/>
                      <a:pt x="45" y="115"/>
                      <a:pt x="45" y="120"/>
                    </a:cubicBezTo>
                    <a:cubicBezTo>
                      <a:pt x="45" y="121"/>
                      <a:pt x="45" y="123"/>
                      <a:pt x="46" y="124"/>
                    </a:cubicBezTo>
                    <a:cubicBezTo>
                      <a:pt x="48" y="125"/>
                      <a:pt x="50" y="126"/>
                      <a:pt x="53" y="126"/>
                    </a:cubicBezTo>
                    <a:cubicBezTo>
                      <a:pt x="55" y="127"/>
                      <a:pt x="58" y="129"/>
                      <a:pt x="61" y="129"/>
                    </a:cubicBezTo>
                    <a:cubicBezTo>
                      <a:pt x="65" y="129"/>
                      <a:pt x="70" y="126"/>
                      <a:pt x="74" y="127"/>
                    </a:cubicBezTo>
                    <a:cubicBezTo>
                      <a:pt x="79" y="127"/>
                      <a:pt x="82" y="130"/>
                      <a:pt x="86" y="133"/>
                    </a:cubicBezTo>
                    <a:cubicBezTo>
                      <a:pt x="90" y="135"/>
                      <a:pt x="93" y="138"/>
                      <a:pt x="97" y="140"/>
                    </a:cubicBezTo>
                    <a:cubicBezTo>
                      <a:pt x="100" y="141"/>
                      <a:pt x="103" y="139"/>
                      <a:pt x="105" y="140"/>
                    </a:cubicBezTo>
                    <a:cubicBezTo>
                      <a:pt x="106" y="141"/>
                      <a:pt x="104" y="143"/>
                      <a:pt x="105" y="144"/>
                    </a:cubicBezTo>
                    <a:cubicBezTo>
                      <a:pt x="106" y="146"/>
                      <a:pt x="109" y="144"/>
                      <a:pt x="111" y="146"/>
                    </a:cubicBezTo>
                    <a:cubicBezTo>
                      <a:pt x="114" y="150"/>
                      <a:pt x="114" y="155"/>
                      <a:pt x="116" y="159"/>
                    </a:cubicBezTo>
                    <a:cubicBezTo>
                      <a:pt x="117" y="160"/>
                      <a:pt x="119" y="161"/>
                      <a:pt x="120" y="162"/>
                    </a:cubicBezTo>
                    <a:cubicBezTo>
                      <a:pt x="122" y="163"/>
                      <a:pt x="121" y="166"/>
                      <a:pt x="123" y="166"/>
                    </a:cubicBezTo>
                    <a:cubicBezTo>
                      <a:pt x="126" y="167"/>
                      <a:pt x="130" y="167"/>
                      <a:pt x="133" y="167"/>
                    </a:cubicBezTo>
                    <a:cubicBezTo>
                      <a:pt x="136" y="167"/>
                      <a:pt x="138" y="165"/>
                      <a:pt x="141" y="165"/>
                    </a:cubicBezTo>
                    <a:cubicBezTo>
                      <a:pt x="146" y="166"/>
                      <a:pt x="151" y="168"/>
                      <a:pt x="157" y="168"/>
                    </a:cubicBezTo>
                    <a:cubicBezTo>
                      <a:pt x="161" y="168"/>
                      <a:pt x="164" y="165"/>
                      <a:pt x="168" y="165"/>
                    </a:cubicBezTo>
                    <a:cubicBezTo>
                      <a:pt x="175" y="165"/>
                      <a:pt x="182" y="166"/>
                      <a:pt x="188" y="168"/>
                    </a:cubicBezTo>
                    <a:cubicBezTo>
                      <a:pt x="190" y="168"/>
                      <a:pt x="191" y="172"/>
                      <a:pt x="193" y="173"/>
                    </a:cubicBezTo>
                    <a:cubicBezTo>
                      <a:pt x="199" y="176"/>
                      <a:pt x="206" y="178"/>
                      <a:pt x="213" y="180"/>
                    </a:cubicBezTo>
                    <a:cubicBezTo>
                      <a:pt x="216" y="181"/>
                      <a:pt x="220" y="179"/>
                      <a:pt x="222" y="181"/>
                    </a:cubicBezTo>
                    <a:cubicBezTo>
                      <a:pt x="225" y="182"/>
                      <a:pt x="228" y="185"/>
                      <a:pt x="231" y="184"/>
                    </a:cubicBezTo>
                    <a:cubicBezTo>
                      <a:pt x="238" y="182"/>
                      <a:pt x="242" y="174"/>
                      <a:pt x="249" y="171"/>
                    </a:cubicBezTo>
                    <a:cubicBezTo>
                      <a:pt x="255" y="169"/>
                      <a:pt x="262" y="169"/>
                      <a:pt x="269" y="170"/>
                    </a:cubicBezTo>
                    <a:cubicBezTo>
                      <a:pt x="273" y="170"/>
                      <a:pt x="276" y="173"/>
                      <a:pt x="279" y="172"/>
                    </a:cubicBezTo>
                    <a:cubicBezTo>
                      <a:pt x="284" y="172"/>
                      <a:pt x="288" y="168"/>
                      <a:pt x="292" y="165"/>
                    </a:cubicBezTo>
                    <a:cubicBezTo>
                      <a:pt x="295" y="162"/>
                      <a:pt x="296" y="159"/>
                      <a:pt x="298" y="156"/>
                    </a:cubicBezTo>
                    <a:cubicBezTo>
                      <a:pt x="301" y="151"/>
                      <a:pt x="306" y="149"/>
                      <a:pt x="307" y="144"/>
                    </a:cubicBezTo>
                    <a:cubicBezTo>
                      <a:pt x="308" y="142"/>
                      <a:pt x="304" y="143"/>
                      <a:pt x="303" y="142"/>
                    </a:cubicBezTo>
                    <a:cubicBezTo>
                      <a:pt x="301" y="140"/>
                      <a:pt x="300" y="137"/>
                      <a:pt x="300" y="135"/>
                    </a:cubicBezTo>
                    <a:cubicBezTo>
                      <a:pt x="300" y="132"/>
                      <a:pt x="301" y="129"/>
                      <a:pt x="303" y="127"/>
                    </a:cubicBezTo>
                    <a:cubicBezTo>
                      <a:pt x="305" y="126"/>
                      <a:pt x="309" y="126"/>
                      <a:pt x="311" y="127"/>
                    </a:cubicBezTo>
                    <a:cubicBezTo>
                      <a:pt x="315" y="128"/>
                      <a:pt x="317" y="132"/>
                      <a:pt x="320" y="132"/>
                    </a:cubicBezTo>
                    <a:cubicBezTo>
                      <a:pt x="323" y="133"/>
                      <a:pt x="327" y="131"/>
                      <a:pt x="330" y="129"/>
                    </a:cubicBezTo>
                    <a:cubicBezTo>
                      <a:pt x="333" y="127"/>
                      <a:pt x="333" y="122"/>
                      <a:pt x="336" y="120"/>
                    </a:cubicBezTo>
                    <a:cubicBezTo>
                      <a:pt x="339" y="119"/>
                      <a:pt x="342" y="122"/>
                      <a:pt x="345" y="121"/>
                    </a:cubicBezTo>
                    <a:cubicBezTo>
                      <a:pt x="348" y="120"/>
                      <a:pt x="350" y="118"/>
                      <a:pt x="352" y="115"/>
                    </a:cubicBezTo>
                    <a:cubicBezTo>
                      <a:pt x="353" y="114"/>
                      <a:pt x="351" y="112"/>
                      <a:pt x="352" y="111"/>
                    </a:cubicBezTo>
                    <a:cubicBezTo>
                      <a:pt x="353" y="108"/>
                      <a:pt x="356" y="106"/>
                      <a:pt x="359" y="104"/>
                    </a:cubicBezTo>
                    <a:cubicBezTo>
                      <a:pt x="361" y="104"/>
                      <a:pt x="362" y="108"/>
                      <a:pt x="364" y="107"/>
                    </a:cubicBezTo>
                    <a:cubicBezTo>
                      <a:pt x="366" y="106"/>
                      <a:pt x="364" y="102"/>
                      <a:pt x="365" y="101"/>
                    </a:cubicBezTo>
                    <a:cubicBezTo>
                      <a:pt x="366" y="100"/>
                      <a:pt x="367" y="103"/>
                      <a:pt x="369" y="103"/>
                    </a:cubicBezTo>
                    <a:cubicBezTo>
                      <a:pt x="370" y="102"/>
                      <a:pt x="371" y="100"/>
                      <a:pt x="373" y="99"/>
                    </a:cubicBezTo>
                    <a:cubicBezTo>
                      <a:pt x="375" y="98"/>
                      <a:pt x="378" y="98"/>
                      <a:pt x="381" y="98"/>
                    </a:cubicBezTo>
                    <a:cubicBezTo>
                      <a:pt x="384" y="98"/>
                      <a:pt x="386" y="102"/>
                      <a:pt x="389" y="101"/>
                    </a:cubicBezTo>
                    <a:cubicBezTo>
                      <a:pt x="390" y="100"/>
                      <a:pt x="392" y="97"/>
                      <a:pt x="393" y="96"/>
                    </a:cubicBezTo>
                    <a:cubicBezTo>
                      <a:pt x="392" y="92"/>
                      <a:pt x="389" y="90"/>
                      <a:pt x="386" y="87"/>
                    </a:cubicBezTo>
                    <a:cubicBezTo>
                      <a:pt x="383" y="84"/>
                      <a:pt x="377" y="80"/>
                      <a:pt x="375" y="76"/>
                    </a:cubicBezTo>
                    <a:cubicBezTo>
                      <a:pt x="371" y="74"/>
                      <a:pt x="367" y="73"/>
                      <a:pt x="363" y="73"/>
                    </a:cubicBezTo>
                    <a:cubicBezTo>
                      <a:pt x="362" y="73"/>
                      <a:pt x="363" y="75"/>
                      <a:pt x="363" y="76"/>
                    </a:cubicBezTo>
                    <a:cubicBezTo>
                      <a:pt x="361" y="78"/>
                      <a:pt x="360" y="82"/>
                      <a:pt x="358" y="82"/>
                    </a:cubicBezTo>
                    <a:cubicBezTo>
                      <a:pt x="355" y="82"/>
                      <a:pt x="355" y="77"/>
                      <a:pt x="352" y="76"/>
                    </a:cubicBezTo>
                    <a:cubicBezTo>
                      <a:pt x="348" y="76"/>
                      <a:pt x="345" y="80"/>
                      <a:pt x="342" y="80"/>
                    </a:cubicBezTo>
                    <a:cubicBezTo>
                      <a:pt x="340" y="80"/>
                      <a:pt x="338" y="80"/>
                      <a:pt x="337" y="78"/>
                    </a:cubicBezTo>
                    <a:cubicBezTo>
                      <a:pt x="336" y="77"/>
                      <a:pt x="336" y="75"/>
                      <a:pt x="336" y="74"/>
                    </a:cubicBezTo>
                    <a:cubicBezTo>
                      <a:pt x="336" y="73"/>
                      <a:pt x="338" y="73"/>
                      <a:pt x="338" y="72"/>
                    </a:cubicBezTo>
                    <a:cubicBezTo>
                      <a:pt x="339" y="70"/>
                      <a:pt x="338" y="67"/>
                      <a:pt x="338" y="65"/>
                    </a:cubicBezTo>
                    <a:cubicBezTo>
                      <a:pt x="338" y="62"/>
                      <a:pt x="337" y="59"/>
                      <a:pt x="338" y="56"/>
                    </a:cubicBezTo>
                    <a:cubicBezTo>
                      <a:pt x="339" y="51"/>
                      <a:pt x="342" y="47"/>
                      <a:pt x="343" y="4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07" name="Freeform 2627"/>
              <p:cNvSpPr>
                <a:spLocks noChangeAspect="1"/>
              </p:cNvSpPr>
              <p:nvPr/>
            </p:nvSpPr>
            <p:spPr bwMode="auto">
              <a:xfrm>
                <a:off x="5570467" y="2274979"/>
                <a:ext cx="175604" cy="67284"/>
              </a:xfrm>
              <a:custGeom>
                <a:avLst/>
                <a:gdLst>
                  <a:gd name="T0" fmla="*/ 70 w 131"/>
                  <a:gd name="T1" fmla="*/ 77 h 67"/>
                  <a:gd name="T2" fmla="*/ 70 w 131"/>
                  <a:gd name="T3" fmla="*/ 66 h 67"/>
                  <a:gd name="T4" fmla="*/ 77 w 131"/>
                  <a:gd name="T5" fmla="*/ 63 h 67"/>
                  <a:gd name="T6" fmla="*/ 84 w 131"/>
                  <a:gd name="T7" fmla="*/ 58 h 67"/>
                  <a:gd name="T8" fmla="*/ 90 w 131"/>
                  <a:gd name="T9" fmla="*/ 59 h 67"/>
                  <a:gd name="T10" fmla="*/ 95 w 131"/>
                  <a:gd name="T11" fmla="*/ 54 h 67"/>
                  <a:gd name="T12" fmla="*/ 96 w 131"/>
                  <a:gd name="T13" fmla="*/ 60 h 67"/>
                  <a:gd name="T14" fmla="*/ 107 w 131"/>
                  <a:gd name="T15" fmla="*/ 58 h 67"/>
                  <a:gd name="T16" fmla="*/ 111 w 131"/>
                  <a:gd name="T17" fmla="*/ 46 h 67"/>
                  <a:gd name="T18" fmla="*/ 117 w 131"/>
                  <a:gd name="T19" fmla="*/ 45 h 67"/>
                  <a:gd name="T20" fmla="*/ 131 w 131"/>
                  <a:gd name="T21" fmla="*/ 45 h 67"/>
                  <a:gd name="T22" fmla="*/ 134 w 131"/>
                  <a:gd name="T23" fmla="*/ 37 h 67"/>
                  <a:gd name="T24" fmla="*/ 144 w 131"/>
                  <a:gd name="T25" fmla="*/ 29 h 67"/>
                  <a:gd name="T26" fmla="*/ 149 w 131"/>
                  <a:gd name="T27" fmla="*/ 31 h 67"/>
                  <a:gd name="T28" fmla="*/ 152 w 131"/>
                  <a:gd name="T29" fmla="*/ 25 h 67"/>
                  <a:gd name="T30" fmla="*/ 157 w 131"/>
                  <a:gd name="T31" fmla="*/ 22 h 67"/>
                  <a:gd name="T32" fmla="*/ 155 w 131"/>
                  <a:gd name="T33" fmla="*/ 19 h 67"/>
                  <a:gd name="T34" fmla="*/ 151 w 131"/>
                  <a:gd name="T35" fmla="*/ 18 h 67"/>
                  <a:gd name="T36" fmla="*/ 143 w 131"/>
                  <a:gd name="T37" fmla="*/ 16 h 67"/>
                  <a:gd name="T38" fmla="*/ 141 w 131"/>
                  <a:gd name="T39" fmla="*/ 11 h 67"/>
                  <a:gd name="T40" fmla="*/ 138 w 131"/>
                  <a:gd name="T41" fmla="*/ 11 h 67"/>
                  <a:gd name="T42" fmla="*/ 131 w 131"/>
                  <a:gd name="T43" fmla="*/ 8 h 67"/>
                  <a:gd name="T44" fmla="*/ 119 w 131"/>
                  <a:gd name="T45" fmla="*/ 8 h 67"/>
                  <a:gd name="T46" fmla="*/ 105 w 131"/>
                  <a:gd name="T47" fmla="*/ 7 h 67"/>
                  <a:gd name="T48" fmla="*/ 95 w 131"/>
                  <a:gd name="T49" fmla="*/ 7 h 67"/>
                  <a:gd name="T50" fmla="*/ 93 w 131"/>
                  <a:gd name="T51" fmla="*/ 10 h 67"/>
                  <a:gd name="T52" fmla="*/ 80 w 131"/>
                  <a:gd name="T53" fmla="*/ 7 h 67"/>
                  <a:gd name="T54" fmla="*/ 68 w 131"/>
                  <a:gd name="T55" fmla="*/ 1 h 67"/>
                  <a:gd name="T56" fmla="*/ 60 w 131"/>
                  <a:gd name="T57" fmla="*/ 2 h 67"/>
                  <a:gd name="T58" fmla="*/ 55 w 131"/>
                  <a:gd name="T59" fmla="*/ 6 h 67"/>
                  <a:gd name="T60" fmla="*/ 55 w 131"/>
                  <a:gd name="T61" fmla="*/ 16 h 67"/>
                  <a:gd name="T62" fmla="*/ 49 w 131"/>
                  <a:gd name="T63" fmla="*/ 17 h 67"/>
                  <a:gd name="T64" fmla="*/ 32 w 131"/>
                  <a:gd name="T65" fmla="*/ 12 h 67"/>
                  <a:gd name="T66" fmla="*/ 26 w 131"/>
                  <a:gd name="T67" fmla="*/ 13 h 67"/>
                  <a:gd name="T68" fmla="*/ 19 w 131"/>
                  <a:gd name="T69" fmla="*/ 19 h 67"/>
                  <a:gd name="T70" fmla="*/ 26 w 131"/>
                  <a:gd name="T71" fmla="*/ 22 h 67"/>
                  <a:gd name="T72" fmla="*/ 13 w 131"/>
                  <a:gd name="T73" fmla="*/ 34 h 67"/>
                  <a:gd name="T74" fmla="*/ 13 w 131"/>
                  <a:gd name="T75" fmla="*/ 39 h 67"/>
                  <a:gd name="T76" fmla="*/ 20 w 131"/>
                  <a:gd name="T77" fmla="*/ 39 h 67"/>
                  <a:gd name="T78" fmla="*/ 20 w 131"/>
                  <a:gd name="T79" fmla="*/ 46 h 67"/>
                  <a:gd name="T80" fmla="*/ 30 w 131"/>
                  <a:gd name="T81" fmla="*/ 46 h 67"/>
                  <a:gd name="T82" fmla="*/ 32 w 131"/>
                  <a:gd name="T83" fmla="*/ 36 h 67"/>
                  <a:gd name="T84" fmla="*/ 40 w 131"/>
                  <a:gd name="T85" fmla="*/ 45 h 67"/>
                  <a:gd name="T86" fmla="*/ 48 w 131"/>
                  <a:gd name="T87" fmla="*/ 46 h 67"/>
                  <a:gd name="T88" fmla="*/ 56 w 131"/>
                  <a:gd name="T89" fmla="*/ 48 h 67"/>
                  <a:gd name="T90" fmla="*/ 53 w 131"/>
                  <a:gd name="T91" fmla="*/ 57 h 67"/>
                  <a:gd name="T92" fmla="*/ 46 w 131"/>
                  <a:gd name="T93" fmla="*/ 57 h 67"/>
                  <a:gd name="T94" fmla="*/ 38 w 131"/>
                  <a:gd name="T95" fmla="*/ 64 h 67"/>
                  <a:gd name="T96" fmla="*/ 34 w 131"/>
                  <a:gd name="T97" fmla="*/ 64 h 67"/>
                  <a:gd name="T98" fmla="*/ 30 w 131"/>
                  <a:gd name="T99" fmla="*/ 62 h 67"/>
                  <a:gd name="T100" fmla="*/ 26 w 131"/>
                  <a:gd name="T101" fmla="*/ 64 h 67"/>
                  <a:gd name="T102" fmla="*/ 23 w 131"/>
                  <a:gd name="T103" fmla="*/ 64 h 67"/>
                  <a:gd name="T104" fmla="*/ 10 w 131"/>
                  <a:gd name="T105" fmla="*/ 66 h 67"/>
                  <a:gd name="T106" fmla="*/ 1 w 131"/>
                  <a:gd name="T107" fmla="*/ 69 h 67"/>
                  <a:gd name="T108" fmla="*/ 5 w 131"/>
                  <a:gd name="T109" fmla="*/ 76 h 67"/>
                  <a:gd name="T110" fmla="*/ 19 w 131"/>
                  <a:gd name="T111" fmla="*/ 75 h 67"/>
                  <a:gd name="T112" fmla="*/ 26 w 131"/>
                  <a:gd name="T113" fmla="*/ 79 h 67"/>
                  <a:gd name="T114" fmla="*/ 37 w 131"/>
                  <a:gd name="T115" fmla="*/ 74 h 67"/>
                  <a:gd name="T116" fmla="*/ 41 w 131"/>
                  <a:gd name="T117" fmla="*/ 80 h 67"/>
                  <a:gd name="T118" fmla="*/ 50 w 131"/>
                  <a:gd name="T119" fmla="*/ 80 h 67"/>
                  <a:gd name="T120" fmla="*/ 70 w 131"/>
                  <a:gd name="T121" fmla="*/ 77 h 67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31"/>
                  <a:gd name="T184" fmla="*/ 0 h 67"/>
                  <a:gd name="T185" fmla="*/ 131 w 131"/>
                  <a:gd name="T186" fmla="*/ 67 h 67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31" h="67">
                    <a:moveTo>
                      <a:pt x="58" y="64"/>
                    </a:moveTo>
                    <a:cubicBezTo>
                      <a:pt x="58" y="61"/>
                      <a:pt x="57" y="57"/>
                      <a:pt x="58" y="55"/>
                    </a:cubicBezTo>
                    <a:cubicBezTo>
                      <a:pt x="59" y="53"/>
                      <a:pt x="62" y="53"/>
                      <a:pt x="64" y="52"/>
                    </a:cubicBezTo>
                    <a:cubicBezTo>
                      <a:pt x="66" y="51"/>
                      <a:pt x="68" y="49"/>
                      <a:pt x="70" y="48"/>
                    </a:cubicBezTo>
                    <a:cubicBezTo>
                      <a:pt x="71" y="47"/>
                      <a:pt x="73" y="49"/>
                      <a:pt x="75" y="49"/>
                    </a:cubicBezTo>
                    <a:cubicBezTo>
                      <a:pt x="76" y="48"/>
                      <a:pt x="77" y="45"/>
                      <a:pt x="79" y="45"/>
                    </a:cubicBezTo>
                    <a:cubicBezTo>
                      <a:pt x="81" y="46"/>
                      <a:pt x="79" y="50"/>
                      <a:pt x="80" y="50"/>
                    </a:cubicBezTo>
                    <a:cubicBezTo>
                      <a:pt x="83" y="51"/>
                      <a:pt x="87" y="50"/>
                      <a:pt x="89" y="48"/>
                    </a:cubicBezTo>
                    <a:cubicBezTo>
                      <a:pt x="92" y="45"/>
                      <a:pt x="90" y="41"/>
                      <a:pt x="93" y="38"/>
                    </a:cubicBezTo>
                    <a:cubicBezTo>
                      <a:pt x="94" y="37"/>
                      <a:pt x="96" y="37"/>
                      <a:pt x="98" y="37"/>
                    </a:cubicBezTo>
                    <a:cubicBezTo>
                      <a:pt x="102" y="36"/>
                      <a:pt x="106" y="38"/>
                      <a:pt x="109" y="37"/>
                    </a:cubicBezTo>
                    <a:cubicBezTo>
                      <a:pt x="111" y="36"/>
                      <a:pt x="110" y="32"/>
                      <a:pt x="112" y="31"/>
                    </a:cubicBezTo>
                    <a:cubicBezTo>
                      <a:pt x="114" y="28"/>
                      <a:pt x="116" y="25"/>
                      <a:pt x="120" y="24"/>
                    </a:cubicBezTo>
                    <a:cubicBezTo>
                      <a:pt x="121" y="23"/>
                      <a:pt x="122" y="26"/>
                      <a:pt x="124" y="26"/>
                    </a:cubicBezTo>
                    <a:cubicBezTo>
                      <a:pt x="126" y="25"/>
                      <a:pt x="125" y="22"/>
                      <a:pt x="127" y="21"/>
                    </a:cubicBezTo>
                    <a:cubicBezTo>
                      <a:pt x="128" y="19"/>
                      <a:pt x="130" y="19"/>
                      <a:pt x="131" y="18"/>
                    </a:cubicBezTo>
                    <a:cubicBezTo>
                      <a:pt x="131" y="18"/>
                      <a:pt x="129" y="16"/>
                      <a:pt x="129" y="16"/>
                    </a:cubicBezTo>
                    <a:cubicBezTo>
                      <a:pt x="128" y="16"/>
                      <a:pt x="127" y="16"/>
                      <a:pt x="126" y="15"/>
                    </a:cubicBezTo>
                    <a:cubicBezTo>
                      <a:pt x="124" y="15"/>
                      <a:pt x="121" y="15"/>
                      <a:pt x="119" y="13"/>
                    </a:cubicBezTo>
                    <a:cubicBezTo>
                      <a:pt x="118" y="12"/>
                      <a:pt x="119" y="10"/>
                      <a:pt x="118" y="9"/>
                    </a:cubicBezTo>
                    <a:cubicBezTo>
                      <a:pt x="117" y="8"/>
                      <a:pt x="116" y="9"/>
                      <a:pt x="115" y="9"/>
                    </a:cubicBezTo>
                    <a:cubicBezTo>
                      <a:pt x="113" y="9"/>
                      <a:pt x="111" y="7"/>
                      <a:pt x="109" y="7"/>
                    </a:cubicBezTo>
                    <a:cubicBezTo>
                      <a:pt x="106" y="6"/>
                      <a:pt x="103" y="7"/>
                      <a:pt x="99" y="7"/>
                    </a:cubicBezTo>
                    <a:cubicBezTo>
                      <a:pt x="95" y="7"/>
                      <a:pt x="92" y="7"/>
                      <a:pt x="88" y="6"/>
                    </a:cubicBezTo>
                    <a:cubicBezTo>
                      <a:pt x="85" y="6"/>
                      <a:pt x="82" y="6"/>
                      <a:pt x="79" y="6"/>
                    </a:cubicBezTo>
                    <a:cubicBezTo>
                      <a:pt x="78" y="6"/>
                      <a:pt x="78" y="8"/>
                      <a:pt x="78" y="8"/>
                    </a:cubicBezTo>
                    <a:cubicBezTo>
                      <a:pt x="74" y="8"/>
                      <a:pt x="70" y="7"/>
                      <a:pt x="67" y="6"/>
                    </a:cubicBezTo>
                    <a:cubicBezTo>
                      <a:pt x="63" y="5"/>
                      <a:pt x="60" y="2"/>
                      <a:pt x="57" y="1"/>
                    </a:cubicBezTo>
                    <a:cubicBezTo>
                      <a:pt x="55" y="0"/>
                      <a:pt x="52" y="1"/>
                      <a:pt x="50" y="2"/>
                    </a:cubicBezTo>
                    <a:cubicBezTo>
                      <a:pt x="48" y="2"/>
                      <a:pt x="46" y="3"/>
                      <a:pt x="46" y="5"/>
                    </a:cubicBezTo>
                    <a:cubicBezTo>
                      <a:pt x="45" y="7"/>
                      <a:pt x="47" y="10"/>
                      <a:pt x="46" y="13"/>
                    </a:cubicBezTo>
                    <a:cubicBezTo>
                      <a:pt x="45" y="14"/>
                      <a:pt x="43" y="14"/>
                      <a:pt x="41" y="14"/>
                    </a:cubicBezTo>
                    <a:cubicBezTo>
                      <a:pt x="36" y="13"/>
                      <a:pt x="32" y="11"/>
                      <a:pt x="27" y="10"/>
                    </a:cubicBezTo>
                    <a:cubicBezTo>
                      <a:pt x="26" y="10"/>
                      <a:pt x="24" y="10"/>
                      <a:pt x="22" y="11"/>
                    </a:cubicBezTo>
                    <a:cubicBezTo>
                      <a:pt x="20" y="12"/>
                      <a:pt x="18" y="14"/>
                      <a:pt x="16" y="16"/>
                    </a:cubicBezTo>
                    <a:cubicBezTo>
                      <a:pt x="18" y="17"/>
                      <a:pt x="23" y="17"/>
                      <a:pt x="22" y="18"/>
                    </a:cubicBezTo>
                    <a:cubicBezTo>
                      <a:pt x="20" y="23"/>
                      <a:pt x="14" y="24"/>
                      <a:pt x="11" y="28"/>
                    </a:cubicBezTo>
                    <a:cubicBezTo>
                      <a:pt x="10" y="29"/>
                      <a:pt x="10" y="31"/>
                      <a:pt x="11" y="32"/>
                    </a:cubicBezTo>
                    <a:cubicBezTo>
                      <a:pt x="12" y="33"/>
                      <a:pt x="15" y="31"/>
                      <a:pt x="17" y="32"/>
                    </a:cubicBezTo>
                    <a:cubicBezTo>
                      <a:pt x="18" y="33"/>
                      <a:pt x="16" y="37"/>
                      <a:pt x="17" y="38"/>
                    </a:cubicBezTo>
                    <a:cubicBezTo>
                      <a:pt x="20" y="40"/>
                      <a:pt x="23" y="40"/>
                      <a:pt x="25" y="38"/>
                    </a:cubicBezTo>
                    <a:cubicBezTo>
                      <a:pt x="27" y="36"/>
                      <a:pt x="25" y="31"/>
                      <a:pt x="27" y="30"/>
                    </a:cubicBezTo>
                    <a:cubicBezTo>
                      <a:pt x="30" y="30"/>
                      <a:pt x="31" y="35"/>
                      <a:pt x="33" y="37"/>
                    </a:cubicBezTo>
                    <a:cubicBezTo>
                      <a:pt x="35" y="38"/>
                      <a:pt x="38" y="37"/>
                      <a:pt x="40" y="38"/>
                    </a:cubicBezTo>
                    <a:cubicBezTo>
                      <a:pt x="43" y="39"/>
                      <a:pt x="46" y="38"/>
                      <a:pt x="47" y="40"/>
                    </a:cubicBezTo>
                    <a:cubicBezTo>
                      <a:pt x="48" y="43"/>
                      <a:pt x="46" y="45"/>
                      <a:pt x="44" y="47"/>
                    </a:cubicBezTo>
                    <a:cubicBezTo>
                      <a:pt x="42" y="48"/>
                      <a:pt x="40" y="46"/>
                      <a:pt x="38" y="47"/>
                    </a:cubicBezTo>
                    <a:cubicBezTo>
                      <a:pt x="36" y="48"/>
                      <a:pt x="35" y="52"/>
                      <a:pt x="32" y="53"/>
                    </a:cubicBezTo>
                    <a:cubicBezTo>
                      <a:pt x="31" y="54"/>
                      <a:pt x="30" y="53"/>
                      <a:pt x="28" y="53"/>
                    </a:cubicBezTo>
                    <a:cubicBezTo>
                      <a:pt x="27" y="52"/>
                      <a:pt x="26" y="51"/>
                      <a:pt x="25" y="51"/>
                    </a:cubicBezTo>
                    <a:cubicBezTo>
                      <a:pt x="24" y="51"/>
                      <a:pt x="23" y="52"/>
                      <a:pt x="22" y="53"/>
                    </a:cubicBezTo>
                    <a:cubicBezTo>
                      <a:pt x="21" y="53"/>
                      <a:pt x="20" y="53"/>
                      <a:pt x="19" y="53"/>
                    </a:cubicBezTo>
                    <a:cubicBezTo>
                      <a:pt x="16" y="54"/>
                      <a:pt x="12" y="54"/>
                      <a:pt x="8" y="55"/>
                    </a:cubicBezTo>
                    <a:cubicBezTo>
                      <a:pt x="6" y="55"/>
                      <a:pt x="2" y="55"/>
                      <a:pt x="1" y="57"/>
                    </a:cubicBezTo>
                    <a:cubicBezTo>
                      <a:pt x="0" y="59"/>
                      <a:pt x="2" y="63"/>
                      <a:pt x="4" y="63"/>
                    </a:cubicBezTo>
                    <a:cubicBezTo>
                      <a:pt x="8" y="64"/>
                      <a:pt x="12" y="61"/>
                      <a:pt x="16" y="62"/>
                    </a:cubicBezTo>
                    <a:cubicBezTo>
                      <a:pt x="19" y="62"/>
                      <a:pt x="20" y="65"/>
                      <a:pt x="22" y="65"/>
                    </a:cubicBezTo>
                    <a:cubicBezTo>
                      <a:pt x="25" y="65"/>
                      <a:pt x="28" y="61"/>
                      <a:pt x="31" y="61"/>
                    </a:cubicBezTo>
                    <a:cubicBezTo>
                      <a:pt x="33" y="61"/>
                      <a:pt x="32" y="65"/>
                      <a:pt x="34" y="66"/>
                    </a:cubicBezTo>
                    <a:cubicBezTo>
                      <a:pt x="37" y="67"/>
                      <a:pt x="40" y="66"/>
                      <a:pt x="42" y="66"/>
                    </a:cubicBezTo>
                    <a:cubicBezTo>
                      <a:pt x="47" y="66"/>
                      <a:pt x="52" y="64"/>
                      <a:pt x="58" y="64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08" name="Freeform 2628"/>
              <p:cNvSpPr>
                <a:spLocks noChangeAspect="1"/>
              </p:cNvSpPr>
              <p:nvPr/>
            </p:nvSpPr>
            <p:spPr bwMode="auto">
              <a:xfrm>
                <a:off x="5543623" y="2315681"/>
                <a:ext cx="133100" cy="68115"/>
              </a:xfrm>
              <a:custGeom>
                <a:avLst/>
                <a:gdLst>
                  <a:gd name="T0" fmla="*/ 113 w 99"/>
                  <a:gd name="T1" fmla="*/ 68 h 68"/>
                  <a:gd name="T2" fmla="*/ 119 w 99"/>
                  <a:gd name="T3" fmla="*/ 64 h 68"/>
                  <a:gd name="T4" fmla="*/ 113 w 99"/>
                  <a:gd name="T5" fmla="*/ 48 h 68"/>
                  <a:gd name="T6" fmla="*/ 106 w 99"/>
                  <a:gd name="T7" fmla="*/ 40 h 68"/>
                  <a:gd name="T8" fmla="*/ 95 w 99"/>
                  <a:gd name="T9" fmla="*/ 45 h 68"/>
                  <a:gd name="T10" fmla="*/ 95 w 99"/>
                  <a:gd name="T11" fmla="*/ 39 h 68"/>
                  <a:gd name="T12" fmla="*/ 96 w 99"/>
                  <a:gd name="T13" fmla="*/ 35 h 68"/>
                  <a:gd name="T14" fmla="*/ 94 w 99"/>
                  <a:gd name="T15" fmla="*/ 28 h 68"/>
                  <a:gd name="T16" fmla="*/ 75 w 99"/>
                  <a:gd name="T17" fmla="*/ 30 h 68"/>
                  <a:gd name="T18" fmla="*/ 65 w 99"/>
                  <a:gd name="T19" fmla="*/ 30 h 68"/>
                  <a:gd name="T20" fmla="*/ 61 w 99"/>
                  <a:gd name="T21" fmla="*/ 24 h 68"/>
                  <a:gd name="T22" fmla="*/ 50 w 99"/>
                  <a:gd name="T23" fmla="*/ 29 h 68"/>
                  <a:gd name="T24" fmla="*/ 43 w 99"/>
                  <a:gd name="T25" fmla="*/ 25 h 68"/>
                  <a:gd name="T26" fmla="*/ 29 w 99"/>
                  <a:gd name="T27" fmla="*/ 27 h 68"/>
                  <a:gd name="T28" fmla="*/ 25 w 99"/>
                  <a:gd name="T29" fmla="*/ 19 h 68"/>
                  <a:gd name="T30" fmla="*/ 34 w 99"/>
                  <a:gd name="T31" fmla="*/ 17 h 68"/>
                  <a:gd name="T32" fmla="*/ 47 w 99"/>
                  <a:gd name="T33" fmla="*/ 14 h 68"/>
                  <a:gd name="T34" fmla="*/ 44 w 99"/>
                  <a:gd name="T35" fmla="*/ 10 h 68"/>
                  <a:gd name="T36" fmla="*/ 47 w 99"/>
                  <a:gd name="T37" fmla="*/ 5 h 68"/>
                  <a:gd name="T38" fmla="*/ 38 w 99"/>
                  <a:gd name="T39" fmla="*/ 0 h 68"/>
                  <a:gd name="T40" fmla="*/ 34 w 99"/>
                  <a:gd name="T41" fmla="*/ 6 h 68"/>
                  <a:gd name="T42" fmla="*/ 26 w 99"/>
                  <a:gd name="T43" fmla="*/ 5 h 68"/>
                  <a:gd name="T44" fmla="*/ 24 w 99"/>
                  <a:gd name="T45" fmla="*/ 12 h 68"/>
                  <a:gd name="T46" fmla="*/ 14 w 99"/>
                  <a:gd name="T47" fmla="*/ 14 h 68"/>
                  <a:gd name="T48" fmla="*/ 17 w 99"/>
                  <a:gd name="T49" fmla="*/ 16 h 68"/>
                  <a:gd name="T50" fmla="*/ 17 w 99"/>
                  <a:gd name="T51" fmla="*/ 19 h 68"/>
                  <a:gd name="T52" fmla="*/ 13 w 99"/>
                  <a:gd name="T53" fmla="*/ 25 h 68"/>
                  <a:gd name="T54" fmla="*/ 2 w 99"/>
                  <a:gd name="T55" fmla="*/ 27 h 68"/>
                  <a:gd name="T56" fmla="*/ 0 w 99"/>
                  <a:gd name="T57" fmla="*/ 33 h 68"/>
                  <a:gd name="T58" fmla="*/ 2 w 99"/>
                  <a:gd name="T59" fmla="*/ 35 h 68"/>
                  <a:gd name="T60" fmla="*/ 10 w 99"/>
                  <a:gd name="T61" fmla="*/ 36 h 68"/>
                  <a:gd name="T62" fmla="*/ 10 w 99"/>
                  <a:gd name="T63" fmla="*/ 42 h 68"/>
                  <a:gd name="T64" fmla="*/ 14 w 99"/>
                  <a:gd name="T65" fmla="*/ 47 h 68"/>
                  <a:gd name="T66" fmla="*/ 16 w 99"/>
                  <a:gd name="T67" fmla="*/ 52 h 68"/>
                  <a:gd name="T68" fmla="*/ 7 w 99"/>
                  <a:gd name="T69" fmla="*/ 63 h 68"/>
                  <a:gd name="T70" fmla="*/ 7 w 99"/>
                  <a:gd name="T71" fmla="*/ 68 h 68"/>
                  <a:gd name="T72" fmla="*/ 11 w 99"/>
                  <a:gd name="T73" fmla="*/ 74 h 68"/>
                  <a:gd name="T74" fmla="*/ 18 w 99"/>
                  <a:gd name="T75" fmla="*/ 76 h 68"/>
                  <a:gd name="T76" fmla="*/ 28 w 99"/>
                  <a:gd name="T77" fmla="*/ 69 h 68"/>
                  <a:gd name="T78" fmla="*/ 32 w 99"/>
                  <a:gd name="T79" fmla="*/ 74 h 68"/>
                  <a:gd name="T80" fmla="*/ 32 w 99"/>
                  <a:gd name="T81" fmla="*/ 69 h 68"/>
                  <a:gd name="T82" fmla="*/ 36 w 99"/>
                  <a:gd name="T83" fmla="*/ 63 h 68"/>
                  <a:gd name="T84" fmla="*/ 44 w 99"/>
                  <a:gd name="T85" fmla="*/ 61 h 68"/>
                  <a:gd name="T86" fmla="*/ 40 w 99"/>
                  <a:gd name="T87" fmla="*/ 58 h 68"/>
                  <a:gd name="T88" fmla="*/ 49 w 99"/>
                  <a:gd name="T89" fmla="*/ 47 h 68"/>
                  <a:gd name="T90" fmla="*/ 58 w 99"/>
                  <a:gd name="T91" fmla="*/ 51 h 68"/>
                  <a:gd name="T92" fmla="*/ 58 w 99"/>
                  <a:gd name="T93" fmla="*/ 58 h 68"/>
                  <a:gd name="T94" fmla="*/ 64 w 99"/>
                  <a:gd name="T95" fmla="*/ 58 h 68"/>
                  <a:gd name="T96" fmla="*/ 64 w 99"/>
                  <a:gd name="T97" fmla="*/ 69 h 68"/>
                  <a:gd name="T98" fmla="*/ 66 w 99"/>
                  <a:gd name="T99" fmla="*/ 77 h 68"/>
                  <a:gd name="T100" fmla="*/ 70 w 99"/>
                  <a:gd name="T101" fmla="*/ 82 h 68"/>
                  <a:gd name="T102" fmla="*/ 73 w 99"/>
                  <a:gd name="T103" fmla="*/ 76 h 68"/>
                  <a:gd name="T104" fmla="*/ 78 w 99"/>
                  <a:gd name="T105" fmla="*/ 75 h 68"/>
                  <a:gd name="T106" fmla="*/ 85 w 99"/>
                  <a:gd name="T107" fmla="*/ 72 h 68"/>
                  <a:gd name="T108" fmla="*/ 94 w 99"/>
                  <a:gd name="T109" fmla="*/ 69 h 68"/>
                  <a:gd name="T110" fmla="*/ 99 w 99"/>
                  <a:gd name="T111" fmla="*/ 72 h 68"/>
                  <a:gd name="T112" fmla="*/ 109 w 99"/>
                  <a:gd name="T113" fmla="*/ 68 h 68"/>
                  <a:gd name="T114" fmla="*/ 113 w 99"/>
                  <a:gd name="T115" fmla="*/ 68 h 6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99"/>
                  <a:gd name="T175" fmla="*/ 0 h 68"/>
                  <a:gd name="T176" fmla="*/ 99 w 99"/>
                  <a:gd name="T177" fmla="*/ 68 h 68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99" h="68">
                    <a:moveTo>
                      <a:pt x="94" y="56"/>
                    </a:moveTo>
                    <a:cubicBezTo>
                      <a:pt x="95" y="55"/>
                      <a:pt x="99" y="55"/>
                      <a:pt x="99" y="53"/>
                    </a:cubicBezTo>
                    <a:cubicBezTo>
                      <a:pt x="99" y="48"/>
                      <a:pt x="96" y="44"/>
                      <a:pt x="94" y="40"/>
                    </a:cubicBezTo>
                    <a:cubicBezTo>
                      <a:pt x="93" y="38"/>
                      <a:pt x="91" y="34"/>
                      <a:pt x="88" y="33"/>
                    </a:cubicBezTo>
                    <a:cubicBezTo>
                      <a:pt x="85" y="33"/>
                      <a:pt x="82" y="37"/>
                      <a:pt x="79" y="37"/>
                    </a:cubicBezTo>
                    <a:cubicBezTo>
                      <a:pt x="78" y="37"/>
                      <a:pt x="79" y="34"/>
                      <a:pt x="79" y="32"/>
                    </a:cubicBezTo>
                    <a:cubicBezTo>
                      <a:pt x="80" y="31"/>
                      <a:pt x="80" y="30"/>
                      <a:pt x="80" y="29"/>
                    </a:cubicBezTo>
                    <a:cubicBezTo>
                      <a:pt x="80" y="27"/>
                      <a:pt x="78" y="24"/>
                      <a:pt x="78" y="23"/>
                    </a:cubicBezTo>
                    <a:cubicBezTo>
                      <a:pt x="72" y="23"/>
                      <a:pt x="67" y="25"/>
                      <a:pt x="62" y="25"/>
                    </a:cubicBezTo>
                    <a:cubicBezTo>
                      <a:pt x="60" y="25"/>
                      <a:pt x="57" y="26"/>
                      <a:pt x="54" y="25"/>
                    </a:cubicBezTo>
                    <a:cubicBezTo>
                      <a:pt x="52" y="24"/>
                      <a:pt x="53" y="20"/>
                      <a:pt x="51" y="20"/>
                    </a:cubicBezTo>
                    <a:cubicBezTo>
                      <a:pt x="48" y="20"/>
                      <a:pt x="45" y="24"/>
                      <a:pt x="42" y="24"/>
                    </a:cubicBezTo>
                    <a:cubicBezTo>
                      <a:pt x="40" y="24"/>
                      <a:pt x="39" y="21"/>
                      <a:pt x="36" y="21"/>
                    </a:cubicBezTo>
                    <a:cubicBezTo>
                      <a:pt x="32" y="20"/>
                      <a:pt x="28" y="23"/>
                      <a:pt x="24" y="22"/>
                    </a:cubicBezTo>
                    <a:cubicBezTo>
                      <a:pt x="22" y="22"/>
                      <a:pt x="20" y="18"/>
                      <a:pt x="21" y="16"/>
                    </a:cubicBezTo>
                    <a:cubicBezTo>
                      <a:pt x="22" y="14"/>
                      <a:pt x="26" y="14"/>
                      <a:pt x="28" y="14"/>
                    </a:cubicBezTo>
                    <a:cubicBezTo>
                      <a:pt x="32" y="13"/>
                      <a:pt x="36" y="13"/>
                      <a:pt x="39" y="12"/>
                    </a:cubicBezTo>
                    <a:cubicBezTo>
                      <a:pt x="38" y="11"/>
                      <a:pt x="37" y="10"/>
                      <a:pt x="37" y="8"/>
                    </a:cubicBezTo>
                    <a:cubicBezTo>
                      <a:pt x="37" y="7"/>
                      <a:pt x="39" y="6"/>
                      <a:pt x="39" y="4"/>
                    </a:cubicBezTo>
                    <a:cubicBezTo>
                      <a:pt x="37" y="2"/>
                      <a:pt x="35" y="0"/>
                      <a:pt x="32" y="0"/>
                    </a:cubicBezTo>
                    <a:cubicBezTo>
                      <a:pt x="30" y="0"/>
                      <a:pt x="30" y="4"/>
                      <a:pt x="28" y="5"/>
                    </a:cubicBezTo>
                    <a:cubicBezTo>
                      <a:pt x="26" y="5"/>
                      <a:pt x="24" y="3"/>
                      <a:pt x="22" y="4"/>
                    </a:cubicBezTo>
                    <a:cubicBezTo>
                      <a:pt x="21" y="5"/>
                      <a:pt x="22" y="8"/>
                      <a:pt x="20" y="10"/>
                    </a:cubicBezTo>
                    <a:cubicBezTo>
                      <a:pt x="18" y="12"/>
                      <a:pt x="15" y="11"/>
                      <a:pt x="12" y="12"/>
                    </a:cubicBezTo>
                    <a:cubicBezTo>
                      <a:pt x="11" y="13"/>
                      <a:pt x="13" y="12"/>
                      <a:pt x="14" y="13"/>
                    </a:cubicBezTo>
                    <a:cubicBezTo>
                      <a:pt x="14" y="14"/>
                      <a:pt x="14" y="15"/>
                      <a:pt x="14" y="16"/>
                    </a:cubicBezTo>
                    <a:cubicBezTo>
                      <a:pt x="13" y="18"/>
                      <a:pt x="13" y="20"/>
                      <a:pt x="11" y="21"/>
                    </a:cubicBezTo>
                    <a:cubicBezTo>
                      <a:pt x="8" y="22"/>
                      <a:pt x="5" y="21"/>
                      <a:pt x="2" y="22"/>
                    </a:cubicBezTo>
                    <a:cubicBezTo>
                      <a:pt x="0" y="23"/>
                      <a:pt x="0" y="25"/>
                      <a:pt x="0" y="27"/>
                    </a:cubicBezTo>
                    <a:cubicBezTo>
                      <a:pt x="0" y="28"/>
                      <a:pt x="1" y="29"/>
                      <a:pt x="2" y="29"/>
                    </a:cubicBezTo>
                    <a:cubicBezTo>
                      <a:pt x="4" y="30"/>
                      <a:pt x="7" y="28"/>
                      <a:pt x="8" y="30"/>
                    </a:cubicBezTo>
                    <a:cubicBezTo>
                      <a:pt x="10" y="31"/>
                      <a:pt x="8" y="34"/>
                      <a:pt x="8" y="35"/>
                    </a:cubicBezTo>
                    <a:cubicBezTo>
                      <a:pt x="9" y="37"/>
                      <a:pt x="11" y="38"/>
                      <a:pt x="12" y="39"/>
                    </a:cubicBezTo>
                    <a:cubicBezTo>
                      <a:pt x="12" y="40"/>
                      <a:pt x="13" y="42"/>
                      <a:pt x="13" y="43"/>
                    </a:cubicBezTo>
                    <a:cubicBezTo>
                      <a:pt x="11" y="47"/>
                      <a:pt x="8" y="49"/>
                      <a:pt x="6" y="52"/>
                    </a:cubicBezTo>
                    <a:cubicBezTo>
                      <a:pt x="6" y="53"/>
                      <a:pt x="6" y="55"/>
                      <a:pt x="6" y="56"/>
                    </a:cubicBezTo>
                    <a:cubicBezTo>
                      <a:pt x="7" y="58"/>
                      <a:pt x="8" y="59"/>
                      <a:pt x="9" y="61"/>
                    </a:cubicBezTo>
                    <a:cubicBezTo>
                      <a:pt x="11" y="62"/>
                      <a:pt x="13" y="63"/>
                      <a:pt x="15" y="63"/>
                    </a:cubicBezTo>
                    <a:cubicBezTo>
                      <a:pt x="18" y="62"/>
                      <a:pt x="20" y="57"/>
                      <a:pt x="23" y="57"/>
                    </a:cubicBezTo>
                    <a:cubicBezTo>
                      <a:pt x="25" y="56"/>
                      <a:pt x="25" y="60"/>
                      <a:pt x="27" y="61"/>
                    </a:cubicBezTo>
                    <a:cubicBezTo>
                      <a:pt x="28" y="61"/>
                      <a:pt x="27" y="58"/>
                      <a:pt x="27" y="57"/>
                    </a:cubicBezTo>
                    <a:cubicBezTo>
                      <a:pt x="28" y="55"/>
                      <a:pt x="28" y="53"/>
                      <a:pt x="30" y="52"/>
                    </a:cubicBezTo>
                    <a:cubicBezTo>
                      <a:pt x="32" y="51"/>
                      <a:pt x="36" y="53"/>
                      <a:pt x="37" y="51"/>
                    </a:cubicBezTo>
                    <a:cubicBezTo>
                      <a:pt x="38" y="50"/>
                      <a:pt x="33" y="50"/>
                      <a:pt x="33" y="48"/>
                    </a:cubicBezTo>
                    <a:cubicBezTo>
                      <a:pt x="34" y="44"/>
                      <a:pt x="37" y="40"/>
                      <a:pt x="41" y="39"/>
                    </a:cubicBezTo>
                    <a:cubicBezTo>
                      <a:pt x="44" y="38"/>
                      <a:pt x="47" y="40"/>
                      <a:pt x="48" y="42"/>
                    </a:cubicBezTo>
                    <a:cubicBezTo>
                      <a:pt x="49" y="44"/>
                      <a:pt x="47" y="46"/>
                      <a:pt x="48" y="48"/>
                    </a:cubicBezTo>
                    <a:cubicBezTo>
                      <a:pt x="49" y="49"/>
                      <a:pt x="52" y="46"/>
                      <a:pt x="53" y="48"/>
                    </a:cubicBezTo>
                    <a:cubicBezTo>
                      <a:pt x="54" y="50"/>
                      <a:pt x="52" y="54"/>
                      <a:pt x="53" y="57"/>
                    </a:cubicBezTo>
                    <a:cubicBezTo>
                      <a:pt x="53" y="59"/>
                      <a:pt x="54" y="61"/>
                      <a:pt x="55" y="64"/>
                    </a:cubicBezTo>
                    <a:cubicBezTo>
                      <a:pt x="56" y="65"/>
                      <a:pt x="56" y="68"/>
                      <a:pt x="58" y="68"/>
                    </a:cubicBezTo>
                    <a:cubicBezTo>
                      <a:pt x="60" y="67"/>
                      <a:pt x="60" y="64"/>
                      <a:pt x="61" y="63"/>
                    </a:cubicBezTo>
                    <a:cubicBezTo>
                      <a:pt x="62" y="62"/>
                      <a:pt x="64" y="63"/>
                      <a:pt x="65" y="62"/>
                    </a:cubicBezTo>
                    <a:cubicBezTo>
                      <a:pt x="67" y="62"/>
                      <a:pt x="69" y="61"/>
                      <a:pt x="71" y="60"/>
                    </a:cubicBezTo>
                    <a:cubicBezTo>
                      <a:pt x="73" y="59"/>
                      <a:pt x="76" y="57"/>
                      <a:pt x="78" y="57"/>
                    </a:cubicBezTo>
                    <a:cubicBezTo>
                      <a:pt x="80" y="57"/>
                      <a:pt x="80" y="60"/>
                      <a:pt x="82" y="60"/>
                    </a:cubicBezTo>
                    <a:cubicBezTo>
                      <a:pt x="85" y="60"/>
                      <a:pt x="88" y="57"/>
                      <a:pt x="91" y="56"/>
                    </a:cubicBezTo>
                    <a:cubicBezTo>
                      <a:pt x="92" y="56"/>
                      <a:pt x="93" y="56"/>
                      <a:pt x="94" y="56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09" name="Freeform 2630"/>
              <p:cNvSpPr>
                <a:spLocks noChangeAspect="1"/>
              </p:cNvSpPr>
              <p:nvPr/>
            </p:nvSpPr>
            <p:spPr bwMode="auto">
              <a:xfrm>
                <a:off x="5923909" y="2515872"/>
                <a:ext cx="57043" cy="24920"/>
              </a:xfrm>
              <a:custGeom>
                <a:avLst/>
                <a:gdLst>
                  <a:gd name="T0" fmla="*/ 39 w 43"/>
                  <a:gd name="T1" fmla="*/ 10 h 25"/>
                  <a:gd name="T2" fmla="*/ 38 w 43"/>
                  <a:gd name="T3" fmla="*/ 14 h 25"/>
                  <a:gd name="T4" fmla="*/ 46 w 43"/>
                  <a:gd name="T5" fmla="*/ 16 h 25"/>
                  <a:gd name="T6" fmla="*/ 49 w 43"/>
                  <a:gd name="T7" fmla="*/ 25 h 25"/>
                  <a:gd name="T8" fmla="*/ 39 w 43"/>
                  <a:gd name="T9" fmla="*/ 26 h 25"/>
                  <a:gd name="T10" fmla="*/ 26 w 43"/>
                  <a:gd name="T11" fmla="*/ 29 h 25"/>
                  <a:gd name="T12" fmla="*/ 21 w 43"/>
                  <a:gd name="T13" fmla="*/ 26 h 25"/>
                  <a:gd name="T14" fmla="*/ 17 w 43"/>
                  <a:gd name="T15" fmla="*/ 30 h 25"/>
                  <a:gd name="T16" fmla="*/ 4 w 43"/>
                  <a:gd name="T17" fmla="*/ 26 h 25"/>
                  <a:gd name="T18" fmla="*/ 0 w 43"/>
                  <a:gd name="T19" fmla="*/ 20 h 25"/>
                  <a:gd name="T20" fmla="*/ 5 w 43"/>
                  <a:gd name="T21" fmla="*/ 11 h 25"/>
                  <a:gd name="T22" fmla="*/ 6 w 43"/>
                  <a:gd name="T23" fmla="*/ 5 h 25"/>
                  <a:gd name="T24" fmla="*/ 11 w 43"/>
                  <a:gd name="T25" fmla="*/ 1 h 25"/>
                  <a:gd name="T26" fmla="*/ 15 w 43"/>
                  <a:gd name="T27" fmla="*/ 2 h 25"/>
                  <a:gd name="T28" fmla="*/ 20 w 43"/>
                  <a:gd name="T29" fmla="*/ 1 h 25"/>
                  <a:gd name="T30" fmla="*/ 25 w 43"/>
                  <a:gd name="T31" fmla="*/ 5 h 25"/>
                  <a:gd name="T32" fmla="*/ 33 w 43"/>
                  <a:gd name="T33" fmla="*/ 6 h 25"/>
                  <a:gd name="T34" fmla="*/ 38 w 43"/>
                  <a:gd name="T35" fmla="*/ 5 h 25"/>
                  <a:gd name="T36" fmla="*/ 39 w 43"/>
                  <a:gd name="T37" fmla="*/ 10 h 2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43"/>
                  <a:gd name="T58" fmla="*/ 0 h 25"/>
                  <a:gd name="T59" fmla="*/ 43 w 43"/>
                  <a:gd name="T60" fmla="*/ 25 h 25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43" h="25">
                    <a:moveTo>
                      <a:pt x="33" y="8"/>
                    </a:moveTo>
                    <a:cubicBezTo>
                      <a:pt x="33" y="9"/>
                      <a:pt x="31" y="11"/>
                      <a:pt x="32" y="12"/>
                    </a:cubicBezTo>
                    <a:cubicBezTo>
                      <a:pt x="34" y="13"/>
                      <a:pt x="38" y="12"/>
                      <a:pt x="39" y="13"/>
                    </a:cubicBezTo>
                    <a:cubicBezTo>
                      <a:pt x="41" y="15"/>
                      <a:pt x="43" y="19"/>
                      <a:pt x="41" y="21"/>
                    </a:cubicBezTo>
                    <a:cubicBezTo>
                      <a:pt x="40" y="23"/>
                      <a:pt x="36" y="22"/>
                      <a:pt x="33" y="22"/>
                    </a:cubicBezTo>
                    <a:cubicBezTo>
                      <a:pt x="30" y="23"/>
                      <a:pt x="26" y="24"/>
                      <a:pt x="22" y="24"/>
                    </a:cubicBezTo>
                    <a:cubicBezTo>
                      <a:pt x="20" y="24"/>
                      <a:pt x="19" y="22"/>
                      <a:pt x="18" y="22"/>
                    </a:cubicBezTo>
                    <a:cubicBezTo>
                      <a:pt x="16" y="22"/>
                      <a:pt x="16" y="25"/>
                      <a:pt x="14" y="25"/>
                    </a:cubicBezTo>
                    <a:cubicBezTo>
                      <a:pt x="10" y="25"/>
                      <a:pt x="6" y="24"/>
                      <a:pt x="3" y="22"/>
                    </a:cubicBezTo>
                    <a:cubicBezTo>
                      <a:pt x="1" y="21"/>
                      <a:pt x="1" y="19"/>
                      <a:pt x="0" y="17"/>
                    </a:cubicBezTo>
                    <a:cubicBezTo>
                      <a:pt x="2" y="15"/>
                      <a:pt x="4" y="11"/>
                      <a:pt x="4" y="9"/>
                    </a:cubicBezTo>
                    <a:cubicBezTo>
                      <a:pt x="5" y="7"/>
                      <a:pt x="4" y="6"/>
                      <a:pt x="5" y="4"/>
                    </a:cubicBezTo>
                    <a:cubicBezTo>
                      <a:pt x="6" y="3"/>
                      <a:pt x="8" y="2"/>
                      <a:pt x="9" y="1"/>
                    </a:cubicBezTo>
                    <a:cubicBezTo>
                      <a:pt x="11" y="1"/>
                      <a:pt x="12" y="2"/>
                      <a:pt x="13" y="2"/>
                    </a:cubicBezTo>
                    <a:cubicBezTo>
                      <a:pt x="15" y="2"/>
                      <a:pt x="16" y="0"/>
                      <a:pt x="17" y="1"/>
                    </a:cubicBezTo>
                    <a:cubicBezTo>
                      <a:pt x="19" y="1"/>
                      <a:pt x="20" y="3"/>
                      <a:pt x="21" y="4"/>
                    </a:cubicBezTo>
                    <a:cubicBezTo>
                      <a:pt x="23" y="5"/>
                      <a:pt x="25" y="5"/>
                      <a:pt x="28" y="5"/>
                    </a:cubicBezTo>
                    <a:cubicBezTo>
                      <a:pt x="29" y="5"/>
                      <a:pt x="31" y="4"/>
                      <a:pt x="32" y="4"/>
                    </a:cubicBezTo>
                    <a:cubicBezTo>
                      <a:pt x="33" y="5"/>
                      <a:pt x="33" y="7"/>
                      <a:pt x="33" y="8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10" name="Freeform 2631"/>
              <p:cNvSpPr>
                <a:spLocks noChangeAspect="1"/>
              </p:cNvSpPr>
              <p:nvPr/>
            </p:nvSpPr>
            <p:spPr bwMode="auto">
              <a:xfrm>
                <a:off x="5775150" y="2484307"/>
                <a:ext cx="137575" cy="63130"/>
              </a:xfrm>
              <a:custGeom>
                <a:avLst/>
                <a:gdLst>
                  <a:gd name="T0" fmla="*/ 121 w 103"/>
                  <a:gd name="T1" fmla="*/ 47 h 63"/>
                  <a:gd name="T2" fmla="*/ 121 w 103"/>
                  <a:gd name="T3" fmla="*/ 53 h 63"/>
                  <a:gd name="T4" fmla="*/ 119 w 103"/>
                  <a:gd name="T5" fmla="*/ 60 h 63"/>
                  <a:gd name="T6" fmla="*/ 123 w 103"/>
                  <a:gd name="T7" fmla="*/ 71 h 63"/>
                  <a:gd name="T8" fmla="*/ 118 w 103"/>
                  <a:gd name="T9" fmla="*/ 75 h 63"/>
                  <a:gd name="T10" fmla="*/ 104 w 103"/>
                  <a:gd name="T11" fmla="*/ 74 h 63"/>
                  <a:gd name="T12" fmla="*/ 94 w 103"/>
                  <a:gd name="T13" fmla="*/ 70 h 63"/>
                  <a:gd name="T14" fmla="*/ 87 w 103"/>
                  <a:gd name="T15" fmla="*/ 70 h 63"/>
                  <a:gd name="T16" fmla="*/ 84 w 103"/>
                  <a:gd name="T17" fmla="*/ 66 h 63"/>
                  <a:gd name="T18" fmla="*/ 80 w 103"/>
                  <a:gd name="T19" fmla="*/ 68 h 63"/>
                  <a:gd name="T20" fmla="*/ 72 w 103"/>
                  <a:gd name="T21" fmla="*/ 62 h 63"/>
                  <a:gd name="T22" fmla="*/ 72 w 103"/>
                  <a:gd name="T23" fmla="*/ 57 h 63"/>
                  <a:gd name="T24" fmla="*/ 61 w 103"/>
                  <a:gd name="T25" fmla="*/ 53 h 63"/>
                  <a:gd name="T26" fmla="*/ 41 w 103"/>
                  <a:gd name="T27" fmla="*/ 52 h 63"/>
                  <a:gd name="T28" fmla="*/ 37 w 103"/>
                  <a:gd name="T29" fmla="*/ 49 h 63"/>
                  <a:gd name="T30" fmla="*/ 21 w 103"/>
                  <a:gd name="T31" fmla="*/ 42 h 63"/>
                  <a:gd name="T32" fmla="*/ 11 w 103"/>
                  <a:gd name="T33" fmla="*/ 30 h 63"/>
                  <a:gd name="T34" fmla="*/ 5 w 103"/>
                  <a:gd name="T35" fmla="*/ 30 h 63"/>
                  <a:gd name="T36" fmla="*/ 0 w 103"/>
                  <a:gd name="T37" fmla="*/ 27 h 63"/>
                  <a:gd name="T38" fmla="*/ 1 w 103"/>
                  <a:gd name="T39" fmla="*/ 18 h 63"/>
                  <a:gd name="T40" fmla="*/ 1 w 103"/>
                  <a:gd name="T41" fmla="*/ 13 h 63"/>
                  <a:gd name="T42" fmla="*/ 6 w 103"/>
                  <a:gd name="T43" fmla="*/ 10 h 63"/>
                  <a:gd name="T44" fmla="*/ 13 w 103"/>
                  <a:gd name="T45" fmla="*/ 2 h 63"/>
                  <a:gd name="T46" fmla="*/ 18 w 103"/>
                  <a:gd name="T47" fmla="*/ 6 h 63"/>
                  <a:gd name="T48" fmla="*/ 18 w 103"/>
                  <a:gd name="T49" fmla="*/ 1 h 63"/>
                  <a:gd name="T50" fmla="*/ 23 w 103"/>
                  <a:gd name="T51" fmla="*/ 1 h 63"/>
                  <a:gd name="T52" fmla="*/ 32 w 103"/>
                  <a:gd name="T53" fmla="*/ 5 h 63"/>
                  <a:gd name="T54" fmla="*/ 44 w 103"/>
                  <a:gd name="T55" fmla="*/ 13 h 63"/>
                  <a:gd name="T56" fmla="*/ 51 w 103"/>
                  <a:gd name="T57" fmla="*/ 22 h 63"/>
                  <a:gd name="T58" fmla="*/ 55 w 103"/>
                  <a:gd name="T59" fmla="*/ 17 h 63"/>
                  <a:gd name="T60" fmla="*/ 60 w 103"/>
                  <a:gd name="T61" fmla="*/ 17 h 63"/>
                  <a:gd name="T62" fmla="*/ 60 w 103"/>
                  <a:gd name="T63" fmla="*/ 24 h 63"/>
                  <a:gd name="T64" fmla="*/ 62 w 103"/>
                  <a:gd name="T65" fmla="*/ 29 h 63"/>
                  <a:gd name="T66" fmla="*/ 75 w 103"/>
                  <a:gd name="T67" fmla="*/ 30 h 63"/>
                  <a:gd name="T68" fmla="*/ 75 w 103"/>
                  <a:gd name="T69" fmla="*/ 36 h 63"/>
                  <a:gd name="T70" fmla="*/ 82 w 103"/>
                  <a:gd name="T71" fmla="*/ 37 h 63"/>
                  <a:gd name="T72" fmla="*/ 87 w 103"/>
                  <a:gd name="T73" fmla="*/ 43 h 63"/>
                  <a:gd name="T74" fmla="*/ 92 w 103"/>
                  <a:gd name="T75" fmla="*/ 42 h 63"/>
                  <a:gd name="T76" fmla="*/ 96 w 103"/>
                  <a:gd name="T77" fmla="*/ 46 h 63"/>
                  <a:gd name="T78" fmla="*/ 100 w 103"/>
                  <a:gd name="T79" fmla="*/ 42 h 63"/>
                  <a:gd name="T80" fmla="*/ 105 w 103"/>
                  <a:gd name="T81" fmla="*/ 47 h 63"/>
                  <a:gd name="T82" fmla="*/ 110 w 103"/>
                  <a:gd name="T83" fmla="*/ 49 h 63"/>
                  <a:gd name="T84" fmla="*/ 117 w 103"/>
                  <a:gd name="T85" fmla="*/ 46 h 63"/>
                  <a:gd name="T86" fmla="*/ 121 w 103"/>
                  <a:gd name="T87" fmla="*/ 47 h 63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03"/>
                  <a:gd name="T133" fmla="*/ 0 h 63"/>
                  <a:gd name="T134" fmla="*/ 103 w 103"/>
                  <a:gd name="T135" fmla="*/ 63 h 63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03" h="63">
                    <a:moveTo>
                      <a:pt x="101" y="39"/>
                    </a:moveTo>
                    <a:cubicBezTo>
                      <a:pt x="101" y="40"/>
                      <a:pt x="101" y="42"/>
                      <a:pt x="101" y="44"/>
                    </a:cubicBezTo>
                    <a:cubicBezTo>
                      <a:pt x="101" y="46"/>
                      <a:pt x="100" y="48"/>
                      <a:pt x="100" y="50"/>
                    </a:cubicBezTo>
                    <a:cubicBezTo>
                      <a:pt x="101" y="53"/>
                      <a:pt x="103" y="56"/>
                      <a:pt x="103" y="59"/>
                    </a:cubicBezTo>
                    <a:cubicBezTo>
                      <a:pt x="103" y="60"/>
                      <a:pt x="101" y="62"/>
                      <a:pt x="99" y="62"/>
                    </a:cubicBezTo>
                    <a:cubicBezTo>
                      <a:pt x="95" y="63"/>
                      <a:pt x="91" y="61"/>
                      <a:pt x="87" y="61"/>
                    </a:cubicBezTo>
                    <a:cubicBezTo>
                      <a:pt x="84" y="60"/>
                      <a:pt x="82" y="59"/>
                      <a:pt x="79" y="58"/>
                    </a:cubicBezTo>
                    <a:cubicBezTo>
                      <a:pt x="77" y="58"/>
                      <a:pt x="75" y="59"/>
                      <a:pt x="73" y="58"/>
                    </a:cubicBezTo>
                    <a:cubicBezTo>
                      <a:pt x="71" y="58"/>
                      <a:pt x="71" y="55"/>
                      <a:pt x="70" y="55"/>
                    </a:cubicBezTo>
                    <a:cubicBezTo>
                      <a:pt x="69" y="54"/>
                      <a:pt x="68" y="56"/>
                      <a:pt x="67" y="56"/>
                    </a:cubicBezTo>
                    <a:cubicBezTo>
                      <a:pt x="64" y="55"/>
                      <a:pt x="62" y="53"/>
                      <a:pt x="60" y="51"/>
                    </a:cubicBezTo>
                    <a:cubicBezTo>
                      <a:pt x="59" y="50"/>
                      <a:pt x="61" y="48"/>
                      <a:pt x="60" y="47"/>
                    </a:cubicBezTo>
                    <a:cubicBezTo>
                      <a:pt x="58" y="45"/>
                      <a:pt x="54" y="44"/>
                      <a:pt x="51" y="44"/>
                    </a:cubicBezTo>
                    <a:cubicBezTo>
                      <a:pt x="45" y="43"/>
                      <a:pt x="40" y="44"/>
                      <a:pt x="34" y="43"/>
                    </a:cubicBezTo>
                    <a:cubicBezTo>
                      <a:pt x="33" y="43"/>
                      <a:pt x="32" y="41"/>
                      <a:pt x="31" y="41"/>
                    </a:cubicBezTo>
                    <a:cubicBezTo>
                      <a:pt x="27" y="38"/>
                      <a:pt x="22" y="38"/>
                      <a:pt x="18" y="35"/>
                    </a:cubicBezTo>
                    <a:cubicBezTo>
                      <a:pt x="14" y="32"/>
                      <a:pt x="12" y="28"/>
                      <a:pt x="9" y="25"/>
                    </a:cubicBezTo>
                    <a:cubicBezTo>
                      <a:pt x="8" y="24"/>
                      <a:pt x="6" y="26"/>
                      <a:pt x="4" y="25"/>
                    </a:cubicBezTo>
                    <a:cubicBezTo>
                      <a:pt x="3" y="24"/>
                      <a:pt x="1" y="23"/>
                      <a:pt x="0" y="22"/>
                    </a:cubicBezTo>
                    <a:cubicBezTo>
                      <a:pt x="0" y="19"/>
                      <a:pt x="1" y="17"/>
                      <a:pt x="1" y="15"/>
                    </a:cubicBezTo>
                    <a:cubicBezTo>
                      <a:pt x="2" y="13"/>
                      <a:pt x="0" y="13"/>
                      <a:pt x="1" y="11"/>
                    </a:cubicBezTo>
                    <a:cubicBezTo>
                      <a:pt x="2" y="10"/>
                      <a:pt x="3" y="9"/>
                      <a:pt x="5" y="8"/>
                    </a:cubicBezTo>
                    <a:cubicBezTo>
                      <a:pt x="7" y="6"/>
                      <a:pt x="9" y="4"/>
                      <a:pt x="11" y="2"/>
                    </a:cubicBezTo>
                    <a:cubicBezTo>
                      <a:pt x="12" y="3"/>
                      <a:pt x="13" y="6"/>
                      <a:pt x="15" y="5"/>
                    </a:cubicBezTo>
                    <a:cubicBezTo>
                      <a:pt x="16" y="5"/>
                      <a:pt x="14" y="2"/>
                      <a:pt x="15" y="1"/>
                    </a:cubicBezTo>
                    <a:cubicBezTo>
                      <a:pt x="16" y="0"/>
                      <a:pt x="18" y="1"/>
                      <a:pt x="19" y="1"/>
                    </a:cubicBezTo>
                    <a:cubicBezTo>
                      <a:pt x="21" y="2"/>
                      <a:pt x="24" y="3"/>
                      <a:pt x="27" y="4"/>
                    </a:cubicBezTo>
                    <a:cubicBezTo>
                      <a:pt x="30" y="6"/>
                      <a:pt x="34" y="9"/>
                      <a:pt x="37" y="11"/>
                    </a:cubicBezTo>
                    <a:cubicBezTo>
                      <a:pt x="39" y="13"/>
                      <a:pt x="40" y="17"/>
                      <a:pt x="43" y="18"/>
                    </a:cubicBezTo>
                    <a:cubicBezTo>
                      <a:pt x="45" y="18"/>
                      <a:pt x="45" y="14"/>
                      <a:pt x="46" y="14"/>
                    </a:cubicBezTo>
                    <a:cubicBezTo>
                      <a:pt x="47" y="13"/>
                      <a:pt x="49" y="13"/>
                      <a:pt x="50" y="14"/>
                    </a:cubicBezTo>
                    <a:cubicBezTo>
                      <a:pt x="51" y="16"/>
                      <a:pt x="49" y="18"/>
                      <a:pt x="50" y="20"/>
                    </a:cubicBezTo>
                    <a:cubicBezTo>
                      <a:pt x="50" y="22"/>
                      <a:pt x="51" y="23"/>
                      <a:pt x="52" y="24"/>
                    </a:cubicBezTo>
                    <a:cubicBezTo>
                      <a:pt x="55" y="25"/>
                      <a:pt x="60" y="24"/>
                      <a:pt x="63" y="25"/>
                    </a:cubicBezTo>
                    <a:cubicBezTo>
                      <a:pt x="64" y="26"/>
                      <a:pt x="62" y="29"/>
                      <a:pt x="63" y="30"/>
                    </a:cubicBezTo>
                    <a:cubicBezTo>
                      <a:pt x="64" y="31"/>
                      <a:pt x="67" y="30"/>
                      <a:pt x="69" y="31"/>
                    </a:cubicBezTo>
                    <a:cubicBezTo>
                      <a:pt x="71" y="32"/>
                      <a:pt x="71" y="35"/>
                      <a:pt x="73" y="36"/>
                    </a:cubicBezTo>
                    <a:cubicBezTo>
                      <a:pt x="74" y="37"/>
                      <a:pt x="76" y="34"/>
                      <a:pt x="77" y="35"/>
                    </a:cubicBezTo>
                    <a:cubicBezTo>
                      <a:pt x="78" y="35"/>
                      <a:pt x="78" y="38"/>
                      <a:pt x="80" y="38"/>
                    </a:cubicBezTo>
                    <a:cubicBezTo>
                      <a:pt x="81" y="38"/>
                      <a:pt x="82" y="35"/>
                      <a:pt x="84" y="35"/>
                    </a:cubicBezTo>
                    <a:cubicBezTo>
                      <a:pt x="86" y="35"/>
                      <a:pt x="86" y="38"/>
                      <a:pt x="88" y="39"/>
                    </a:cubicBezTo>
                    <a:cubicBezTo>
                      <a:pt x="89" y="40"/>
                      <a:pt x="91" y="41"/>
                      <a:pt x="92" y="41"/>
                    </a:cubicBezTo>
                    <a:cubicBezTo>
                      <a:pt x="94" y="41"/>
                      <a:pt x="96" y="39"/>
                      <a:pt x="98" y="38"/>
                    </a:cubicBezTo>
                    <a:cubicBezTo>
                      <a:pt x="99" y="38"/>
                      <a:pt x="100" y="39"/>
                      <a:pt x="101" y="39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11" name="Freeform 2632"/>
              <p:cNvSpPr>
                <a:spLocks noChangeAspect="1"/>
              </p:cNvSpPr>
              <p:nvPr/>
            </p:nvSpPr>
            <p:spPr bwMode="auto">
              <a:xfrm>
                <a:off x="5916079" y="2540793"/>
                <a:ext cx="83887" cy="85559"/>
              </a:xfrm>
              <a:custGeom>
                <a:avLst/>
                <a:gdLst>
                  <a:gd name="T0" fmla="*/ 25 w 63"/>
                  <a:gd name="T1" fmla="*/ 87 h 86"/>
                  <a:gd name="T2" fmla="*/ 29 w 63"/>
                  <a:gd name="T3" fmla="*/ 79 h 86"/>
                  <a:gd name="T4" fmla="*/ 33 w 63"/>
                  <a:gd name="T5" fmla="*/ 85 h 86"/>
                  <a:gd name="T6" fmla="*/ 40 w 63"/>
                  <a:gd name="T7" fmla="*/ 74 h 86"/>
                  <a:gd name="T8" fmla="*/ 36 w 63"/>
                  <a:gd name="T9" fmla="*/ 59 h 86"/>
                  <a:gd name="T10" fmla="*/ 44 w 63"/>
                  <a:gd name="T11" fmla="*/ 68 h 86"/>
                  <a:gd name="T12" fmla="*/ 55 w 63"/>
                  <a:gd name="T13" fmla="*/ 71 h 86"/>
                  <a:gd name="T14" fmla="*/ 60 w 63"/>
                  <a:gd name="T15" fmla="*/ 84 h 86"/>
                  <a:gd name="T16" fmla="*/ 62 w 63"/>
                  <a:gd name="T17" fmla="*/ 92 h 86"/>
                  <a:gd name="T18" fmla="*/ 65 w 63"/>
                  <a:gd name="T19" fmla="*/ 103 h 86"/>
                  <a:gd name="T20" fmla="*/ 73 w 63"/>
                  <a:gd name="T21" fmla="*/ 101 h 86"/>
                  <a:gd name="T22" fmla="*/ 70 w 63"/>
                  <a:gd name="T23" fmla="*/ 72 h 86"/>
                  <a:gd name="T24" fmla="*/ 64 w 63"/>
                  <a:gd name="T25" fmla="*/ 54 h 86"/>
                  <a:gd name="T26" fmla="*/ 57 w 63"/>
                  <a:gd name="T27" fmla="*/ 65 h 86"/>
                  <a:gd name="T28" fmla="*/ 50 w 63"/>
                  <a:gd name="T29" fmla="*/ 61 h 86"/>
                  <a:gd name="T30" fmla="*/ 44 w 63"/>
                  <a:gd name="T31" fmla="*/ 60 h 86"/>
                  <a:gd name="T32" fmla="*/ 56 w 63"/>
                  <a:gd name="T33" fmla="*/ 42 h 86"/>
                  <a:gd name="T34" fmla="*/ 64 w 63"/>
                  <a:gd name="T35" fmla="*/ 35 h 86"/>
                  <a:gd name="T36" fmla="*/ 55 w 63"/>
                  <a:gd name="T37" fmla="*/ 26 h 86"/>
                  <a:gd name="T38" fmla="*/ 26 w 63"/>
                  <a:gd name="T39" fmla="*/ 24 h 86"/>
                  <a:gd name="T40" fmla="*/ 24 w 63"/>
                  <a:gd name="T41" fmla="*/ 10 h 86"/>
                  <a:gd name="T42" fmla="*/ 12 w 63"/>
                  <a:gd name="T43" fmla="*/ 6 h 86"/>
                  <a:gd name="T44" fmla="*/ 1 w 63"/>
                  <a:gd name="T45" fmla="*/ 0 h 86"/>
                  <a:gd name="T46" fmla="*/ 4 w 63"/>
                  <a:gd name="T47" fmla="*/ 6 h 86"/>
                  <a:gd name="T48" fmla="*/ 4 w 63"/>
                  <a:gd name="T49" fmla="*/ 19 h 86"/>
                  <a:gd name="T50" fmla="*/ 6 w 63"/>
                  <a:gd name="T51" fmla="*/ 29 h 86"/>
                  <a:gd name="T52" fmla="*/ 4 w 63"/>
                  <a:gd name="T53" fmla="*/ 34 h 86"/>
                  <a:gd name="T54" fmla="*/ 8 w 63"/>
                  <a:gd name="T55" fmla="*/ 41 h 86"/>
                  <a:gd name="T56" fmla="*/ 8 w 63"/>
                  <a:gd name="T57" fmla="*/ 52 h 86"/>
                  <a:gd name="T58" fmla="*/ 12 w 63"/>
                  <a:gd name="T59" fmla="*/ 62 h 86"/>
                  <a:gd name="T60" fmla="*/ 15 w 63"/>
                  <a:gd name="T61" fmla="*/ 66 h 86"/>
                  <a:gd name="T62" fmla="*/ 17 w 63"/>
                  <a:gd name="T63" fmla="*/ 75 h 86"/>
                  <a:gd name="T64" fmla="*/ 20 w 63"/>
                  <a:gd name="T65" fmla="*/ 87 h 8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63"/>
                  <a:gd name="T100" fmla="*/ 0 h 86"/>
                  <a:gd name="T101" fmla="*/ 63 w 63"/>
                  <a:gd name="T102" fmla="*/ 86 h 8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63" h="86">
                    <a:moveTo>
                      <a:pt x="17" y="73"/>
                    </a:moveTo>
                    <a:cubicBezTo>
                      <a:pt x="18" y="73"/>
                      <a:pt x="20" y="74"/>
                      <a:pt x="21" y="73"/>
                    </a:cubicBezTo>
                    <a:cubicBezTo>
                      <a:pt x="22" y="73"/>
                      <a:pt x="24" y="72"/>
                      <a:pt x="24" y="71"/>
                    </a:cubicBezTo>
                    <a:cubicBezTo>
                      <a:pt x="24" y="70"/>
                      <a:pt x="23" y="67"/>
                      <a:pt x="24" y="66"/>
                    </a:cubicBezTo>
                    <a:cubicBezTo>
                      <a:pt x="25" y="65"/>
                      <a:pt x="25" y="68"/>
                      <a:pt x="26" y="69"/>
                    </a:cubicBezTo>
                    <a:cubicBezTo>
                      <a:pt x="27" y="70"/>
                      <a:pt x="27" y="71"/>
                      <a:pt x="28" y="71"/>
                    </a:cubicBezTo>
                    <a:cubicBezTo>
                      <a:pt x="30" y="71"/>
                      <a:pt x="32" y="70"/>
                      <a:pt x="32" y="69"/>
                    </a:cubicBezTo>
                    <a:cubicBezTo>
                      <a:pt x="33" y="67"/>
                      <a:pt x="34" y="64"/>
                      <a:pt x="34" y="62"/>
                    </a:cubicBezTo>
                    <a:cubicBezTo>
                      <a:pt x="33" y="59"/>
                      <a:pt x="31" y="57"/>
                      <a:pt x="30" y="55"/>
                    </a:cubicBezTo>
                    <a:cubicBezTo>
                      <a:pt x="30" y="53"/>
                      <a:pt x="29" y="50"/>
                      <a:pt x="30" y="49"/>
                    </a:cubicBezTo>
                    <a:cubicBezTo>
                      <a:pt x="31" y="48"/>
                      <a:pt x="32" y="50"/>
                      <a:pt x="33" y="52"/>
                    </a:cubicBezTo>
                    <a:cubicBezTo>
                      <a:pt x="34" y="53"/>
                      <a:pt x="35" y="56"/>
                      <a:pt x="37" y="57"/>
                    </a:cubicBezTo>
                    <a:cubicBezTo>
                      <a:pt x="38" y="58"/>
                      <a:pt x="40" y="58"/>
                      <a:pt x="41" y="58"/>
                    </a:cubicBezTo>
                    <a:cubicBezTo>
                      <a:pt x="43" y="58"/>
                      <a:pt x="45" y="58"/>
                      <a:pt x="46" y="59"/>
                    </a:cubicBezTo>
                    <a:cubicBezTo>
                      <a:pt x="48" y="60"/>
                      <a:pt x="50" y="61"/>
                      <a:pt x="50" y="63"/>
                    </a:cubicBezTo>
                    <a:cubicBezTo>
                      <a:pt x="51" y="65"/>
                      <a:pt x="51" y="67"/>
                      <a:pt x="50" y="70"/>
                    </a:cubicBezTo>
                    <a:cubicBezTo>
                      <a:pt x="50" y="71"/>
                      <a:pt x="49" y="73"/>
                      <a:pt x="49" y="74"/>
                    </a:cubicBezTo>
                    <a:cubicBezTo>
                      <a:pt x="49" y="76"/>
                      <a:pt x="52" y="76"/>
                      <a:pt x="52" y="77"/>
                    </a:cubicBezTo>
                    <a:cubicBezTo>
                      <a:pt x="53" y="78"/>
                      <a:pt x="52" y="80"/>
                      <a:pt x="52" y="82"/>
                    </a:cubicBezTo>
                    <a:cubicBezTo>
                      <a:pt x="53" y="83"/>
                      <a:pt x="54" y="85"/>
                      <a:pt x="55" y="86"/>
                    </a:cubicBezTo>
                    <a:cubicBezTo>
                      <a:pt x="55" y="84"/>
                      <a:pt x="54" y="81"/>
                      <a:pt x="55" y="80"/>
                    </a:cubicBezTo>
                    <a:cubicBezTo>
                      <a:pt x="57" y="79"/>
                      <a:pt x="60" y="85"/>
                      <a:pt x="61" y="84"/>
                    </a:cubicBezTo>
                    <a:cubicBezTo>
                      <a:pt x="63" y="80"/>
                      <a:pt x="60" y="76"/>
                      <a:pt x="59" y="72"/>
                    </a:cubicBezTo>
                    <a:cubicBezTo>
                      <a:pt x="59" y="68"/>
                      <a:pt x="60" y="64"/>
                      <a:pt x="59" y="60"/>
                    </a:cubicBezTo>
                    <a:cubicBezTo>
                      <a:pt x="58" y="57"/>
                      <a:pt x="55" y="55"/>
                      <a:pt x="54" y="52"/>
                    </a:cubicBezTo>
                    <a:cubicBezTo>
                      <a:pt x="53" y="49"/>
                      <a:pt x="55" y="47"/>
                      <a:pt x="54" y="45"/>
                    </a:cubicBezTo>
                    <a:cubicBezTo>
                      <a:pt x="53" y="44"/>
                      <a:pt x="50" y="43"/>
                      <a:pt x="49" y="44"/>
                    </a:cubicBezTo>
                    <a:cubicBezTo>
                      <a:pt x="47" y="47"/>
                      <a:pt x="49" y="51"/>
                      <a:pt x="48" y="54"/>
                    </a:cubicBezTo>
                    <a:cubicBezTo>
                      <a:pt x="47" y="56"/>
                      <a:pt x="45" y="57"/>
                      <a:pt x="44" y="56"/>
                    </a:cubicBezTo>
                    <a:cubicBezTo>
                      <a:pt x="42" y="55"/>
                      <a:pt x="44" y="52"/>
                      <a:pt x="42" y="51"/>
                    </a:cubicBezTo>
                    <a:cubicBezTo>
                      <a:pt x="41" y="51"/>
                      <a:pt x="40" y="54"/>
                      <a:pt x="38" y="54"/>
                    </a:cubicBezTo>
                    <a:cubicBezTo>
                      <a:pt x="37" y="54"/>
                      <a:pt x="37" y="52"/>
                      <a:pt x="37" y="50"/>
                    </a:cubicBezTo>
                    <a:cubicBezTo>
                      <a:pt x="37" y="46"/>
                      <a:pt x="38" y="42"/>
                      <a:pt x="40" y="39"/>
                    </a:cubicBezTo>
                    <a:cubicBezTo>
                      <a:pt x="41" y="37"/>
                      <a:pt x="45" y="37"/>
                      <a:pt x="47" y="35"/>
                    </a:cubicBezTo>
                    <a:cubicBezTo>
                      <a:pt x="48" y="33"/>
                      <a:pt x="49" y="31"/>
                      <a:pt x="51" y="29"/>
                    </a:cubicBezTo>
                    <a:cubicBezTo>
                      <a:pt x="52" y="28"/>
                      <a:pt x="54" y="30"/>
                      <a:pt x="54" y="29"/>
                    </a:cubicBezTo>
                    <a:cubicBezTo>
                      <a:pt x="54" y="27"/>
                      <a:pt x="53" y="26"/>
                      <a:pt x="52" y="25"/>
                    </a:cubicBezTo>
                    <a:cubicBezTo>
                      <a:pt x="50" y="24"/>
                      <a:pt x="48" y="22"/>
                      <a:pt x="46" y="22"/>
                    </a:cubicBezTo>
                    <a:cubicBezTo>
                      <a:pt x="40" y="21"/>
                      <a:pt x="33" y="22"/>
                      <a:pt x="27" y="22"/>
                    </a:cubicBezTo>
                    <a:cubicBezTo>
                      <a:pt x="25" y="22"/>
                      <a:pt x="23" y="21"/>
                      <a:pt x="22" y="20"/>
                    </a:cubicBezTo>
                    <a:cubicBezTo>
                      <a:pt x="21" y="18"/>
                      <a:pt x="23" y="16"/>
                      <a:pt x="23" y="13"/>
                    </a:cubicBezTo>
                    <a:cubicBezTo>
                      <a:pt x="23" y="11"/>
                      <a:pt x="22" y="8"/>
                      <a:pt x="20" y="8"/>
                    </a:cubicBezTo>
                    <a:cubicBezTo>
                      <a:pt x="18" y="7"/>
                      <a:pt x="17" y="12"/>
                      <a:pt x="15" y="11"/>
                    </a:cubicBezTo>
                    <a:cubicBezTo>
                      <a:pt x="13" y="10"/>
                      <a:pt x="13" y="6"/>
                      <a:pt x="10" y="5"/>
                    </a:cubicBezTo>
                    <a:cubicBezTo>
                      <a:pt x="9" y="4"/>
                      <a:pt x="8" y="7"/>
                      <a:pt x="7" y="6"/>
                    </a:cubicBezTo>
                    <a:cubicBezTo>
                      <a:pt x="5" y="5"/>
                      <a:pt x="4" y="1"/>
                      <a:pt x="1" y="0"/>
                    </a:cubicBezTo>
                    <a:cubicBezTo>
                      <a:pt x="0" y="0"/>
                      <a:pt x="0" y="2"/>
                      <a:pt x="1" y="3"/>
                    </a:cubicBezTo>
                    <a:cubicBezTo>
                      <a:pt x="1" y="4"/>
                      <a:pt x="3" y="4"/>
                      <a:pt x="3" y="5"/>
                    </a:cubicBezTo>
                    <a:cubicBezTo>
                      <a:pt x="3" y="7"/>
                      <a:pt x="0" y="9"/>
                      <a:pt x="0" y="12"/>
                    </a:cubicBezTo>
                    <a:cubicBezTo>
                      <a:pt x="0" y="14"/>
                      <a:pt x="2" y="15"/>
                      <a:pt x="3" y="16"/>
                    </a:cubicBezTo>
                    <a:cubicBezTo>
                      <a:pt x="5" y="19"/>
                      <a:pt x="10" y="20"/>
                      <a:pt x="10" y="23"/>
                    </a:cubicBezTo>
                    <a:cubicBezTo>
                      <a:pt x="10" y="25"/>
                      <a:pt x="6" y="23"/>
                      <a:pt x="5" y="24"/>
                    </a:cubicBezTo>
                    <a:cubicBezTo>
                      <a:pt x="4" y="24"/>
                      <a:pt x="6" y="26"/>
                      <a:pt x="5" y="27"/>
                    </a:cubicBezTo>
                    <a:cubicBezTo>
                      <a:pt x="5" y="28"/>
                      <a:pt x="4" y="27"/>
                      <a:pt x="3" y="28"/>
                    </a:cubicBezTo>
                    <a:cubicBezTo>
                      <a:pt x="3" y="29"/>
                      <a:pt x="2" y="30"/>
                      <a:pt x="2" y="31"/>
                    </a:cubicBezTo>
                    <a:cubicBezTo>
                      <a:pt x="3" y="33"/>
                      <a:pt x="6" y="33"/>
                      <a:pt x="7" y="34"/>
                    </a:cubicBezTo>
                    <a:cubicBezTo>
                      <a:pt x="9" y="35"/>
                      <a:pt x="10" y="36"/>
                      <a:pt x="10" y="38"/>
                    </a:cubicBezTo>
                    <a:cubicBezTo>
                      <a:pt x="10" y="40"/>
                      <a:pt x="7" y="41"/>
                      <a:pt x="7" y="43"/>
                    </a:cubicBezTo>
                    <a:cubicBezTo>
                      <a:pt x="6" y="44"/>
                      <a:pt x="8" y="45"/>
                      <a:pt x="9" y="46"/>
                    </a:cubicBezTo>
                    <a:cubicBezTo>
                      <a:pt x="10" y="48"/>
                      <a:pt x="9" y="50"/>
                      <a:pt x="10" y="52"/>
                    </a:cubicBezTo>
                    <a:cubicBezTo>
                      <a:pt x="11" y="53"/>
                      <a:pt x="13" y="51"/>
                      <a:pt x="14" y="52"/>
                    </a:cubicBezTo>
                    <a:cubicBezTo>
                      <a:pt x="14" y="53"/>
                      <a:pt x="13" y="54"/>
                      <a:pt x="13" y="55"/>
                    </a:cubicBezTo>
                    <a:cubicBezTo>
                      <a:pt x="13" y="56"/>
                      <a:pt x="13" y="57"/>
                      <a:pt x="13" y="59"/>
                    </a:cubicBezTo>
                    <a:cubicBezTo>
                      <a:pt x="13" y="60"/>
                      <a:pt x="14" y="61"/>
                      <a:pt x="14" y="63"/>
                    </a:cubicBezTo>
                    <a:cubicBezTo>
                      <a:pt x="14" y="64"/>
                      <a:pt x="14" y="65"/>
                      <a:pt x="14" y="67"/>
                    </a:cubicBezTo>
                    <a:cubicBezTo>
                      <a:pt x="14" y="69"/>
                      <a:pt x="16" y="71"/>
                      <a:pt x="17" y="7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12" name="Freeform 2633"/>
              <p:cNvSpPr>
                <a:spLocks noChangeAspect="1"/>
              </p:cNvSpPr>
              <p:nvPr/>
            </p:nvSpPr>
            <p:spPr bwMode="auto">
              <a:xfrm>
                <a:off x="5987664" y="2513379"/>
                <a:ext cx="152115" cy="273289"/>
              </a:xfrm>
              <a:custGeom>
                <a:avLst/>
                <a:gdLst>
                  <a:gd name="T0" fmla="*/ 122 w 113"/>
                  <a:gd name="T1" fmla="*/ 124 h 274"/>
                  <a:gd name="T2" fmla="*/ 104 w 113"/>
                  <a:gd name="T3" fmla="*/ 116 h 274"/>
                  <a:gd name="T4" fmla="*/ 107 w 113"/>
                  <a:gd name="T5" fmla="*/ 100 h 274"/>
                  <a:gd name="T6" fmla="*/ 100 w 113"/>
                  <a:gd name="T7" fmla="*/ 78 h 274"/>
                  <a:gd name="T8" fmla="*/ 77 w 113"/>
                  <a:gd name="T9" fmla="*/ 82 h 274"/>
                  <a:gd name="T10" fmla="*/ 82 w 113"/>
                  <a:gd name="T11" fmla="*/ 58 h 274"/>
                  <a:gd name="T12" fmla="*/ 91 w 113"/>
                  <a:gd name="T13" fmla="*/ 41 h 274"/>
                  <a:gd name="T14" fmla="*/ 82 w 113"/>
                  <a:gd name="T15" fmla="*/ 17 h 274"/>
                  <a:gd name="T16" fmla="*/ 70 w 113"/>
                  <a:gd name="T17" fmla="*/ 6 h 274"/>
                  <a:gd name="T18" fmla="*/ 63 w 113"/>
                  <a:gd name="T19" fmla="*/ 18 h 274"/>
                  <a:gd name="T20" fmla="*/ 58 w 113"/>
                  <a:gd name="T21" fmla="*/ 22 h 274"/>
                  <a:gd name="T22" fmla="*/ 39 w 113"/>
                  <a:gd name="T23" fmla="*/ 34 h 274"/>
                  <a:gd name="T24" fmla="*/ 41 w 113"/>
                  <a:gd name="T25" fmla="*/ 46 h 274"/>
                  <a:gd name="T26" fmla="*/ 31 w 113"/>
                  <a:gd name="T27" fmla="*/ 56 h 274"/>
                  <a:gd name="T28" fmla="*/ 24 w 113"/>
                  <a:gd name="T29" fmla="*/ 84 h 274"/>
                  <a:gd name="T30" fmla="*/ 18 w 113"/>
                  <a:gd name="T31" fmla="*/ 89 h 274"/>
                  <a:gd name="T32" fmla="*/ 14 w 113"/>
                  <a:gd name="T33" fmla="*/ 112 h 274"/>
                  <a:gd name="T34" fmla="*/ 6 w 113"/>
                  <a:gd name="T35" fmla="*/ 119 h 274"/>
                  <a:gd name="T36" fmla="*/ 1 w 113"/>
                  <a:gd name="T37" fmla="*/ 136 h 274"/>
                  <a:gd name="T38" fmla="*/ 11 w 113"/>
                  <a:gd name="T39" fmla="*/ 148 h 274"/>
                  <a:gd name="T40" fmla="*/ 28 w 113"/>
                  <a:gd name="T41" fmla="*/ 156 h 274"/>
                  <a:gd name="T42" fmla="*/ 36 w 113"/>
                  <a:gd name="T43" fmla="*/ 174 h 274"/>
                  <a:gd name="T44" fmla="*/ 40 w 113"/>
                  <a:gd name="T45" fmla="*/ 211 h 274"/>
                  <a:gd name="T46" fmla="*/ 45 w 113"/>
                  <a:gd name="T47" fmla="*/ 215 h 274"/>
                  <a:gd name="T48" fmla="*/ 52 w 113"/>
                  <a:gd name="T49" fmla="*/ 221 h 274"/>
                  <a:gd name="T50" fmla="*/ 58 w 113"/>
                  <a:gd name="T51" fmla="*/ 225 h 274"/>
                  <a:gd name="T52" fmla="*/ 69 w 113"/>
                  <a:gd name="T53" fmla="*/ 215 h 274"/>
                  <a:gd name="T54" fmla="*/ 75 w 113"/>
                  <a:gd name="T55" fmla="*/ 209 h 274"/>
                  <a:gd name="T56" fmla="*/ 84 w 113"/>
                  <a:gd name="T57" fmla="*/ 211 h 274"/>
                  <a:gd name="T58" fmla="*/ 91 w 113"/>
                  <a:gd name="T59" fmla="*/ 233 h 274"/>
                  <a:gd name="T60" fmla="*/ 99 w 113"/>
                  <a:gd name="T61" fmla="*/ 265 h 274"/>
                  <a:gd name="T62" fmla="*/ 111 w 113"/>
                  <a:gd name="T63" fmla="*/ 285 h 274"/>
                  <a:gd name="T64" fmla="*/ 113 w 113"/>
                  <a:gd name="T65" fmla="*/ 301 h 274"/>
                  <a:gd name="T66" fmla="*/ 106 w 113"/>
                  <a:gd name="T67" fmla="*/ 318 h 274"/>
                  <a:gd name="T68" fmla="*/ 112 w 113"/>
                  <a:gd name="T69" fmla="*/ 315 h 274"/>
                  <a:gd name="T70" fmla="*/ 122 w 113"/>
                  <a:gd name="T71" fmla="*/ 289 h 274"/>
                  <a:gd name="T72" fmla="*/ 118 w 113"/>
                  <a:gd name="T73" fmla="*/ 265 h 274"/>
                  <a:gd name="T74" fmla="*/ 97 w 113"/>
                  <a:gd name="T75" fmla="*/ 238 h 274"/>
                  <a:gd name="T76" fmla="*/ 107 w 113"/>
                  <a:gd name="T77" fmla="*/ 221 h 274"/>
                  <a:gd name="T78" fmla="*/ 102 w 113"/>
                  <a:gd name="T79" fmla="*/ 209 h 274"/>
                  <a:gd name="T80" fmla="*/ 93 w 113"/>
                  <a:gd name="T81" fmla="*/ 190 h 274"/>
                  <a:gd name="T82" fmla="*/ 85 w 113"/>
                  <a:gd name="T83" fmla="*/ 177 h 274"/>
                  <a:gd name="T84" fmla="*/ 99 w 113"/>
                  <a:gd name="T85" fmla="*/ 161 h 274"/>
                  <a:gd name="T86" fmla="*/ 113 w 113"/>
                  <a:gd name="T87" fmla="*/ 152 h 274"/>
                  <a:gd name="T88" fmla="*/ 122 w 113"/>
                  <a:gd name="T89" fmla="*/ 146 h 274"/>
                  <a:gd name="T90" fmla="*/ 126 w 113"/>
                  <a:gd name="T91" fmla="*/ 133 h 274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13"/>
                  <a:gd name="T139" fmla="*/ 0 h 274"/>
                  <a:gd name="T140" fmla="*/ 113 w 113"/>
                  <a:gd name="T141" fmla="*/ 274 h 274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13" h="274">
                    <a:moveTo>
                      <a:pt x="112" y="103"/>
                    </a:moveTo>
                    <a:cubicBezTo>
                      <a:pt x="112" y="102"/>
                      <a:pt x="113" y="101"/>
                      <a:pt x="112" y="101"/>
                    </a:cubicBezTo>
                    <a:cubicBezTo>
                      <a:pt x="108" y="100"/>
                      <a:pt x="105" y="102"/>
                      <a:pt x="101" y="103"/>
                    </a:cubicBezTo>
                    <a:cubicBezTo>
                      <a:pt x="100" y="103"/>
                      <a:pt x="98" y="104"/>
                      <a:pt x="97" y="103"/>
                    </a:cubicBezTo>
                    <a:cubicBezTo>
                      <a:pt x="96" y="102"/>
                      <a:pt x="98" y="98"/>
                      <a:pt x="97" y="97"/>
                    </a:cubicBezTo>
                    <a:cubicBezTo>
                      <a:pt x="94" y="95"/>
                      <a:pt x="89" y="99"/>
                      <a:pt x="86" y="97"/>
                    </a:cubicBezTo>
                    <a:cubicBezTo>
                      <a:pt x="84" y="95"/>
                      <a:pt x="88" y="92"/>
                      <a:pt x="88" y="90"/>
                    </a:cubicBezTo>
                    <a:cubicBezTo>
                      <a:pt x="89" y="88"/>
                      <a:pt x="86" y="87"/>
                      <a:pt x="86" y="85"/>
                    </a:cubicBezTo>
                    <a:cubicBezTo>
                      <a:pt x="86" y="84"/>
                      <a:pt x="90" y="84"/>
                      <a:pt x="89" y="83"/>
                    </a:cubicBezTo>
                    <a:cubicBezTo>
                      <a:pt x="87" y="81"/>
                      <a:pt x="83" y="82"/>
                      <a:pt x="81" y="80"/>
                    </a:cubicBezTo>
                    <a:cubicBezTo>
                      <a:pt x="79" y="77"/>
                      <a:pt x="79" y="73"/>
                      <a:pt x="80" y="69"/>
                    </a:cubicBezTo>
                    <a:cubicBezTo>
                      <a:pt x="80" y="67"/>
                      <a:pt x="85" y="66"/>
                      <a:pt x="83" y="65"/>
                    </a:cubicBezTo>
                    <a:cubicBezTo>
                      <a:pt x="80" y="66"/>
                      <a:pt x="76" y="65"/>
                      <a:pt x="73" y="66"/>
                    </a:cubicBezTo>
                    <a:cubicBezTo>
                      <a:pt x="70" y="67"/>
                      <a:pt x="69" y="70"/>
                      <a:pt x="67" y="71"/>
                    </a:cubicBezTo>
                    <a:cubicBezTo>
                      <a:pt x="66" y="71"/>
                      <a:pt x="64" y="70"/>
                      <a:pt x="64" y="68"/>
                    </a:cubicBezTo>
                    <a:cubicBezTo>
                      <a:pt x="63" y="66"/>
                      <a:pt x="67" y="66"/>
                      <a:pt x="67" y="64"/>
                    </a:cubicBezTo>
                    <a:cubicBezTo>
                      <a:pt x="66" y="61"/>
                      <a:pt x="61" y="62"/>
                      <a:pt x="62" y="59"/>
                    </a:cubicBezTo>
                    <a:cubicBezTo>
                      <a:pt x="62" y="55"/>
                      <a:pt x="66" y="53"/>
                      <a:pt x="68" y="48"/>
                    </a:cubicBezTo>
                    <a:cubicBezTo>
                      <a:pt x="70" y="45"/>
                      <a:pt x="74" y="44"/>
                      <a:pt x="75" y="40"/>
                    </a:cubicBezTo>
                    <a:cubicBezTo>
                      <a:pt x="76" y="38"/>
                      <a:pt x="73" y="37"/>
                      <a:pt x="73" y="34"/>
                    </a:cubicBezTo>
                    <a:cubicBezTo>
                      <a:pt x="73" y="34"/>
                      <a:pt x="75" y="35"/>
                      <a:pt x="76" y="34"/>
                    </a:cubicBezTo>
                    <a:cubicBezTo>
                      <a:pt x="76" y="32"/>
                      <a:pt x="74" y="30"/>
                      <a:pt x="74" y="28"/>
                    </a:cubicBezTo>
                    <a:cubicBezTo>
                      <a:pt x="73" y="23"/>
                      <a:pt x="74" y="18"/>
                      <a:pt x="72" y="14"/>
                    </a:cubicBezTo>
                    <a:cubicBezTo>
                      <a:pt x="72" y="13"/>
                      <a:pt x="69" y="15"/>
                      <a:pt x="68" y="14"/>
                    </a:cubicBezTo>
                    <a:cubicBezTo>
                      <a:pt x="66" y="12"/>
                      <a:pt x="67" y="8"/>
                      <a:pt x="66" y="5"/>
                    </a:cubicBezTo>
                    <a:cubicBezTo>
                      <a:pt x="64" y="3"/>
                      <a:pt x="62" y="0"/>
                      <a:pt x="59" y="0"/>
                    </a:cubicBezTo>
                    <a:cubicBezTo>
                      <a:pt x="58" y="0"/>
                      <a:pt x="58" y="4"/>
                      <a:pt x="58" y="5"/>
                    </a:cubicBezTo>
                    <a:cubicBezTo>
                      <a:pt x="57" y="7"/>
                      <a:pt x="57" y="8"/>
                      <a:pt x="56" y="9"/>
                    </a:cubicBezTo>
                    <a:cubicBezTo>
                      <a:pt x="55" y="11"/>
                      <a:pt x="53" y="10"/>
                      <a:pt x="52" y="11"/>
                    </a:cubicBezTo>
                    <a:cubicBezTo>
                      <a:pt x="51" y="12"/>
                      <a:pt x="51" y="14"/>
                      <a:pt x="52" y="15"/>
                    </a:cubicBezTo>
                    <a:cubicBezTo>
                      <a:pt x="52" y="17"/>
                      <a:pt x="55" y="18"/>
                      <a:pt x="55" y="20"/>
                    </a:cubicBezTo>
                    <a:cubicBezTo>
                      <a:pt x="55" y="21"/>
                      <a:pt x="53" y="20"/>
                      <a:pt x="52" y="20"/>
                    </a:cubicBezTo>
                    <a:cubicBezTo>
                      <a:pt x="50" y="20"/>
                      <a:pt x="49" y="18"/>
                      <a:pt x="48" y="18"/>
                    </a:cubicBezTo>
                    <a:cubicBezTo>
                      <a:pt x="46" y="18"/>
                      <a:pt x="44" y="19"/>
                      <a:pt x="42" y="20"/>
                    </a:cubicBezTo>
                    <a:cubicBezTo>
                      <a:pt x="40" y="22"/>
                      <a:pt x="39" y="24"/>
                      <a:pt x="37" y="26"/>
                    </a:cubicBezTo>
                    <a:cubicBezTo>
                      <a:pt x="35" y="27"/>
                      <a:pt x="33" y="27"/>
                      <a:pt x="32" y="28"/>
                    </a:cubicBezTo>
                    <a:cubicBezTo>
                      <a:pt x="31" y="29"/>
                      <a:pt x="32" y="30"/>
                      <a:pt x="32" y="32"/>
                    </a:cubicBezTo>
                    <a:cubicBezTo>
                      <a:pt x="32" y="33"/>
                      <a:pt x="31" y="34"/>
                      <a:pt x="32" y="36"/>
                    </a:cubicBezTo>
                    <a:cubicBezTo>
                      <a:pt x="32" y="36"/>
                      <a:pt x="34" y="37"/>
                      <a:pt x="34" y="38"/>
                    </a:cubicBezTo>
                    <a:cubicBezTo>
                      <a:pt x="33" y="39"/>
                      <a:pt x="31" y="39"/>
                      <a:pt x="30" y="40"/>
                    </a:cubicBezTo>
                    <a:cubicBezTo>
                      <a:pt x="30" y="42"/>
                      <a:pt x="31" y="43"/>
                      <a:pt x="30" y="44"/>
                    </a:cubicBezTo>
                    <a:cubicBezTo>
                      <a:pt x="29" y="46"/>
                      <a:pt x="26" y="45"/>
                      <a:pt x="26" y="47"/>
                    </a:cubicBezTo>
                    <a:cubicBezTo>
                      <a:pt x="26" y="49"/>
                      <a:pt x="30" y="50"/>
                      <a:pt x="29" y="51"/>
                    </a:cubicBezTo>
                    <a:cubicBezTo>
                      <a:pt x="27" y="57"/>
                      <a:pt x="25" y="63"/>
                      <a:pt x="23" y="69"/>
                    </a:cubicBezTo>
                    <a:cubicBezTo>
                      <a:pt x="23" y="70"/>
                      <a:pt x="21" y="70"/>
                      <a:pt x="20" y="70"/>
                    </a:cubicBezTo>
                    <a:cubicBezTo>
                      <a:pt x="18" y="69"/>
                      <a:pt x="16" y="67"/>
                      <a:pt x="14" y="67"/>
                    </a:cubicBezTo>
                    <a:cubicBezTo>
                      <a:pt x="13" y="66"/>
                      <a:pt x="12" y="67"/>
                      <a:pt x="12" y="68"/>
                    </a:cubicBezTo>
                    <a:cubicBezTo>
                      <a:pt x="13" y="70"/>
                      <a:pt x="14" y="72"/>
                      <a:pt x="15" y="74"/>
                    </a:cubicBezTo>
                    <a:cubicBezTo>
                      <a:pt x="15" y="77"/>
                      <a:pt x="16" y="80"/>
                      <a:pt x="15" y="83"/>
                    </a:cubicBezTo>
                    <a:cubicBezTo>
                      <a:pt x="15" y="83"/>
                      <a:pt x="12" y="82"/>
                      <a:pt x="12" y="83"/>
                    </a:cubicBezTo>
                    <a:cubicBezTo>
                      <a:pt x="11" y="86"/>
                      <a:pt x="12" y="90"/>
                      <a:pt x="12" y="93"/>
                    </a:cubicBezTo>
                    <a:cubicBezTo>
                      <a:pt x="12" y="95"/>
                      <a:pt x="11" y="97"/>
                      <a:pt x="10" y="99"/>
                    </a:cubicBezTo>
                    <a:cubicBezTo>
                      <a:pt x="10" y="100"/>
                      <a:pt x="9" y="99"/>
                      <a:pt x="8" y="99"/>
                    </a:cubicBezTo>
                    <a:cubicBezTo>
                      <a:pt x="7" y="99"/>
                      <a:pt x="6" y="99"/>
                      <a:pt x="5" y="99"/>
                    </a:cubicBezTo>
                    <a:cubicBezTo>
                      <a:pt x="6" y="103"/>
                      <a:pt x="9" y="107"/>
                      <a:pt x="7" y="111"/>
                    </a:cubicBezTo>
                    <a:cubicBezTo>
                      <a:pt x="6" y="112"/>
                      <a:pt x="3" y="106"/>
                      <a:pt x="1" y="107"/>
                    </a:cubicBezTo>
                    <a:cubicBezTo>
                      <a:pt x="0" y="108"/>
                      <a:pt x="1" y="111"/>
                      <a:pt x="1" y="113"/>
                    </a:cubicBezTo>
                    <a:cubicBezTo>
                      <a:pt x="2" y="113"/>
                      <a:pt x="4" y="112"/>
                      <a:pt x="5" y="113"/>
                    </a:cubicBezTo>
                    <a:cubicBezTo>
                      <a:pt x="6" y="114"/>
                      <a:pt x="5" y="116"/>
                      <a:pt x="6" y="118"/>
                    </a:cubicBezTo>
                    <a:cubicBezTo>
                      <a:pt x="7" y="120"/>
                      <a:pt x="7" y="122"/>
                      <a:pt x="9" y="123"/>
                    </a:cubicBezTo>
                    <a:cubicBezTo>
                      <a:pt x="10" y="123"/>
                      <a:pt x="11" y="122"/>
                      <a:pt x="12" y="123"/>
                    </a:cubicBezTo>
                    <a:cubicBezTo>
                      <a:pt x="14" y="124"/>
                      <a:pt x="15" y="126"/>
                      <a:pt x="17" y="127"/>
                    </a:cubicBezTo>
                    <a:cubicBezTo>
                      <a:pt x="19" y="128"/>
                      <a:pt x="22" y="128"/>
                      <a:pt x="23" y="130"/>
                    </a:cubicBezTo>
                    <a:cubicBezTo>
                      <a:pt x="24" y="131"/>
                      <a:pt x="23" y="134"/>
                      <a:pt x="24" y="136"/>
                    </a:cubicBezTo>
                    <a:cubicBezTo>
                      <a:pt x="25" y="137"/>
                      <a:pt x="28" y="137"/>
                      <a:pt x="29" y="139"/>
                    </a:cubicBezTo>
                    <a:cubicBezTo>
                      <a:pt x="30" y="141"/>
                      <a:pt x="29" y="143"/>
                      <a:pt x="30" y="145"/>
                    </a:cubicBezTo>
                    <a:cubicBezTo>
                      <a:pt x="31" y="149"/>
                      <a:pt x="32" y="152"/>
                      <a:pt x="33" y="155"/>
                    </a:cubicBezTo>
                    <a:cubicBezTo>
                      <a:pt x="33" y="158"/>
                      <a:pt x="32" y="160"/>
                      <a:pt x="32" y="163"/>
                    </a:cubicBezTo>
                    <a:cubicBezTo>
                      <a:pt x="32" y="167"/>
                      <a:pt x="33" y="172"/>
                      <a:pt x="33" y="176"/>
                    </a:cubicBezTo>
                    <a:cubicBezTo>
                      <a:pt x="32" y="178"/>
                      <a:pt x="32" y="179"/>
                      <a:pt x="32" y="180"/>
                    </a:cubicBezTo>
                    <a:cubicBezTo>
                      <a:pt x="31" y="183"/>
                      <a:pt x="30" y="185"/>
                      <a:pt x="32" y="187"/>
                    </a:cubicBezTo>
                    <a:cubicBezTo>
                      <a:pt x="35" y="185"/>
                      <a:pt x="34" y="179"/>
                      <a:pt x="37" y="179"/>
                    </a:cubicBezTo>
                    <a:cubicBezTo>
                      <a:pt x="40" y="179"/>
                      <a:pt x="37" y="184"/>
                      <a:pt x="38" y="187"/>
                    </a:cubicBezTo>
                    <a:cubicBezTo>
                      <a:pt x="38" y="188"/>
                      <a:pt x="40" y="189"/>
                      <a:pt x="41" y="189"/>
                    </a:cubicBezTo>
                    <a:cubicBezTo>
                      <a:pt x="43" y="188"/>
                      <a:pt x="42" y="185"/>
                      <a:pt x="43" y="184"/>
                    </a:cubicBezTo>
                    <a:cubicBezTo>
                      <a:pt x="44" y="184"/>
                      <a:pt x="44" y="186"/>
                      <a:pt x="45" y="187"/>
                    </a:cubicBezTo>
                    <a:cubicBezTo>
                      <a:pt x="46" y="187"/>
                      <a:pt x="46" y="185"/>
                      <a:pt x="47" y="185"/>
                    </a:cubicBezTo>
                    <a:cubicBezTo>
                      <a:pt x="48" y="185"/>
                      <a:pt x="47" y="187"/>
                      <a:pt x="48" y="187"/>
                    </a:cubicBezTo>
                    <a:cubicBezTo>
                      <a:pt x="51" y="186"/>
                      <a:pt x="53" y="184"/>
                      <a:pt x="54" y="181"/>
                    </a:cubicBezTo>
                    <a:cubicBezTo>
                      <a:pt x="55" y="180"/>
                      <a:pt x="52" y="180"/>
                      <a:pt x="53" y="179"/>
                    </a:cubicBezTo>
                    <a:cubicBezTo>
                      <a:pt x="54" y="178"/>
                      <a:pt x="56" y="180"/>
                      <a:pt x="57" y="179"/>
                    </a:cubicBezTo>
                    <a:cubicBezTo>
                      <a:pt x="58" y="177"/>
                      <a:pt x="54" y="175"/>
                      <a:pt x="55" y="174"/>
                    </a:cubicBezTo>
                    <a:cubicBezTo>
                      <a:pt x="57" y="173"/>
                      <a:pt x="57" y="177"/>
                      <a:pt x="59" y="177"/>
                    </a:cubicBezTo>
                    <a:cubicBezTo>
                      <a:pt x="61" y="177"/>
                      <a:pt x="62" y="175"/>
                      <a:pt x="62" y="174"/>
                    </a:cubicBezTo>
                    <a:cubicBezTo>
                      <a:pt x="63" y="171"/>
                      <a:pt x="61" y="167"/>
                      <a:pt x="63" y="165"/>
                    </a:cubicBezTo>
                    <a:cubicBezTo>
                      <a:pt x="64" y="163"/>
                      <a:pt x="66" y="167"/>
                      <a:pt x="67" y="168"/>
                    </a:cubicBezTo>
                    <a:cubicBezTo>
                      <a:pt x="68" y="171"/>
                      <a:pt x="69" y="174"/>
                      <a:pt x="70" y="176"/>
                    </a:cubicBezTo>
                    <a:cubicBezTo>
                      <a:pt x="71" y="179"/>
                      <a:pt x="71" y="181"/>
                      <a:pt x="73" y="183"/>
                    </a:cubicBezTo>
                    <a:cubicBezTo>
                      <a:pt x="74" y="184"/>
                      <a:pt x="75" y="180"/>
                      <a:pt x="76" y="181"/>
                    </a:cubicBezTo>
                    <a:cubicBezTo>
                      <a:pt x="77" y="185"/>
                      <a:pt x="76" y="190"/>
                      <a:pt x="76" y="194"/>
                    </a:cubicBezTo>
                    <a:cubicBezTo>
                      <a:pt x="77" y="198"/>
                      <a:pt x="77" y="202"/>
                      <a:pt x="78" y="206"/>
                    </a:cubicBezTo>
                    <a:cubicBezTo>
                      <a:pt x="79" y="209"/>
                      <a:pt x="81" y="210"/>
                      <a:pt x="81" y="212"/>
                    </a:cubicBezTo>
                    <a:cubicBezTo>
                      <a:pt x="82" y="215"/>
                      <a:pt x="80" y="218"/>
                      <a:pt x="82" y="221"/>
                    </a:cubicBezTo>
                    <a:cubicBezTo>
                      <a:pt x="83" y="222"/>
                      <a:pt x="83" y="215"/>
                      <a:pt x="84" y="216"/>
                    </a:cubicBezTo>
                    <a:cubicBezTo>
                      <a:pt x="87" y="220"/>
                      <a:pt x="87" y="224"/>
                      <a:pt x="89" y="228"/>
                    </a:cubicBezTo>
                    <a:cubicBezTo>
                      <a:pt x="90" y="231"/>
                      <a:pt x="92" y="234"/>
                      <a:pt x="92" y="237"/>
                    </a:cubicBezTo>
                    <a:cubicBezTo>
                      <a:pt x="92" y="238"/>
                      <a:pt x="90" y="239"/>
                      <a:pt x="90" y="240"/>
                    </a:cubicBezTo>
                    <a:cubicBezTo>
                      <a:pt x="89" y="242"/>
                      <a:pt x="89" y="245"/>
                      <a:pt x="90" y="247"/>
                    </a:cubicBezTo>
                    <a:cubicBezTo>
                      <a:pt x="91" y="249"/>
                      <a:pt x="94" y="249"/>
                      <a:pt x="94" y="251"/>
                    </a:cubicBezTo>
                    <a:cubicBezTo>
                      <a:pt x="94" y="253"/>
                      <a:pt x="90" y="251"/>
                      <a:pt x="90" y="252"/>
                    </a:cubicBezTo>
                    <a:cubicBezTo>
                      <a:pt x="89" y="255"/>
                      <a:pt x="91" y="257"/>
                      <a:pt x="91" y="260"/>
                    </a:cubicBezTo>
                    <a:cubicBezTo>
                      <a:pt x="91" y="262"/>
                      <a:pt x="88" y="263"/>
                      <a:pt x="88" y="265"/>
                    </a:cubicBezTo>
                    <a:cubicBezTo>
                      <a:pt x="88" y="268"/>
                      <a:pt x="88" y="271"/>
                      <a:pt x="90" y="273"/>
                    </a:cubicBezTo>
                    <a:cubicBezTo>
                      <a:pt x="92" y="274"/>
                      <a:pt x="92" y="270"/>
                      <a:pt x="93" y="269"/>
                    </a:cubicBezTo>
                    <a:cubicBezTo>
                      <a:pt x="94" y="266"/>
                      <a:pt x="93" y="264"/>
                      <a:pt x="93" y="262"/>
                    </a:cubicBezTo>
                    <a:cubicBezTo>
                      <a:pt x="94" y="259"/>
                      <a:pt x="97" y="257"/>
                      <a:pt x="99" y="255"/>
                    </a:cubicBezTo>
                    <a:cubicBezTo>
                      <a:pt x="101" y="251"/>
                      <a:pt x="103" y="247"/>
                      <a:pt x="103" y="243"/>
                    </a:cubicBezTo>
                    <a:cubicBezTo>
                      <a:pt x="104" y="242"/>
                      <a:pt x="102" y="242"/>
                      <a:pt x="101" y="241"/>
                    </a:cubicBezTo>
                    <a:cubicBezTo>
                      <a:pt x="99" y="237"/>
                      <a:pt x="97" y="232"/>
                      <a:pt x="95" y="227"/>
                    </a:cubicBezTo>
                    <a:cubicBezTo>
                      <a:pt x="95" y="226"/>
                      <a:pt x="97" y="227"/>
                      <a:pt x="97" y="226"/>
                    </a:cubicBezTo>
                    <a:cubicBezTo>
                      <a:pt x="97" y="224"/>
                      <a:pt x="98" y="223"/>
                      <a:pt x="98" y="221"/>
                    </a:cubicBezTo>
                    <a:cubicBezTo>
                      <a:pt x="97" y="219"/>
                      <a:pt x="96" y="217"/>
                      <a:pt x="95" y="215"/>
                    </a:cubicBezTo>
                    <a:cubicBezTo>
                      <a:pt x="92" y="212"/>
                      <a:pt x="88" y="211"/>
                      <a:pt x="85" y="208"/>
                    </a:cubicBezTo>
                    <a:cubicBezTo>
                      <a:pt x="83" y="205"/>
                      <a:pt x="83" y="202"/>
                      <a:pt x="81" y="198"/>
                    </a:cubicBezTo>
                    <a:cubicBezTo>
                      <a:pt x="81" y="197"/>
                      <a:pt x="85" y="198"/>
                      <a:pt x="86" y="196"/>
                    </a:cubicBezTo>
                    <a:cubicBezTo>
                      <a:pt x="86" y="193"/>
                      <a:pt x="85" y="189"/>
                      <a:pt x="86" y="186"/>
                    </a:cubicBezTo>
                    <a:cubicBezTo>
                      <a:pt x="86" y="185"/>
                      <a:pt x="89" y="186"/>
                      <a:pt x="89" y="184"/>
                    </a:cubicBezTo>
                    <a:cubicBezTo>
                      <a:pt x="90" y="183"/>
                      <a:pt x="89" y="181"/>
                      <a:pt x="88" y="181"/>
                    </a:cubicBezTo>
                    <a:cubicBezTo>
                      <a:pt x="88" y="180"/>
                      <a:pt x="86" y="182"/>
                      <a:pt x="85" y="181"/>
                    </a:cubicBezTo>
                    <a:cubicBezTo>
                      <a:pt x="84" y="179"/>
                      <a:pt x="86" y="176"/>
                      <a:pt x="85" y="174"/>
                    </a:cubicBezTo>
                    <a:cubicBezTo>
                      <a:pt x="85" y="173"/>
                      <a:pt x="83" y="173"/>
                      <a:pt x="82" y="172"/>
                    </a:cubicBezTo>
                    <a:cubicBezTo>
                      <a:pt x="80" y="167"/>
                      <a:pt x="78" y="162"/>
                      <a:pt x="75" y="158"/>
                    </a:cubicBezTo>
                    <a:cubicBezTo>
                      <a:pt x="75" y="158"/>
                      <a:pt x="77" y="159"/>
                      <a:pt x="77" y="158"/>
                    </a:cubicBezTo>
                    <a:cubicBezTo>
                      <a:pt x="77" y="155"/>
                      <a:pt x="76" y="153"/>
                      <a:pt x="74" y="151"/>
                    </a:cubicBezTo>
                    <a:cubicBezTo>
                      <a:pt x="73" y="150"/>
                      <a:pt x="72" y="152"/>
                      <a:pt x="71" y="151"/>
                    </a:cubicBezTo>
                    <a:cubicBezTo>
                      <a:pt x="70" y="150"/>
                      <a:pt x="70" y="148"/>
                      <a:pt x="71" y="147"/>
                    </a:cubicBezTo>
                    <a:cubicBezTo>
                      <a:pt x="71" y="146"/>
                      <a:pt x="74" y="148"/>
                      <a:pt x="74" y="147"/>
                    </a:cubicBezTo>
                    <a:cubicBezTo>
                      <a:pt x="76" y="142"/>
                      <a:pt x="74" y="136"/>
                      <a:pt x="76" y="132"/>
                    </a:cubicBezTo>
                    <a:cubicBezTo>
                      <a:pt x="77" y="130"/>
                      <a:pt x="80" y="134"/>
                      <a:pt x="82" y="134"/>
                    </a:cubicBezTo>
                    <a:cubicBezTo>
                      <a:pt x="84" y="134"/>
                      <a:pt x="87" y="133"/>
                      <a:pt x="88" y="131"/>
                    </a:cubicBezTo>
                    <a:cubicBezTo>
                      <a:pt x="89" y="130"/>
                      <a:pt x="87" y="128"/>
                      <a:pt x="88" y="127"/>
                    </a:cubicBezTo>
                    <a:cubicBezTo>
                      <a:pt x="90" y="126"/>
                      <a:pt x="92" y="128"/>
                      <a:pt x="94" y="127"/>
                    </a:cubicBezTo>
                    <a:cubicBezTo>
                      <a:pt x="95" y="127"/>
                      <a:pt x="93" y="124"/>
                      <a:pt x="94" y="123"/>
                    </a:cubicBezTo>
                    <a:cubicBezTo>
                      <a:pt x="95" y="122"/>
                      <a:pt x="96" y="122"/>
                      <a:pt x="98" y="122"/>
                    </a:cubicBezTo>
                    <a:cubicBezTo>
                      <a:pt x="99" y="122"/>
                      <a:pt x="100" y="122"/>
                      <a:pt x="101" y="122"/>
                    </a:cubicBezTo>
                    <a:cubicBezTo>
                      <a:pt x="101" y="120"/>
                      <a:pt x="101" y="118"/>
                      <a:pt x="102" y="116"/>
                    </a:cubicBezTo>
                    <a:cubicBezTo>
                      <a:pt x="103" y="115"/>
                      <a:pt x="107" y="116"/>
                      <a:pt x="108" y="115"/>
                    </a:cubicBezTo>
                    <a:cubicBezTo>
                      <a:pt x="108" y="113"/>
                      <a:pt x="105" y="113"/>
                      <a:pt x="105" y="111"/>
                    </a:cubicBezTo>
                    <a:cubicBezTo>
                      <a:pt x="105" y="109"/>
                      <a:pt x="106" y="107"/>
                      <a:pt x="108" y="105"/>
                    </a:cubicBezTo>
                    <a:cubicBezTo>
                      <a:pt x="109" y="104"/>
                      <a:pt x="111" y="104"/>
                      <a:pt x="112" y="10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13" name="Freeform 2634"/>
              <p:cNvSpPr>
                <a:spLocks noChangeAspect="1"/>
              </p:cNvSpPr>
              <p:nvPr/>
            </p:nvSpPr>
            <p:spPr bwMode="auto">
              <a:xfrm>
                <a:off x="6306433" y="2828202"/>
                <a:ext cx="163300" cy="87219"/>
              </a:xfrm>
              <a:custGeom>
                <a:avLst/>
                <a:gdLst>
                  <a:gd name="T0" fmla="*/ 123 w 122"/>
                  <a:gd name="T1" fmla="*/ 52 h 87"/>
                  <a:gd name="T2" fmla="*/ 134 w 122"/>
                  <a:gd name="T3" fmla="*/ 48 h 87"/>
                  <a:gd name="T4" fmla="*/ 129 w 122"/>
                  <a:gd name="T5" fmla="*/ 45 h 87"/>
                  <a:gd name="T6" fmla="*/ 124 w 122"/>
                  <a:gd name="T7" fmla="*/ 40 h 87"/>
                  <a:gd name="T8" fmla="*/ 124 w 122"/>
                  <a:gd name="T9" fmla="*/ 36 h 87"/>
                  <a:gd name="T10" fmla="*/ 133 w 122"/>
                  <a:gd name="T11" fmla="*/ 37 h 87"/>
                  <a:gd name="T12" fmla="*/ 144 w 122"/>
                  <a:gd name="T13" fmla="*/ 34 h 87"/>
                  <a:gd name="T14" fmla="*/ 145 w 122"/>
                  <a:gd name="T15" fmla="*/ 28 h 87"/>
                  <a:gd name="T16" fmla="*/ 140 w 122"/>
                  <a:gd name="T17" fmla="*/ 27 h 87"/>
                  <a:gd name="T18" fmla="*/ 132 w 122"/>
                  <a:gd name="T19" fmla="*/ 24 h 87"/>
                  <a:gd name="T20" fmla="*/ 126 w 122"/>
                  <a:gd name="T21" fmla="*/ 28 h 87"/>
                  <a:gd name="T22" fmla="*/ 118 w 122"/>
                  <a:gd name="T23" fmla="*/ 25 h 87"/>
                  <a:gd name="T24" fmla="*/ 117 w 122"/>
                  <a:gd name="T25" fmla="*/ 16 h 87"/>
                  <a:gd name="T26" fmla="*/ 120 w 122"/>
                  <a:gd name="T27" fmla="*/ 12 h 87"/>
                  <a:gd name="T28" fmla="*/ 115 w 122"/>
                  <a:gd name="T29" fmla="*/ 11 h 87"/>
                  <a:gd name="T30" fmla="*/ 109 w 122"/>
                  <a:gd name="T31" fmla="*/ 4 h 87"/>
                  <a:gd name="T32" fmla="*/ 105 w 122"/>
                  <a:gd name="T33" fmla="*/ 7 h 87"/>
                  <a:gd name="T34" fmla="*/ 101 w 122"/>
                  <a:gd name="T35" fmla="*/ 1 h 87"/>
                  <a:gd name="T36" fmla="*/ 96 w 122"/>
                  <a:gd name="T37" fmla="*/ 14 h 87"/>
                  <a:gd name="T38" fmla="*/ 91 w 122"/>
                  <a:gd name="T39" fmla="*/ 28 h 87"/>
                  <a:gd name="T40" fmla="*/ 85 w 122"/>
                  <a:gd name="T41" fmla="*/ 28 h 87"/>
                  <a:gd name="T42" fmla="*/ 84 w 122"/>
                  <a:gd name="T43" fmla="*/ 31 h 87"/>
                  <a:gd name="T44" fmla="*/ 87 w 122"/>
                  <a:gd name="T45" fmla="*/ 33 h 87"/>
                  <a:gd name="T46" fmla="*/ 87 w 122"/>
                  <a:gd name="T47" fmla="*/ 36 h 87"/>
                  <a:gd name="T48" fmla="*/ 78 w 122"/>
                  <a:gd name="T49" fmla="*/ 37 h 87"/>
                  <a:gd name="T50" fmla="*/ 65 w 122"/>
                  <a:gd name="T51" fmla="*/ 42 h 87"/>
                  <a:gd name="T52" fmla="*/ 65 w 122"/>
                  <a:gd name="T53" fmla="*/ 51 h 87"/>
                  <a:gd name="T54" fmla="*/ 44 w 122"/>
                  <a:gd name="T55" fmla="*/ 68 h 87"/>
                  <a:gd name="T56" fmla="*/ 30 w 122"/>
                  <a:gd name="T57" fmla="*/ 71 h 87"/>
                  <a:gd name="T58" fmla="*/ 28 w 122"/>
                  <a:gd name="T59" fmla="*/ 80 h 87"/>
                  <a:gd name="T60" fmla="*/ 23 w 122"/>
                  <a:gd name="T61" fmla="*/ 78 h 87"/>
                  <a:gd name="T62" fmla="*/ 25 w 122"/>
                  <a:gd name="T63" fmla="*/ 84 h 87"/>
                  <a:gd name="T64" fmla="*/ 19 w 122"/>
                  <a:gd name="T65" fmla="*/ 94 h 87"/>
                  <a:gd name="T66" fmla="*/ 11 w 122"/>
                  <a:gd name="T67" fmla="*/ 89 h 87"/>
                  <a:gd name="T68" fmla="*/ 10 w 122"/>
                  <a:gd name="T69" fmla="*/ 91 h 87"/>
                  <a:gd name="T70" fmla="*/ 5 w 122"/>
                  <a:gd name="T71" fmla="*/ 91 h 87"/>
                  <a:gd name="T72" fmla="*/ 0 w 122"/>
                  <a:gd name="T73" fmla="*/ 84 h 87"/>
                  <a:gd name="T74" fmla="*/ 2 w 122"/>
                  <a:gd name="T75" fmla="*/ 94 h 87"/>
                  <a:gd name="T76" fmla="*/ 13 w 122"/>
                  <a:gd name="T77" fmla="*/ 101 h 87"/>
                  <a:gd name="T78" fmla="*/ 16 w 122"/>
                  <a:gd name="T79" fmla="*/ 105 h 87"/>
                  <a:gd name="T80" fmla="*/ 23 w 122"/>
                  <a:gd name="T81" fmla="*/ 101 h 87"/>
                  <a:gd name="T82" fmla="*/ 34 w 122"/>
                  <a:gd name="T83" fmla="*/ 104 h 87"/>
                  <a:gd name="T84" fmla="*/ 39 w 122"/>
                  <a:gd name="T85" fmla="*/ 100 h 87"/>
                  <a:gd name="T86" fmla="*/ 39 w 122"/>
                  <a:gd name="T87" fmla="*/ 95 h 87"/>
                  <a:gd name="T88" fmla="*/ 50 w 122"/>
                  <a:gd name="T89" fmla="*/ 94 h 87"/>
                  <a:gd name="T90" fmla="*/ 49 w 122"/>
                  <a:gd name="T91" fmla="*/ 97 h 87"/>
                  <a:gd name="T92" fmla="*/ 54 w 122"/>
                  <a:gd name="T93" fmla="*/ 95 h 87"/>
                  <a:gd name="T94" fmla="*/ 60 w 122"/>
                  <a:gd name="T95" fmla="*/ 100 h 87"/>
                  <a:gd name="T96" fmla="*/ 65 w 122"/>
                  <a:gd name="T97" fmla="*/ 95 h 87"/>
                  <a:gd name="T98" fmla="*/ 74 w 122"/>
                  <a:gd name="T99" fmla="*/ 95 h 87"/>
                  <a:gd name="T100" fmla="*/ 74 w 122"/>
                  <a:gd name="T101" fmla="*/ 89 h 87"/>
                  <a:gd name="T102" fmla="*/ 83 w 122"/>
                  <a:gd name="T103" fmla="*/ 75 h 87"/>
                  <a:gd name="T104" fmla="*/ 90 w 122"/>
                  <a:gd name="T105" fmla="*/ 64 h 87"/>
                  <a:gd name="T106" fmla="*/ 90 w 122"/>
                  <a:gd name="T107" fmla="*/ 51 h 87"/>
                  <a:gd name="T108" fmla="*/ 101 w 122"/>
                  <a:gd name="T109" fmla="*/ 47 h 87"/>
                  <a:gd name="T110" fmla="*/ 107 w 122"/>
                  <a:gd name="T111" fmla="*/ 51 h 87"/>
                  <a:gd name="T112" fmla="*/ 115 w 122"/>
                  <a:gd name="T113" fmla="*/ 48 h 87"/>
                  <a:gd name="T114" fmla="*/ 123 w 122"/>
                  <a:gd name="T115" fmla="*/ 52 h 87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22"/>
                  <a:gd name="T175" fmla="*/ 0 h 87"/>
                  <a:gd name="T176" fmla="*/ 122 w 122"/>
                  <a:gd name="T177" fmla="*/ 87 h 87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22" h="87">
                    <a:moveTo>
                      <a:pt x="103" y="43"/>
                    </a:moveTo>
                    <a:cubicBezTo>
                      <a:pt x="106" y="42"/>
                      <a:pt x="110" y="43"/>
                      <a:pt x="112" y="40"/>
                    </a:cubicBezTo>
                    <a:cubicBezTo>
                      <a:pt x="113" y="39"/>
                      <a:pt x="109" y="38"/>
                      <a:pt x="108" y="37"/>
                    </a:cubicBezTo>
                    <a:cubicBezTo>
                      <a:pt x="106" y="36"/>
                      <a:pt x="105" y="35"/>
                      <a:pt x="104" y="33"/>
                    </a:cubicBezTo>
                    <a:cubicBezTo>
                      <a:pt x="104" y="32"/>
                      <a:pt x="103" y="31"/>
                      <a:pt x="104" y="30"/>
                    </a:cubicBezTo>
                    <a:cubicBezTo>
                      <a:pt x="106" y="29"/>
                      <a:pt x="109" y="31"/>
                      <a:pt x="111" y="31"/>
                    </a:cubicBezTo>
                    <a:cubicBezTo>
                      <a:pt x="114" y="30"/>
                      <a:pt x="118" y="30"/>
                      <a:pt x="120" y="28"/>
                    </a:cubicBezTo>
                    <a:cubicBezTo>
                      <a:pt x="122" y="27"/>
                      <a:pt x="122" y="24"/>
                      <a:pt x="121" y="23"/>
                    </a:cubicBezTo>
                    <a:cubicBezTo>
                      <a:pt x="120" y="21"/>
                      <a:pt x="118" y="22"/>
                      <a:pt x="117" y="22"/>
                    </a:cubicBezTo>
                    <a:cubicBezTo>
                      <a:pt x="115" y="21"/>
                      <a:pt x="113" y="20"/>
                      <a:pt x="110" y="20"/>
                    </a:cubicBezTo>
                    <a:cubicBezTo>
                      <a:pt x="108" y="20"/>
                      <a:pt x="107" y="23"/>
                      <a:pt x="105" y="23"/>
                    </a:cubicBezTo>
                    <a:cubicBezTo>
                      <a:pt x="103" y="24"/>
                      <a:pt x="100" y="23"/>
                      <a:pt x="99" y="21"/>
                    </a:cubicBezTo>
                    <a:cubicBezTo>
                      <a:pt x="97" y="19"/>
                      <a:pt x="98" y="16"/>
                      <a:pt x="98" y="13"/>
                    </a:cubicBezTo>
                    <a:cubicBezTo>
                      <a:pt x="98" y="12"/>
                      <a:pt x="101" y="11"/>
                      <a:pt x="100" y="10"/>
                    </a:cubicBezTo>
                    <a:cubicBezTo>
                      <a:pt x="100" y="8"/>
                      <a:pt x="97" y="10"/>
                      <a:pt x="96" y="9"/>
                    </a:cubicBezTo>
                    <a:cubicBezTo>
                      <a:pt x="94" y="7"/>
                      <a:pt x="94" y="3"/>
                      <a:pt x="91" y="3"/>
                    </a:cubicBezTo>
                    <a:cubicBezTo>
                      <a:pt x="90" y="2"/>
                      <a:pt x="89" y="6"/>
                      <a:pt x="88" y="6"/>
                    </a:cubicBezTo>
                    <a:cubicBezTo>
                      <a:pt x="86" y="5"/>
                      <a:pt x="85" y="0"/>
                      <a:pt x="84" y="1"/>
                    </a:cubicBezTo>
                    <a:cubicBezTo>
                      <a:pt x="81" y="4"/>
                      <a:pt x="81" y="9"/>
                      <a:pt x="80" y="12"/>
                    </a:cubicBezTo>
                    <a:cubicBezTo>
                      <a:pt x="79" y="16"/>
                      <a:pt x="78" y="20"/>
                      <a:pt x="76" y="23"/>
                    </a:cubicBezTo>
                    <a:cubicBezTo>
                      <a:pt x="75" y="25"/>
                      <a:pt x="72" y="22"/>
                      <a:pt x="71" y="23"/>
                    </a:cubicBezTo>
                    <a:cubicBezTo>
                      <a:pt x="70" y="23"/>
                      <a:pt x="70" y="25"/>
                      <a:pt x="70" y="26"/>
                    </a:cubicBezTo>
                    <a:cubicBezTo>
                      <a:pt x="71" y="27"/>
                      <a:pt x="72" y="26"/>
                      <a:pt x="73" y="27"/>
                    </a:cubicBezTo>
                    <a:cubicBezTo>
                      <a:pt x="74" y="28"/>
                      <a:pt x="74" y="30"/>
                      <a:pt x="73" y="30"/>
                    </a:cubicBezTo>
                    <a:cubicBezTo>
                      <a:pt x="70" y="31"/>
                      <a:pt x="68" y="31"/>
                      <a:pt x="65" y="31"/>
                    </a:cubicBezTo>
                    <a:cubicBezTo>
                      <a:pt x="61" y="32"/>
                      <a:pt x="57" y="32"/>
                      <a:pt x="54" y="35"/>
                    </a:cubicBezTo>
                    <a:cubicBezTo>
                      <a:pt x="52" y="37"/>
                      <a:pt x="55" y="40"/>
                      <a:pt x="54" y="42"/>
                    </a:cubicBezTo>
                    <a:cubicBezTo>
                      <a:pt x="49" y="47"/>
                      <a:pt x="43" y="52"/>
                      <a:pt x="37" y="56"/>
                    </a:cubicBezTo>
                    <a:cubicBezTo>
                      <a:pt x="34" y="58"/>
                      <a:pt x="29" y="57"/>
                      <a:pt x="25" y="59"/>
                    </a:cubicBezTo>
                    <a:cubicBezTo>
                      <a:pt x="23" y="61"/>
                      <a:pt x="25" y="65"/>
                      <a:pt x="23" y="66"/>
                    </a:cubicBezTo>
                    <a:cubicBezTo>
                      <a:pt x="22" y="67"/>
                      <a:pt x="20" y="64"/>
                      <a:pt x="19" y="65"/>
                    </a:cubicBezTo>
                    <a:cubicBezTo>
                      <a:pt x="18" y="66"/>
                      <a:pt x="21" y="68"/>
                      <a:pt x="21" y="70"/>
                    </a:cubicBezTo>
                    <a:cubicBezTo>
                      <a:pt x="20" y="73"/>
                      <a:pt x="19" y="76"/>
                      <a:pt x="16" y="78"/>
                    </a:cubicBezTo>
                    <a:cubicBezTo>
                      <a:pt x="13" y="78"/>
                      <a:pt x="12" y="75"/>
                      <a:pt x="9" y="74"/>
                    </a:cubicBezTo>
                    <a:cubicBezTo>
                      <a:pt x="9" y="74"/>
                      <a:pt x="9" y="75"/>
                      <a:pt x="8" y="75"/>
                    </a:cubicBezTo>
                    <a:cubicBezTo>
                      <a:pt x="7" y="75"/>
                      <a:pt x="5" y="75"/>
                      <a:pt x="4" y="75"/>
                    </a:cubicBezTo>
                    <a:cubicBezTo>
                      <a:pt x="2" y="74"/>
                      <a:pt x="1" y="72"/>
                      <a:pt x="0" y="70"/>
                    </a:cubicBezTo>
                    <a:cubicBezTo>
                      <a:pt x="1" y="73"/>
                      <a:pt x="0" y="76"/>
                      <a:pt x="2" y="78"/>
                    </a:cubicBezTo>
                    <a:cubicBezTo>
                      <a:pt x="4" y="81"/>
                      <a:pt x="8" y="82"/>
                      <a:pt x="11" y="84"/>
                    </a:cubicBezTo>
                    <a:cubicBezTo>
                      <a:pt x="12" y="85"/>
                      <a:pt x="12" y="87"/>
                      <a:pt x="13" y="87"/>
                    </a:cubicBezTo>
                    <a:cubicBezTo>
                      <a:pt x="15" y="87"/>
                      <a:pt x="17" y="85"/>
                      <a:pt x="19" y="84"/>
                    </a:cubicBezTo>
                    <a:cubicBezTo>
                      <a:pt x="22" y="84"/>
                      <a:pt x="25" y="86"/>
                      <a:pt x="28" y="86"/>
                    </a:cubicBezTo>
                    <a:cubicBezTo>
                      <a:pt x="30" y="85"/>
                      <a:pt x="32" y="84"/>
                      <a:pt x="33" y="83"/>
                    </a:cubicBezTo>
                    <a:cubicBezTo>
                      <a:pt x="34" y="82"/>
                      <a:pt x="32" y="79"/>
                      <a:pt x="33" y="79"/>
                    </a:cubicBezTo>
                    <a:cubicBezTo>
                      <a:pt x="36" y="77"/>
                      <a:pt x="39" y="78"/>
                      <a:pt x="42" y="78"/>
                    </a:cubicBezTo>
                    <a:cubicBezTo>
                      <a:pt x="42" y="78"/>
                      <a:pt x="41" y="80"/>
                      <a:pt x="41" y="80"/>
                    </a:cubicBezTo>
                    <a:cubicBezTo>
                      <a:pt x="42" y="81"/>
                      <a:pt x="43" y="79"/>
                      <a:pt x="45" y="79"/>
                    </a:cubicBezTo>
                    <a:cubicBezTo>
                      <a:pt x="47" y="80"/>
                      <a:pt x="48" y="83"/>
                      <a:pt x="50" y="83"/>
                    </a:cubicBezTo>
                    <a:cubicBezTo>
                      <a:pt x="52" y="82"/>
                      <a:pt x="52" y="79"/>
                      <a:pt x="54" y="79"/>
                    </a:cubicBezTo>
                    <a:cubicBezTo>
                      <a:pt x="57" y="78"/>
                      <a:pt x="60" y="80"/>
                      <a:pt x="62" y="79"/>
                    </a:cubicBezTo>
                    <a:cubicBezTo>
                      <a:pt x="63" y="78"/>
                      <a:pt x="61" y="76"/>
                      <a:pt x="62" y="74"/>
                    </a:cubicBezTo>
                    <a:cubicBezTo>
                      <a:pt x="64" y="70"/>
                      <a:pt x="67" y="66"/>
                      <a:pt x="69" y="62"/>
                    </a:cubicBezTo>
                    <a:cubicBezTo>
                      <a:pt x="71" y="59"/>
                      <a:pt x="74" y="56"/>
                      <a:pt x="75" y="53"/>
                    </a:cubicBezTo>
                    <a:cubicBezTo>
                      <a:pt x="76" y="49"/>
                      <a:pt x="73" y="45"/>
                      <a:pt x="75" y="42"/>
                    </a:cubicBezTo>
                    <a:cubicBezTo>
                      <a:pt x="77" y="39"/>
                      <a:pt x="81" y="39"/>
                      <a:pt x="84" y="39"/>
                    </a:cubicBezTo>
                    <a:cubicBezTo>
                      <a:pt x="86" y="38"/>
                      <a:pt x="87" y="41"/>
                      <a:pt x="89" y="42"/>
                    </a:cubicBezTo>
                    <a:cubicBezTo>
                      <a:pt x="91" y="42"/>
                      <a:pt x="94" y="40"/>
                      <a:pt x="96" y="40"/>
                    </a:cubicBezTo>
                    <a:cubicBezTo>
                      <a:pt x="99" y="41"/>
                      <a:pt x="101" y="42"/>
                      <a:pt x="103" y="4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14" name="Freeform 2635"/>
              <p:cNvSpPr>
                <a:spLocks noChangeAspect="1"/>
              </p:cNvSpPr>
              <p:nvPr/>
            </p:nvSpPr>
            <p:spPr bwMode="auto">
              <a:xfrm>
                <a:off x="6140897" y="2833187"/>
                <a:ext cx="73820" cy="73099"/>
              </a:xfrm>
              <a:custGeom>
                <a:avLst/>
                <a:gdLst>
                  <a:gd name="T0" fmla="*/ 26 w 55"/>
                  <a:gd name="T1" fmla="*/ 8 h 73"/>
                  <a:gd name="T2" fmla="*/ 32 w 55"/>
                  <a:gd name="T3" fmla="*/ 14 h 73"/>
                  <a:gd name="T4" fmla="*/ 37 w 55"/>
                  <a:gd name="T5" fmla="*/ 20 h 73"/>
                  <a:gd name="T6" fmla="*/ 41 w 55"/>
                  <a:gd name="T7" fmla="*/ 20 h 73"/>
                  <a:gd name="T8" fmla="*/ 50 w 55"/>
                  <a:gd name="T9" fmla="*/ 35 h 73"/>
                  <a:gd name="T10" fmla="*/ 49 w 55"/>
                  <a:gd name="T11" fmla="*/ 48 h 73"/>
                  <a:gd name="T12" fmla="*/ 50 w 55"/>
                  <a:gd name="T13" fmla="*/ 57 h 73"/>
                  <a:gd name="T14" fmla="*/ 50 w 55"/>
                  <a:gd name="T15" fmla="*/ 66 h 73"/>
                  <a:gd name="T16" fmla="*/ 58 w 55"/>
                  <a:gd name="T17" fmla="*/ 71 h 73"/>
                  <a:gd name="T18" fmla="*/ 59 w 55"/>
                  <a:gd name="T19" fmla="*/ 76 h 73"/>
                  <a:gd name="T20" fmla="*/ 66 w 55"/>
                  <a:gd name="T21" fmla="*/ 87 h 73"/>
                  <a:gd name="T22" fmla="*/ 62 w 55"/>
                  <a:gd name="T23" fmla="*/ 87 h 73"/>
                  <a:gd name="T24" fmla="*/ 60 w 55"/>
                  <a:gd name="T25" fmla="*/ 83 h 73"/>
                  <a:gd name="T26" fmla="*/ 52 w 55"/>
                  <a:gd name="T27" fmla="*/ 86 h 73"/>
                  <a:gd name="T28" fmla="*/ 40 w 55"/>
                  <a:gd name="T29" fmla="*/ 81 h 73"/>
                  <a:gd name="T30" fmla="*/ 23 w 55"/>
                  <a:gd name="T31" fmla="*/ 72 h 73"/>
                  <a:gd name="T32" fmla="*/ 17 w 55"/>
                  <a:gd name="T33" fmla="*/ 68 h 73"/>
                  <a:gd name="T34" fmla="*/ 19 w 55"/>
                  <a:gd name="T35" fmla="*/ 59 h 73"/>
                  <a:gd name="T36" fmla="*/ 10 w 55"/>
                  <a:gd name="T37" fmla="*/ 49 h 73"/>
                  <a:gd name="T38" fmla="*/ 11 w 55"/>
                  <a:gd name="T39" fmla="*/ 46 h 73"/>
                  <a:gd name="T40" fmla="*/ 7 w 55"/>
                  <a:gd name="T41" fmla="*/ 42 h 73"/>
                  <a:gd name="T42" fmla="*/ 8 w 55"/>
                  <a:gd name="T43" fmla="*/ 31 h 73"/>
                  <a:gd name="T44" fmla="*/ 4 w 55"/>
                  <a:gd name="T45" fmla="*/ 28 h 73"/>
                  <a:gd name="T46" fmla="*/ 4 w 55"/>
                  <a:gd name="T47" fmla="*/ 13 h 73"/>
                  <a:gd name="T48" fmla="*/ 0 w 55"/>
                  <a:gd name="T49" fmla="*/ 5 h 73"/>
                  <a:gd name="T50" fmla="*/ 2 w 55"/>
                  <a:gd name="T51" fmla="*/ 0 h 73"/>
                  <a:gd name="T52" fmla="*/ 5 w 55"/>
                  <a:gd name="T53" fmla="*/ 5 h 73"/>
                  <a:gd name="T54" fmla="*/ 10 w 55"/>
                  <a:gd name="T55" fmla="*/ 5 h 73"/>
                  <a:gd name="T56" fmla="*/ 14 w 55"/>
                  <a:gd name="T57" fmla="*/ 8 h 73"/>
                  <a:gd name="T58" fmla="*/ 12 w 55"/>
                  <a:gd name="T59" fmla="*/ 17 h 73"/>
                  <a:gd name="T60" fmla="*/ 14 w 55"/>
                  <a:gd name="T61" fmla="*/ 20 h 73"/>
                  <a:gd name="T62" fmla="*/ 22 w 55"/>
                  <a:gd name="T63" fmla="*/ 16 h 73"/>
                  <a:gd name="T64" fmla="*/ 25 w 55"/>
                  <a:gd name="T65" fmla="*/ 14 h 73"/>
                  <a:gd name="T66" fmla="*/ 26 w 55"/>
                  <a:gd name="T67" fmla="*/ 8 h 73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55"/>
                  <a:gd name="T103" fmla="*/ 0 h 73"/>
                  <a:gd name="T104" fmla="*/ 55 w 55"/>
                  <a:gd name="T105" fmla="*/ 73 h 73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55" h="73">
                    <a:moveTo>
                      <a:pt x="22" y="7"/>
                    </a:moveTo>
                    <a:cubicBezTo>
                      <a:pt x="24" y="9"/>
                      <a:pt x="25" y="11"/>
                      <a:pt x="27" y="12"/>
                    </a:cubicBezTo>
                    <a:cubicBezTo>
                      <a:pt x="28" y="14"/>
                      <a:pt x="29" y="16"/>
                      <a:pt x="31" y="17"/>
                    </a:cubicBezTo>
                    <a:cubicBezTo>
                      <a:pt x="32" y="18"/>
                      <a:pt x="34" y="16"/>
                      <a:pt x="34" y="17"/>
                    </a:cubicBezTo>
                    <a:cubicBezTo>
                      <a:pt x="37" y="20"/>
                      <a:pt x="41" y="24"/>
                      <a:pt x="42" y="29"/>
                    </a:cubicBezTo>
                    <a:cubicBezTo>
                      <a:pt x="43" y="32"/>
                      <a:pt x="41" y="36"/>
                      <a:pt x="41" y="40"/>
                    </a:cubicBezTo>
                    <a:cubicBezTo>
                      <a:pt x="41" y="43"/>
                      <a:pt x="42" y="45"/>
                      <a:pt x="42" y="47"/>
                    </a:cubicBezTo>
                    <a:cubicBezTo>
                      <a:pt x="42" y="50"/>
                      <a:pt x="41" y="53"/>
                      <a:pt x="42" y="55"/>
                    </a:cubicBezTo>
                    <a:cubicBezTo>
                      <a:pt x="43" y="57"/>
                      <a:pt x="47" y="57"/>
                      <a:pt x="48" y="59"/>
                    </a:cubicBezTo>
                    <a:cubicBezTo>
                      <a:pt x="49" y="60"/>
                      <a:pt x="49" y="62"/>
                      <a:pt x="49" y="63"/>
                    </a:cubicBezTo>
                    <a:cubicBezTo>
                      <a:pt x="51" y="67"/>
                      <a:pt x="54" y="68"/>
                      <a:pt x="55" y="72"/>
                    </a:cubicBezTo>
                    <a:cubicBezTo>
                      <a:pt x="53" y="72"/>
                      <a:pt x="53" y="73"/>
                      <a:pt x="52" y="72"/>
                    </a:cubicBezTo>
                    <a:cubicBezTo>
                      <a:pt x="51" y="71"/>
                      <a:pt x="51" y="68"/>
                      <a:pt x="50" y="69"/>
                    </a:cubicBezTo>
                    <a:cubicBezTo>
                      <a:pt x="48" y="70"/>
                      <a:pt x="46" y="72"/>
                      <a:pt x="43" y="71"/>
                    </a:cubicBezTo>
                    <a:cubicBezTo>
                      <a:pt x="38" y="71"/>
                      <a:pt x="38" y="70"/>
                      <a:pt x="33" y="67"/>
                    </a:cubicBezTo>
                    <a:cubicBezTo>
                      <a:pt x="28" y="65"/>
                      <a:pt x="23" y="62"/>
                      <a:pt x="19" y="60"/>
                    </a:cubicBezTo>
                    <a:cubicBezTo>
                      <a:pt x="17" y="59"/>
                      <a:pt x="14" y="58"/>
                      <a:pt x="14" y="56"/>
                    </a:cubicBezTo>
                    <a:cubicBezTo>
                      <a:pt x="13" y="53"/>
                      <a:pt x="17" y="51"/>
                      <a:pt x="16" y="49"/>
                    </a:cubicBezTo>
                    <a:cubicBezTo>
                      <a:pt x="14" y="45"/>
                      <a:pt x="10" y="44"/>
                      <a:pt x="8" y="41"/>
                    </a:cubicBezTo>
                    <a:cubicBezTo>
                      <a:pt x="7" y="40"/>
                      <a:pt x="9" y="39"/>
                      <a:pt x="9" y="38"/>
                    </a:cubicBezTo>
                    <a:cubicBezTo>
                      <a:pt x="9" y="37"/>
                      <a:pt x="6" y="36"/>
                      <a:pt x="6" y="35"/>
                    </a:cubicBezTo>
                    <a:cubicBezTo>
                      <a:pt x="5" y="32"/>
                      <a:pt x="7" y="29"/>
                      <a:pt x="7" y="26"/>
                    </a:cubicBezTo>
                    <a:cubicBezTo>
                      <a:pt x="6" y="25"/>
                      <a:pt x="4" y="25"/>
                      <a:pt x="3" y="23"/>
                    </a:cubicBezTo>
                    <a:cubicBezTo>
                      <a:pt x="2" y="19"/>
                      <a:pt x="3" y="15"/>
                      <a:pt x="3" y="11"/>
                    </a:cubicBezTo>
                    <a:cubicBezTo>
                      <a:pt x="2" y="9"/>
                      <a:pt x="1" y="7"/>
                      <a:pt x="0" y="4"/>
                    </a:cubicBezTo>
                    <a:cubicBezTo>
                      <a:pt x="1" y="3"/>
                      <a:pt x="1" y="0"/>
                      <a:pt x="2" y="0"/>
                    </a:cubicBezTo>
                    <a:cubicBezTo>
                      <a:pt x="4" y="0"/>
                      <a:pt x="3" y="3"/>
                      <a:pt x="4" y="4"/>
                    </a:cubicBezTo>
                    <a:cubicBezTo>
                      <a:pt x="5" y="5"/>
                      <a:pt x="7" y="4"/>
                      <a:pt x="8" y="4"/>
                    </a:cubicBezTo>
                    <a:cubicBezTo>
                      <a:pt x="9" y="5"/>
                      <a:pt x="11" y="6"/>
                      <a:pt x="12" y="7"/>
                    </a:cubicBezTo>
                    <a:cubicBezTo>
                      <a:pt x="12" y="9"/>
                      <a:pt x="10" y="11"/>
                      <a:pt x="10" y="14"/>
                    </a:cubicBezTo>
                    <a:cubicBezTo>
                      <a:pt x="10" y="15"/>
                      <a:pt x="10" y="17"/>
                      <a:pt x="12" y="17"/>
                    </a:cubicBezTo>
                    <a:cubicBezTo>
                      <a:pt x="14" y="16"/>
                      <a:pt x="15" y="14"/>
                      <a:pt x="18" y="13"/>
                    </a:cubicBezTo>
                    <a:cubicBezTo>
                      <a:pt x="19" y="12"/>
                      <a:pt x="21" y="13"/>
                      <a:pt x="21" y="12"/>
                    </a:cubicBezTo>
                    <a:cubicBezTo>
                      <a:pt x="22" y="10"/>
                      <a:pt x="22" y="9"/>
                      <a:pt x="22" y="7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15" name="Freeform 2636"/>
              <p:cNvSpPr>
                <a:spLocks noChangeAspect="1"/>
              </p:cNvSpPr>
              <p:nvPr/>
            </p:nvSpPr>
            <p:spPr bwMode="auto">
              <a:xfrm>
                <a:off x="6081616" y="2635488"/>
                <a:ext cx="144286" cy="215143"/>
              </a:xfrm>
              <a:custGeom>
                <a:avLst/>
                <a:gdLst>
                  <a:gd name="T0" fmla="*/ 68 w 107"/>
                  <a:gd name="T1" fmla="*/ 236 h 216"/>
                  <a:gd name="T2" fmla="*/ 51 w 107"/>
                  <a:gd name="T3" fmla="*/ 219 h 216"/>
                  <a:gd name="T4" fmla="*/ 43 w 107"/>
                  <a:gd name="T5" fmla="*/ 194 h 216"/>
                  <a:gd name="T6" fmla="*/ 35 w 107"/>
                  <a:gd name="T7" fmla="*/ 180 h 216"/>
                  <a:gd name="T8" fmla="*/ 46 w 107"/>
                  <a:gd name="T9" fmla="*/ 144 h 216"/>
                  <a:gd name="T10" fmla="*/ 47 w 107"/>
                  <a:gd name="T11" fmla="*/ 118 h 216"/>
                  <a:gd name="T12" fmla="*/ 60 w 107"/>
                  <a:gd name="T13" fmla="*/ 118 h 216"/>
                  <a:gd name="T14" fmla="*/ 58 w 107"/>
                  <a:gd name="T15" fmla="*/ 135 h 216"/>
                  <a:gd name="T16" fmla="*/ 68 w 107"/>
                  <a:gd name="T17" fmla="*/ 137 h 216"/>
                  <a:gd name="T18" fmla="*/ 78 w 107"/>
                  <a:gd name="T19" fmla="*/ 144 h 216"/>
                  <a:gd name="T20" fmla="*/ 88 w 107"/>
                  <a:gd name="T21" fmla="*/ 145 h 216"/>
                  <a:gd name="T22" fmla="*/ 83 w 107"/>
                  <a:gd name="T23" fmla="*/ 130 h 216"/>
                  <a:gd name="T24" fmla="*/ 84 w 107"/>
                  <a:gd name="T25" fmla="*/ 118 h 216"/>
                  <a:gd name="T26" fmla="*/ 101 w 107"/>
                  <a:gd name="T27" fmla="*/ 106 h 216"/>
                  <a:gd name="T28" fmla="*/ 122 w 107"/>
                  <a:gd name="T29" fmla="*/ 108 h 216"/>
                  <a:gd name="T30" fmla="*/ 125 w 107"/>
                  <a:gd name="T31" fmla="*/ 89 h 216"/>
                  <a:gd name="T32" fmla="*/ 125 w 107"/>
                  <a:gd name="T33" fmla="*/ 77 h 216"/>
                  <a:gd name="T34" fmla="*/ 112 w 107"/>
                  <a:gd name="T35" fmla="*/ 59 h 216"/>
                  <a:gd name="T36" fmla="*/ 102 w 107"/>
                  <a:gd name="T37" fmla="*/ 43 h 216"/>
                  <a:gd name="T38" fmla="*/ 94 w 107"/>
                  <a:gd name="T39" fmla="*/ 35 h 216"/>
                  <a:gd name="T40" fmla="*/ 81 w 107"/>
                  <a:gd name="T41" fmla="*/ 43 h 216"/>
                  <a:gd name="T42" fmla="*/ 76 w 107"/>
                  <a:gd name="T43" fmla="*/ 43 h 216"/>
                  <a:gd name="T44" fmla="*/ 63 w 107"/>
                  <a:gd name="T45" fmla="*/ 44 h 216"/>
                  <a:gd name="T46" fmla="*/ 54 w 107"/>
                  <a:gd name="T47" fmla="*/ 36 h 216"/>
                  <a:gd name="T48" fmla="*/ 55 w 107"/>
                  <a:gd name="T49" fmla="*/ 22 h 216"/>
                  <a:gd name="T50" fmla="*/ 42 w 107"/>
                  <a:gd name="T51" fmla="*/ 12 h 216"/>
                  <a:gd name="T52" fmla="*/ 41 w 107"/>
                  <a:gd name="T53" fmla="*/ 0 h 216"/>
                  <a:gd name="T54" fmla="*/ 29 w 107"/>
                  <a:gd name="T55" fmla="*/ 1 h 216"/>
                  <a:gd name="T56" fmla="*/ 22 w 107"/>
                  <a:gd name="T57" fmla="*/ 11 h 216"/>
                  <a:gd name="T58" fmla="*/ 5 w 107"/>
                  <a:gd name="T59" fmla="*/ 30 h 216"/>
                  <a:gd name="T60" fmla="*/ 5 w 107"/>
                  <a:gd name="T61" fmla="*/ 35 h 216"/>
                  <a:gd name="T62" fmla="*/ 14 w 107"/>
                  <a:gd name="T63" fmla="*/ 60 h 216"/>
                  <a:gd name="T64" fmla="*/ 22 w 107"/>
                  <a:gd name="T65" fmla="*/ 71 h 216"/>
                  <a:gd name="T66" fmla="*/ 19 w 107"/>
                  <a:gd name="T67" fmla="*/ 89 h 216"/>
                  <a:gd name="T68" fmla="*/ 30 w 107"/>
                  <a:gd name="T69" fmla="*/ 112 h 216"/>
                  <a:gd name="T70" fmla="*/ 30 w 107"/>
                  <a:gd name="T71" fmla="*/ 126 h 216"/>
                  <a:gd name="T72" fmla="*/ 35 w 107"/>
                  <a:gd name="T73" fmla="*/ 159 h 216"/>
                  <a:gd name="T74" fmla="*/ 24 w 107"/>
                  <a:gd name="T75" fmla="*/ 181 h 216"/>
                  <a:gd name="T76" fmla="*/ 19 w 107"/>
                  <a:gd name="T77" fmla="*/ 207 h 216"/>
                  <a:gd name="T78" fmla="*/ 25 w 107"/>
                  <a:gd name="T79" fmla="*/ 209 h 216"/>
                  <a:gd name="T80" fmla="*/ 35 w 107"/>
                  <a:gd name="T81" fmla="*/ 225 h 216"/>
                  <a:gd name="T82" fmla="*/ 46 w 107"/>
                  <a:gd name="T83" fmla="*/ 230 h 216"/>
                  <a:gd name="T84" fmla="*/ 49 w 107"/>
                  <a:gd name="T85" fmla="*/ 241 h 216"/>
                  <a:gd name="T86" fmla="*/ 58 w 107"/>
                  <a:gd name="T87" fmla="*/ 243 h 216"/>
                  <a:gd name="T88" fmla="*/ 65 w 107"/>
                  <a:gd name="T89" fmla="*/ 255 h 216"/>
                  <a:gd name="T90" fmla="*/ 78 w 107"/>
                  <a:gd name="T91" fmla="*/ 253 h 21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07"/>
                  <a:gd name="T139" fmla="*/ 0 h 216"/>
                  <a:gd name="T140" fmla="*/ 107 w 107"/>
                  <a:gd name="T141" fmla="*/ 216 h 21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07" h="216">
                    <a:moveTo>
                      <a:pt x="66" y="206"/>
                    </a:moveTo>
                    <a:cubicBezTo>
                      <a:pt x="65" y="205"/>
                      <a:pt x="63" y="202"/>
                      <a:pt x="62" y="200"/>
                    </a:cubicBezTo>
                    <a:cubicBezTo>
                      <a:pt x="60" y="199"/>
                      <a:pt x="58" y="198"/>
                      <a:pt x="56" y="197"/>
                    </a:cubicBezTo>
                    <a:cubicBezTo>
                      <a:pt x="54" y="196"/>
                      <a:pt x="51" y="197"/>
                      <a:pt x="49" y="196"/>
                    </a:cubicBezTo>
                    <a:cubicBezTo>
                      <a:pt x="46" y="194"/>
                      <a:pt x="45" y="191"/>
                      <a:pt x="43" y="188"/>
                    </a:cubicBezTo>
                    <a:cubicBezTo>
                      <a:pt x="42" y="187"/>
                      <a:pt x="42" y="185"/>
                      <a:pt x="42" y="183"/>
                    </a:cubicBezTo>
                    <a:cubicBezTo>
                      <a:pt x="41" y="182"/>
                      <a:pt x="41" y="180"/>
                      <a:pt x="41" y="178"/>
                    </a:cubicBezTo>
                    <a:cubicBezTo>
                      <a:pt x="40" y="175"/>
                      <a:pt x="41" y="172"/>
                      <a:pt x="41" y="169"/>
                    </a:cubicBezTo>
                    <a:cubicBezTo>
                      <a:pt x="40" y="166"/>
                      <a:pt x="38" y="164"/>
                      <a:pt x="36" y="162"/>
                    </a:cubicBezTo>
                    <a:cubicBezTo>
                      <a:pt x="34" y="162"/>
                      <a:pt x="32" y="165"/>
                      <a:pt x="30" y="164"/>
                    </a:cubicBezTo>
                    <a:cubicBezTo>
                      <a:pt x="28" y="162"/>
                      <a:pt x="28" y="159"/>
                      <a:pt x="28" y="157"/>
                    </a:cubicBezTo>
                    <a:cubicBezTo>
                      <a:pt x="28" y="155"/>
                      <a:pt x="28" y="152"/>
                      <a:pt x="29" y="150"/>
                    </a:cubicBezTo>
                    <a:cubicBezTo>
                      <a:pt x="29" y="147"/>
                      <a:pt x="29" y="145"/>
                      <a:pt x="30" y="142"/>
                    </a:cubicBezTo>
                    <a:cubicBezTo>
                      <a:pt x="31" y="138"/>
                      <a:pt x="33" y="134"/>
                      <a:pt x="34" y="130"/>
                    </a:cubicBezTo>
                    <a:cubicBezTo>
                      <a:pt x="36" y="126"/>
                      <a:pt x="38" y="124"/>
                      <a:pt x="38" y="120"/>
                    </a:cubicBezTo>
                    <a:cubicBezTo>
                      <a:pt x="39" y="117"/>
                      <a:pt x="37" y="114"/>
                      <a:pt x="37" y="111"/>
                    </a:cubicBezTo>
                    <a:cubicBezTo>
                      <a:pt x="37" y="110"/>
                      <a:pt x="39" y="109"/>
                      <a:pt x="39" y="108"/>
                    </a:cubicBezTo>
                    <a:cubicBezTo>
                      <a:pt x="40" y="104"/>
                      <a:pt x="38" y="101"/>
                      <a:pt x="39" y="98"/>
                    </a:cubicBezTo>
                    <a:cubicBezTo>
                      <a:pt x="39" y="97"/>
                      <a:pt x="41" y="97"/>
                      <a:pt x="42" y="97"/>
                    </a:cubicBezTo>
                    <a:cubicBezTo>
                      <a:pt x="43" y="97"/>
                      <a:pt x="44" y="98"/>
                      <a:pt x="45" y="98"/>
                    </a:cubicBezTo>
                    <a:cubicBezTo>
                      <a:pt x="47" y="99"/>
                      <a:pt x="49" y="97"/>
                      <a:pt x="50" y="98"/>
                    </a:cubicBezTo>
                    <a:cubicBezTo>
                      <a:pt x="50" y="100"/>
                      <a:pt x="48" y="101"/>
                      <a:pt x="47" y="103"/>
                    </a:cubicBezTo>
                    <a:cubicBezTo>
                      <a:pt x="47" y="105"/>
                      <a:pt x="48" y="106"/>
                      <a:pt x="49" y="107"/>
                    </a:cubicBezTo>
                    <a:cubicBezTo>
                      <a:pt x="49" y="109"/>
                      <a:pt x="48" y="111"/>
                      <a:pt x="48" y="113"/>
                    </a:cubicBezTo>
                    <a:cubicBezTo>
                      <a:pt x="48" y="114"/>
                      <a:pt x="49" y="114"/>
                      <a:pt x="50" y="114"/>
                    </a:cubicBezTo>
                    <a:cubicBezTo>
                      <a:pt x="50" y="114"/>
                      <a:pt x="51" y="113"/>
                      <a:pt x="51" y="113"/>
                    </a:cubicBezTo>
                    <a:cubicBezTo>
                      <a:pt x="53" y="113"/>
                      <a:pt x="54" y="114"/>
                      <a:pt x="56" y="114"/>
                    </a:cubicBezTo>
                    <a:cubicBezTo>
                      <a:pt x="58" y="114"/>
                      <a:pt x="59" y="112"/>
                      <a:pt x="61" y="113"/>
                    </a:cubicBezTo>
                    <a:cubicBezTo>
                      <a:pt x="63" y="114"/>
                      <a:pt x="65" y="116"/>
                      <a:pt x="66" y="118"/>
                    </a:cubicBezTo>
                    <a:cubicBezTo>
                      <a:pt x="66" y="118"/>
                      <a:pt x="65" y="119"/>
                      <a:pt x="65" y="120"/>
                    </a:cubicBezTo>
                    <a:cubicBezTo>
                      <a:pt x="65" y="121"/>
                      <a:pt x="65" y="123"/>
                      <a:pt x="67" y="123"/>
                    </a:cubicBezTo>
                    <a:cubicBezTo>
                      <a:pt x="67" y="124"/>
                      <a:pt x="68" y="122"/>
                      <a:pt x="69" y="122"/>
                    </a:cubicBezTo>
                    <a:cubicBezTo>
                      <a:pt x="70" y="121"/>
                      <a:pt x="72" y="121"/>
                      <a:pt x="73" y="121"/>
                    </a:cubicBezTo>
                    <a:cubicBezTo>
                      <a:pt x="73" y="119"/>
                      <a:pt x="73" y="117"/>
                      <a:pt x="72" y="115"/>
                    </a:cubicBezTo>
                    <a:cubicBezTo>
                      <a:pt x="71" y="114"/>
                      <a:pt x="69" y="114"/>
                      <a:pt x="69" y="112"/>
                    </a:cubicBezTo>
                    <a:cubicBezTo>
                      <a:pt x="68" y="111"/>
                      <a:pt x="69" y="110"/>
                      <a:pt x="69" y="108"/>
                    </a:cubicBezTo>
                    <a:cubicBezTo>
                      <a:pt x="69" y="107"/>
                      <a:pt x="68" y="106"/>
                      <a:pt x="67" y="104"/>
                    </a:cubicBezTo>
                    <a:cubicBezTo>
                      <a:pt x="67" y="102"/>
                      <a:pt x="67" y="100"/>
                      <a:pt x="68" y="98"/>
                    </a:cubicBezTo>
                    <a:cubicBezTo>
                      <a:pt x="68" y="97"/>
                      <a:pt x="70" y="98"/>
                      <a:pt x="70" y="98"/>
                    </a:cubicBezTo>
                    <a:cubicBezTo>
                      <a:pt x="72" y="96"/>
                      <a:pt x="72" y="93"/>
                      <a:pt x="74" y="92"/>
                    </a:cubicBezTo>
                    <a:cubicBezTo>
                      <a:pt x="76" y="90"/>
                      <a:pt x="78" y="88"/>
                      <a:pt x="80" y="87"/>
                    </a:cubicBezTo>
                    <a:cubicBezTo>
                      <a:pt x="81" y="87"/>
                      <a:pt x="83" y="87"/>
                      <a:pt x="84" y="88"/>
                    </a:cubicBezTo>
                    <a:cubicBezTo>
                      <a:pt x="85" y="88"/>
                      <a:pt x="86" y="88"/>
                      <a:pt x="87" y="88"/>
                    </a:cubicBezTo>
                    <a:cubicBezTo>
                      <a:pt x="90" y="88"/>
                      <a:pt x="93" y="87"/>
                      <a:pt x="96" y="88"/>
                    </a:cubicBezTo>
                    <a:cubicBezTo>
                      <a:pt x="98" y="88"/>
                      <a:pt x="100" y="89"/>
                      <a:pt x="101" y="90"/>
                    </a:cubicBezTo>
                    <a:cubicBezTo>
                      <a:pt x="102" y="90"/>
                      <a:pt x="102" y="89"/>
                      <a:pt x="103" y="88"/>
                    </a:cubicBezTo>
                    <a:cubicBezTo>
                      <a:pt x="104" y="88"/>
                      <a:pt x="105" y="87"/>
                      <a:pt x="105" y="86"/>
                    </a:cubicBezTo>
                    <a:cubicBezTo>
                      <a:pt x="106" y="82"/>
                      <a:pt x="104" y="78"/>
                      <a:pt x="104" y="74"/>
                    </a:cubicBezTo>
                    <a:cubicBezTo>
                      <a:pt x="105" y="72"/>
                      <a:pt x="107" y="71"/>
                      <a:pt x="107" y="70"/>
                    </a:cubicBezTo>
                    <a:cubicBezTo>
                      <a:pt x="107" y="68"/>
                      <a:pt x="104" y="68"/>
                      <a:pt x="104" y="66"/>
                    </a:cubicBezTo>
                    <a:cubicBezTo>
                      <a:pt x="103" y="66"/>
                      <a:pt x="105" y="64"/>
                      <a:pt x="104" y="64"/>
                    </a:cubicBezTo>
                    <a:cubicBezTo>
                      <a:pt x="103" y="63"/>
                      <a:pt x="101" y="64"/>
                      <a:pt x="100" y="63"/>
                    </a:cubicBezTo>
                    <a:cubicBezTo>
                      <a:pt x="98" y="61"/>
                      <a:pt x="96" y="60"/>
                      <a:pt x="95" y="58"/>
                    </a:cubicBezTo>
                    <a:cubicBezTo>
                      <a:pt x="94" y="55"/>
                      <a:pt x="93" y="52"/>
                      <a:pt x="93" y="49"/>
                    </a:cubicBezTo>
                    <a:cubicBezTo>
                      <a:pt x="92" y="47"/>
                      <a:pt x="95" y="45"/>
                      <a:pt x="94" y="44"/>
                    </a:cubicBezTo>
                    <a:cubicBezTo>
                      <a:pt x="93" y="42"/>
                      <a:pt x="91" y="41"/>
                      <a:pt x="89" y="40"/>
                    </a:cubicBezTo>
                    <a:cubicBezTo>
                      <a:pt x="88" y="38"/>
                      <a:pt x="86" y="38"/>
                      <a:pt x="85" y="36"/>
                    </a:cubicBezTo>
                    <a:cubicBezTo>
                      <a:pt x="84" y="34"/>
                      <a:pt x="85" y="32"/>
                      <a:pt x="83" y="30"/>
                    </a:cubicBezTo>
                    <a:cubicBezTo>
                      <a:pt x="83" y="29"/>
                      <a:pt x="82" y="31"/>
                      <a:pt x="81" y="31"/>
                    </a:cubicBezTo>
                    <a:cubicBezTo>
                      <a:pt x="80" y="31"/>
                      <a:pt x="79" y="29"/>
                      <a:pt x="78" y="29"/>
                    </a:cubicBezTo>
                    <a:cubicBezTo>
                      <a:pt x="77" y="28"/>
                      <a:pt x="75" y="28"/>
                      <a:pt x="73" y="29"/>
                    </a:cubicBezTo>
                    <a:cubicBezTo>
                      <a:pt x="72" y="30"/>
                      <a:pt x="72" y="33"/>
                      <a:pt x="71" y="35"/>
                    </a:cubicBezTo>
                    <a:cubicBezTo>
                      <a:pt x="70" y="36"/>
                      <a:pt x="68" y="35"/>
                      <a:pt x="67" y="36"/>
                    </a:cubicBezTo>
                    <a:cubicBezTo>
                      <a:pt x="66" y="37"/>
                      <a:pt x="67" y="39"/>
                      <a:pt x="65" y="40"/>
                    </a:cubicBezTo>
                    <a:cubicBezTo>
                      <a:pt x="64" y="41"/>
                      <a:pt x="62" y="41"/>
                      <a:pt x="62" y="40"/>
                    </a:cubicBezTo>
                    <a:cubicBezTo>
                      <a:pt x="61" y="39"/>
                      <a:pt x="63" y="37"/>
                      <a:pt x="63" y="36"/>
                    </a:cubicBezTo>
                    <a:cubicBezTo>
                      <a:pt x="62" y="34"/>
                      <a:pt x="59" y="33"/>
                      <a:pt x="57" y="32"/>
                    </a:cubicBezTo>
                    <a:cubicBezTo>
                      <a:pt x="55" y="32"/>
                      <a:pt x="54" y="33"/>
                      <a:pt x="52" y="34"/>
                    </a:cubicBezTo>
                    <a:cubicBezTo>
                      <a:pt x="52" y="35"/>
                      <a:pt x="53" y="36"/>
                      <a:pt x="52" y="37"/>
                    </a:cubicBezTo>
                    <a:cubicBezTo>
                      <a:pt x="51" y="39"/>
                      <a:pt x="49" y="42"/>
                      <a:pt x="46" y="43"/>
                    </a:cubicBezTo>
                    <a:cubicBezTo>
                      <a:pt x="45" y="43"/>
                      <a:pt x="44" y="42"/>
                      <a:pt x="44" y="41"/>
                    </a:cubicBezTo>
                    <a:cubicBezTo>
                      <a:pt x="43" y="37"/>
                      <a:pt x="45" y="33"/>
                      <a:pt x="45" y="30"/>
                    </a:cubicBezTo>
                    <a:cubicBezTo>
                      <a:pt x="45" y="28"/>
                      <a:pt x="44" y="27"/>
                      <a:pt x="44" y="25"/>
                    </a:cubicBezTo>
                    <a:cubicBezTo>
                      <a:pt x="44" y="24"/>
                      <a:pt x="46" y="23"/>
                      <a:pt x="46" y="22"/>
                    </a:cubicBezTo>
                    <a:cubicBezTo>
                      <a:pt x="47" y="20"/>
                      <a:pt x="46" y="19"/>
                      <a:pt x="46" y="18"/>
                    </a:cubicBezTo>
                    <a:cubicBezTo>
                      <a:pt x="46" y="16"/>
                      <a:pt x="48" y="14"/>
                      <a:pt x="47" y="13"/>
                    </a:cubicBezTo>
                    <a:cubicBezTo>
                      <a:pt x="46" y="11"/>
                      <a:pt x="43" y="12"/>
                      <a:pt x="42" y="11"/>
                    </a:cubicBezTo>
                    <a:cubicBezTo>
                      <a:pt x="39" y="11"/>
                      <a:pt x="37" y="11"/>
                      <a:pt x="35" y="10"/>
                    </a:cubicBezTo>
                    <a:cubicBezTo>
                      <a:pt x="34" y="9"/>
                      <a:pt x="37" y="8"/>
                      <a:pt x="37" y="7"/>
                    </a:cubicBezTo>
                    <a:cubicBezTo>
                      <a:pt x="37" y="6"/>
                      <a:pt x="38" y="4"/>
                      <a:pt x="37" y="3"/>
                    </a:cubicBezTo>
                    <a:cubicBezTo>
                      <a:pt x="37" y="2"/>
                      <a:pt x="35" y="0"/>
                      <a:pt x="34" y="0"/>
                    </a:cubicBezTo>
                    <a:cubicBezTo>
                      <a:pt x="33" y="0"/>
                      <a:pt x="32" y="0"/>
                      <a:pt x="31" y="0"/>
                    </a:cubicBezTo>
                    <a:cubicBezTo>
                      <a:pt x="30" y="0"/>
                      <a:pt x="29" y="0"/>
                      <a:pt x="28" y="0"/>
                    </a:cubicBezTo>
                    <a:cubicBezTo>
                      <a:pt x="26" y="0"/>
                      <a:pt x="25" y="0"/>
                      <a:pt x="24" y="1"/>
                    </a:cubicBezTo>
                    <a:cubicBezTo>
                      <a:pt x="23" y="2"/>
                      <a:pt x="25" y="5"/>
                      <a:pt x="24" y="5"/>
                    </a:cubicBezTo>
                    <a:cubicBezTo>
                      <a:pt x="22" y="6"/>
                      <a:pt x="20" y="4"/>
                      <a:pt x="18" y="5"/>
                    </a:cubicBezTo>
                    <a:cubicBezTo>
                      <a:pt x="17" y="6"/>
                      <a:pt x="19" y="8"/>
                      <a:pt x="18" y="9"/>
                    </a:cubicBezTo>
                    <a:cubicBezTo>
                      <a:pt x="17" y="11"/>
                      <a:pt x="14" y="12"/>
                      <a:pt x="12" y="12"/>
                    </a:cubicBezTo>
                    <a:cubicBezTo>
                      <a:pt x="10" y="12"/>
                      <a:pt x="7" y="8"/>
                      <a:pt x="6" y="10"/>
                    </a:cubicBezTo>
                    <a:cubicBezTo>
                      <a:pt x="4" y="14"/>
                      <a:pt x="6" y="20"/>
                      <a:pt x="4" y="25"/>
                    </a:cubicBezTo>
                    <a:cubicBezTo>
                      <a:pt x="4" y="26"/>
                      <a:pt x="1" y="24"/>
                      <a:pt x="1" y="25"/>
                    </a:cubicBezTo>
                    <a:cubicBezTo>
                      <a:pt x="0" y="26"/>
                      <a:pt x="0" y="28"/>
                      <a:pt x="1" y="29"/>
                    </a:cubicBezTo>
                    <a:cubicBezTo>
                      <a:pt x="2" y="30"/>
                      <a:pt x="3" y="28"/>
                      <a:pt x="4" y="29"/>
                    </a:cubicBezTo>
                    <a:cubicBezTo>
                      <a:pt x="6" y="31"/>
                      <a:pt x="7" y="33"/>
                      <a:pt x="7" y="36"/>
                    </a:cubicBezTo>
                    <a:cubicBezTo>
                      <a:pt x="7" y="37"/>
                      <a:pt x="5" y="36"/>
                      <a:pt x="5" y="36"/>
                    </a:cubicBezTo>
                    <a:cubicBezTo>
                      <a:pt x="8" y="40"/>
                      <a:pt x="10" y="45"/>
                      <a:pt x="12" y="50"/>
                    </a:cubicBezTo>
                    <a:cubicBezTo>
                      <a:pt x="13" y="51"/>
                      <a:pt x="15" y="51"/>
                      <a:pt x="15" y="52"/>
                    </a:cubicBezTo>
                    <a:cubicBezTo>
                      <a:pt x="16" y="54"/>
                      <a:pt x="14" y="57"/>
                      <a:pt x="15" y="59"/>
                    </a:cubicBezTo>
                    <a:cubicBezTo>
                      <a:pt x="16" y="60"/>
                      <a:pt x="18" y="58"/>
                      <a:pt x="18" y="59"/>
                    </a:cubicBezTo>
                    <a:cubicBezTo>
                      <a:pt x="19" y="59"/>
                      <a:pt x="20" y="61"/>
                      <a:pt x="19" y="62"/>
                    </a:cubicBezTo>
                    <a:cubicBezTo>
                      <a:pt x="19" y="64"/>
                      <a:pt x="16" y="63"/>
                      <a:pt x="16" y="64"/>
                    </a:cubicBezTo>
                    <a:cubicBezTo>
                      <a:pt x="15" y="67"/>
                      <a:pt x="16" y="71"/>
                      <a:pt x="16" y="74"/>
                    </a:cubicBezTo>
                    <a:cubicBezTo>
                      <a:pt x="15" y="76"/>
                      <a:pt x="11" y="75"/>
                      <a:pt x="11" y="76"/>
                    </a:cubicBezTo>
                    <a:cubicBezTo>
                      <a:pt x="13" y="80"/>
                      <a:pt x="13" y="83"/>
                      <a:pt x="15" y="86"/>
                    </a:cubicBezTo>
                    <a:cubicBezTo>
                      <a:pt x="18" y="89"/>
                      <a:pt x="22" y="90"/>
                      <a:pt x="25" y="93"/>
                    </a:cubicBezTo>
                    <a:cubicBezTo>
                      <a:pt x="26" y="95"/>
                      <a:pt x="27" y="97"/>
                      <a:pt x="28" y="99"/>
                    </a:cubicBezTo>
                    <a:cubicBezTo>
                      <a:pt x="28" y="101"/>
                      <a:pt x="27" y="102"/>
                      <a:pt x="27" y="104"/>
                    </a:cubicBezTo>
                    <a:cubicBezTo>
                      <a:pt x="27" y="105"/>
                      <a:pt x="25" y="104"/>
                      <a:pt x="25" y="105"/>
                    </a:cubicBezTo>
                    <a:cubicBezTo>
                      <a:pt x="27" y="110"/>
                      <a:pt x="29" y="115"/>
                      <a:pt x="31" y="119"/>
                    </a:cubicBezTo>
                    <a:cubicBezTo>
                      <a:pt x="32" y="120"/>
                      <a:pt x="34" y="120"/>
                      <a:pt x="33" y="121"/>
                    </a:cubicBezTo>
                    <a:cubicBezTo>
                      <a:pt x="33" y="125"/>
                      <a:pt x="31" y="129"/>
                      <a:pt x="29" y="133"/>
                    </a:cubicBezTo>
                    <a:cubicBezTo>
                      <a:pt x="27" y="135"/>
                      <a:pt x="24" y="137"/>
                      <a:pt x="23" y="140"/>
                    </a:cubicBezTo>
                    <a:cubicBezTo>
                      <a:pt x="23" y="142"/>
                      <a:pt x="24" y="144"/>
                      <a:pt x="23" y="147"/>
                    </a:cubicBezTo>
                    <a:cubicBezTo>
                      <a:pt x="22" y="148"/>
                      <a:pt x="22" y="152"/>
                      <a:pt x="20" y="151"/>
                    </a:cubicBezTo>
                    <a:cubicBezTo>
                      <a:pt x="21" y="153"/>
                      <a:pt x="22" y="156"/>
                      <a:pt x="22" y="158"/>
                    </a:cubicBezTo>
                    <a:cubicBezTo>
                      <a:pt x="21" y="162"/>
                      <a:pt x="19" y="165"/>
                      <a:pt x="18" y="168"/>
                    </a:cubicBezTo>
                    <a:cubicBezTo>
                      <a:pt x="17" y="170"/>
                      <a:pt x="16" y="171"/>
                      <a:pt x="16" y="173"/>
                    </a:cubicBezTo>
                    <a:cubicBezTo>
                      <a:pt x="16" y="175"/>
                      <a:pt x="17" y="176"/>
                      <a:pt x="18" y="178"/>
                    </a:cubicBezTo>
                    <a:cubicBezTo>
                      <a:pt x="18" y="178"/>
                      <a:pt x="19" y="178"/>
                      <a:pt x="19" y="178"/>
                    </a:cubicBezTo>
                    <a:cubicBezTo>
                      <a:pt x="21" y="177"/>
                      <a:pt x="19" y="174"/>
                      <a:pt x="21" y="174"/>
                    </a:cubicBezTo>
                    <a:cubicBezTo>
                      <a:pt x="23" y="175"/>
                      <a:pt x="26" y="178"/>
                      <a:pt x="27" y="180"/>
                    </a:cubicBezTo>
                    <a:cubicBezTo>
                      <a:pt x="28" y="182"/>
                      <a:pt x="26" y="184"/>
                      <a:pt x="27" y="186"/>
                    </a:cubicBezTo>
                    <a:cubicBezTo>
                      <a:pt x="28" y="186"/>
                      <a:pt x="29" y="189"/>
                      <a:pt x="29" y="188"/>
                    </a:cubicBezTo>
                    <a:cubicBezTo>
                      <a:pt x="29" y="184"/>
                      <a:pt x="29" y="182"/>
                      <a:pt x="30" y="184"/>
                    </a:cubicBezTo>
                    <a:cubicBezTo>
                      <a:pt x="31" y="186"/>
                      <a:pt x="32" y="188"/>
                      <a:pt x="34" y="189"/>
                    </a:cubicBezTo>
                    <a:cubicBezTo>
                      <a:pt x="35" y="190"/>
                      <a:pt x="37" y="191"/>
                      <a:pt x="38" y="192"/>
                    </a:cubicBezTo>
                    <a:cubicBezTo>
                      <a:pt x="39" y="193"/>
                      <a:pt x="39" y="194"/>
                      <a:pt x="39" y="195"/>
                    </a:cubicBezTo>
                    <a:cubicBezTo>
                      <a:pt x="39" y="196"/>
                      <a:pt x="38" y="197"/>
                      <a:pt x="38" y="198"/>
                    </a:cubicBezTo>
                    <a:cubicBezTo>
                      <a:pt x="38" y="199"/>
                      <a:pt x="40" y="200"/>
                      <a:pt x="41" y="201"/>
                    </a:cubicBezTo>
                    <a:cubicBezTo>
                      <a:pt x="42" y="202"/>
                      <a:pt x="43" y="202"/>
                      <a:pt x="44" y="203"/>
                    </a:cubicBezTo>
                    <a:cubicBezTo>
                      <a:pt x="45" y="202"/>
                      <a:pt x="45" y="199"/>
                      <a:pt x="46" y="199"/>
                    </a:cubicBezTo>
                    <a:cubicBezTo>
                      <a:pt x="48" y="199"/>
                      <a:pt x="47" y="202"/>
                      <a:pt x="48" y="203"/>
                    </a:cubicBezTo>
                    <a:cubicBezTo>
                      <a:pt x="49" y="204"/>
                      <a:pt x="51" y="203"/>
                      <a:pt x="52" y="203"/>
                    </a:cubicBezTo>
                    <a:cubicBezTo>
                      <a:pt x="53" y="204"/>
                      <a:pt x="55" y="205"/>
                      <a:pt x="56" y="206"/>
                    </a:cubicBezTo>
                    <a:cubicBezTo>
                      <a:pt x="56" y="208"/>
                      <a:pt x="54" y="210"/>
                      <a:pt x="54" y="213"/>
                    </a:cubicBezTo>
                    <a:cubicBezTo>
                      <a:pt x="54" y="214"/>
                      <a:pt x="54" y="216"/>
                      <a:pt x="56" y="216"/>
                    </a:cubicBezTo>
                    <a:cubicBezTo>
                      <a:pt x="58" y="215"/>
                      <a:pt x="59" y="213"/>
                      <a:pt x="62" y="212"/>
                    </a:cubicBezTo>
                    <a:cubicBezTo>
                      <a:pt x="63" y="211"/>
                      <a:pt x="65" y="212"/>
                      <a:pt x="65" y="211"/>
                    </a:cubicBezTo>
                    <a:cubicBezTo>
                      <a:pt x="66" y="209"/>
                      <a:pt x="66" y="208"/>
                      <a:pt x="66" y="206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16" name="Freeform 2637"/>
              <p:cNvSpPr>
                <a:spLocks noChangeAspect="1"/>
              </p:cNvSpPr>
              <p:nvPr/>
            </p:nvSpPr>
            <p:spPr bwMode="auto">
              <a:xfrm>
                <a:off x="6124119" y="2603092"/>
                <a:ext cx="135338" cy="127923"/>
              </a:xfrm>
              <a:custGeom>
                <a:avLst/>
                <a:gdLst>
                  <a:gd name="T0" fmla="*/ 114 w 101"/>
                  <a:gd name="T1" fmla="*/ 144 h 128"/>
                  <a:gd name="T2" fmla="*/ 105 w 101"/>
                  <a:gd name="T3" fmla="*/ 143 h 128"/>
                  <a:gd name="T4" fmla="*/ 99 w 101"/>
                  <a:gd name="T5" fmla="*/ 153 h 128"/>
                  <a:gd name="T6" fmla="*/ 90 w 101"/>
                  <a:gd name="T7" fmla="*/ 149 h 128"/>
                  <a:gd name="T8" fmla="*/ 84 w 101"/>
                  <a:gd name="T9" fmla="*/ 147 h 128"/>
                  <a:gd name="T10" fmla="*/ 89 w 101"/>
                  <a:gd name="T11" fmla="*/ 142 h 128"/>
                  <a:gd name="T12" fmla="*/ 91 w 101"/>
                  <a:gd name="T13" fmla="*/ 123 h 128"/>
                  <a:gd name="T14" fmla="*/ 87 w 101"/>
                  <a:gd name="T15" fmla="*/ 115 h 128"/>
                  <a:gd name="T16" fmla="*/ 77 w 101"/>
                  <a:gd name="T17" fmla="*/ 108 h 128"/>
                  <a:gd name="T18" fmla="*/ 75 w 101"/>
                  <a:gd name="T19" fmla="*/ 91 h 128"/>
                  <a:gd name="T20" fmla="*/ 65 w 101"/>
                  <a:gd name="T21" fmla="*/ 82 h 128"/>
                  <a:gd name="T22" fmla="*/ 60 w 101"/>
                  <a:gd name="T23" fmla="*/ 76 h 128"/>
                  <a:gd name="T24" fmla="*/ 50 w 101"/>
                  <a:gd name="T25" fmla="*/ 73 h 128"/>
                  <a:gd name="T26" fmla="*/ 43 w 101"/>
                  <a:gd name="T27" fmla="*/ 82 h 128"/>
                  <a:gd name="T28" fmla="*/ 37 w 101"/>
                  <a:gd name="T29" fmla="*/ 87 h 128"/>
                  <a:gd name="T30" fmla="*/ 31 w 101"/>
                  <a:gd name="T31" fmla="*/ 77 h 128"/>
                  <a:gd name="T32" fmla="*/ 25 w 101"/>
                  <a:gd name="T33" fmla="*/ 83 h 128"/>
                  <a:gd name="T34" fmla="*/ 16 w 101"/>
                  <a:gd name="T35" fmla="*/ 88 h 128"/>
                  <a:gd name="T36" fmla="*/ 16 w 101"/>
                  <a:gd name="T37" fmla="*/ 69 h 128"/>
                  <a:gd name="T38" fmla="*/ 18 w 101"/>
                  <a:gd name="T39" fmla="*/ 60 h 128"/>
                  <a:gd name="T40" fmla="*/ 13 w 101"/>
                  <a:gd name="T41" fmla="*/ 52 h 128"/>
                  <a:gd name="T42" fmla="*/ 7 w 101"/>
                  <a:gd name="T43" fmla="*/ 47 h 128"/>
                  <a:gd name="T44" fmla="*/ 4 w 101"/>
                  <a:gd name="T45" fmla="*/ 39 h 128"/>
                  <a:gd name="T46" fmla="*/ 1 w 101"/>
                  <a:gd name="T47" fmla="*/ 31 h 128"/>
                  <a:gd name="T48" fmla="*/ 5 w 101"/>
                  <a:gd name="T49" fmla="*/ 25 h 128"/>
                  <a:gd name="T50" fmla="*/ 13 w 101"/>
                  <a:gd name="T51" fmla="*/ 16 h 128"/>
                  <a:gd name="T52" fmla="*/ 18 w 101"/>
                  <a:gd name="T53" fmla="*/ 22 h 128"/>
                  <a:gd name="T54" fmla="*/ 25 w 101"/>
                  <a:gd name="T55" fmla="*/ 20 h 128"/>
                  <a:gd name="T56" fmla="*/ 20 w 101"/>
                  <a:gd name="T57" fmla="*/ 8 h 128"/>
                  <a:gd name="T58" fmla="*/ 22 w 101"/>
                  <a:gd name="T59" fmla="*/ 0 h 128"/>
                  <a:gd name="T60" fmla="*/ 29 w 101"/>
                  <a:gd name="T61" fmla="*/ 2 h 128"/>
                  <a:gd name="T62" fmla="*/ 36 w 101"/>
                  <a:gd name="T63" fmla="*/ 13 h 128"/>
                  <a:gd name="T64" fmla="*/ 42 w 101"/>
                  <a:gd name="T65" fmla="*/ 14 h 128"/>
                  <a:gd name="T66" fmla="*/ 46 w 101"/>
                  <a:gd name="T67" fmla="*/ 30 h 128"/>
                  <a:gd name="T68" fmla="*/ 53 w 101"/>
                  <a:gd name="T69" fmla="*/ 34 h 128"/>
                  <a:gd name="T70" fmla="*/ 62 w 101"/>
                  <a:gd name="T71" fmla="*/ 29 h 128"/>
                  <a:gd name="T72" fmla="*/ 63 w 101"/>
                  <a:gd name="T73" fmla="*/ 37 h 128"/>
                  <a:gd name="T74" fmla="*/ 73 w 101"/>
                  <a:gd name="T75" fmla="*/ 43 h 128"/>
                  <a:gd name="T76" fmla="*/ 71 w 101"/>
                  <a:gd name="T77" fmla="*/ 47 h 128"/>
                  <a:gd name="T78" fmla="*/ 62 w 101"/>
                  <a:gd name="T79" fmla="*/ 51 h 128"/>
                  <a:gd name="T80" fmla="*/ 58 w 101"/>
                  <a:gd name="T81" fmla="*/ 57 h 128"/>
                  <a:gd name="T82" fmla="*/ 79 w 101"/>
                  <a:gd name="T83" fmla="*/ 75 h 128"/>
                  <a:gd name="T84" fmla="*/ 91 w 101"/>
                  <a:gd name="T85" fmla="*/ 89 h 128"/>
                  <a:gd name="T86" fmla="*/ 101 w 101"/>
                  <a:gd name="T87" fmla="*/ 100 h 128"/>
                  <a:gd name="T88" fmla="*/ 111 w 101"/>
                  <a:gd name="T89" fmla="*/ 112 h 128"/>
                  <a:gd name="T90" fmla="*/ 114 w 101"/>
                  <a:gd name="T91" fmla="*/ 119 h 128"/>
                  <a:gd name="T92" fmla="*/ 117 w 101"/>
                  <a:gd name="T93" fmla="*/ 134 h 128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01"/>
                  <a:gd name="T142" fmla="*/ 0 h 128"/>
                  <a:gd name="T143" fmla="*/ 101 w 101"/>
                  <a:gd name="T144" fmla="*/ 128 h 128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01" h="128">
                    <a:moveTo>
                      <a:pt x="99" y="117"/>
                    </a:moveTo>
                    <a:cubicBezTo>
                      <a:pt x="98" y="118"/>
                      <a:pt x="97" y="120"/>
                      <a:pt x="95" y="120"/>
                    </a:cubicBezTo>
                    <a:cubicBezTo>
                      <a:pt x="94" y="121"/>
                      <a:pt x="92" y="121"/>
                      <a:pt x="91" y="120"/>
                    </a:cubicBezTo>
                    <a:cubicBezTo>
                      <a:pt x="90" y="120"/>
                      <a:pt x="89" y="119"/>
                      <a:pt x="88" y="119"/>
                    </a:cubicBezTo>
                    <a:cubicBezTo>
                      <a:pt x="86" y="120"/>
                      <a:pt x="83" y="120"/>
                      <a:pt x="82" y="121"/>
                    </a:cubicBezTo>
                    <a:cubicBezTo>
                      <a:pt x="81" y="123"/>
                      <a:pt x="84" y="125"/>
                      <a:pt x="83" y="127"/>
                    </a:cubicBezTo>
                    <a:cubicBezTo>
                      <a:pt x="82" y="128"/>
                      <a:pt x="81" y="126"/>
                      <a:pt x="80" y="126"/>
                    </a:cubicBezTo>
                    <a:cubicBezTo>
                      <a:pt x="78" y="125"/>
                      <a:pt x="76" y="124"/>
                      <a:pt x="75" y="124"/>
                    </a:cubicBezTo>
                    <a:cubicBezTo>
                      <a:pt x="74" y="124"/>
                      <a:pt x="73" y="125"/>
                      <a:pt x="72" y="124"/>
                    </a:cubicBezTo>
                    <a:cubicBezTo>
                      <a:pt x="71" y="124"/>
                      <a:pt x="71" y="123"/>
                      <a:pt x="70" y="122"/>
                    </a:cubicBezTo>
                    <a:cubicBezTo>
                      <a:pt x="71" y="122"/>
                      <a:pt x="71" y="121"/>
                      <a:pt x="72" y="120"/>
                    </a:cubicBezTo>
                    <a:cubicBezTo>
                      <a:pt x="73" y="120"/>
                      <a:pt x="74" y="119"/>
                      <a:pt x="74" y="118"/>
                    </a:cubicBezTo>
                    <a:cubicBezTo>
                      <a:pt x="75" y="114"/>
                      <a:pt x="73" y="110"/>
                      <a:pt x="73" y="106"/>
                    </a:cubicBezTo>
                    <a:cubicBezTo>
                      <a:pt x="74" y="104"/>
                      <a:pt x="76" y="103"/>
                      <a:pt x="76" y="102"/>
                    </a:cubicBezTo>
                    <a:cubicBezTo>
                      <a:pt x="76" y="100"/>
                      <a:pt x="73" y="100"/>
                      <a:pt x="73" y="98"/>
                    </a:cubicBezTo>
                    <a:cubicBezTo>
                      <a:pt x="72" y="98"/>
                      <a:pt x="74" y="96"/>
                      <a:pt x="73" y="96"/>
                    </a:cubicBezTo>
                    <a:cubicBezTo>
                      <a:pt x="72" y="95"/>
                      <a:pt x="70" y="96"/>
                      <a:pt x="69" y="95"/>
                    </a:cubicBezTo>
                    <a:cubicBezTo>
                      <a:pt x="67" y="93"/>
                      <a:pt x="65" y="92"/>
                      <a:pt x="64" y="90"/>
                    </a:cubicBezTo>
                    <a:cubicBezTo>
                      <a:pt x="63" y="87"/>
                      <a:pt x="62" y="84"/>
                      <a:pt x="62" y="81"/>
                    </a:cubicBezTo>
                    <a:cubicBezTo>
                      <a:pt x="61" y="79"/>
                      <a:pt x="64" y="77"/>
                      <a:pt x="63" y="76"/>
                    </a:cubicBezTo>
                    <a:cubicBezTo>
                      <a:pt x="62" y="74"/>
                      <a:pt x="60" y="73"/>
                      <a:pt x="58" y="72"/>
                    </a:cubicBezTo>
                    <a:cubicBezTo>
                      <a:pt x="57" y="70"/>
                      <a:pt x="55" y="70"/>
                      <a:pt x="54" y="68"/>
                    </a:cubicBezTo>
                    <a:cubicBezTo>
                      <a:pt x="53" y="66"/>
                      <a:pt x="54" y="64"/>
                      <a:pt x="52" y="62"/>
                    </a:cubicBezTo>
                    <a:cubicBezTo>
                      <a:pt x="52" y="61"/>
                      <a:pt x="51" y="63"/>
                      <a:pt x="50" y="63"/>
                    </a:cubicBezTo>
                    <a:cubicBezTo>
                      <a:pt x="49" y="63"/>
                      <a:pt x="48" y="61"/>
                      <a:pt x="47" y="61"/>
                    </a:cubicBezTo>
                    <a:cubicBezTo>
                      <a:pt x="46" y="60"/>
                      <a:pt x="44" y="60"/>
                      <a:pt x="42" y="61"/>
                    </a:cubicBezTo>
                    <a:cubicBezTo>
                      <a:pt x="41" y="62"/>
                      <a:pt x="41" y="65"/>
                      <a:pt x="40" y="67"/>
                    </a:cubicBezTo>
                    <a:cubicBezTo>
                      <a:pt x="39" y="68"/>
                      <a:pt x="37" y="67"/>
                      <a:pt x="36" y="68"/>
                    </a:cubicBezTo>
                    <a:cubicBezTo>
                      <a:pt x="35" y="69"/>
                      <a:pt x="36" y="71"/>
                      <a:pt x="34" y="72"/>
                    </a:cubicBezTo>
                    <a:cubicBezTo>
                      <a:pt x="33" y="73"/>
                      <a:pt x="31" y="73"/>
                      <a:pt x="31" y="72"/>
                    </a:cubicBezTo>
                    <a:cubicBezTo>
                      <a:pt x="30" y="71"/>
                      <a:pt x="32" y="69"/>
                      <a:pt x="32" y="68"/>
                    </a:cubicBezTo>
                    <a:cubicBezTo>
                      <a:pt x="31" y="66"/>
                      <a:pt x="28" y="65"/>
                      <a:pt x="26" y="64"/>
                    </a:cubicBezTo>
                    <a:cubicBezTo>
                      <a:pt x="24" y="64"/>
                      <a:pt x="23" y="65"/>
                      <a:pt x="21" y="66"/>
                    </a:cubicBezTo>
                    <a:cubicBezTo>
                      <a:pt x="21" y="67"/>
                      <a:pt x="22" y="68"/>
                      <a:pt x="21" y="69"/>
                    </a:cubicBezTo>
                    <a:cubicBezTo>
                      <a:pt x="20" y="71"/>
                      <a:pt x="18" y="74"/>
                      <a:pt x="15" y="75"/>
                    </a:cubicBezTo>
                    <a:cubicBezTo>
                      <a:pt x="14" y="75"/>
                      <a:pt x="13" y="74"/>
                      <a:pt x="13" y="73"/>
                    </a:cubicBezTo>
                    <a:cubicBezTo>
                      <a:pt x="12" y="69"/>
                      <a:pt x="14" y="65"/>
                      <a:pt x="14" y="62"/>
                    </a:cubicBezTo>
                    <a:cubicBezTo>
                      <a:pt x="14" y="60"/>
                      <a:pt x="13" y="59"/>
                      <a:pt x="13" y="57"/>
                    </a:cubicBezTo>
                    <a:cubicBezTo>
                      <a:pt x="13" y="56"/>
                      <a:pt x="15" y="55"/>
                      <a:pt x="15" y="54"/>
                    </a:cubicBezTo>
                    <a:cubicBezTo>
                      <a:pt x="16" y="52"/>
                      <a:pt x="15" y="51"/>
                      <a:pt x="15" y="50"/>
                    </a:cubicBezTo>
                    <a:cubicBezTo>
                      <a:pt x="15" y="48"/>
                      <a:pt x="17" y="46"/>
                      <a:pt x="16" y="45"/>
                    </a:cubicBezTo>
                    <a:cubicBezTo>
                      <a:pt x="15" y="43"/>
                      <a:pt x="12" y="44"/>
                      <a:pt x="11" y="43"/>
                    </a:cubicBezTo>
                    <a:cubicBezTo>
                      <a:pt x="8" y="43"/>
                      <a:pt x="6" y="43"/>
                      <a:pt x="4" y="42"/>
                    </a:cubicBezTo>
                    <a:cubicBezTo>
                      <a:pt x="3" y="41"/>
                      <a:pt x="6" y="40"/>
                      <a:pt x="6" y="39"/>
                    </a:cubicBezTo>
                    <a:cubicBezTo>
                      <a:pt x="6" y="38"/>
                      <a:pt x="7" y="36"/>
                      <a:pt x="6" y="35"/>
                    </a:cubicBezTo>
                    <a:cubicBezTo>
                      <a:pt x="6" y="34"/>
                      <a:pt x="4" y="32"/>
                      <a:pt x="3" y="32"/>
                    </a:cubicBezTo>
                    <a:cubicBezTo>
                      <a:pt x="2" y="32"/>
                      <a:pt x="1" y="32"/>
                      <a:pt x="0" y="32"/>
                    </a:cubicBezTo>
                    <a:cubicBezTo>
                      <a:pt x="0" y="30"/>
                      <a:pt x="0" y="28"/>
                      <a:pt x="1" y="26"/>
                    </a:cubicBezTo>
                    <a:cubicBezTo>
                      <a:pt x="2" y="25"/>
                      <a:pt x="6" y="26"/>
                      <a:pt x="7" y="25"/>
                    </a:cubicBezTo>
                    <a:cubicBezTo>
                      <a:pt x="7" y="23"/>
                      <a:pt x="4" y="23"/>
                      <a:pt x="4" y="21"/>
                    </a:cubicBezTo>
                    <a:cubicBezTo>
                      <a:pt x="4" y="19"/>
                      <a:pt x="5" y="17"/>
                      <a:pt x="7" y="15"/>
                    </a:cubicBezTo>
                    <a:cubicBezTo>
                      <a:pt x="8" y="14"/>
                      <a:pt x="10" y="14"/>
                      <a:pt x="11" y="13"/>
                    </a:cubicBezTo>
                    <a:cubicBezTo>
                      <a:pt x="12" y="14"/>
                      <a:pt x="11" y="16"/>
                      <a:pt x="12" y="17"/>
                    </a:cubicBezTo>
                    <a:cubicBezTo>
                      <a:pt x="13" y="18"/>
                      <a:pt x="14" y="18"/>
                      <a:pt x="15" y="18"/>
                    </a:cubicBezTo>
                    <a:cubicBezTo>
                      <a:pt x="16" y="18"/>
                      <a:pt x="18" y="18"/>
                      <a:pt x="19" y="18"/>
                    </a:cubicBezTo>
                    <a:cubicBezTo>
                      <a:pt x="19" y="17"/>
                      <a:pt x="21" y="17"/>
                      <a:pt x="21" y="17"/>
                    </a:cubicBezTo>
                    <a:cubicBezTo>
                      <a:pt x="21" y="15"/>
                      <a:pt x="20" y="14"/>
                      <a:pt x="19" y="12"/>
                    </a:cubicBezTo>
                    <a:cubicBezTo>
                      <a:pt x="19" y="11"/>
                      <a:pt x="18" y="9"/>
                      <a:pt x="17" y="7"/>
                    </a:cubicBezTo>
                    <a:cubicBezTo>
                      <a:pt x="16" y="6"/>
                      <a:pt x="16" y="4"/>
                      <a:pt x="16" y="3"/>
                    </a:cubicBezTo>
                    <a:cubicBezTo>
                      <a:pt x="16" y="2"/>
                      <a:pt x="17" y="1"/>
                      <a:pt x="18" y="0"/>
                    </a:cubicBezTo>
                    <a:cubicBezTo>
                      <a:pt x="19" y="0"/>
                      <a:pt x="20" y="1"/>
                      <a:pt x="21" y="2"/>
                    </a:cubicBezTo>
                    <a:cubicBezTo>
                      <a:pt x="22" y="2"/>
                      <a:pt x="23" y="2"/>
                      <a:pt x="24" y="2"/>
                    </a:cubicBezTo>
                    <a:cubicBezTo>
                      <a:pt x="25" y="3"/>
                      <a:pt x="26" y="5"/>
                      <a:pt x="27" y="6"/>
                    </a:cubicBezTo>
                    <a:cubicBezTo>
                      <a:pt x="27" y="8"/>
                      <a:pt x="28" y="11"/>
                      <a:pt x="30" y="11"/>
                    </a:cubicBezTo>
                    <a:cubicBezTo>
                      <a:pt x="31" y="12"/>
                      <a:pt x="31" y="8"/>
                      <a:pt x="32" y="9"/>
                    </a:cubicBezTo>
                    <a:cubicBezTo>
                      <a:pt x="33" y="9"/>
                      <a:pt x="34" y="11"/>
                      <a:pt x="35" y="12"/>
                    </a:cubicBezTo>
                    <a:cubicBezTo>
                      <a:pt x="35" y="14"/>
                      <a:pt x="33" y="16"/>
                      <a:pt x="33" y="17"/>
                    </a:cubicBezTo>
                    <a:cubicBezTo>
                      <a:pt x="34" y="20"/>
                      <a:pt x="36" y="23"/>
                      <a:pt x="38" y="25"/>
                    </a:cubicBezTo>
                    <a:cubicBezTo>
                      <a:pt x="39" y="26"/>
                      <a:pt x="40" y="25"/>
                      <a:pt x="41" y="26"/>
                    </a:cubicBezTo>
                    <a:cubicBezTo>
                      <a:pt x="42" y="26"/>
                      <a:pt x="43" y="29"/>
                      <a:pt x="44" y="28"/>
                    </a:cubicBezTo>
                    <a:cubicBezTo>
                      <a:pt x="46" y="28"/>
                      <a:pt x="47" y="25"/>
                      <a:pt x="49" y="24"/>
                    </a:cubicBezTo>
                    <a:cubicBezTo>
                      <a:pt x="50" y="24"/>
                      <a:pt x="51" y="24"/>
                      <a:pt x="52" y="24"/>
                    </a:cubicBezTo>
                    <a:cubicBezTo>
                      <a:pt x="54" y="26"/>
                      <a:pt x="56" y="29"/>
                      <a:pt x="56" y="31"/>
                    </a:cubicBezTo>
                    <a:cubicBezTo>
                      <a:pt x="56" y="32"/>
                      <a:pt x="54" y="31"/>
                      <a:pt x="53" y="31"/>
                    </a:cubicBezTo>
                    <a:cubicBezTo>
                      <a:pt x="52" y="32"/>
                      <a:pt x="52" y="33"/>
                      <a:pt x="52" y="33"/>
                    </a:cubicBezTo>
                    <a:cubicBezTo>
                      <a:pt x="55" y="34"/>
                      <a:pt x="59" y="34"/>
                      <a:pt x="61" y="36"/>
                    </a:cubicBezTo>
                    <a:cubicBezTo>
                      <a:pt x="62" y="36"/>
                      <a:pt x="62" y="38"/>
                      <a:pt x="62" y="39"/>
                    </a:cubicBezTo>
                    <a:cubicBezTo>
                      <a:pt x="61" y="40"/>
                      <a:pt x="60" y="38"/>
                      <a:pt x="59" y="39"/>
                    </a:cubicBezTo>
                    <a:cubicBezTo>
                      <a:pt x="58" y="40"/>
                      <a:pt x="58" y="42"/>
                      <a:pt x="57" y="43"/>
                    </a:cubicBezTo>
                    <a:cubicBezTo>
                      <a:pt x="55" y="44"/>
                      <a:pt x="54" y="42"/>
                      <a:pt x="52" y="42"/>
                    </a:cubicBezTo>
                    <a:cubicBezTo>
                      <a:pt x="51" y="43"/>
                      <a:pt x="52" y="44"/>
                      <a:pt x="51" y="45"/>
                    </a:cubicBezTo>
                    <a:cubicBezTo>
                      <a:pt x="50" y="46"/>
                      <a:pt x="47" y="46"/>
                      <a:pt x="48" y="47"/>
                    </a:cubicBezTo>
                    <a:cubicBezTo>
                      <a:pt x="53" y="51"/>
                      <a:pt x="60" y="52"/>
                      <a:pt x="65" y="56"/>
                    </a:cubicBezTo>
                    <a:cubicBezTo>
                      <a:pt x="67" y="58"/>
                      <a:pt x="65" y="60"/>
                      <a:pt x="66" y="62"/>
                    </a:cubicBezTo>
                    <a:cubicBezTo>
                      <a:pt x="66" y="63"/>
                      <a:pt x="68" y="64"/>
                      <a:pt x="69" y="65"/>
                    </a:cubicBezTo>
                    <a:cubicBezTo>
                      <a:pt x="71" y="68"/>
                      <a:pt x="73" y="72"/>
                      <a:pt x="76" y="74"/>
                    </a:cubicBezTo>
                    <a:cubicBezTo>
                      <a:pt x="77" y="76"/>
                      <a:pt x="79" y="76"/>
                      <a:pt x="80" y="77"/>
                    </a:cubicBezTo>
                    <a:cubicBezTo>
                      <a:pt x="82" y="79"/>
                      <a:pt x="83" y="81"/>
                      <a:pt x="84" y="83"/>
                    </a:cubicBezTo>
                    <a:cubicBezTo>
                      <a:pt x="85" y="85"/>
                      <a:pt x="85" y="87"/>
                      <a:pt x="86" y="89"/>
                    </a:cubicBezTo>
                    <a:cubicBezTo>
                      <a:pt x="88" y="91"/>
                      <a:pt x="91" y="91"/>
                      <a:pt x="93" y="93"/>
                    </a:cubicBezTo>
                    <a:cubicBezTo>
                      <a:pt x="95" y="94"/>
                      <a:pt x="98" y="95"/>
                      <a:pt x="98" y="97"/>
                    </a:cubicBezTo>
                    <a:cubicBezTo>
                      <a:pt x="98" y="98"/>
                      <a:pt x="94" y="98"/>
                      <a:pt x="95" y="99"/>
                    </a:cubicBezTo>
                    <a:cubicBezTo>
                      <a:pt x="96" y="103"/>
                      <a:pt x="100" y="104"/>
                      <a:pt x="101" y="107"/>
                    </a:cubicBezTo>
                    <a:cubicBezTo>
                      <a:pt x="101" y="109"/>
                      <a:pt x="98" y="109"/>
                      <a:pt x="98" y="111"/>
                    </a:cubicBezTo>
                    <a:cubicBezTo>
                      <a:pt x="97" y="113"/>
                      <a:pt x="99" y="115"/>
                      <a:pt x="99" y="117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17" name="Freeform 2638"/>
              <p:cNvSpPr>
                <a:spLocks noChangeAspect="1"/>
              </p:cNvSpPr>
              <p:nvPr/>
            </p:nvSpPr>
            <p:spPr bwMode="auto">
              <a:xfrm>
                <a:off x="6172214" y="2720216"/>
                <a:ext cx="92834" cy="59808"/>
              </a:xfrm>
              <a:custGeom>
                <a:avLst/>
                <a:gdLst>
                  <a:gd name="T0" fmla="*/ 32 w 69"/>
                  <a:gd name="T1" fmla="*/ 72 h 60"/>
                  <a:gd name="T2" fmla="*/ 28 w 69"/>
                  <a:gd name="T3" fmla="*/ 70 h 60"/>
                  <a:gd name="T4" fmla="*/ 23 w 69"/>
                  <a:gd name="T5" fmla="*/ 65 h 60"/>
                  <a:gd name="T6" fmla="*/ 23 w 69"/>
                  <a:gd name="T7" fmla="*/ 59 h 60"/>
                  <a:gd name="T8" fmla="*/ 19 w 69"/>
                  <a:gd name="T9" fmla="*/ 61 h 60"/>
                  <a:gd name="T10" fmla="*/ 17 w 69"/>
                  <a:gd name="T11" fmla="*/ 65 h 60"/>
                  <a:gd name="T12" fmla="*/ 12 w 69"/>
                  <a:gd name="T13" fmla="*/ 65 h 60"/>
                  <a:gd name="T14" fmla="*/ 13 w 69"/>
                  <a:gd name="T15" fmla="*/ 58 h 60"/>
                  <a:gd name="T16" fmla="*/ 11 w 69"/>
                  <a:gd name="T17" fmla="*/ 50 h 60"/>
                  <a:gd name="T18" fmla="*/ 7 w 69"/>
                  <a:gd name="T19" fmla="*/ 43 h 60"/>
                  <a:gd name="T20" fmla="*/ 6 w 69"/>
                  <a:gd name="T21" fmla="*/ 36 h 60"/>
                  <a:gd name="T22" fmla="*/ 2 w 69"/>
                  <a:gd name="T23" fmla="*/ 32 h 60"/>
                  <a:gd name="T24" fmla="*/ 2 w 69"/>
                  <a:gd name="T25" fmla="*/ 28 h 60"/>
                  <a:gd name="T26" fmla="*/ 0 w 69"/>
                  <a:gd name="T27" fmla="*/ 23 h 60"/>
                  <a:gd name="T28" fmla="*/ 1 w 69"/>
                  <a:gd name="T29" fmla="*/ 16 h 60"/>
                  <a:gd name="T30" fmla="*/ 4 w 69"/>
                  <a:gd name="T31" fmla="*/ 16 h 60"/>
                  <a:gd name="T32" fmla="*/ 8 w 69"/>
                  <a:gd name="T33" fmla="*/ 8 h 60"/>
                  <a:gd name="T34" fmla="*/ 16 w 69"/>
                  <a:gd name="T35" fmla="*/ 2 h 60"/>
                  <a:gd name="T36" fmla="*/ 20 w 69"/>
                  <a:gd name="T37" fmla="*/ 4 h 60"/>
                  <a:gd name="T38" fmla="*/ 24 w 69"/>
                  <a:gd name="T39" fmla="*/ 4 h 60"/>
                  <a:gd name="T40" fmla="*/ 35 w 69"/>
                  <a:gd name="T41" fmla="*/ 4 h 60"/>
                  <a:gd name="T42" fmla="*/ 41 w 69"/>
                  <a:gd name="T43" fmla="*/ 6 h 60"/>
                  <a:gd name="T44" fmla="*/ 43 w 69"/>
                  <a:gd name="T45" fmla="*/ 8 h 60"/>
                  <a:gd name="T46" fmla="*/ 47 w 69"/>
                  <a:gd name="T47" fmla="*/ 8 h 60"/>
                  <a:gd name="T48" fmla="*/ 53 w 69"/>
                  <a:gd name="T49" fmla="*/ 11 h 60"/>
                  <a:gd name="T50" fmla="*/ 57 w 69"/>
                  <a:gd name="T51" fmla="*/ 12 h 60"/>
                  <a:gd name="T52" fmla="*/ 55 w 69"/>
                  <a:gd name="T53" fmla="*/ 5 h 60"/>
                  <a:gd name="T54" fmla="*/ 63 w 69"/>
                  <a:gd name="T55" fmla="*/ 2 h 60"/>
                  <a:gd name="T56" fmla="*/ 66 w 69"/>
                  <a:gd name="T57" fmla="*/ 4 h 60"/>
                  <a:gd name="T58" fmla="*/ 71 w 69"/>
                  <a:gd name="T59" fmla="*/ 4 h 60"/>
                  <a:gd name="T60" fmla="*/ 76 w 69"/>
                  <a:gd name="T61" fmla="*/ 0 h 60"/>
                  <a:gd name="T62" fmla="*/ 77 w 69"/>
                  <a:gd name="T63" fmla="*/ 5 h 60"/>
                  <a:gd name="T64" fmla="*/ 77 w 69"/>
                  <a:gd name="T65" fmla="*/ 8 h 60"/>
                  <a:gd name="T66" fmla="*/ 77 w 69"/>
                  <a:gd name="T67" fmla="*/ 14 h 60"/>
                  <a:gd name="T68" fmla="*/ 81 w 69"/>
                  <a:gd name="T69" fmla="*/ 17 h 60"/>
                  <a:gd name="T70" fmla="*/ 82 w 69"/>
                  <a:gd name="T71" fmla="*/ 28 h 60"/>
                  <a:gd name="T72" fmla="*/ 78 w 69"/>
                  <a:gd name="T73" fmla="*/ 41 h 60"/>
                  <a:gd name="T74" fmla="*/ 76 w 69"/>
                  <a:gd name="T75" fmla="*/ 40 h 60"/>
                  <a:gd name="T76" fmla="*/ 69 w 69"/>
                  <a:gd name="T77" fmla="*/ 46 h 60"/>
                  <a:gd name="T78" fmla="*/ 61 w 69"/>
                  <a:gd name="T79" fmla="*/ 46 h 60"/>
                  <a:gd name="T80" fmla="*/ 60 w 69"/>
                  <a:gd name="T81" fmla="*/ 50 h 60"/>
                  <a:gd name="T82" fmla="*/ 55 w 69"/>
                  <a:gd name="T83" fmla="*/ 49 h 60"/>
                  <a:gd name="T84" fmla="*/ 53 w 69"/>
                  <a:gd name="T85" fmla="*/ 52 h 60"/>
                  <a:gd name="T86" fmla="*/ 55 w 69"/>
                  <a:gd name="T87" fmla="*/ 58 h 60"/>
                  <a:gd name="T88" fmla="*/ 58 w 69"/>
                  <a:gd name="T89" fmla="*/ 60 h 60"/>
                  <a:gd name="T90" fmla="*/ 59 w 69"/>
                  <a:gd name="T91" fmla="*/ 64 h 60"/>
                  <a:gd name="T92" fmla="*/ 58 w 69"/>
                  <a:gd name="T93" fmla="*/ 67 h 60"/>
                  <a:gd name="T94" fmla="*/ 52 w 69"/>
                  <a:gd name="T95" fmla="*/ 65 h 60"/>
                  <a:gd name="T96" fmla="*/ 41 w 69"/>
                  <a:gd name="T97" fmla="*/ 65 h 60"/>
                  <a:gd name="T98" fmla="*/ 42 w 69"/>
                  <a:gd name="T99" fmla="*/ 70 h 60"/>
                  <a:gd name="T100" fmla="*/ 37 w 69"/>
                  <a:gd name="T101" fmla="*/ 72 h 60"/>
                  <a:gd name="T102" fmla="*/ 32 w 69"/>
                  <a:gd name="T103" fmla="*/ 72 h 60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69"/>
                  <a:gd name="T157" fmla="*/ 0 h 60"/>
                  <a:gd name="T158" fmla="*/ 69 w 69"/>
                  <a:gd name="T159" fmla="*/ 60 h 60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69" h="60">
                    <a:moveTo>
                      <a:pt x="27" y="60"/>
                    </a:moveTo>
                    <a:cubicBezTo>
                      <a:pt x="25" y="59"/>
                      <a:pt x="24" y="59"/>
                      <a:pt x="23" y="58"/>
                    </a:cubicBezTo>
                    <a:cubicBezTo>
                      <a:pt x="21" y="57"/>
                      <a:pt x="20" y="55"/>
                      <a:pt x="19" y="54"/>
                    </a:cubicBezTo>
                    <a:cubicBezTo>
                      <a:pt x="19" y="52"/>
                      <a:pt x="20" y="50"/>
                      <a:pt x="19" y="49"/>
                    </a:cubicBezTo>
                    <a:cubicBezTo>
                      <a:pt x="18" y="48"/>
                      <a:pt x="17" y="50"/>
                      <a:pt x="16" y="51"/>
                    </a:cubicBezTo>
                    <a:cubicBezTo>
                      <a:pt x="15" y="51"/>
                      <a:pt x="15" y="53"/>
                      <a:pt x="14" y="54"/>
                    </a:cubicBezTo>
                    <a:cubicBezTo>
                      <a:pt x="13" y="54"/>
                      <a:pt x="11" y="55"/>
                      <a:pt x="10" y="54"/>
                    </a:cubicBezTo>
                    <a:cubicBezTo>
                      <a:pt x="9" y="52"/>
                      <a:pt x="11" y="50"/>
                      <a:pt x="11" y="48"/>
                    </a:cubicBezTo>
                    <a:cubicBezTo>
                      <a:pt x="11" y="46"/>
                      <a:pt x="10" y="44"/>
                      <a:pt x="9" y="42"/>
                    </a:cubicBezTo>
                    <a:cubicBezTo>
                      <a:pt x="8" y="41"/>
                      <a:pt x="7" y="38"/>
                      <a:pt x="6" y="36"/>
                    </a:cubicBezTo>
                    <a:cubicBezTo>
                      <a:pt x="6" y="34"/>
                      <a:pt x="6" y="32"/>
                      <a:pt x="5" y="30"/>
                    </a:cubicBezTo>
                    <a:cubicBezTo>
                      <a:pt x="4" y="29"/>
                      <a:pt x="2" y="29"/>
                      <a:pt x="2" y="27"/>
                    </a:cubicBezTo>
                    <a:cubicBezTo>
                      <a:pt x="1" y="26"/>
                      <a:pt x="2" y="25"/>
                      <a:pt x="2" y="23"/>
                    </a:cubicBezTo>
                    <a:cubicBezTo>
                      <a:pt x="2" y="22"/>
                      <a:pt x="1" y="21"/>
                      <a:pt x="0" y="19"/>
                    </a:cubicBezTo>
                    <a:cubicBezTo>
                      <a:pt x="0" y="17"/>
                      <a:pt x="0" y="15"/>
                      <a:pt x="1" y="13"/>
                    </a:cubicBezTo>
                    <a:cubicBezTo>
                      <a:pt x="1" y="12"/>
                      <a:pt x="3" y="13"/>
                      <a:pt x="3" y="13"/>
                    </a:cubicBezTo>
                    <a:cubicBezTo>
                      <a:pt x="5" y="11"/>
                      <a:pt x="5" y="8"/>
                      <a:pt x="7" y="7"/>
                    </a:cubicBezTo>
                    <a:cubicBezTo>
                      <a:pt x="9" y="5"/>
                      <a:pt x="11" y="3"/>
                      <a:pt x="13" y="2"/>
                    </a:cubicBezTo>
                    <a:cubicBezTo>
                      <a:pt x="14" y="2"/>
                      <a:pt x="16" y="2"/>
                      <a:pt x="17" y="3"/>
                    </a:cubicBezTo>
                    <a:cubicBezTo>
                      <a:pt x="18" y="3"/>
                      <a:pt x="19" y="3"/>
                      <a:pt x="20" y="3"/>
                    </a:cubicBezTo>
                    <a:cubicBezTo>
                      <a:pt x="23" y="3"/>
                      <a:pt x="26" y="2"/>
                      <a:pt x="29" y="3"/>
                    </a:cubicBezTo>
                    <a:cubicBezTo>
                      <a:pt x="31" y="3"/>
                      <a:pt x="33" y="4"/>
                      <a:pt x="34" y="5"/>
                    </a:cubicBezTo>
                    <a:cubicBezTo>
                      <a:pt x="35" y="6"/>
                      <a:pt x="35" y="7"/>
                      <a:pt x="36" y="7"/>
                    </a:cubicBezTo>
                    <a:cubicBezTo>
                      <a:pt x="37" y="8"/>
                      <a:pt x="38" y="7"/>
                      <a:pt x="39" y="7"/>
                    </a:cubicBezTo>
                    <a:cubicBezTo>
                      <a:pt x="40" y="7"/>
                      <a:pt x="42" y="8"/>
                      <a:pt x="44" y="9"/>
                    </a:cubicBezTo>
                    <a:cubicBezTo>
                      <a:pt x="45" y="9"/>
                      <a:pt x="46" y="11"/>
                      <a:pt x="47" y="10"/>
                    </a:cubicBezTo>
                    <a:cubicBezTo>
                      <a:pt x="48" y="8"/>
                      <a:pt x="45" y="6"/>
                      <a:pt x="46" y="4"/>
                    </a:cubicBezTo>
                    <a:cubicBezTo>
                      <a:pt x="47" y="3"/>
                      <a:pt x="50" y="3"/>
                      <a:pt x="52" y="2"/>
                    </a:cubicBezTo>
                    <a:cubicBezTo>
                      <a:pt x="53" y="2"/>
                      <a:pt x="54" y="3"/>
                      <a:pt x="55" y="3"/>
                    </a:cubicBezTo>
                    <a:cubicBezTo>
                      <a:pt x="56" y="4"/>
                      <a:pt x="58" y="4"/>
                      <a:pt x="59" y="3"/>
                    </a:cubicBezTo>
                    <a:cubicBezTo>
                      <a:pt x="61" y="3"/>
                      <a:pt x="62" y="1"/>
                      <a:pt x="63" y="0"/>
                    </a:cubicBezTo>
                    <a:cubicBezTo>
                      <a:pt x="63" y="1"/>
                      <a:pt x="64" y="3"/>
                      <a:pt x="64" y="4"/>
                    </a:cubicBezTo>
                    <a:cubicBezTo>
                      <a:pt x="64" y="5"/>
                      <a:pt x="65" y="6"/>
                      <a:pt x="64" y="7"/>
                    </a:cubicBezTo>
                    <a:cubicBezTo>
                      <a:pt x="64" y="9"/>
                      <a:pt x="63" y="10"/>
                      <a:pt x="64" y="12"/>
                    </a:cubicBezTo>
                    <a:cubicBezTo>
                      <a:pt x="64" y="13"/>
                      <a:pt x="66" y="13"/>
                      <a:pt x="67" y="14"/>
                    </a:cubicBezTo>
                    <a:cubicBezTo>
                      <a:pt x="68" y="17"/>
                      <a:pt x="69" y="20"/>
                      <a:pt x="68" y="23"/>
                    </a:cubicBezTo>
                    <a:cubicBezTo>
                      <a:pt x="68" y="27"/>
                      <a:pt x="67" y="30"/>
                      <a:pt x="65" y="34"/>
                    </a:cubicBezTo>
                    <a:cubicBezTo>
                      <a:pt x="65" y="34"/>
                      <a:pt x="64" y="33"/>
                      <a:pt x="63" y="33"/>
                    </a:cubicBezTo>
                    <a:cubicBezTo>
                      <a:pt x="61" y="34"/>
                      <a:pt x="59" y="37"/>
                      <a:pt x="57" y="38"/>
                    </a:cubicBezTo>
                    <a:cubicBezTo>
                      <a:pt x="55" y="39"/>
                      <a:pt x="52" y="37"/>
                      <a:pt x="51" y="38"/>
                    </a:cubicBezTo>
                    <a:cubicBezTo>
                      <a:pt x="50" y="39"/>
                      <a:pt x="51" y="41"/>
                      <a:pt x="50" y="42"/>
                    </a:cubicBezTo>
                    <a:cubicBezTo>
                      <a:pt x="49" y="42"/>
                      <a:pt x="47" y="41"/>
                      <a:pt x="46" y="41"/>
                    </a:cubicBezTo>
                    <a:cubicBezTo>
                      <a:pt x="45" y="41"/>
                      <a:pt x="44" y="42"/>
                      <a:pt x="44" y="43"/>
                    </a:cubicBezTo>
                    <a:cubicBezTo>
                      <a:pt x="45" y="45"/>
                      <a:pt x="45" y="47"/>
                      <a:pt x="46" y="48"/>
                    </a:cubicBezTo>
                    <a:cubicBezTo>
                      <a:pt x="46" y="49"/>
                      <a:pt x="48" y="49"/>
                      <a:pt x="48" y="50"/>
                    </a:cubicBezTo>
                    <a:cubicBezTo>
                      <a:pt x="49" y="51"/>
                      <a:pt x="49" y="52"/>
                      <a:pt x="49" y="53"/>
                    </a:cubicBezTo>
                    <a:cubicBezTo>
                      <a:pt x="49" y="54"/>
                      <a:pt x="49" y="56"/>
                      <a:pt x="48" y="56"/>
                    </a:cubicBezTo>
                    <a:cubicBezTo>
                      <a:pt x="46" y="56"/>
                      <a:pt x="45" y="54"/>
                      <a:pt x="43" y="54"/>
                    </a:cubicBezTo>
                    <a:cubicBezTo>
                      <a:pt x="40" y="53"/>
                      <a:pt x="37" y="53"/>
                      <a:pt x="34" y="54"/>
                    </a:cubicBezTo>
                    <a:cubicBezTo>
                      <a:pt x="33" y="54"/>
                      <a:pt x="36" y="57"/>
                      <a:pt x="35" y="58"/>
                    </a:cubicBezTo>
                    <a:cubicBezTo>
                      <a:pt x="34" y="59"/>
                      <a:pt x="33" y="60"/>
                      <a:pt x="31" y="60"/>
                    </a:cubicBezTo>
                    <a:cubicBezTo>
                      <a:pt x="30" y="60"/>
                      <a:pt x="28" y="60"/>
                      <a:pt x="27" y="6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18" name="Freeform 2639"/>
              <p:cNvSpPr>
                <a:spLocks noChangeAspect="1"/>
              </p:cNvSpPr>
              <p:nvPr/>
            </p:nvSpPr>
            <p:spPr bwMode="auto">
              <a:xfrm>
                <a:off x="6155437" y="2588972"/>
                <a:ext cx="136456" cy="218465"/>
              </a:xfrm>
              <a:custGeom>
                <a:avLst/>
                <a:gdLst>
                  <a:gd name="T0" fmla="*/ 54 w 101"/>
                  <a:gd name="T1" fmla="*/ 232 h 219"/>
                  <a:gd name="T2" fmla="*/ 57 w 101"/>
                  <a:gd name="T3" fmla="*/ 257 h 219"/>
                  <a:gd name="T4" fmla="*/ 64 w 101"/>
                  <a:gd name="T5" fmla="*/ 262 h 219"/>
                  <a:gd name="T6" fmla="*/ 76 w 101"/>
                  <a:gd name="T7" fmla="*/ 249 h 219"/>
                  <a:gd name="T8" fmla="*/ 81 w 101"/>
                  <a:gd name="T9" fmla="*/ 244 h 219"/>
                  <a:gd name="T10" fmla="*/ 80 w 101"/>
                  <a:gd name="T11" fmla="*/ 237 h 219"/>
                  <a:gd name="T12" fmla="*/ 88 w 101"/>
                  <a:gd name="T13" fmla="*/ 231 h 219"/>
                  <a:gd name="T14" fmla="*/ 103 w 101"/>
                  <a:gd name="T15" fmla="*/ 226 h 219"/>
                  <a:gd name="T16" fmla="*/ 115 w 101"/>
                  <a:gd name="T17" fmla="*/ 214 h 219"/>
                  <a:gd name="T18" fmla="*/ 117 w 101"/>
                  <a:gd name="T19" fmla="*/ 193 h 219"/>
                  <a:gd name="T20" fmla="*/ 117 w 101"/>
                  <a:gd name="T21" fmla="*/ 189 h 219"/>
                  <a:gd name="T22" fmla="*/ 118 w 101"/>
                  <a:gd name="T23" fmla="*/ 175 h 219"/>
                  <a:gd name="T24" fmla="*/ 110 w 101"/>
                  <a:gd name="T25" fmla="*/ 143 h 219"/>
                  <a:gd name="T26" fmla="*/ 98 w 101"/>
                  <a:gd name="T27" fmla="*/ 130 h 219"/>
                  <a:gd name="T28" fmla="*/ 85 w 101"/>
                  <a:gd name="T29" fmla="*/ 116 h 219"/>
                  <a:gd name="T30" fmla="*/ 71 w 101"/>
                  <a:gd name="T31" fmla="*/ 96 h 219"/>
                  <a:gd name="T32" fmla="*/ 57 w 101"/>
                  <a:gd name="T33" fmla="*/ 82 h 219"/>
                  <a:gd name="T34" fmla="*/ 69 w 101"/>
                  <a:gd name="T35" fmla="*/ 56 h 219"/>
                  <a:gd name="T36" fmla="*/ 79 w 101"/>
                  <a:gd name="T37" fmla="*/ 44 h 219"/>
                  <a:gd name="T38" fmla="*/ 79 w 101"/>
                  <a:gd name="T39" fmla="*/ 31 h 219"/>
                  <a:gd name="T40" fmla="*/ 69 w 101"/>
                  <a:gd name="T41" fmla="*/ 13 h 219"/>
                  <a:gd name="T42" fmla="*/ 58 w 101"/>
                  <a:gd name="T43" fmla="*/ 8 h 219"/>
                  <a:gd name="T44" fmla="*/ 41 w 101"/>
                  <a:gd name="T45" fmla="*/ 5 h 219"/>
                  <a:gd name="T46" fmla="*/ 29 w 101"/>
                  <a:gd name="T47" fmla="*/ 13 h 219"/>
                  <a:gd name="T48" fmla="*/ 19 w 101"/>
                  <a:gd name="T49" fmla="*/ 18 h 219"/>
                  <a:gd name="T50" fmla="*/ 8 w 101"/>
                  <a:gd name="T51" fmla="*/ 19 h 219"/>
                  <a:gd name="T52" fmla="*/ 0 w 101"/>
                  <a:gd name="T53" fmla="*/ 19 h 219"/>
                  <a:gd name="T54" fmla="*/ 10 w 101"/>
                  <a:gd name="T55" fmla="*/ 28 h 219"/>
                  <a:gd name="T56" fmla="*/ 17 w 101"/>
                  <a:gd name="T57" fmla="*/ 47 h 219"/>
                  <a:gd name="T58" fmla="*/ 30 w 101"/>
                  <a:gd name="T59" fmla="*/ 46 h 219"/>
                  <a:gd name="T60" fmla="*/ 35 w 101"/>
                  <a:gd name="T61" fmla="*/ 54 h 219"/>
                  <a:gd name="T62" fmla="*/ 46 w 101"/>
                  <a:gd name="T63" fmla="*/ 64 h 219"/>
                  <a:gd name="T64" fmla="*/ 34 w 101"/>
                  <a:gd name="T65" fmla="*/ 67 h 219"/>
                  <a:gd name="T66" fmla="*/ 50 w 101"/>
                  <a:gd name="T67" fmla="*/ 84 h 219"/>
                  <a:gd name="T68" fmla="*/ 63 w 101"/>
                  <a:gd name="T69" fmla="*/ 106 h 219"/>
                  <a:gd name="T70" fmla="*/ 75 w 101"/>
                  <a:gd name="T71" fmla="*/ 124 h 219"/>
                  <a:gd name="T72" fmla="*/ 86 w 101"/>
                  <a:gd name="T73" fmla="*/ 136 h 219"/>
                  <a:gd name="T74" fmla="*/ 91 w 101"/>
                  <a:gd name="T75" fmla="*/ 157 h 219"/>
                  <a:gd name="T76" fmla="*/ 92 w 101"/>
                  <a:gd name="T77" fmla="*/ 172 h 219"/>
                  <a:gd name="T78" fmla="*/ 93 w 101"/>
                  <a:gd name="T79" fmla="*/ 198 h 219"/>
                  <a:gd name="T80" fmla="*/ 76 w 101"/>
                  <a:gd name="T81" fmla="*/ 203 h 219"/>
                  <a:gd name="T82" fmla="*/ 68 w 101"/>
                  <a:gd name="T83" fmla="*/ 209 h 219"/>
                  <a:gd name="T84" fmla="*/ 74 w 101"/>
                  <a:gd name="T85" fmla="*/ 221 h 219"/>
                  <a:gd name="T86" fmla="*/ 56 w 101"/>
                  <a:gd name="T87" fmla="*/ 222 h 219"/>
                  <a:gd name="T88" fmla="*/ 47 w 101"/>
                  <a:gd name="T89" fmla="*/ 229 h 219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01"/>
                  <a:gd name="T136" fmla="*/ 0 h 219"/>
                  <a:gd name="T137" fmla="*/ 101 w 101"/>
                  <a:gd name="T138" fmla="*/ 219 h 219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01" h="219">
                    <a:moveTo>
                      <a:pt x="39" y="191"/>
                    </a:moveTo>
                    <a:cubicBezTo>
                      <a:pt x="39" y="192"/>
                      <a:pt x="41" y="195"/>
                      <a:pt x="42" y="195"/>
                    </a:cubicBezTo>
                    <a:cubicBezTo>
                      <a:pt x="43" y="195"/>
                      <a:pt x="44" y="193"/>
                      <a:pt x="45" y="193"/>
                    </a:cubicBezTo>
                    <a:cubicBezTo>
                      <a:pt x="48" y="195"/>
                      <a:pt x="50" y="197"/>
                      <a:pt x="51" y="199"/>
                    </a:cubicBezTo>
                    <a:cubicBezTo>
                      <a:pt x="51" y="201"/>
                      <a:pt x="47" y="200"/>
                      <a:pt x="47" y="202"/>
                    </a:cubicBezTo>
                    <a:cubicBezTo>
                      <a:pt x="45" y="206"/>
                      <a:pt x="46" y="210"/>
                      <a:pt x="47" y="214"/>
                    </a:cubicBezTo>
                    <a:cubicBezTo>
                      <a:pt x="47" y="215"/>
                      <a:pt x="48" y="216"/>
                      <a:pt x="48" y="218"/>
                    </a:cubicBezTo>
                    <a:cubicBezTo>
                      <a:pt x="48" y="218"/>
                      <a:pt x="46" y="219"/>
                      <a:pt x="47" y="219"/>
                    </a:cubicBezTo>
                    <a:cubicBezTo>
                      <a:pt x="49" y="219"/>
                      <a:pt x="51" y="219"/>
                      <a:pt x="53" y="218"/>
                    </a:cubicBezTo>
                    <a:cubicBezTo>
                      <a:pt x="54" y="217"/>
                      <a:pt x="55" y="216"/>
                      <a:pt x="56" y="214"/>
                    </a:cubicBezTo>
                    <a:cubicBezTo>
                      <a:pt x="57" y="213"/>
                      <a:pt x="56" y="211"/>
                      <a:pt x="57" y="210"/>
                    </a:cubicBezTo>
                    <a:cubicBezTo>
                      <a:pt x="59" y="209"/>
                      <a:pt x="62" y="209"/>
                      <a:pt x="63" y="207"/>
                    </a:cubicBezTo>
                    <a:cubicBezTo>
                      <a:pt x="63" y="204"/>
                      <a:pt x="58" y="201"/>
                      <a:pt x="60" y="200"/>
                    </a:cubicBezTo>
                    <a:cubicBezTo>
                      <a:pt x="62" y="199"/>
                      <a:pt x="63" y="203"/>
                      <a:pt x="66" y="204"/>
                    </a:cubicBezTo>
                    <a:cubicBezTo>
                      <a:pt x="66" y="205"/>
                      <a:pt x="67" y="204"/>
                      <a:pt x="67" y="203"/>
                    </a:cubicBezTo>
                    <a:cubicBezTo>
                      <a:pt x="67" y="201"/>
                      <a:pt x="64" y="199"/>
                      <a:pt x="65" y="198"/>
                    </a:cubicBezTo>
                    <a:cubicBezTo>
                      <a:pt x="67" y="197"/>
                      <a:pt x="69" y="202"/>
                      <a:pt x="70" y="201"/>
                    </a:cubicBezTo>
                    <a:cubicBezTo>
                      <a:pt x="71" y="199"/>
                      <a:pt x="66" y="199"/>
                      <a:pt x="66" y="197"/>
                    </a:cubicBezTo>
                    <a:cubicBezTo>
                      <a:pt x="66" y="196"/>
                      <a:pt x="70" y="199"/>
                      <a:pt x="70" y="197"/>
                    </a:cubicBezTo>
                    <a:cubicBezTo>
                      <a:pt x="72" y="196"/>
                      <a:pt x="69" y="193"/>
                      <a:pt x="70" y="192"/>
                    </a:cubicBezTo>
                    <a:cubicBezTo>
                      <a:pt x="70" y="191"/>
                      <a:pt x="72" y="191"/>
                      <a:pt x="73" y="192"/>
                    </a:cubicBezTo>
                    <a:cubicBezTo>
                      <a:pt x="74" y="192"/>
                      <a:pt x="74" y="194"/>
                      <a:pt x="74" y="194"/>
                    </a:cubicBezTo>
                    <a:cubicBezTo>
                      <a:pt x="76" y="194"/>
                      <a:pt x="77" y="193"/>
                      <a:pt x="79" y="192"/>
                    </a:cubicBezTo>
                    <a:cubicBezTo>
                      <a:pt x="81" y="191"/>
                      <a:pt x="83" y="190"/>
                      <a:pt x="85" y="188"/>
                    </a:cubicBezTo>
                    <a:cubicBezTo>
                      <a:pt x="86" y="187"/>
                      <a:pt x="86" y="185"/>
                      <a:pt x="88" y="184"/>
                    </a:cubicBezTo>
                    <a:cubicBezTo>
                      <a:pt x="88" y="183"/>
                      <a:pt x="89" y="185"/>
                      <a:pt x="90" y="184"/>
                    </a:cubicBezTo>
                    <a:cubicBezTo>
                      <a:pt x="91" y="182"/>
                      <a:pt x="92" y="179"/>
                      <a:pt x="95" y="178"/>
                    </a:cubicBezTo>
                    <a:cubicBezTo>
                      <a:pt x="97" y="177"/>
                      <a:pt x="98" y="175"/>
                      <a:pt x="98" y="173"/>
                    </a:cubicBezTo>
                    <a:cubicBezTo>
                      <a:pt x="99" y="170"/>
                      <a:pt x="98" y="167"/>
                      <a:pt x="98" y="165"/>
                    </a:cubicBezTo>
                    <a:cubicBezTo>
                      <a:pt x="98" y="164"/>
                      <a:pt x="96" y="162"/>
                      <a:pt x="97" y="161"/>
                    </a:cubicBezTo>
                    <a:cubicBezTo>
                      <a:pt x="98" y="161"/>
                      <a:pt x="100" y="164"/>
                      <a:pt x="100" y="163"/>
                    </a:cubicBezTo>
                    <a:cubicBezTo>
                      <a:pt x="101" y="161"/>
                      <a:pt x="98" y="160"/>
                      <a:pt x="97" y="159"/>
                    </a:cubicBezTo>
                    <a:cubicBezTo>
                      <a:pt x="97" y="158"/>
                      <a:pt x="96" y="157"/>
                      <a:pt x="97" y="157"/>
                    </a:cubicBezTo>
                    <a:cubicBezTo>
                      <a:pt x="98" y="156"/>
                      <a:pt x="100" y="159"/>
                      <a:pt x="101" y="158"/>
                    </a:cubicBezTo>
                    <a:cubicBezTo>
                      <a:pt x="101" y="156"/>
                      <a:pt x="98" y="155"/>
                      <a:pt x="98" y="153"/>
                    </a:cubicBezTo>
                    <a:cubicBezTo>
                      <a:pt x="98" y="151"/>
                      <a:pt x="99" y="148"/>
                      <a:pt x="98" y="146"/>
                    </a:cubicBezTo>
                    <a:cubicBezTo>
                      <a:pt x="98" y="143"/>
                      <a:pt x="97" y="141"/>
                      <a:pt x="97" y="139"/>
                    </a:cubicBezTo>
                    <a:cubicBezTo>
                      <a:pt x="95" y="134"/>
                      <a:pt x="94" y="129"/>
                      <a:pt x="93" y="124"/>
                    </a:cubicBezTo>
                    <a:cubicBezTo>
                      <a:pt x="92" y="122"/>
                      <a:pt x="92" y="120"/>
                      <a:pt x="91" y="119"/>
                    </a:cubicBezTo>
                    <a:cubicBezTo>
                      <a:pt x="90" y="118"/>
                      <a:pt x="89" y="120"/>
                      <a:pt x="89" y="119"/>
                    </a:cubicBezTo>
                    <a:cubicBezTo>
                      <a:pt x="87" y="116"/>
                      <a:pt x="87" y="112"/>
                      <a:pt x="85" y="109"/>
                    </a:cubicBezTo>
                    <a:cubicBezTo>
                      <a:pt x="84" y="108"/>
                      <a:pt x="82" y="109"/>
                      <a:pt x="81" y="108"/>
                    </a:cubicBezTo>
                    <a:cubicBezTo>
                      <a:pt x="80" y="107"/>
                      <a:pt x="81" y="105"/>
                      <a:pt x="80" y="104"/>
                    </a:cubicBezTo>
                    <a:cubicBezTo>
                      <a:pt x="79" y="104"/>
                      <a:pt x="77" y="105"/>
                      <a:pt x="75" y="104"/>
                    </a:cubicBezTo>
                    <a:cubicBezTo>
                      <a:pt x="73" y="102"/>
                      <a:pt x="72" y="99"/>
                      <a:pt x="70" y="97"/>
                    </a:cubicBezTo>
                    <a:cubicBezTo>
                      <a:pt x="67" y="94"/>
                      <a:pt x="64" y="92"/>
                      <a:pt x="61" y="89"/>
                    </a:cubicBezTo>
                    <a:cubicBezTo>
                      <a:pt x="60" y="88"/>
                      <a:pt x="59" y="87"/>
                      <a:pt x="59" y="86"/>
                    </a:cubicBezTo>
                    <a:cubicBezTo>
                      <a:pt x="58" y="84"/>
                      <a:pt x="59" y="82"/>
                      <a:pt x="59" y="80"/>
                    </a:cubicBezTo>
                    <a:cubicBezTo>
                      <a:pt x="58" y="78"/>
                      <a:pt x="55" y="77"/>
                      <a:pt x="53" y="76"/>
                    </a:cubicBezTo>
                    <a:cubicBezTo>
                      <a:pt x="53" y="76"/>
                      <a:pt x="53" y="77"/>
                      <a:pt x="52" y="77"/>
                    </a:cubicBezTo>
                    <a:cubicBezTo>
                      <a:pt x="50" y="74"/>
                      <a:pt x="48" y="72"/>
                      <a:pt x="47" y="68"/>
                    </a:cubicBezTo>
                    <a:cubicBezTo>
                      <a:pt x="46" y="67"/>
                      <a:pt x="47" y="65"/>
                      <a:pt x="47" y="63"/>
                    </a:cubicBezTo>
                    <a:cubicBezTo>
                      <a:pt x="47" y="60"/>
                      <a:pt x="48" y="57"/>
                      <a:pt x="50" y="54"/>
                    </a:cubicBezTo>
                    <a:cubicBezTo>
                      <a:pt x="51" y="51"/>
                      <a:pt x="55" y="50"/>
                      <a:pt x="57" y="47"/>
                    </a:cubicBezTo>
                    <a:cubicBezTo>
                      <a:pt x="58" y="46"/>
                      <a:pt x="57" y="43"/>
                      <a:pt x="58" y="42"/>
                    </a:cubicBezTo>
                    <a:cubicBezTo>
                      <a:pt x="59" y="39"/>
                      <a:pt x="61" y="37"/>
                      <a:pt x="63" y="36"/>
                    </a:cubicBezTo>
                    <a:cubicBezTo>
                      <a:pt x="63" y="36"/>
                      <a:pt x="64" y="38"/>
                      <a:pt x="65" y="37"/>
                    </a:cubicBezTo>
                    <a:cubicBezTo>
                      <a:pt x="66" y="36"/>
                      <a:pt x="65" y="33"/>
                      <a:pt x="67" y="32"/>
                    </a:cubicBezTo>
                    <a:cubicBezTo>
                      <a:pt x="68" y="31"/>
                      <a:pt x="71" y="30"/>
                      <a:pt x="72" y="29"/>
                    </a:cubicBezTo>
                    <a:cubicBezTo>
                      <a:pt x="70" y="28"/>
                      <a:pt x="67" y="27"/>
                      <a:pt x="65" y="26"/>
                    </a:cubicBezTo>
                    <a:cubicBezTo>
                      <a:pt x="62" y="25"/>
                      <a:pt x="60" y="23"/>
                      <a:pt x="58" y="23"/>
                    </a:cubicBezTo>
                    <a:cubicBezTo>
                      <a:pt x="57" y="21"/>
                      <a:pt x="56" y="18"/>
                      <a:pt x="54" y="16"/>
                    </a:cubicBezTo>
                    <a:cubicBezTo>
                      <a:pt x="54" y="14"/>
                      <a:pt x="57" y="13"/>
                      <a:pt x="57" y="11"/>
                    </a:cubicBezTo>
                    <a:cubicBezTo>
                      <a:pt x="57" y="10"/>
                      <a:pt x="56" y="8"/>
                      <a:pt x="55" y="8"/>
                    </a:cubicBezTo>
                    <a:cubicBezTo>
                      <a:pt x="54" y="8"/>
                      <a:pt x="53" y="9"/>
                      <a:pt x="52" y="9"/>
                    </a:cubicBezTo>
                    <a:cubicBezTo>
                      <a:pt x="50" y="9"/>
                      <a:pt x="49" y="7"/>
                      <a:pt x="48" y="7"/>
                    </a:cubicBezTo>
                    <a:cubicBezTo>
                      <a:pt x="46" y="7"/>
                      <a:pt x="45" y="8"/>
                      <a:pt x="44" y="8"/>
                    </a:cubicBezTo>
                    <a:cubicBezTo>
                      <a:pt x="42" y="6"/>
                      <a:pt x="43" y="2"/>
                      <a:pt x="40" y="1"/>
                    </a:cubicBezTo>
                    <a:cubicBezTo>
                      <a:pt x="38" y="0"/>
                      <a:pt x="36" y="3"/>
                      <a:pt x="34" y="4"/>
                    </a:cubicBezTo>
                    <a:cubicBezTo>
                      <a:pt x="32" y="6"/>
                      <a:pt x="30" y="8"/>
                      <a:pt x="28" y="10"/>
                    </a:cubicBezTo>
                    <a:cubicBezTo>
                      <a:pt x="28" y="10"/>
                      <a:pt x="29" y="12"/>
                      <a:pt x="28" y="12"/>
                    </a:cubicBezTo>
                    <a:cubicBezTo>
                      <a:pt x="26" y="13"/>
                      <a:pt x="25" y="10"/>
                      <a:pt x="24" y="11"/>
                    </a:cubicBezTo>
                    <a:cubicBezTo>
                      <a:pt x="22" y="11"/>
                      <a:pt x="23" y="13"/>
                      <a:pt x="22" y="14"/>
                    </a:cubicBezTo>
                    <a:cubicBezTo>
                      <a:pt x="21" y="14"/>
                      <a:pt x="20" y="12"/>
                      <a:pt x="19" y="12"/>
                    </a:cubicBezTo>
                    <a:cubicBezTo>
                      <a:pt x="18" y="13"/>
                      <a:pt x="17" y="15"/>
                      <a:pt x="16" y="15"/>
                    </a:cubicBezTo>
                    <a:cubicBezTo>
                      <a:pt x="15" y="15"/>
                      <a:pt x="15" y="12"/>
                      <a:pt x="14" y="12"/>
                    </a:cubicBezTo>
                    <a:cubicBezTo>
                      <a:pt x="12" y="12"/>
                      <a:pt x="12" y="15"/>
                      <a:pt x="11" y="16"/>
                    </a:cubicBezTo>
                    <a:cubicBezTo>
                      <a:pt x="9" y="16"/>
                      <a:pt x="8" y="16"/>
                      <a:pt x="7" y="16"/>
                    </a:cubicBezTo>
                    <a:cubicBezTo>
                      <a:pt x="6" y="15"/>
                      <a:pt x="7" y="13"/>
                      <a:pt x="6" y="12"/>
                    </a:cubicBezTo>
                    <a:cubicBezTo>
                      <a:pt x="5" y="11"/>
                      <a:pt x="3" y="11"/>
                      <a:pt x="2" y="12"/>
                    </a:cubicBezTo>
                    <a:cubicBezTo>
                      <a:pt x="1" y="13"/>
                      <a:pt x="1" y="15"/>
                      <a:pt x="0" y="16"/>
                    </a:cubicBezTo>
                    <a:cubicBezTo>
                      <a:pt x="1" y="17"/>
                      <a:pt x="2" y="19"/>
                      <a:pt x="3" y="20"/>
                    </a:cubicBezTo>
                    <a:cubicBezTo>
                      <a:pt x="3" y="22"/>
                      <a:pt x="4" y="25"/>
                      <a:pt x="6" y="25"/>
                    </a:cubicBezTo>
                    <a:cubicBezTo>
                      <a:pt x="7" y="26"/>
                      <a:pt x="7" y="22"/>
                      <a:pt x="8" y="23"/>
                    </a:cubicBezTo>
                    <a:cubicBezTo>
                      <a:pt x="9" y="23"/>
                      <a:pt x="10" y="25"/>
                      <a:pt x="11" y="26"/>
                    </a:cubicBezTo>
                    <a:cubicBezTo>
                      <a:pt x="11" y="28"/>
                      <a:pt x="9" y="30"/>
                      <a:pt x="9" y="31"/>
                    </a:cubicBezTo>
                    <a:cubicBezTo>
                      <a:pt x="10" y="34"/>
                      <a:pt x="12" y="37"/>
                      <a:pt x="14" y="39"/>
                    </a:cubicBezTo>
                    <a:cubicBezTo>
                      <a:pt x="15" y="40"/>
                      <a:pt x="16" y="39"/>
                      <a:pt x="17" y="40"/>
                    </a:cubicBezTo>
                    <a:cubicBezTo>
                      <a:pt x="18" y="40"/>
                      <a:pt x="19" y="43"/>
                      <a:pt x="20" y="42"/>
                    </a:cubicBezTo>
                    <a:cubicBezTo>
                      <a:pt x="22" y="42"/>
                      <a:pt x="23" y="39"/>
                      <a:pt x="25" y="38"/>
                    </a:cubicBezTo>
                    <a:cubicBezTo>
                      <a:pt x="26" y="38"/>
                      <a:pt x="27" y="38"/>
                      <a:pt x="28" y="38"/>
                    </a:cubicBezTo>
                    <a:cubicBezTo>
                      <a:pt x="30" y="40"/>
                      <a:pt x="32" y="43"/>
                      <a:pt x="32" y="45"/>
                    </a:cubicBezTo>
                    <a:cubicBezTo>
                      <a:pt x="32" y="46"/>
                      <a:pt x="30" y="45"/>
                      <a:pt x="29" y="45"/>
                    </a:cubicBezTo>
                    <a:cubicBezTo>
                      <a:pt x="28" y="46"/>
                      <a:pt x="28" y="47"/>
                      <a:pt x="28" y="47"/>
                    </a:cubicBezTo>
                    <a:cubicBezTo>
                      <a:pt x="31" y="48"/>
                      <a:pt x="35" y="48"/>
                      <a:pt x="37" y="50"/>
                    </a:cubicBezTo>
                    <a:cubicBezTo>
                      <a:pt x="38" y="50"/>
                      <a:pt x="38" y="52"/>
                      <a:pt x="38" y="53"/>
                    </a:cubicBezTo>
                    <a:cubicBezTo>
                      <a:pt x="37" y="54"/>
                      <a:pt x="36" y="52"/>
                      <a:pt x="35" y="53"/>
                    </a:cubicBezTo>
                    <a:cubicBezTo>
                      <a:pt x="34" y="54"/>
                      <a:pt x="34" y="56"/>
                      <a:pt x="33" y="57"/>
                    </a:cubicBezTo>
                    <a:cubicBezTo>
                      <a:pt x="31" y="58"/>
                      <a:pt x="30" y="56"/>
                      <a:pt x="28" y="56"/>
                    </a:cubicBezTo>
                    <a:cubicBezTo>
                      <a:pt x="27" y="57"/>
                      <a:pt x="28" y="58"/>
                      <a:pt x="27" y="59"/>
                    </a:cubicBezTo>
                    <a:cubicBezTo>
                      <a:pt x="26" y="60"/>
                      <a:pt x="23" y="60"/>
                      <a:pt x="24" y="61"/>
                    </a:cubicBezTo>
                    <a:cubicBezTo>
                      <a:pt x="29" y="65"/>
                      <a:pt x="36" y="66"/>
                      <a:pt x="41" y="70"/>
                    </a:cubicBezTo>
                    <a:cubicBezTo>
                      <a:pt x="43" y="72"/>
                      <a:pt x="41" y="74"/>
                      <a:pt x="42" y="76"/>
                    </a:cubicBezTo>
                    <a:cubicBezTo>
                      <a:pt x="42" y="77"/>
                      <a:pt x="44" y="78"/>
                      <a:pt x="45" y="79"/>
                    </a:cubicBezTo>
                    <a:cubicBezTo>
                      <a:pt x="47" y="82"/>
                      <a:pt x="49" y="86"/>
                      <a:pt x="52" y="88"/>
                    </a:cubicBezTo>
                    <a:cubicBezTo>
                      <a:pt x="53" y="90"/>
                      <a:pt x="55" y="90"/>
                      <a:pt x="56" y="91"/>
                    </a:cubicBezTo>
                    <a:cubicBezTo>
                      <a:pt x="58" y="93"/>
                      <a:pt x="59" y="95"/>
                      <a:pt x="60" y="97"/>
                    </a:cubicBezTo>
                    <a:cubicBezTo>
                      <a:pt x="61" y="99"/>
                      <a:pt x="61" y="101"/>
                      <a:pt x="62" y="103"/>
                    </a:cubicBezTo>
                    <a:cubicBezTo>
                      <a:pt x="64" y="105"/>
                      <a:pt x="67" y="105"/>
                      <a:pt x="69" y="107"/>
                    </a:cubicBezTo>
                    <a:cubicBezTo>
                      <a:pt x="71" y="108"/>
                      <a:pt x="74" y="109"/>
                      <a:pt x="74" y="111"/>
                    </a:cubicBezTo>
                    <a:cubicBezTo>
                      <a:pt x="74" y="112"/>
                      <a:pt x="70" y="112"/>
                      <a:pt x="71" y="113"/>
                    </a:cubicBezTo>
                    <a:cubicBezTo>
                      <a:pt x="72" y="117"/>
                      <a:pt x="76" y="118"/>
                      <a:pt x="77" y="121"/>
                    </a:cubicBezTo>
                    <a:cubicBezTo>
                      <a:pt x="77" y="123"/>
                      <a:pt x="74" y="123"/>
                      <a:pt x="74" y="125"/>
                    </a:cubicBezTo>
                    <a:cubicBezTo>
                      <a:pt x="73" y="127"/>
                      <a:pt x="75" y="129"/>
                      <a:pt x="75" y="131"/>
                    </a:cubicBezTo>
                    <a:cubicBezTo>
                      <a:pt x="75" y="132"/>
                      <a:pt x="76" y="134"/>
                      <a:pt x="76" y="135"/>
                    </a:cubicBezTo>
                    <a:cubicBezTo>
                      <a:pt x="76" y="136"/>
                      <a:pt x="77" y="137"/>
                      <a:pt x="76" y="138"/>
                    </a:cubicBezTo>
                    <a:cubicBezTo>
                      <a:pt x="76" y="140"/>
                      <a:pt x="75" y="141"/>
                      <a:pt x="76" y="143"/>
                    </a:cubicBezTo>
                    <a:cubicBezTo>
                      <a:pt x="76" y="144"/>
                      <a:pt x="78" y="144"/>
                      <a:pt x="79" y="145"/>
                    </a:cubicBezTo>
                    <a:cubicBezTo>
                      <a:pt x="80" y="148"/>
                      <a:pt x="81" y="151"/>
                      <a:pt x="80" y="154"/>
                    </a:cubicBezTo>
                    <a:cubicBezTo>
                      <a:pt x="80" y="158"/>
                      <a:pt x="79" y="161"/>
                      <a:pt x="77" y="165"/>
                    </a:cubicBezTo>
                    <a:cubicBezTo>
                      <a:pt x="77" y="165"/>
                      <a:pt x="76" y="164"/>
                      <a:pt x="75" y="164"/>
                    </a:cubicBezTo>
                    <a:cubicBezTo>
                      <a:pt x="73" y="165"/>
                      <a:pt x="71" y="168"/>
                      <a:pt x="69" y="169"/>
                    </a:cubicBezTo>
                    <a:cubicBezTo>
                      <a:pt x="67" y="170"/>
                      <a:pt x="64" y="168"/>
                      <a:pt x="63" y="169"/>
                    </a:cubicBezTo>
                    <a:cubicBezTo>
                      <a:pt x="62" y="170"/>
                      <a:pt x="63" y="172"/>
                      <a:pt x="62" y="173"/>
                    </a:cubicBezTo>
                    <a:cubicBezTo>
                      <a:pt x="61" y="173"/>
                      <a:pt x="59" y="172"/>
                      <a:pt x="58" y="172"/>
                    </a:cubicBezTo>
                    <a:cubicBezTo>
                      <a:pt x="57" y="172"/>
                      <a:pt x="56" y="173"/>
                      <a:pt x="56" y="174"/>
                    </a:cubicBezTo>
                    <a:cubicBezTo>
                      <a:pt x="57" y="176"/>
                      <a:pt x="57" y="178"/>
                      <a:pt x="58" y="179"/>
                    </a:cubicBezTo>
                    <a:cubicBezTo>
                      <a:pt x="58" y="180"/>
                      <a:pt x="60" y="180"/>
                      <a:pt x="60" y="181"/>
                    </a:cubicBezTo>
                    <a:cubicBezTo>
                      <a:pt x="61" y="182"/>
                      <a:pt x="61" y="183"/>
                      <a:pt x="61" y="184"/>
                    </a:cubicBezTo>
                    <a:cubicBezTo>
                      <a:pt x="61" y="185"/>
                      <a:pt x="61" y="187"/>
                      <a:pt x="60" y="187"/>
                    </a:cubicBezTo>
                    <a:cubicBezTo>
                      <a:pt x="58" y="187"/>
                      <a:pt x="57" y="185"/>
                      <a:pt x="55" y="185"/>
                    </a:cubicBezTo>
                    <a:cubicBezTo>
                      <a:pt x="52" y="184"/>
                      <a:pt x="49" y="184"/>
                      <a:pt x="46" y="185"/>
                    </a:cubicBezTo>
                    <a:cubicBezTo>
                      <a:pt x="45" y="185"/>
                      <a:pt x="48" y="188"/>
                      <a:pt x="47" y="189"/>
                    </a:cubicBezTo>
                    <a:cubicBezTo>
                      <a:pt x="46" y="190"/>
                      <a:pt x="45" y="191"/>
                      <a:pt x="43" y="191"/>
                    </a:cubicBezTo>
                    <a:cubicBezTo>
                      <a:pt x="42" y="191"/>
                      <a:pt x="40" y="191"/>
                      <a:pt x="39" y="19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19" name="Freeform 2640"/>
              <p:cNvSpPr>
                <a:spLocks noChangeAspect="1"/>
              </p:cNvSpPr>
              <p:nvPr/>
            </p:nvSpPr>
            <p:spPr bwMode="auto">
              <a:xfrm>
                <a:off x="6474207" y="2278303"/>
                <a:ext cx="87243" cy="91373"/>
              </a:xfrm>
              <a:custGeom>
                <a:avLst/>
                <a:gdLst>
                  <a:gd name="T0" fmla="*/ 36 w 65"/>
                  <a:gd name="T1" fmla="*/ 106 h 92"/>
                  <a:gd name="T2" fmla="*/ 30 w 65"/>
                  <a:gd name="T3" fmla="*/ 102 h 92"/>
                  <a:gd name="T4" fmla="*/ 22 w 65"/>
                  <a:gd name="T5" fmla="*/ 110 h 92"/>
                  <a:gd name="T6" fmla="*/ 23 w 65"/>
                  <a:gd name="T7" fmla="*/ 105 h 92"/>
                  <a:gd name="T8" fmla="*/ 18 w 65"/>
                  <a:gd name="T9" fmla="*/ 102 h 92"/>
                  <a:gd name="T10" fmla="*/ 20 w 65"/>
                  <a:gd name="T11" fmla="*/ 98 h 92"/>
                  <a:gd name="T12" fmla="*/ 12 w 65"/>
                  <a:gd name="T13" fmla="*/ 98 h 92"/>
                  <a:gd name="T14" fmla="*/ 13 w 65"/>
                  <a:gd name="T15" fmla="*/ 91 h 92"/>
                  <a:gd name="T16" fmla="*/ 20 w 65"/>
                  <a:gd name="T17" fmla="*/ 88 h 92"/>
                  <a:gd name="T18" fmla="*/ 16 w 65"/>
                  <a:gd name="T19" fmla="*/ 85 h 92"/>
                  <a:gd name="T20" fmla="*/ 20 w 65"/>
                  <a:gd name="T21" fmla="*/ 74 h 92"/>
                  <a:gd name="T22" fmla="*/ 19 w 65"/>
                  <a:gd name="T23" fmla="*/ 71 h 92"/>
                  <a:gd name="T24" fmla="*/ 22 w 65"/>
                  <a:gd name="T25" fmla="*/ 65 h 92"/>
                  <a:gd name="T26" fmla="*/ 17 w 65"/>
                  <a:gd name="T27" fmla="*/ 68 h 92"/>
                  <a:gd name="T28" fmla="*/ 5 w 65"/>
                  <a:gd name="T29" fmla="*/ 68 h 92"/>
                  <a:gd name="T30" fmla="*/ 0 w 65"/>
                  <a:gd name="T31" fmla="*/ 63 h 92"/>
                  <a:gd name="T32" fmla="*/ 14 w 65"/>
                  <a:gd name="T33" fmla="*/ 49 h 92"/>
                  <a:gd name="T34" fmla="*/ 20 w 65"/>
                  <a:gd name="T35" fmla="*/ 44 h 92"/>
                  <a:gd name="T36" fmla="*/ 25 w 65"/>
                  <a:gd name="T37" fmla="*/ 37 h 92"/>
                  <a:gd name="T38" fmla="*/ 25 w 65"/>
                  <a:gd name="T39" fmla="*/ 29 h 92"/>
                  <a:gd name="T40" fmla="*/ 31 w 65"/>
                  <a:gd name="T41" fmla="*/ 26 h 92"/>
                  <a:gd name="T42" fmla="*/ 32 w 65"/>
                  <a:gd name="T43" fmla="*/ 30 h 92"/>
                  <a:gd name="T44" fmla="*/ 38 w 65"/>
                  <a:gd name="T45" fmla="*/ 32 h 92"/>
                  <a:gd name="T46" fmla="*/ 47 w 65"/>
                  <a:gd name="T47" fmla="*/ 32 h 92"/>
                  <a:gd name="T48" fmla="*/ 47 w 65"/>
                  <a:gd name="T49" fmla="*/ 28 h 92"/>
                  <a:gd name="T50" fmla="*/ 47 w 65"/>
                  <a:gd name="T51" fmla="*/ 23 h 92"/>
                  <a:gd name="T52" fmla="*/ 56 w 65"/>
                  <a:gd name="T53" fmla="*/ 23 h 92"/>
                  <a:gd name="T54" fmla="*/ 64 w 65"/>
                  <a:gd name="T55" fmla="*/ 10 h 92"/>
                  <a:gd name="T56" fmla="*/ 67 w 65"/>
                  <a:gd name="T57" fmla="*/ 10 h 92"/>
                  <a:gd name="T58" fmla="*/ 68 w 65"/>
                  <a:gd name="T59" fmla="*/ 1 h 92"/>
                  <a:gd name="T60" fmla="*/ 73 w 65"/>
                  <a:gd name="T61" fmla="*/ 1 h 92"/>
                  <a:gd name="T62" fmla="*/ 74 w 65"/>
                  <a:gd name="T63" fmla="*/ 8 h 92"/>
                  <a:gd name="T64" fmla="*/ 78 w 65"/>
                  <a:gd name="T65" fmla="*/ 13 h 92"/>
                  <a:gd name="T66" fmla="*/ 72 w 65"/>
                  <a:gd name="T67" fmla="*/ 30 h 92"/>
                  <a:gd name="T68" fmla="*/ 73 w 65"/>
                  <a:gd name="T69" fmla="*/ 35 h 92"/>
                  <a:gd name="T70" fmla="*/ 76 w 65"/>
                  <a:gd name="T71" fmla="*/ 45 h 92"/>
                  <a:gd name="T72" fmla="*/ 72 w 65"/>
                  <a:gd name="T73" fmla="*/ 49 h 92"/>
                  <a:gd name="T74" fmla="*/ 66 w 65"/>
                  <a:gd name="T75" fmla="*/ 55 h 92"/>
                  <a:gd name="T76" fmla="*/ 59 w 65"/>
                  <a:gd name="T77" fmla="*/ 63 h 92"/>
                  <a:gd name="T78" fmla="*/ 50 w 65"/>
                  <a:gd name="T79" fmla="*/ 63 h 92"/>
                  <a:gd name="T80" fmla="*/ 49 w 65"/>
                  <a:gd name="T81" fmla="*/ 66 h 92"/>
                  <a:gd name="T82" fmla="*/ 46 w 65"/>
                  <a:gd name="T83" fmla="*/ 66 h 92"/>
                  <a:gd name="T84" fmla="*/ 46 w 65"/>
                  <a:gd name="T85" fmla="*/ 71 h 92"/>
                  <a:gd name="T86" fmla="*/ 48 w 65"/>
                  <a:gd name="T87" fmla="*/ 73 h 92"/>
                  <a:gd name="T88" fmla="*/ 46 w 65"/>
                  <a:gd name="T89" fmla="*/ 79 h 92"/>
                  <a:gd name="T90" fmla="*/ 53 w 65"/>
                  <a:gd name="T91" fmla="*/ 81 h 92"/>
                  <a:gd name="T92" fmla="*/ 65 w 65"/>
                  <a:gd name="T93" fmla="*/ 91 h 92"/>
                  <a:gd name="T94" fmla="*/ 60 w 65"/>
                  <a:gd name="T95" fmla="*/ 97 h 92"/>
                  <a:gd name="T96" fmla="*/ 52 w 65"/>
                  <a:gd name="T97" fmla="*/ 97 h 92"/>
                  <a:gd name="T98" fmla="*/ 46 w 65"/>
                  <a:gd name="T99" fmla="*/ 98 h 92"/>
                  <a:gd name="T100" fmla="*/ 42 w 65"/>
                  <a:gd name="T101" fmla="*/ 103 h 92"/>
                  <a:gd name="T102" fmla="*/ 36 w 65"/>
                  <a:gd name="T103" fmla="*/ 106 h 92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65"/>
                  <a:gd name="T157" fmla="*/ 0 h 92"/>
                  <a:gd name="T158" fmla="*/ 65 w 65"/>
                  <a:gd name="T159" fmla="*/ 92 h 92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65" h="92">
                    <a:moveTo>
                      <a:pt x="30" y="89"/>
                    </a:moveTo>
                    <a:cubicBezTo>
                      <a:pt x="29" y="87"/>
                      <a:pt x="27" y="85"/>
                      <a:pt x="25" y="85"/>
                    </a:cubicBezTo>
                    <a:cubicBezTo>
                      <a:pt x="22" y="86"/>
                      <a:pt x="21" y="90"/>
                      <a:pt x="18" y="92"/>
                    </a:cubicBezTo>
                    <a:cubicBezTo>
                      <a:pt x="17" y="92"/>
                      <a:pt x="20" y="89"/>
                      <a:pt x="19" y="88"/>
                    </a:cubicBezTo>
                    <a:cubicBezTo>
                      <a:pt x="18" y="87"/>
                      <a:pt x="16" y="87"/>
                      <a:pt x="15" y="85"/>
                    </a:cubicBezTo>
                    <a:cubicBezTo>
                      <a:pt x="15" y="84"/>
                      <a:pt x="18" y="83"/>
                      <a:pt x="17" y="82"/>
                    </a:cubicBezTo>
                    <a:cubicBezTo>
                      <a:pt x="15" y="81"/>
                      <a:pt x="12" y="83"/>
                      <a:pt x="10" y="82"/>
                    </a:cubicBezTo>
                    <a:cubicBezTo>
                      <a:pt x="10" y="80"/>
                      <a:pt x="13" y="77"/>
                      <a:pt x="11" y="76"/>
                    </a:cubicBezTo>
                    <a:cubicBezTo>
                      <a:pt x="12" y="74"/>
                      <a:pt x="16" y="76"/>
                      <a:pt x="17" y="74"/>
                    </a:cubicBezTo>
                    <a:cubicBezTo>
                      <a:pt x="18" y="72"/>
                      <a:pt x="13" y="73"/>
                      <a:pt x="13" y="71"/>
                    </a:cubicBezTo>
                    <a:cubicBezTo>
                      <a:pt x="13" y="68"/>
                      <a:pt x="16" y="65"/>
                      <a:pt x="17" y="62"/>
                    </a:cubicBezTo>
                    <a:cubicBezTo>
                      <a:pt x="17" y="61"/>
                      <a:pt x="16" y="60"/>
                      <a:pt x="16" y="59"/>
                    </a:cubicBezTo>
                    <a:cubicBezTo>
                      <a:pt x="16" y="58"/>
                      <a:pt x="19" y="55"/>
                      <a:pt x="18" y="54"/>
                    </a:cubicBezTo>
                    <a:cubicBezTo>
                      <a:pt x="17" y="53"/>
                      <a:pt x="15" y="57"/>
                      <a:pt x="14" y="57"/>
                    </a:cubicBezTo>
                    <a:cubicBezTo>
                      <a:pt x="11" y="58"/>
                      <a:pt x="7" y="58"/>
                      <a:pt x="4" y="57"/>
                    </a:cubicBezTo>
                    <a:cubicBezTo>
                      <a:pt x="2" y="57"/>
                      <a:pt x="1" y="54"/>
                      <a:pt x="0" y="53"/>
                    </a:cubicBezTo>
                    <a:cubicBezTo>
                      <a:pt x="4" y="49"/>
                      <a:pt x="8" y="45"/>
                      <a:pt x="12" y="41"/>
                    </a:cubicBezTo>
                    <a:cubicBezTo>
                      <a:pt x="14" y="39"/>
                      <a:pt x="16" y="39"/>
                      <a:pt x="17" y="37"/>
                    </a:cubicBezTo>
                    <a:cubicBezTo>
                      <a:pt x="19" y="36"/>
                      <a:pt x="21" y="33"/>
                      <a:pt x="21" y="31"/>
                    </a:cubicBezTo>
                    <a:cubicBezTo>
                      <a:pt x="22" y="28"/>
                      <a:pt x="20" y="26"/>
                      <a:pt x="21" y="24"/>
                    </a:cubicBezTo>
                    <a:cubicBezTo>
                      <a:pt x="22" y="22"/>
                      <a:pt x="24" y="22"/>
                      <a:pt x="26" y="22"/>
                    </a:cubicBezTo>
                    <a:cubicBezTo>
                      <a:pt x="27" y="22"/>
                      <a:pt x="27" y="24"/>
                      <a:pt x="27" y="25"/>
                    </a:cubicBezTo>
                    <a:cubicBezTo>
                      <a:pt x="29" y="26"/>
                      <a:pt x="30" y="27"/>
                      <a:pt x="32" y="27"/>
                    </a:cubicBezTo>
                    <a:cubicBezTo>
                      <a:pt x="34" y="27"/>
                      <a:pt x="37" y="28"/>
                      <a:pt x="39" y="27"/>
                    </a:cubicBezTo>
                    <a:cubicBezTo>
                      <a:pt x="40" y="26"/>
                      <a:pt x="39" y="24"/>
                      <a:pt x="39" y="23"/>
                    </a:cubicBezTo>
                    <a:cubicBezTo>
                      <a:pt x="39" y="22"/>
                      <a:pt x="38" y="20"/>
                      <a:pt x="39" y="19"/>
                    </a:cubicBezTo>
                    <a:cubicBezTo>
                      <a:pt x="41" y="18"/>
                      <a:pt x="45" y="21"/>
                      <a:pt x="47" y="19"/>
                    </a:cubicBezTo>
                    <a:cubicBezTo>
                      <a:pt x="51" y="17"/>
                      <a:pt x="51" y="12"/>
                      <a:pt x="53" y="8"/>
                    </a:cubicBezTo>
                    <a:cubicBezTo>
                      <a:pt x="54" y="8"/>
                      <a:pt x="56" y="9"/>
                      <a:pt x="56" y="8"/>
                    </a:cubicBezTo>
                    <a:cubicBezTo>
                      <a:pt x="57" y="6"/>
                      <a:pt x="56" y="3"/>
                      <a:pt x="57" y="1"/>
                    </a:cubicBezTo>
                    <a:cubicBezTo>
                      <a:pt x="58" y="0"/>
                      <a:pt x="60" y="0"/>
                      <a:pt x="61" y="1"/>
                    </a:cubicBezTo>
                    <a:cubicBezTo>
                      <a:pt x="62" y="3"/>
                      <a:pt x="62" y="5"/>
                      <a:pt x="62" y="7"/>
                    </a:cubicBezTo>
                    <a:cubicBezTo>
                      <a:pt x="63" y="8"/>
                      <a:pt x="64" y="9"/>
                      <a:pt x="65" y="11"/>
                    </a:cubicBezTo>
                    <a:cubicBezTo>
                      <a:pt x="64" y="15"/>
                      <a:pt x="61" y="20"/>
                      <a:pt x="60" y="25"/>
                    </a:cubicBezTo>
                    <a:cubicBezTo>
                      <a:pt x="60" y="26"/>
                      <a:pt x="61" y="28"/>
                      <a:pt x="61" y="29"/>
                    </a:cubicBezTo>
                    <a:cubicBezTo>
                      <a:pt x="62" y="32"/>
                      <a:pt x="63" y="35"/>
                      <a:pt x="63" y="38"/>
                    </a:cubicBezTo>
                    <a:cubicBezTo>
                      <a:pt x="63" y="39"/>
                      <a:pt x="61" y="40"/>
                      <a:pt x="60" y="41"/>
                    </a:cubicBezTo>
                    <a:cubicBezTo>
                      <a:pt x="57" y="41"/>
                      <a:pt x="57" y="44"/>
                      <a:pt x="55" y="46"/>
                    </a:cubicBezTo>
                    <a:cubicBezTo>
                      <a:pt x="52" y="48"/>
                      <a:pt x="51" y="51"/>
                      <a:pt x="49" y="53"/>
                    </a:cubicBezTo>
                    <a:cubicBezTo>
                      <a:pt x="47" y="54"/>
                      <a:pt x="44" y="52"/>
                      <a:pt x="42" y="53"/>
                    </a:cubicBezTo>
                    <a:cubicBezTo>
                      <a:pt x="41" y="53"/>
                      <a:pt x="42" y="55"/>
                      <a:pt x="41" y="55"/>
                    </a:cubicBezTo>
                    <a:cubicBezTo>
                      <a:pt x="41" y="56"/>
                      <a:pt x="39" y="55"/>
                      <a:pt x="38" y="55"/>
                    </a:cubicBezTo>
                    <a:cubicBezTo>
                      <a:pt x="38" y="56"/>
                      <a:pt x="38" y="58"/>
                      <a:pt x="38" y="59"/>
                    </a:cubicBezTo>
                    <a:cubicBezTo>
                      <a:pt x="39" y="60"/>
                      <a:pt x="40" y="60"/>
                      <a:pt x="40" y="61"/>
                    </a:cubicBezTo>
                    <a:cubicBezTo>
                      <a:pt x="40" y="63"/>
                      <a:pt x="37" y="64"/>
                      <a:pt x="38" y="66"/>
                    </a:cubicBezTo>
                    <a:cubicBezTo>
                      <a:pt x="39" y="68"/>
                      <a:pt x="43" y="67"/>
                      <a:pt x="44" y="68"/>
                    </a:cubicBezTo>
                    <a:cubicBezTo>
                      <a:pt x="48" y="71"/>
                      <a:pt x="51" y="73"/>
                      <a:pt x="54" y="76"/>
                    </a:cubicBezTo>
                    <a:cubicBezTo>
                      <a:pt x="53" y="78"/>
                      <a:pt x="52" y="80"/>
                      <a:pt x="50" y="81"/>
                    </a:cubicBezTo>
                    <a:cubicBezTo>
                      <a:pt x="48" y="82"/>
                      <a:pt x="45" y="80"/>
                      <a:pt x="43" y="81"/>
                    </a:cubicBezTo>
                    <a:cubicBezTo>
                      <a:pt x="41" y="81"/>
                      <a:pt x="39" y="81"/>
                      <a:pt x="38" y="82"/>
                    </a:cubicBezTo>
                    <a:cubicBezTo>
                      <a:pt x="37" y="83"/>
                      <a:pt x="37" y="85"/>
                      <a:pt x="35" y="86"/>
                    </a:cubicBezTo>
                    <a:cubicBezTo>
                      <a:pt x="34" y="87"/>
                      <a:pt x="32" y="88"/>
                      <a:pt x="30" y="89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20" name="Freeform 2641"/>
              <p:cNvSpPr>
                <a:spLocks noChangeAspect="1"/>
              </p:cNvSpPr>
              <p:nvPr/>
            </p:nvSpPr>
            <p:spPr bwMode="auto">
              <a:xfrm>
                <a:off x="6514473" y="2353892"/>
                <a:ext cx="62636" cy="68945"/>
              </a:xfrm>
              <a:custGeom>
                <a:avLst/>
                <a:gdLst>
                  <a:gd name="T0" fmla="*/ 0 w 47"/>
                  <a:gd name="T1" fmla="*/ 16 h 69"/>
                  <a:gd name="T2" fmla="*/ 6 w 47"/>
                  <a:gd name="T3" fmla="*/ 12 h 69"/>
                  <a:gd name="T4" fmla="*/ 10 w 47"/>
                  <a:gd name="T5" fmla="*/ 7 h 69"/>
                  <a:gd name="T6" fmla="*/ 15 w 47"/>
                  <a:gd name="T7" fmla="*/ 6 h 69"/>
                  <a:gd name="T8" fmla="*/ 24 w 47"/>
                  <a:gd name="T9" fmla="*/ 6 h 69"/>
                  <a:gd name="T10" fmla="*/ 29 w 47"/>
                  <a:gd name="T11" fmla="*/ 0 h 69"/>
                  <a:gd name="T12" fmla="*/ 35 w 47"/>
                  <a:gd name="T13" fmla="*/ 10 h 69"/>
                  <a:gd name="T14" fmla="*/ 46 w 47"/>
                  <a:gd name="T15" fmla="*/ 26 h 69"/>
                  <a:gd name="T16" fmla="*/ 50 w 47"/>
                  <a:gd name="T17" fmla="*/ 43 h 69"/>
                  <a:gd name="T18" fmla="*/ 51 w 47"/>
                  <a:gd name="T19" fmla="*/ 51 h 69"/>
                  <a:gd name="T20" fmla="*/ 54 w 47"/>
                  <a:gd name="T21" fmla="*/ 49 h 69"/>
                  <a:gd name="T22" fmla="*/ 54 w 47"/>
                  <a:gd name="T23" fmla="*/ 66 h 69"/>
                  <a:gd name="T24" fmla="*/ 44 w 47"/>
                  <a:gd name="T25" fmla="*/ 67 h 69"/>
                  <a:gd name="T26" fmla="*/ 43 w 47"/>
                  <a:gd name="T27" fmla="*/ 73 h 69"/>
                  <a:gd name="T28" fmla="*/ 35 w 47"/>
                  <a:gd name="T29" fmla="*/ 70 h 69"/>
                  <a:gd name="T30" fmla="*/ 36 w 47"/>
                  <a:gd name="T31" fmla="*/ 75 h 69"/>
                  <a:gd name="T32" fmla="*/ 32 w 47"/>
                  <a:gd name="T33" fmla="*/ 71 h 69"/>
                  <a:gd name="T34" fmla="*/ 32 w 47"/>
                  <a:gd name="T35" fmla="*/ 77 h 69"/>
                  <a:gd name="T36" fmla="*/ 27 w 47"/>
                  <a:gd name="T37" fmla="*/ 72 h 69"/>
                  <a:gd name="T38" fmla="*/ 27 w 47"/>
                  <a:gd name="T39" fmla="*/ 77 h 69"/>
                  <a:gd name="T40" fmla="*/ 24 w 47"/>
                  <a:gd name="T41" fmla="*/ 78 h 69"/>
                  <a:gd name="T42" fmla="*/ 24 w 47"/>
                  <a:gd name="T43" fmla="*/ 73 h 69"/>
                  <a:gd name="T44" fmla="*/ 19 w 47"/>
                  <a:gd name="T45" fmla="*/ 79 h 69"/>
                  <a:gd name="T46" fmla="*/ 18 w 47"/>
                  <a:gd name="T47" fmla="*/ 77 h 69"/>
                  <a:gd name="T48" fmla="*/ 13 w 47"/>
                  <a:gd name="T49" fmla="*/ 83 h 69"/>
                  <a:gd name="T50" fmla="*/ 11 w 47"/>
                  <a:gd name="T51" fmla="*/ 76 h 69"/>
                  <a:gd name="T52" fmla="*/ 13 w 47"/>
                  <a:gd name="T53" fmla="*/ 72 h 69"/>
                  <a:gd name="T54" fmla="*/ 10 w 47"/>
                  <a:gd name="T55" fmla="*/ 65 h 69"/>
                  <a:gd name="T56" fmla="*/ 12 w 47"/>
                  <a:gd name="T57" fmla="*/ 59 h 69"/>
                  <a:gd name="T58" fmla="*/ 10 w 47"/>
                  <a:gd name="T59" fmla="*/ 59 h 69"/>
                  <a:gd name="T60" fmla="*/ 11 w 47"/>
                  <a:gd name="T61" fmla="*/ 51 h 69"/>
                  <a:gd name="T62" fmla="*/ 7 w 47"/>
                  <a:gd name="T63" fmla="*/ 35 h 69"/>
                  <a:gd name="T64" fmla="*/ 1 w 47"/>
                  <a:gd name="T65" fmla="*/ 34 h 69"/>
                  <a:gd name="T66" fmla="*/ 4 w 47"/>
                  <a:gd name="T67" fmla="*/ 30 h 69"/>
                  <a:gd name="T68" fmla="*/ 10 w 47"/>
                  <a:gd name="T69" fmla="*/ 30 h 69"/>
                  <a:gd name="T70" fmla="*/ 8 w 47"/>
                  <a:gd name="T71" fmla="*/ 23 h 69"/>
                  <a:gd name="T72" fmla="*/ 5 w 47"/>
                  <a:gd name="T73" fmla="*/ 18 h 69"/>
                  <a:gd name="T74" fmla="*/ 1 w 47"/>
                  <a:gd name="T75" fmla="*/ 18 h 69"/>
                  <a:gd name="T76" fmla="*/ 0 w 47"/>
                  <a:gd name="T77" fmla="*/ 16 h 69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47"/>
                  <a:gd name="T118" fmla="*/ 0 h 69"/>
                  <a:gd name="T119" fmla="*/ 47 w 47"/>
                  <a:gd name="T120" fmla="*/ 69 h 69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47" h="69">
                    <a:moveTo>
                      <a:pt x="0" y="13"/>
                    </a:moveTo>
                    <a:cubicBezTo>
                      <a:pt x="2" y="12"/>
                      <a:pt x="4" y="11"/>
                      <a:pt x="5" y="10"/>
                    </a:cubicBezTo>
                    <a:cubicBezTo>
                      <a:pt x="7" y="9"/>
                      <a:pt x="7" y="7"/>
                      <a:pt x="8" y="6"/>
                    </a:cubicBezTo>
                    <a:cubicBezTo>
                      <a:pt x="9" y="5"/>
                      <a:pt x="11" y="5"/>
                      <a:pt x="13" y="5"/>
                    </a:cubicBezTo>
                    <a:cubicBezTo>
                      <a:pt x="15" y="4"/>
                      <a:pt x="18" y="6"/>
                      <a:pt x="20" y="5"/>
                    </a:cubicBezTo>
                    <a:cubicBezTo>
                      <a:pt x="22" y="4"/>
                      <a:pt x="23" y="2"/>
                      <a:pt x="24" y="0"/>
                    </a:cubicBezTo>
                    <a:cubicBezTo>
                      <a:pt x="25" y="3"/>
                      <a:pt x="27" y="6"/>
                      <a:pt x="29" y="8"/>
                    </a:cubicBezTo>
                    <a:cubicBezTo>
                      <a:pt x="32" y="13"/>
                      <a:pt x="36" y="17"/>
                      <a:pt x="39" y="22"/>
                    </a:cubicBezTo>
                    <a:cubicBezTo>
                      <a:pt x="41" y="26"/>
                      <a:pt x="41" y="31"/>
                      <a:pt x="42" y="36"/>
                    </a:cubicBezTo>
                    <a:cubicBezTo>
                      <a:pt x="43" y="38"/>
                      <a:pt x="42" y="40"/>
                      <a:pt x="43" y="42"/>
                    </a:cubicBezTo>
                    <a:cubicBezTo>
                      <a:pt x="43" y="43"/>
                      <a:pt x="45" y="40"/>
                      <a:pt x="45" y="41"/>
                    </a:cubicBezTo>
                    <a:cubicBezTo>
                      <a:pt x="46" y="46"/>
                      <a:pt x="47" y="51"/>
                      <a:pt x="45" y="55"/>
                    </a:cubicBezTo>
                    <a:cubicBezTo>
                      <a:pt x="43" y="58"/>
                      <a:pt x="39" y="55"/>
                      <a:pt x="37" y="56"/>
                    </a:cubicBezTo>
                    <a:cubicBezTo>
                      <a:pt x="36" y="57"/>
                      <a:pt x="38" y="61"/>
                      <a:pt x="36" y="61"/>
                    </a:cubicBezTo>
                    <a:cubicBezTo>
                      <a:pt x="34" y="62"/>
                      <a:pt x="32" y="58"/>
                      <a:pt x="29" y="58"/>
                    </a:cubicBezTo>
                    <a:cubicBezTo>
                      <a:pt x="28" y="59"/>
                      <a:pt x="30" y="61"/>
                      <a:pt x="30" y="62"/>
                    </a:cubicBezTo>
                    <a:cubicBezTo>
                      <a:pt x="28" y="62"/>
                      <a:pt x="28" y="58"/>
                      <a:pt x="27" y="59"/>
                    </a:cubicBezTo>
                    <a:cubicBezTo>
                      <a:pt x="26" y="60"/>
                      <a:pt x="27" y="63"/>
                      <a:pt x="27" y="64"/>
                    </a:cubicBezTo>
                    <a:cubicBezTo>
                      <a:pt x="25" y="64"/>
                      <a:pt x="25" y="61"/>
                      <a:pt x="23" y="60"/>
                    </a:cubicBezTo>
                    <a:cubicBezTo>
                      <a:pt x="22" y="60"/>
                      <a:pt x="24" y="63"/>
                      <a:pt x="23" y="64"/>
                    </a:cubicBezTo>
                    <a:cubicBezTo>
                      <a:pt x="23" y="65"/>
                      <a:pt x="21" y="65"/>
                      <a:pt x="20" y="65"/>
                    </a:cubicBezTo>
                    <a:cubicBezTo>
                      <a:pt x="20" y="64"/>
                      <a:pt x="21" y="61"/>
                      <a:pt x="20" y="61"/>
                    </a:cubicBezTo>
                    <a:cubicBezTo>
                      <a:pt x="18" y="62"/>
                      <a:pt x="18" y="65"/>
                      <a:pt x="16" y="66"/>
                    </a:cubicBezTo>
                    <a:cubicBezTo>
                      <a:pt x="15" y="67"/>
                      <a:pt x="15" y="64"/>
                      <a:pt x="15" y="64"/>
                    </a:cubicBezTo>
                    <a:cubicBezTo>
                      <a:pt x="13" y="65"/>
                      <a:pt x="13" y="69"/>
                      <a:pt x="11" y="69"/>
                    </a:cubicBezTo>
                    <a:cubicBezTo>
                      <a:pt x="9" y="68"/>
                      <a:pt x="9" y="65"/>
                      <a:pt x="9" y="63"/>
                    </a:cubicBezTo>
                    <a:cubicBezTo>
                      <a:pt x="9" y="62"/>
                      <a:pt x="11" y="61"/>
                      <a:pt x="11" y="60"/>
                    </a:cubicBezTo>
                    <a:cubicBezTo>
                      <a:pt x="11" y="58"/>
                      <a:pt x="9" y="56"/>
                      <a:pt x="8" y="54"/>
                    </a:cubicBezTo>
                    <a:cubicBezTo>
                      <a:pt x="8" y="52"/>
                      <a:pt x="10" y="51"/>
                      <a:pt x="10" y="49"/>
                    </a:cubicBezTo>
                    <a:cubicBezTo>
                      <a:pt x="10" y="48"/>
                      <a:pt x="8" y="49"/>
                      <a:pt x="8" y="49"/>
                    </a:cubicBezTo>
                    <a:cubicBezTo>
                      <a:pt x="8" y="46"/>
                      <a:pt x="10" y="44"/>
                      <a:pt x="9" y="42"/>
                    </a:cubicBezTo>
                    <a:cubicBezTo>
                      <a:pt x="9" y="37"/>
                      <a:pt x="8" y="33"/>
                      <a:pt x="6" y="29"/>
                    </a:cubicBezTo>
                    <a:cubicBezTo>
                      <a:pt x="5" y="28"/>
                      <a:pt x="2" y="30"/>
                      <a:pt x="1" y="28"/>
                    </a:cubicBezTo>
                    <a:cubicBezTo>
                      <a:pt x="0" y="27"/>
                      <a:pt x="2" y="25"/>
                      <a:pt x="3" y="25"/>
                    </a:cubicBezTo>
                    <a:cubicBezTo>
                      <a:pt x="5" y="24"/>
                      <a:pt x="7" y="26"/>
                      <a:pt x="8" y="25"/>
                    </a:cubicBezTo>
                    <a:cubicBezTo>
                      <a:pt x="9" y="23"/>
                      <a:pt x="8" y="21"/>
                      <a:pt x="7" y="19"/>
                    </a:cubicBezTo>
                    <a:cubicBezTo>
                      <a:pt x="6" y="17"/>
                      <a:pt x="5" y="16"/>
                      <a:pt x="4" y="15"/>
                    </a:cubicBezTo>
                    <a:cubicBezTo>
                      <a:pt x="3" y="14"/>
                      <a:pt x="2" y="15"/>
                      <a:pt x="1" y="15"/>
                    </a:cubicBezTo>
                    <a:cubicBezTo>
                      <a:pt x="1" y="14"/>
                      <a:pt x="1" y="13"/>
                      <a:pt x="0" y="1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21" name="Freeform 2642"/>
              <p:cNvSpPr>
                <a:spLocks noChangeAspect="1"/>
              </p:cNvSpPr>
              <p:nvPr/>
            </p:nvSpPr>
            <p:spPr bwMode="auto">
              <a:xfrm>
                <a:off x="4805418" y="2049038"/>
                <a:ext cx="149877" cy="87219"/>
              </a:xfrm>
              <a:custGeom>
                <a:avLst/>
                <a:gdLst>
                  <a:gd name="T0" fmla="*/ 8 w 112"/>
                  <a:gd name="T1" fmla="*/ 99 h 88"/>
                  <a:gd name="T2" fmla="*/ 8 w 112"/>
                  <a:gd name="T3" fmla="*/ 87 h 88"/>
                  <a:gd name="T4" fmla="*/ 5 w 112"/>
                  <a:gd name="T5" fmla="*/ 87 h 88"/>
                  <a:gd name="T6" fmla="*/ 2 w 112"/>
                  <a:gd name="T7" fmla="*/ 85 h 88"/>
                  <a:gd name="T8" fmla="*/ 4 w 112"/>
                  <a:gd name="T9" fmla="*/ 78 h 88"/>
                  <a:gd name="T10" fmla="*/ 6 w 112"/>
                  <a:gd name="T11" fmla="*/ 75 h 88"/>
                  <a:gd name="T12" fmla="*/ 8 w 112"/>
                  <a:gd name="T13" fmla="*/ 72 h 88"/>
                  <a:gd name="T14" fmla="*/ 8 w 112"/>
                  <a:gd name="T15" fmla="*/ 62 h 88"/>
                  <a:gd name="T16" fmla="*/ 6 w 112"/>
                  <a:gd name="T17" fmla="*/ 58 h 88"/>
                  <a:gd name="T18" fmla="*/ 1 w 112"/>
                  <a:gd name="T19" fmla="*/ 55 h 88"/>
                  <a:gd name="T20" fmla="*/ 1 w 112"/>
                  <a:gd name="T21" fmla="*/ 49 h 88"/>
                  <a:gd name="T22" fmla="*/ 7 w 112"/>
                  <a:gd name="T23" fmla="*/ 50 h 88"/>
                  <a:gd name="T24" fmla="*/ 13 w 112"/>
                  <a:gd name="T25" fmla="*/ 48 h 88"/>
                  <a:gd name="T26" fmla="*/ 19 w 112"/>
                  <a:gd name="T27" fmla="*/ 48 h 88"/>
                  <a:gd name="T28" fmla="*/ 23 w 112"/>
                  <a:gd name="T29" fmla="*/ 42 h 88"/>
                  <a:gd name="T30" fmla="*/ 34 w 112"/>
                  <a:gd name="T31" fmla="*/ 42 h 88"/>
                  <a:gd name="T32" fmla="*/ 32 w 112"/>
                  <a:gd name="T33" fmla="*/ 36 h 88"/>
                  <a:gd name="T34" fmla="*/ 36 w 112"/>
                  <a:gd name="T35" fmla="*/ 26 h 88"/>
                  <a:gd name="T36" fmla="*/ 47 w 112"/>
                  <a:gd name="T37" fmla="*/ 24 h 88"/>
                  <a:gd name="T38" fmla="*/ 47 w 112"/>
                  <a:gd name="T39" fmla="*/ 16 h 88"/>
                  <a:gd name="T40" fmla="*/ 51 w 112"/>
                  <a:gd name="T41" fmla="*/ 11 h 88"/>
                  <a:gd name="T42" fmla="*/ 59 w 112"/>
                  <a:gd name="T43" fmla="*/ 12 h 88"/>
                  <a:gd name="T44" fmla="*/ 62 w 112"/>
                  <a:gd name="T45" fmla="*/ 5 h 88"/>
                  <a:gd name="T46" fmla="*/ 66 w 112"/>
                  <a:gd name="T47" fmla="*/ 1 h 88"/>
                  <a:gd name="T48" fmla="*/ 73 w 112"/>
                  <a:gd name="T49" fmla="*/ 1 h 88"/>
                  <a:gd name="T50" fmla="*/ 75 w 112"/>
                  <a:gd name="T51" fmla="*/ 5 h 88"/>
                  <a:gd name="T52" fmla="*/ 83 w 112"/>
                  <a:gd name="T53" fmla="*/ 5 h 88"/>
                  <a:gd name="T54" fmla="*/ 84 w 112"/>
                  <a:gd name="T55" fmla="*/ 11 h 88"/>
                  <a:gd name="T56" fmla="*/ 93 w 112"/>
                  <a:gd name="T57" fmla="*/ 8 h 88"/>
                  <a:gd name="T58" fmla="*/ 108 w 112"/>
                  <a:gd name="T59" fmla="*/ 13 h 88"/>
                  <a:gd name="T60" fmla="*/ 106 w 112"/>
                  <a:gd name="T61" fmla="*/ 30 h 88"/>
                  <a:gd name="T62" fmla="*/ 110 w 112"/>
                  <a:gd name="T63" fmla="*/ 35 h 88"/>
                  <a:gd name="T64" fmla="*/ 111 w 112"/>
                  <a:gd name="T65" fmla="*/ 39 h 88"/>
                  <a:gd name="T66" fmla="*/ 121 w 112"/>
                  <a:gd name="T67" fmla="*/ 45 h 88"/>
                  <a:gd name="T68" fmla="*/ 121 w 112"/>
                  <a:gd name="T69" fmla="*/ 53 h 88"/>
                  <a:gd name="T70" fmla="*/ 128 w 112"/>
                  <a:gd name="T71" fmla="*/ 55 h 88"/>
                  <a:gd name="T72" fmla="*/ 134 w 112"/>
                  <a:gd name="T73" fmla="*/ 62 h 88"/>
                  <a:gd name="T74" fmla="*/ 127 w 112"/>
                  <a:gd name="T75" fmla="*/ 67 h 88"/>
                  <a:gd name="T76" fmla="*/ 122 w 112"/>
                  <a:gd name="T77" fmla="*/ 67 h 88"/>
                  <a:gd name="T78" fmla="*/ 117 w 112"/>
                  <a:gd name="T79" fmla="*/ 63 h 88"/>
                  <a:gd name="T80" fmla="*/ 112 w 112"/>
                  <a:gd name="T81" fmla="*/ 68 h 88"/>
                  <a:gd name="T82" fmla="*/ 117 w 112"/>
                  <a:gd name="T83" fmla="*/ 75 h 88"/>
                  <a:gd name="T84" fmla="*/ 120 w 112"/>
                  <a:gd name="T85" fmla="*/ 86 h 88"/>
                  <a:gd name="T86" fmla="*/ 110 w 112"/>
                  <a:gd name="T87" fmla="*/ 89 h 88"/>
                  <a:gd name="T88" fmla="*/ 106 w 112"/>
                  <a:gd name="T89" fmla="*/ 97 h 88"/>
                  <a:gd name="T90" fmla="*/ 103 w 112"/>
                  <a:gd name="T91" fmla="*/ 104 h 88"/>
                  <a:gd name="T92" fmla="*/ 97 w 112"/>
                  <a:gd name="T93" fmla="*/ 101 h 88"/>
                  <a:gd name="T94" fmla="*/ 91 w 112"/>
                  <a:gd name="T95" fmla="*/ 101 h 88"/>
                  <a:gd name="T96" fmla="*/ 85 w 112"/>
                  <a:gd name="T97" fmla="*/ 100 h 88"/>
                  <a:gd name="T98" fmla="*/ 79 w 112"/>
                  <a:gd name="T99" fmla="*/ 101 h 88"/>
                  <a:gd name="T100" fmla="*/ 73 w 112"/>
                  <a:gd name="T101" fmla="*/ 100 h 88"/>
                  <a:gd name="T102" fmla="*/ 66 w 112"/>
                  <a:gd name="T103" fmla="*/ 103 h 88"/>
                  <a:gd name="T104" fmla="*/ 62 w 112"/>
                  <a:gd name="T105" fmla="*/ 100 h 88"/>
                  <a:gd name="T106" fmla="*/ 53 w 112"/>
                  <a:gd name="T107" fmla="*/ 95 h 88"/>
                  <a:gd name="T108" fmla="*/ 45 w 112"/>
                  <a:gd name="T109" fmla="*/ 95 h 88"/>
                  <a:gd name="T110" fmla="*/ 38 w 112"/>
                  <a:gd name="T111" fmla="*/ 93 h 88"/>
                  <a:gd name="T112" fmla="*/ 26 w 112"/>
                  <a:gd name="T113" fmla="*/ 93 h 88"/>
                  <a:gd name="T114" fmla="*/ 18 w 112"/>
                  <a:gd name="T115" fmla="*/ 93 h 88"/>
                  <a:gd name="T116" fmla="*/ 16 w 112"/>
                  <a:gd name="T117" fmla="*/ 100 h 88"/>
                  <a:gd name="T118" fmla="*/ 8 w 112"/>
                  <a:gd name="T119" fmla="*/ 99 h 8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112"/>
                  <a:gd name="T181" fmla="*/ 0 h 88"/>
                  <a:gd name="T182" fmla="*/ 112 w 112"/>
                  <a:gd name="T183" fmla="*/ 88 h 88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112" h="88">
                    <a:moveTo>
                      <a:pt x="7" y="83"/>
                    </a:moveTo>
                    <a:cubicBezTo>
                      <a:pt x="7" y="80"/>
                      <a:pt x="7" y="76"/>
                      <a:pt x="7" y="73"/>
                    </a:cubicBezTo>
                    <a:cubicBezTo>
                      <a:pt x="6" y="72"/>
                      <a:pt x="5" y="73"/>
                      <a:pt x="4" y="73"/>
                    </a:cubicBezTo>
                    <a:cubicBezTo>
                      <a:pt x="4" y="72"/>
                      <a:pt x="2" y="72"/>
                      <a:pt x="2" y="71"/>
                    </a:cubicBezTo>
                    <a:cubicBezTo>
                      <a:pt x="1" y="69"/>
                      <a:pt x="2" y="67"/>
                      <a:pt x="3" y="65"/>
                    </a:cubicBezTo>
                    <a:cubicBezTo>
                      <a:pt x="3" y="64"/>
                      <a:pt x="5" y="64"/>
                      <a:pt x="5" y="63"/>
                    </a:cubicBezTo>
                    <a:cubicBezTo>
                      <a:pt x="6" y="62"/>
                      <a:pt x="7" y="61"/>
                      <a:pt x="7" y="60"/>
                    </a:cubicBezTo>
                    <a:cubicBezTo>
                      <a:pt x="7" y="57"/>
                      <a:pt x="7" y="55"/>
                      <a:pt x="7" y="52"/>
                    </a:cubicBezTo>
                    <a:cubicBezTo>
                      <a:pt x="6" y="51"/>
                      <a:pt x="5" y="50"/>
                      <a:pt x="5" y="49"/>
                    </a:cubicBezTo>
                    <a:cubicBezTo>
                      <a:pt x="4" y="48"/>
                      <a:pt x="2" y="47"/>
                      <a:pt x="1" y="46"/>
                    </a:cubicBezTo>
                    <a:cubicBezTo>
                      <a:pt x="0" y="44"/>
                      <a:pt x="1" y="43"/>
                      <a:pt x="1" y="41"/>
                    </a:cubicBezTo>
                    <a:cubicBezTo>
                      <a:pt x="3" y="41"/>
                      <a:pt x="4" y="42"/>
                      <a:pt x="6" y="42"/>
                    </a:cubicBezTo>
                    <a:cubicBezTo>
                      <a:pt x="8" y="42"/>
                      <a:pt x="9" y="40"/>
                      <a:pt x="11" y="40"/>
                    </a:cubicBezTo>
                    <a:cubicBezTo>
                      <a:pt x="12" y="40"/>
                      <a:pt x="15" y="41"/>
                      <a:pt x="16" y="40"/>
                    </a:cubicBezTo>
                    <a:cubicBezTo>
                      <a:pt x="18" y="39"/>
                      <a:pt x="18" y="36"/>
                      <a:pt x="19" y="35"/>
                    </a:cubicBezTo>
                    <a:cubicBezTo>
                      <a:pt x="22" y="34"/>
                      <a:pt x="26" y="37"/>
                      <a:pt x="28" y="35"/>
                    </a:cubicBezTo>
                    <a:cubicBezTo>
                      <a:pt x="30" y="34"/>
                      <a:pt x="27" y="32"/>
                      <a:pt x="27" y="30"/>
                    </a:cubicBezTo>
                    <a:cubicBezTo>
                      <a:pt x="28" y="27"/>
                      <a:pt x="28" y="24"/>
                      <a:pt x="30" y="22"/>
                    </a:cubicBezTo>
                    <a:cubicBezTo>
                      <a:pt x="32" y="20"/>
                      <a:pt x="37" y="22"/>
                      <a:pt x="39" y="20"/>
                    </a:cubicBezTo>
                    <a:cubicBezTo>
                      <a:pt x="41" y="18"/>
                      <a:pt x="39" y="15"/>
                      <a:pt x="39" y="13"/>
                    </a:cubicBezTo>
                    <a:cubicBezTo>
                      <a:pt x="40" y="12"/>
                      <a:pt x="41" y="10"/>
                      <a:pt x="43" y="9"/>
                    </a:cubicBezTo>
                    <a:cubicBezTo>
                      <a:pt x="45" y="9"/>
                      <a:pt x="47" y="11"/>
                      <a:pt x="49" y="10"/>
                    </a:cubicBezTo>
                    <a:cubicBezTo>
                      <a:pt x="50" y="8"/>
                      <a:pt x="51" y="6"/>
                      <a:pt x="52" y="4"/>
                    </a:cubicBezTo>
                    <a:cubicBezTo>
                      <a:pt x="53" y="3"/>
                      <a:pt x="54" y="2"/>
                      <a:pt x="55" y="1"/>
                    </a:cubicBezTo>
                    <a:cubicBezTo>
                      <a:pt x="57" y="1"/>
                      <a:pt x="59" y="0"/>
                      <a:pt x="61" y="1"/>
                    </a:cubicBezTo>
                    <a:cubicBezTo>
                      <a:pt x="62" y="1"/>
                      <a:pt x="62" y="4"/>
                      <a:pt x="63" y="4"/>
                    </a:cubicBezTo>
                    <a:cubicBezTo>
                      <a:pt x="65" y="5"/>
                      <a:pt x="67" y="3"/>
                      <a:pt x="69" y="4"/>
                    </a:cubicBezTo>
                    <a:cubicBezTo>
                      <a:pt x="70" y="5"/>
                      <a:pt x="68" y="8"/>
                      <a:pt x="70" y="9"/>
                    </a:cubicBezTo>
                    <a:cubicBezTo>
                      <a:pt x="72" y="10"/>
                      <a:pt x="75" y="7"/>
                      <a:pt x="78" y="7"/>
                    </a:cubicBezTo>
                    <a:cubicBezTo>
                      <a:pt x="82" y="8"/>
                      <a:pt x="88" y="8"/>
                      <a:pt x="90" y="11"/>
                    </a:cubicBezTo>
                    <a:cubicBezTo>
                      <a:pt x="92" y="15"/>
                      <a:pt x="88" y="20"/>
                      <a:pt x="89" y="25"/>
                    </a:cubicBezTo>
                    <a:cubicBezTo>
                      <a:pt x="89" y="27"/>
                      <a:pt x="91" y="27"/>
                      <a:pt x="92" y="29"/>
                    </a:cubicBezTo>
                    <a:cubicBezTo>
                      <a:pt x="93" y="30"/>
                      <a:pt x="92" y="32"/>
                      <a:pt x="93" y="33"/>
                    </a:cubicBezTo>
                    <a:cubicBezTo>
                      <a:pt x="95" y="35"/>
                      <a:pt x="99" y="35"/>
                      <a:pt x="101" y="38"/>
                    </a:cubicBezTo>
                    <a:cubicBezTo>
                      <a:pt x="102" y="40"/>
                      <a:pt x="99" y="43"/>
                      <a:pt x="101" y="44"/>
                    </a:cubicBezTo>
                    <a:cubicBezTo>
                      <a:pt x="102" y="46"/>
                      <a:pt x="105" y="44"/>
                      <a:pt x="107" y="46"/>
                    </a:cubicBezTo>
                    <a:cubicBezTo>
                      <a:pt x="109" y="47"/>
                      <a:pt x="112" y="49"/>
                      <a:pt x="112" y="52"/>
                    </a:cubicBezTo>
                    <a:cubicBezTo>
                      <a:pt x="112" y="55"/>
                      <a:pt x="109" y="55"/>
                      <a:pt x="106" y="56"/>
                    </a:cubicBezTo>
                    <a:cubicBezTo>
                      <a:pt x="105" y="57"/>
                      <a:pt x="103" y="57"/>
                      <a:pt x="102" y="56"/>
                    </a:cubicBezTo>
                    <a:cubicBezTo>
                      <a:pt x="100" y="56"/>
                      <a:pt x="100" y="53"/>
                      <a:pt x="98" y="53"/>
                    </a:cubicBezTo>
                    <a:cubicBezTo>
                      <a:pt x="97" y="53"/>
                      <a:pt x="94" y="55"/>
                      <a:pt x="94" y="57"/>
                    </a:cubicBezTo>
                    <a:cubicBezTo>
                      <a:pt x="94" y="59"/>
                      <a:pt x="98" y="61"/>
                      <a:pt x="98" y="63"/>
                    </a:cubicBezTo>
                    <a:cubicBezTo>
                      <a:pt x="100" y="66"/>
                      <a:pt x="100" y="69"/>
                      <a:pt x="100" y="72"/>
                    </a:cubicBezTo>
                    <a:cubicBezTo>
                      <a:pt x="98" y="73"/>
                      <a:pt x="94" y="73"/>
                      <a:pt x="92" y="75"/>
                    </a:cubicBezTo>
                    <a:cubicBezTo>
                      <a:pt x="90" y="77"/>
                      <a:pt x="90" y="79"/>
                      <a:pt x="89" y="81"/>
                    </a:cubicBezTo>
                    <a:cubicBezTo>
                      <a:pt x="88" y="83"/>
                      <a:pt x="88" y="86"/>
                      <a:pt x="86" y="87"/>
                    </a:cubicBezTo>
                    <a:cubicBezTo>
                      <a:pt x="85" y="88"/>
                      <a:pt x="83" y="85"/>
                      <a:pt x="81" y="85"/>
                    </a:cubicBezTo>
                    <a:cubicBezTo>
                      <a:pt x="79" y="84"/>
                      <a:pt x="78" y="85"/>
                      <a:pt x="76" y="85"/>
                    </a:cubicBezTo>
                    <a:cubicBezTo>
                      <a:pt x="74" y="85"/>
                      <a:pt x="73" y="84"/>
                      <a:pt x="71" y="84"/>
                    </a:cubicBezTo>
                    <a:cubicBezTo>
                      <a:pt x="69" y="84"/>
                      <a:pt x="68" y="85"/>
                      <a:pt x="66" y="85"/>
                    </a:cubicBezTo>
                    <a:cubicBezTo>
                      <a:pt x="64" y="85"/>
                      <a:pt x="63" y="84"/>
                      <a:pt x="61" y="84"/>
                    </a:cubicBezTo>
                    <a:cubicBezTo>
                      <a:pt x="59" y="84"/>
                      <a:pt x="57" y="86"/>
                      <a:pt x="55" y="86"/>
                    </a:cubicBezTo>
                    <a:cubicBezTo>
                      <a:pt x="54" y="86"/>
                      <a:pt x="53" y="84"/>
                      <a:pt x="52" y="84"/>
                    </a:cubicBezTo>
                    <a:cubicBezTo>
                      <a:pt x="50" y="82"/>
                      <a:pt x="47" y="81"/>
                      <a:pt x="44" y="80"/>
                    </a:cubicBezTo>
                    <a:cubicBezTo>
                      <a:pt x="42" y="79"/>
                      <a:pt x="40" y="80"/>
                      <a:pt x="38" y="80"/>
                    </a:cubicBezTo>
                    <a:cubicBezTo>
                      <a:pt x="36" y="80"/>
                      <a:pt x="34" y="79"/>
                      <a:pt x="32" y="78"/>
                    </a:cubicBezTo>
                    <a:cubicBezTo>
                      <a:pt x="29" y="78"/>
                      <a:pt x="25" y="78"/>
                      <a:pt x="22" y="78"/>
                    </a:cubicBezTo>
                    <a:cubicBezTo>
                      <a:pt x="19" y="77"/>
                      <a:pt x="17" y="76"/>
                      <a:pt x="15" y="78"/>
                    </a:cubicBezTo>
                    <a:cubicBezTo>
                      <a:pt x="13" y="79"/>
                      <a:pt x="15" y="83"/>
                      <a:pt x="13" y="84"/>
                    </a:cubicBezTo>
                    <a:cubicBezTo>
                      <a:pt x="12" y="85"/>
                      <a:pt x="9" y="83"/>
                      <a:pt x="7" y="8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22" name="Freeform 2643"/>
              <p:cNvSpPr>
                <a:spLocks noChangeAspect="1"/>
              </p:cNvSpPr>
              <p:nvPr/>
            </p:nvSpPr>
            <p:spPr bwMode="auto">
              <a:xfrm>
                <a:off x="4662252" y="2073958"/>
                <a:ext cx="161063" cy="101341"/>
              </a:xfrm>
              <a:custGeom>
                <a:avLst/>
                <a:gdLst>
                  <a:gd name="T0" fmla="*/ 137 w 120"/>
                  <a:gd name="T1" fmla="*/ 57 h 102"/>
                  <a:gd name="T2" fmla="*/ 131 w 120"/>
                  <a:gd name="T3" fmla="*/ 55 h 102"/>
                  <a:gd name="T4" fmla="*/ 134 w 120"/>
                  <a:gd name="T5" fmla="*/ 45 h 102"/>
                  <a:gd name="T6" fmla="*/ 137 w 120"/>
                  <a:gd name="T7" fmla="*/ 32 h 102"/>
                  <a:gd name="T8" fmla="*/ 130 w 120"/>
                  <a:gd name="T9" fmla="*/ 25 h 102"/>
                  <a:gd name="T10" fmla="*/ 124 w 120"/>
                  <a:gd name="T11" fmla="*/ 14 h 102"/>
                  <a:gd name="T12" fmla="*/ 109 w 120"/>
                  <a:gd name="T13" fmla="*/ 12 h 102"/>
                  <a:gd name="T14" fmla="*/ 82 w 120"/>
                  <a:gd name="T15" fmla="*/ 10 h 102"/>
                  <a:gd name="T16" fmla="*/ 74 w 120"/>
                  <a:gd name="T17" fmla="*/ 17 h 102"/>
                  <a:gd name="T18" fmla="*/ 77 w 120"/>
                  <a:gd name="T19" fmla="*/ 12 h 102"/>
                  <a:gd name="T20" fmla="*/ 77 w 120"/>
                  <a:gd name="T21" fmla="*/ 10 h 102"/>
                  <a:gd name="T22" fmla="*/ 62 w 120"/>
                  <a:gd name="T23" fmla="*/ 13 h 102"/>
                  <a:gd name="T24" fmla="*/ 59 w 120"/>
                  <a:gd name="T25" fmla="*/ 5 h 102"/>
                  <a:gd name="T26" fmla="*/ 53 w 120"/>
                  <a:gd name="T27" fmla="*/ 0 h 102"/>
                  <a:gd name="T28" fmla="*/ 38 w 120"/>
                  <a:gd name="T29" fmla="*/ 6 h 102"/>
                  <a:gd name="T30" fmla="*/ 28 w 120"/>
                  <a:gd name="T31" fmla="*/ 12 h 102"/>
                  <a:gd name="T32" fmla="*/ 6 w 120"/>
                  <a:gd name="T33" fmla="*/ 18 h 102"/>
                  <a:gd name="T34" fmla="*/ 6 w 120"/>
                  <a:gd name="T35" fmla="*/ 20 h 102"/>
                  <a:gd name="T36" fmla="*/ 1 w 120"/>
                  <a:gd name="T37" fmla="*/ 23 h 102"/>
                  <a:gd name="T38" fmla="*/ 0 w 120"/>
                  <a:gd name="T39" fmla="*/ 41 h 102"/>
                  <a:gd name="T40" fmla="*/ 5 w 120"/>
                  <a:gd name="T41" fmla="*/ 53 h 102"/>
                  <a:gd name="T42" fmla="*/ 6 w 120"/>
                  <a:gd name="T43" fmla="*/ 65 h 102"/>
                  <a:gd name="T44" fmla="*/ 12 w 120"/>
                  <a:gd name="T45" fmla="*/ 75 h 102"/>
                  <a:gd name="T46" fmla="*/ 17 w 120"/>
                  <a:gd name="T47" fmla="*/ 81 h 102"/>
                  <a:gd name="T48" fmla="*/ 23 w 120"/>
                  <a:gd name="T49" fmla="*/ 84 h 102"/>
                  <a:gd name="T50" fmla="*/ 32 w 120"/>
                  <a:gd name="T51" fmla="*/ 87 h 102"/>
                  <a:gd name="T52" fmla="*/ 37 w 120"/>
                  <a:gd name="T53" fmla="*/ 99 h 102"/>
                  <a:gd name="T54" fmla="*/ 40 w 120"/>
                  <a:gd name="T55" fmla="*/ 92 h 102"/>
                  <a:gd name="T56" fmla="*/ 48 w 120"/>
                  <a:gd name="T57" fmla="*/ 96 h 102"/>
                  <a:gd name="T58" fmla="*/ 50 w 120"/>
                  <a:gd name="T59" fmla="*/ 98 h 102"/>
                  <a:gd name="T60" fmla="*/ 58 w 120"/>
                  <a:gd name="T61" fmla="*/ 100 h 102"/>
                  <a:gd name="T62" fmla="*/ 65 w 120"/>
                  <a:gd name="T63" fmla="*/ 108 h 102"/>
                  <a:gd name="T64" fmla="*/ 73 w 120"/>
                  <a:gd name="T65" fmla="*/ 114 h 102"/>
                  <a:gd name="T66" fmla="*/ 83 w 120"/>
                  <a:gd name="T67" fmla="*/ 115 h 102"/>
                  <a:gd name="T68" fmla="*/ 86 w 120"/>
                  <a:gd name="T69" fmla="*/ 117 h 102"/>
                  <a:gd name="T70" fmla="*/ 97 w 120"/>
                  <a:gd name="T71" fmla="*/ 114 h 102"/>
                  <a:gd name="T72" fmla="*/ 104 w 120"/>
                  <a:gd name="T73" fmla="*/ 112 h 102"/>
                  <a:gd name="T74" fmla="*/ 116 w 120"/>
                  <a:gd name="T75" fmla="*/ 118 h 102"/>
                  <a:gd name="T76" fmla="*/ 127 w 120"/>
                  <a:gd name="T77" fmla="*/ 121 h 102"/>
                  <a:gd name="T78" fmla="*/ 125 w 120"/>
                  <a:gd name="T79" fmla="*/ 117 h 102"/>
                  <a:gd name="T80" fmla="*/ 124 w 120"/>
                  <a:gd name="T81" fmla="*/ 109 h 102"/>
                  <a:gd name="T82" fmla="*/ 138 w 120"/>
                  <a:gd name="T83" fmla="*/ 97 h 102"/>
                  <a:gd name="T84" fmla="*/ 144 w 120"/>
                  <a:gd name="T85" fmla="*/ 91 h 102"/>
                  <a:gd name="T86" fmla="*/ 143 w 120"/>
                  <a:gd name="T87" fmla="*/ 85 h 102"/>
                  <a:gd name="T88" fmla="*/ 137 w 120"/>
                  <a:gd name="T89" fmla="*/ 69 h 10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20"/>
                  <a:gd name="T136" fmla="*/ 0 h 102"/>
                  <a:gd name="T137" fmla="*/ 120 w 120"/>
                  <a:gd name="T138" fmla="*/ 102 h 102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20" h="102">
                    <a:moveTo>
                      <a:pt x="114" y="58"/>
                    </a:moveTo>
                    <a:cubicBezTo>
                      <a:pt x="114" y="55"/>
                      <a:pt x="114" y="51"/>
                      <a:pt x="114" y="48"/>
                    </a:cubicBezTo>
                    <a:cubicBezTo>
                      <a:pt x="113" y="47"/>
                      <a:pt x="112" y="48"/>
                      <a:pt x="111" y="48"/>
                    </a:cubicBezTo>
                    <a:cubicBezTo>
                      <a:pt x="111" y="47"/>
                      <a:pt x="109" y="47"/>
                      <a:pt x="109" y="46"/>
                    </a:cubicBezTo>
                    <a:cubicBezTo>
                      <a:pt x="108" y="44"/>
                      <a:pt x="109" y="42"/>
                      <a:pt x="110" y="40"/>
                    </a:cubicBezTo>
                    <a:cubicBezTo>
                      <a:pt x="110" y="39"/>
                      <a:pt x="112" y="39"/>
                      <a:pt x="112" y="38"/>
                    </a:cubicBezTo>
                    <a:cubicBezTo>
                      <a:pt x="113" y="37"/>
                      <a:pt x="114" y="36"/>
                      <a:pt x="114" y="35"/>
                    </a:cubicBezTo>
                    <a:cubicBezTo>
                      <a:pt x="114" y="32"/>
                      <a:pt x="114" y="30"/>
                      <a:pt x="114" y="27"/>
                    </a:cubicBezTo>
                    <a:cubicBezTo>
                      <a:pt x="113" y="26"/>
                      <a:pt x="112" y="25"/>
                      <a:pt x="112" y="24"/>
                    </a:cubicBezTo>
                    <a:cubicBezTo>
                      <a:pt x="111" y="23"/>
                      <a:pt x="109" y="22"/>
                      <a:pt x="108" y="21"/>
                    </a:cubicBezTo>
                    <a:cubicBezTo>
                      <a:pt x="107" y="19"/>
                      <a:pt x="108" y="18"/>
                      <a:pt x="108" y="16"/>
                    </a:cubicBezTo>
                    <a:cubicBezTo>
                      <a:pt x="106" y="15"/>
                      <a:pt x="105" y="13"/>
                      <a:pt x="103" y="12"/>
                    </a:cubicBezTo>
                    <a:cubicBezTo>
                      <a:pt x="102" y="11"/>
                      <a:pt x="100" y="10"/>
                      <a:pt x="98" y="8"/>
                    </a:cubicBezTo>
                    <a:cubicBezTo>
                      <a:pt x="95" y="9"/>
                      <a:pt x="93" y="10"/>
                      <a:pt x="91" y="10"/>
                    </a:cubicBezTo>
                    <a:cubicBezTo>
                      <a:pt x="89" y="10"/>
                      <a:pt x="87" y="9"/>
                      <a:pt x="85" y="9"/>
                    </a:cubicBezTo>
                    <a:cubicBezTo>
                      <a:pt x="79" y="9"/>
                      <a:pt x="73" y="9"/>
                      <a:pt x="68" y="8"/>
                    </a:cubicBezTo>
                    <a:cubicBezTo>
                      <a:pt x="67" y="9"/>
                      <a:pt x="67" y="11"/>
                      <a:pt x="66" y="11"/>
                    </a:cubicBezTo>
                    <a:cubicBezTo>
                      <a:pt x="65" y="12"/>
                      <a:pt x="63" y="13"/>
                      <a:pt x="62" y="14"/>
                    </a:cubicBezTo>
                    <a:cubicBezTo>
                      <a:pt x="61" y="14"/>
                      <a:pt x="60" y="12"/>
                      <a:pt x="61" y="12"/>
                    </a:cubicBezTo>
                    <a:cubicBezTo>
                      <a:pt x="62" y="11"/>
                      <a:pt x="63" y="11"/>
                      <a:pt x="64" y="10"/>
                    </a:cubicBezTo>
                    <a:cubicBezTo>
                      <a:pt x="65" y="9"/>
                      <a:pt x="66" y="8"/>
                      <a:pt x="66" y="7"/>
                    </a:cubicBezTo>
                    <a:cubicBezTo>
                      <a:pt x="65" y="6"/>
                      <a:pt x="65" y="8"/>
                      <a:pt x="64" y="8"/>
                    </a:cubicBezTo>
                    <a:cubicBezTo>
                      <a:pt x="63" y="9"/>
                      <a:pt x="61" y="10"/>
                      <a:pt x="59" y="10"/>
                    </a:cubicBezTo>
                    <a:cubicBezTo>
                      <a:pt x="57" y="11"/>
                      <a:pt x="54" y="12"/>
                      <a:pt x="52" y="11"/>
                    </a:cubicBezTo>
                    <a:cubicBezTo>
                      <a:pt x="51" y="10"/>
                      <a:pt x="52" y="8"/>
                      <a:pt x="51" y="7"/>
                    </a:cubicBezTo>
                    <a:cubicBezTo>
                      <a:pt x="51" y="6"/>
                      <a:pt x="49" y="5"/>
                      <a:pt x="49" y="4"/>
                    </a:cubicBezTo>
                    <a:cubicBezTo>
                      <a:pt x="49" y="3"/>
                      <a:pt x="52" y="5"/>
                      <a:pt x="54" y="6"/>
                    </a:cubicBezTo>
                    <a:cubicBezTo>
                      <a:pt x="52" y="1"/>
                      <a:pt x="46" y="0"/>
                      <a:pt x="44" y="0"/>
                    </a:cubicBezTo>
                    <a:cubicBezTo>
                      <a:pt x="40" y="1"/>
                      <a:pt x="38" y="4"/>
                      <a:pt x="34" y="6"/>
                    </a:cubicBezTo>
                    <a:cubicBezTo>
                      <a:pt x="34" y="6"/>
                      <a:pt x="33" y="5"/>
                      <a:pt x="32" y="5"/>
                    </a:cubicBezTo>
                    <a:cubicBezTo>
                      <a:pt x="30" y="5"/>
                      <a:pt x="29" y="5"/>
                      <a:pt x="27" y="6"/>
                    </a:cubicBezTo>
                    <a:cubicBezTo>
                      <a:pt x="25" y="7"/>
                      <a:pt x="25" y="9"/>
                      <a:pt x="23" y="10"/>
                    </a:cubicBezTo>
                    <a:cubicBezTo>
                      <a:pt x="19" y="12"/>
                      <a:pt x="16" y="12"/>
                      <a:pt x="12" y="13"/>
                    </a:cubicBezTo>
                    <a:cubicBezTo>
                      <a:pt x="10" y="14"/>
                      <a:pt x="7" y="14"/>
                      <a:pt x="5" y="15"/>
                    </a:cubicBezTo>
                    <a:cubicBezTo>
                      <a:pt x="4" y="15"/>
                      <a:pt x="1" y="15"/>
                      <a:pt x="1" y="16"/>
                    </a:cubicBezTo>
                    <a:cubicBezTo>
                      <a:pt x="1" y="18"/>
                      <a:pt x="5" y="16"/>
                      <a:pt x="5" y="17"/>
                    </a:cubicBezTo>
                    <a:cubicBezTo>
                      <a:pt x="6" y="19"/>
                      <a:pt x="7" y="21"/>
                      <a:pt x="5" y="22"/>
                    </a:cubicBezTo>
                    <a:cubicBezTo>
                      <a:pt x="4" y="23"/>
                      <a:pt x="2" y="20"/>
                      <a:pt x="1" y="19"/>
                    </a:cubicBezTo>
                    <a:cubicBezTo>
                      <a:pt x="2" y="22"/>
                      <a:pt x="3" y="24"/>
                      <a:pt x="3" y="26"/>
                    </a:cubicBezTo>
                    <a:cubicBezTo>
                      <a:pt x="3" y="29"/>
                      <a:pt x="0" y="31"/>
                      <a:pt x="0" y="34"/>
                    </a:cubicBezTo>
                    <a:cubicBezTo>
                      <a:pt x="1" y="37"/>
                      <a:pt x="4" y="38"/>
                      <a:pt x="5" y="41"/>
                    </a:cubicBezTo>
                    <a:cubicBezTo>
                      <a:pt x="6" y="42"/>
                      <a:pt x="4" y="43"/>
                      <a:pt x="4" y="44"/>
                    </a:cubicBezTo>
                    <a:cubicBezTo>
                      <a:pt x="5" y="46"/>
                      <a:pt x="7" y="47"/>
                      <a:pt x="7" y="49"/>
                    </a:cubicBezTo>
                    <a:cubicBezTo>
                      <a:pt x="7" y="51"/>
                      <a:pt x="5" y="52"/>
                      <a:pt x="5" y="54"/>
                    </a:cubicBezTo>
                    <a:cubicBezTo>
                      <a:pt x="5" y="55"/>
                      <a:pt x="6" y="57"/>
                      <a:pt x="7" y="59"/>
                    </a:cubicBezTo>
                    <a:cubicBezTo>
                      <a:pt x="8" y="60"/>
                      <a:pt x="10" y="61"/>
                      <a:pt x="10" y="63"/>
                    </a:cubicBezTo>
                    <a:cubicBezTo>
                      <a:pt x="11" y="64"/>
                      <a:pt x="10" y="65"/>
                      <a:pt x="10" y="66"/>
                    </a:cubicBezTo>
                    <a:cubicBezTo>
                      <a:pt x="11" y="67"/>
                      <a:pt x="13" y="67"/>
                      <a:pt x="14" y="68"/>
                    </a:cubicBezTo>
                    <a:cubicBezTo>
                      <a:pt x="15" y="68"/>
                      <a:pt x="13" y="70"/>
                      <a:pt x="14" y="71"/>
                    </a:cubicBezTo>
                    <a:cubicBezTo>
                      <a:pt x="16" y="71"/>
                      <a:pt x="18" y="70"/>
                      <a:pt x="19" y="70"/>
                    </a:cubicBezTo>
                    <a:cubicBezTo>
                      <a:pt x="21" y="71"/>
                      <a:pt x="22" y="73"/>
                      <a:pt x="23" y="73"/>
                    </a:cubicBezTo>
                    <a:cubicBezTo>
                      <a:pt x="25" y="74"/>
                      <a:pt x="26" y="72"/>
                      <a:pt x="27" y="73"/>
                    </a:cubicBezTo>
                    <a:cubicBezTo>
                      <a:pt x="28" y="75"/>
                      <a:pt x="27" y="78"/>
                      <a:pt x="28" y="80"/>
                    </a:cubicBezTo>
                    <a:cubicBezTo>
                      <a:pt x="29" y="81"/>
                      <a:pt x="30" y="83"/>
                      <a:pt x="31" y="83"/>
                    </a:cubicBezTo>
                    <a:cubicBezTo>
                      <a:pt x="33" y="83"/>
                      <a:pt x="35" y="81"/>
                      <a:pt x="35" y="80"/>
                    </a:cubicBezTo>
                    <a:cubicBezTo>
                      <a:pt x="35" y="79"/>
                      <a:pt x="33" y="78"/>
                      <a:pt x="33" y="77"/>
                    </a:cubicBezTo>
                    <a:cubicBezTo>
                      <a:pt x="33" y="76"/>
                      <a:pt x="35" y="77"/>
                      <a:pt x="36" y="78"/>
                    </a:cubicBezTo>
                    <a:cubicBezTo>
                      <a:pt x="37" y="78"/>
                      <a:pt x="38" y="80"/>
                      <a:pt x="40" y="80"/>
                    </a:cubicBezTo>
                    <a:cubicBezTo>
                      <a:pt x="41" y="80"/>
                      <a:pt x="42" y="79"/>
                      <a:pt x="43" y="80"/>
                    </a:cubicBezTo>
                    <a:cubicBezTo>
                      <a:pt x="44" y="80"/>
                      <a:pt x="42" y="81"/>
                      <a:pt x="42" y="82"/>
                    </a:cubicBezTo>
                    <a:cubicBezTo>
                      <a:pt x="43" y="83"/>
                      <a:pt x="44" y="84"/>
                      <a:pt x="46" y="84"/>
                    </a:cubicBezTo>
                    <a:cubicBezTo>
                      <a:pt x="46" y="84"/>
                      <a:pt x="47" y="84"/>
                      <a:pt x="48" y="84"/>
                    </a:cubicBezTo>
                    <a:cubicBezTo>
                      <a:pt x="50" y="84"/>
                      <a:pt x="51" y="85"/>
                      <a:pt x="52" y="86"/>
                    </a:cubicBezTo>
                    <a:cubicBezTo>
                      <a:pt x="53" y="87"/>
                      <a:pt x="53" y="89"/>
                      <a:pt x="54" y="90"/>
                    </a:cubicBezTo>
                    <a:cubicBezTo>
                      <a:pt x="55" y="91"/>
                      <a:pt x="57" y="92"/>
                      <a:pt x="58" y="93"/>
                    </a:cubicBezTo>
                    <a:cubicBezTo>
                      <a:pt x="59" y="94"/>
                      <a:pt x="60" y="95"/>
                      <a:pt x="61" y="95"/>
                    </a:cubicBezTo>
                    <a:cubicBezTo>
                      <a:pt x="63" y="95"/>
                      <a:pt x="63" y="91"/>
                      <a:pt x="65" y="91"/>
                    </a:cubicBezTo>
                    <a:cubicBezTo>
                      <a:pt x="67" y="92"/>
                      <a:pt x="68" y="94"/>
                      <a:pt x="69" y="96"/>
                    </a:cubicBezTo>
                    <a:cubicBezTo>
                      <a:pt x="70" y="97"/>
                      <a:pt x="68" y="98"/>
                      <a:pt x="69" y="99"/>
                    </a:cubicBezTo>
                    <a:cubicBezTo>
                      <a:pt x="70" y="99"/>
                      <a:pt x="71" y="99"/>
                      <a:pt x="72" y="98"/>
                    </a:cubicBezTo>
                    <a:cubicBezTo>
                      <a:pt x="74" y="97"/>
                      <a:pt x="74" y="95"/>
                      <a:pt x="75" y="95"/>
                    </a:cubicBezTo>
                    <a:cubicBezTo>
                      <a:pt x="77" y="94"/>
                      <a:pt x="79" y="95"/>
                      <a:pt x="81" y="95"/>
                    </a:cubicBezTo>
                    <a:cubicBezTo>
                      <a:pt x="82" y="96"/>
                      <a:pt x="83" y="97"/>
                      <a:pt x="83" y="97"/>
                    </a:cubicBezTo>
                    <a:cubicBezTo>
                      <a:pt x="85" y="96"/>
                      <a:pt x="85" y="94"/>
                      <a:pt x="87" y="94"/>
                    </a:cubicBezTo>
                    <a:cubicBezTo>
                      <a:pt x="89" y="94"/>
                      <a:pt x="91" y="94"/>
                      <a:pt x="93" y="95"/>
                    </a:cubicBezTo>
                    <a:cubicBezTo>
                      <a:pt x="95" y="96"/>
                      <a:pt x="96" y="98"/>
                      <a:pt x="97" y="99"/>
                    </a:cubicBezTo>
                    <a:cubicBezTo>
                      <a:pt x="99" y="100"/>
                      <a:pt x="101" y="100"/>
                      <a:pt x="103" y="100"/>
                    </a:cubicBezTo>
                    <a:cubicBezTo>
                      <a:pt x="104" y="101"/>
                      <a:pt x="105" y="102"/>
                      <a:pt x="106" y="101"/>
                    </a:cubicBezTo>
                    <a:cubicBezTo>
                      <a:pt x="107" y="101"/>
                      <a:pt x="107" y="100"/>
                      <a:pt x="106" y="99"/>
                    </a:cubicBezTo>
                    <a:cubicBezTo>
                      <a:pt x="106" y="99"/>
                      <a:pt x="104" y="99"/>
                      <a:pt x="104" y="98"/>
                    </a:cubicBezTo>
                    <a:cubicBezTo>
                      <a:pt x="103" y="97"/>
                      <a:pt x="105" y="95"/>
                      <a:pt x="104" y="94"/>
                    </a:cubicBezTo>
                    <a:cubicBezTo>
                      <a:pt x="104" y="93"/>
                      <a:pt x="103" y="92"/>
                      <a:pt x="103" y="91"/>
                    </a:cubicBezTo>
                    <a:cubicBezTo>
                      <a:pt x="105" y="88"/>
                      <a:pt x="107" y="85"/>
                      <a:pt x="109" y="83"/>
                    </a:cubicBezTo>
                    <a:cubicBezTo>
                      <a:pt x="111" y="81"/>
                      <a:pt x="113" y="82"/>
                      <a:pt x="115" y="81"/>
                    </a:cubicBezTo>
                    <a:cubicBezTo>
                      <a:pt x="116" y="80"/>
                      <a:pt x="117" y="80"/>
                      <a:pt x="118" y="79"/>
                    </a:cubicBezTo>
                    <a:cubicBezTo>
                      <a:pt x="119" y="78"/>
                      <a:pt x="120" y="77"/>
                      <a:pt x="120" y="76"/>
                    </a:cubicBezTo>
                    <a:cubicBezTo>
                      <a:pt x="120" y="74"/>
                      <a:pt x="117" y="73"/>
                      <a:pt x="116" y="71"/>
                    </a:cubicBezTo>
                    <a:cubicBezTo>
                      <a:pt x="116" y="71"/>
                      <a:pt x="120" y="72"/>
                      <a:pt x="119" y="71"/>
                    </a:cubicBezTo>
                    <a:cubicBezTo>
                      <a:pt x="118" y="69"/>
                      <a:pt x="115" y="68"/>
                      <a:pt x="114" y="66"/>
                    </a:cubicBezTo>
                    <a:cubicBezTo>
                      <a:pt x="113" y="64"/>
                      <a:pt x="114" y="61"/>
                      <a:pt x="114" y="58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23" name="Freeform 2644"/>
              <p:cNvSpPr>
                <a:spLocks noChangeAspect="1"/>
              </p:cNvSpPr>
              <p:nvPr/>
            </p:nvSpPr>
            <p:spPr bwMode="auto">
              <a:xfrm>
                <a:off x="4750613" y="2068973"/>
                <a:ext cx="46977" cy="14953"/>
              </a:xfrm>
              <a:custGeom>
                <a:avLst/>
                <a:gdLst>
                  <a:gd name="T0" fmla="*/ 38 w 35"/>
                  <a:gd name="T1" fmla="*/ 16 h 15"/>
                  <a:gd name="T2" fmla="*/ 30 w 35"/>
                  <a:gd name="T3" fmla="*/ 18 h 15"/>
                  <a:gd name="T4" fmla="*/ 23 w 35"/>
                  <a:gd name="T5" fmla="*/ 17 h 15"/>
                  <a:gd name="T6" fmla="*/ 2 w 35"/>
                  <a:gd name="T7" fmla="*/ 16 h 15"/>
                  <a:gd name="T8" fmla="*/ 8 w 35"/>
                  <a:gd name="T9" fmla="*/ 12 h 15"/>
                  <a:gd name="T10" fmla="*/ 7 w 35"/>
                  <a:gd name="T11" fmla="*/ 11 h 15"/>
                  <a:gd name="T12" fmla="*/ 2 w 35"/>
                  <a:gd name="T13" fmla="*/ 12 h 15"/>
                  <a:gd name="T14" fmla="*/ 1 w 35"/>
                  <a:gd name="T15" fmla="*/ 7 h 15"/>
                  <a:gd name="T16" fmla="*/ 7 w 35"/>
                  <a:gd name="T17" fmla="*/ 6 h 15"/>
                  <a:gd name="T18" fmla="*/ 13 w 35"/>
                  <a:gd name="T19" fmla="*/ 1 h 15"/>
                  <a:gd name="T20" fmla="*/ 13 w 35"/>
                  <a:gd name="T21" fmla="*/ 2 h 15"/>
                  <a:gd name="T22" fmla="*/ 11 w 35"/>
                  <a:gd name="T23" fmla="*/ 6 h 15"/>
                  <a:gd name="T24" fmla="*/ 19 w 35"/>
                  <a:gd name="T25" fmla="*/ 6 h 15"/>
                  <a:gd name="T26" fmla="*/ 19 w 35"/>
                  <a:gd name="T27" fmla="*/ 1 h 15"/>
                  <a:gd name="T28" fmla="*/ 22 w 35"/>
                  <a:gd name="T29" fmla="*/ 0 h 15"/>
                  <a:gd name="T30" fmla="*/ 28 w 35"/>
                  <a:gd name="T31" fmla="*/ 4 h 15"/>
                  <a:gd name="T32" fmla="*/ 32 w 35"/>
                  <a:gd name="T33" fmla="*/ 4 h 15"/>
                  <a:gd name="T34" fmla="*/ 35 w 35"/>
                  <a:gd name="T35" fmla="*/ 2 h 15"/>
                  <a:gd name="T36" fmla="*/ 41 w 35"/>
                  <a:gd name="T37" fmla="*/ 6 h 15"/>
                  <a:gd name="T38" fmla="*/ 41 w 35"/>
                  <a:gd name="T39" fmla="*/ 11 h 15"/>
                  <a:gd name="T40" fmla="*/ 38 w 35"/>
                  <a:gd name="T41" fmla="*/ 16 h 1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35"/>
                  <a:gd name="T64" fmla="*/ 0 h 15"/>
                  <a:gd name="T65" fmla="*/ 35 w 35"/>
                  <a:gd name="T66" fmla="*/ 15 h 1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35" h="15">
                    <a:moveTo>
                      <a:pt x="32" y="13"/>
                    </a:moveTo>
                    <a:cubicBezTo>
                      <a:pt x="29" y="14"/>
                      <a:pt x="27" y="15"/>
                      <a:pt x="25" y="15"/>
                    </a:cubicBezTo>
                    <a:cubicBezTo>
                      <a:pt x="23" y="15"/>
                      <a:pt x="21" y="14"/>
                      <a:pt x="19" y="14"/>
                    </a:cubicBezTo>
                    <a:cubicBezTo>
                      <a:pt x="13" y="14"/>
                      <a:pt x="7" y="14"/>
                      <a:pt x="2" y="13"/>
                    </a:cubicBezTo>
                    <a:cubicBezTo>
                      <a:pt x="3" y="12"/>
                      <a:pt x="5" y="12"/>
                      <a:pt x="7" y="10"/>
                    </a:cubicBezTo>
                    <a:cubicBezTo>
                      <a:pt x="7" y="10"/>
                      <a:pt x="6" y="9"/>
                      <a:pt x="6" y="9"/>
                    </a:cubicBezTo>
                    <a:cubicBezTo>
                      <a:pt x="5" y="9"/>
                      <a:pt x="3" y="11"/>
                      <a:pt x="2" y="10"/>
                    </a:cubicBezTo>
                    <a:cubicBezTo>
                      <a:pt x="1" y="9"/>
                      <a:pt x="0" y="7"/>
                      <a:pt x="1" y="6"/>
                    </a:cubicBezTo>
                    <a:cubicBezTo>
                      <a:pt x="2" y="5"/>
                      <a:pt x="4" y="6"/>
                      <a:pt x="6" y="5"/>
                    </a:cubicBezTo>
                    <a:cubicBezTo>
                      <a:pt x="8" y="4"/>
                      <a:pt x="9" y="2"/>
                      <a:pt x="11" y="1"/>
                    </a:cubicBezTo>
                    <a:cubicBezTo>
                      <a:pt x="11" y="1"/>
                      <a:pt x="11" y="2"/>
                      <a:pt x="11" y="2"/>
                    </a:cubicBezTo>
                    <a:cubicBezTo>
                      <a:pt x="10" y="3"/>
                      <a:pt x="8" y="4"/>
                      <a:pt x="9" y="5"/>
                    </a:cubicBezTo>
                    <a:cubicBezTo>
                      <a:pt x="11" y="6"/>
                      <a:pt x="14" y="6"/>
                      <a:pt x="16" y="5"/>
                    </a:cubicBezTo>
                    <a:cubicBezTo>
                      <a:pt x="17" y="4"/>
                      <a:pt x="15" y="2"/>
                      <a:pt x="16" y="1"/>
                    </a:cubicBezTo>
                    <a:cubicBezTo>
                      <a:pt x="16" y="1"/>
                      <a:pt x="17" y="0"/>
                      <a:pt x="18" y="0"/>
                    </a:cubicBezTo>
                    <a:cubicBezTo>
                      <a:pt x="20" y="1"/>
                      <a:pt x="21" y="2"/>
                      <a:pt x="23" y="3"/>
                    </a:cubicBezTo>
                    <a:cubicBezTo>
                      <a:pt x="24" y="3"/>
                      <a:pt x="25" y="3"/>
                      <a:pt x="27" y="3"/>
                    </a:cubicBezTo>
                    <a:cubicBezTo>
                      <a:pt x="28" y="3"/>
                      <a:pt x="28" y="2"/>
                      <a:pt x="29" y="2"/>
                    </a:cubicBezTo>
                    <a:cubicBezTo>
                      <a:pt x="31" y="3"/>
                      <a:pt x="33" y="4"/>
                      <a:pt x="34" y="5"/>
                    </a:cubicBezTo>
                    <a:cubicBezTo>
                      <a:pt x="35" y="6"/>
                      <a:pt x="34" y="8"/>
                      <a:pt x="34" y="9"/>
                    </a:cubicBezTo>
                    <a:cubicBezTo>
                      <a:pt x="34" y="11"/>
                      <a:pt x="33" y="12"/>
                      <a:pt x="32" y="1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24" name="Freeform 2645"/>
              <p:cNvSpPr>
                <a:spLocks noChangeAspect="1"/>
              </p:cNvSpPr>
              <p:nvPr/>
            </p:nvSpPr>
            <p:spPr bwMode="auto">
              <a:xfrm>
                <a:off x="4766272" y="2043223"/>
                <a:ext cx="93953" cy="47348"/>
              </a:xfrm>
              <a:custGeom>
                <a:avLst/>
                <a:gdLst>
                  <a:gd name="T0" fmla="*/ 7 w 70"/>
                  <a:gd name="T1" fmla="*/ 31 h 48"/>
                  <a:gd name="T2" fmla="*/ 5 w 70"/>
                  <a:gd name="T3" fmla="*/ 24 h 48"/>
                  <a:gd name="T4" fmla="*/ 1 w 70"/>
                  <a:gd name="T5" fmla="*/ 17 h 48"/>
                  <a:gd name="T6" fmla="*/ 0 w 70"/>
                  <a:gd name="T7" fmla="*/ 11 h 48"/>
                  <a:gd name="T8" fmla="*/ 5 w 70"/>
                  <a:gd name="T9" fmla="*/ 6 h 48"/>
                  <a:gd name="T10" fmla="*/ 14 w 70"/>
                  <a:gd name="T11" fmla="*/ 1 h 48"/>
                  <a:gd name="T12" fmla="*/ 29 w 70"/>
                  <a:gd name="T13" fmla="*/ 4 h 48"/>
                  <a:gd name="T14" fmla="*/ 43 w 70"/>
                  <a:gd name="T15" fmla="*/ 5 h 48"/>
                  <a:gd name="T16" fmla="*/ 48 w 70"/>
                  <a:gd name="T17" fmla="*/ 7 h 48"/>
                  <a:gd name="T18" fmla="*/ 55 w 70"/>
                  <a:gd name="T19" fmla="*/ 5 h 48"/>
                  <a:gd name="T20" fmla="*/ 62 w 70"/>
                  <a:gd name="T21" fmla="*/ 10 h 48"/>
                  <a:gd name="T22" fmla="*/ 72 w 70"/>
                  <a:gd name="T23" fmla="*/ 15 h 48"/>
                  <a:gd name="T24" fmla="*/ 82 w 70"/>
                  <a:gd name="T25" fmla="*/ 23 h 48"/>
                  <a:gd name="T26" fmla="*/ 82 w 70"/>
                  <a:gd name="T27" fmla="*/ 31 h 48"/>
                  <a:gd name="T28" fmla="*/ 71 w 70"/>
                  <a:gd name="T29" fmla="*/ 33 h 48"/>
                  <a:gd name="T30" fmla="*/ 67 w 70"/>
                  <a:gd name="T31" fmla="*/ 43 h 48"/>
                  <a:gd name="T32" fmla="*/ 68 w 70"/>
                  <a:gd name="T33" fmla="*/ 49 h 48"/>
                  <a:gd name="T34" fmla="*/ 58 w 70"/>
                  <a:gd name="T35" fmla="*/ 49 h 48"/>
                  <a:gd name="T36" fmla="*/ 54 w 70"/>
                  <a:gd name="T37" fmla="*/ 55 h 48"/>
                  <a:gd name="T38" fmla="*/ 48 w 70"/>
                  <a:gd name="T39" fmla="*/ 55 h 48"/>
                  <a:gd name="T40" fmla="*/ 42 w 70"/>
                  <a:gd name="T41" fmla="*/ 57 h 48"/>
                  <a:gd name="T42" fmla="*/ 36 w 70"/>
                  <a:gd name="T43" fmla="*/ 56 h 48"/>
                  <a:gd name="T44" fmla="*/ 30 w 70"/>
                  <a:gd name="T45" fmla="*/ 51 h 48"/>
                  <a:gd name="T46" fmla="*/ 24 w 70"/>
                  <a:gd name="T47" fmla="*/ 46 h 48"/>
                  <a:gd name="T48" fmla="*/ 26 w 70"/>
                  <a:gd name="T49" fmla="*/ 42 h 48"/>
                  <a:gd name="T50" fmla="*/ 26 w 70"/>
                  <a:gd name="T51" fmla="*/ 37 h 48"/>
                  <a:gd name="T52" fmla="*/ 20 w 70"/>
                  <a:gd name="T53" fmla="*/ 33 h 48"/>
                  <a:gd name="T54" fmla="*/ 18 w 70"/>
                  <a:gd name="T55" fmla="*/ 34 h 48"/>
                  <a:gd name="T56" fmla="*/ 13 w 70"/>
                  <a:gd name="T57" fmla="*/ 34 h 48"/>
                  <a:gd name="T58" fmla="*/ 7 w 70"/>
                  <a:gd name="T59" fmla="*/ 31 h 48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70"/>
                  <a:gd name="T91" fmla="*/ 0 h 48"/>
                  <a:gd name="T92" fmla="*/ 70 w 70"/>
                  <a:gd name="T93" fmla="*/ 48 h 48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70" h="48">
                    <a:moveTo>
                      <a:pt x="6" y="26"/>
                    </a:moveTo>
                    <a:cubicBezTo>
                      <a:pt x="5" y="24"/>
                      <a:pt x="5" y="22"/>
                      <a:pt x="4" y="20"/>
                    </a:cubicBezTo>
                    <a:cubicBezTo>
                      <a:pt x="3" y="18"/>
                      <a:pt x="2" y="16"/>
                      <a:pt x="1" y="14"/>
                    </a:cubicBezTo>
                    <a:cubicBezTo>
                      <a:pt x="1" y="13"/>
                      <a:pt x="0" y="10"/>
                      <a:pt x="0" y="9"/>
                    </a:cubicBezTo>
                    <a:cubicBezTo>
                      <a:pt x="1" y="7"/>
                      <a:pt x="2" y="6"/>
                      <a:pt x="4" y="5"/>
                    </a:cubicBezTo>
                    <a:cubicBezTo>
                      <a:pt x="6" y="3"/>
                      <a:pt x="9" y="1"/>
                      <a:pt x="12" y="1"/>
                    </a:cubicBezTo>
                    <a:cubicBezTo>
                      <a:pt x="16" y="0"/>
                      <a:pt x="20" y="2"/>
                      <a:pt x="24" y="3"/>
                    </a:cubicBezTo>
                    <a:cubicBezTo>
                      <a:pt x="28" y="3"/>
                      <a:pt x="32" y="3"/>
                      <a:pt x="36" y="4"/>
                    </a:cubicBezTo>
                    <a:cubicBezTo>
                      <a:pt x="37" y="5"/>
                      <a:pt x="39" y="6"/>
                      <a:pt x="40" y="6"/>
                    </a:cubicBezTo>
                    <a:cubicBezTo>
                      <a:pt x="42" y="7"/>
                      <a:pt x="44" y="4"/>
                      <a:pt x="46" y="4"/>
                    </a:cubicBezTo>
                    <a:cubicBezTo>
                      <a:pt x="48" y="5"/>
                      <a:pt x="50" y="7"/>
                      <a:pt x="52" y="8"/>
                    </a:cubicBezTo>
                    <a:cubicBezTo>
                      <a:pt x="55" y="10"/>
                      <a:pt x="57" y="12"/>
                      <a:pt x="60" y="13"/>
                    </a:cubicBezTo>
                    <a:cubicBezTo>
                      <a:pt x="63" y="15"/>
                      <a:pt x="65" y="17"/>
                      <a:pt x="68" y="19"/>
                    </a:cubicBezTo>
                    <a:cubicBezTo>
                      <a:pt x="68" y="21"/>
                      <a:pt x="70" y="24"/>
                      <a:pt x="68" y="26"/>
                    </a:cubicBezTo>
                    <a:cubicBezTo>
                      <a:pt x="66" y="28"/>
                      <a:pt x="61" y="26"/>
                      <a:pt x="59" y="28"/>
                    </a:cubicBezTo>
                    <a:cubicBezTo>
                      <a:pt x="57" y="30"/>
                      <a:pt x="57" y="33"/>
                      <a:pt x="56" y="36"/>
                    </a:cubicBezTo>
                    <a:cubicBezTo>
                      <a:pt x="56" y="38"/>
                      <a:pt x="59" y="40"/>
                      <a:pt x="57" y="41"/>
                    </a:cubicBezTo>
                    <a:cubicBezTo>
                      <a:pt x="55" y="43"/>
                      <a:pt x="51" y="40"/>
                      <a:pt x="48" y="41"/>
                    </a:cubicBezTo>
                    <a:cubicBezTo>
                      <a:pt x="47" y="42"/>
                      <a:pt x="47" y="45"/>
                      <a:pt x="45" y="46"/>
                    </a:cubicBezTo>
                    <a:cubicBezTo>
                      <a:pt x="44" y="47"/>
                      <a:pt x="41" y="46"/>
                      <a:pt x="40" y="46"/>
                    </a:cubicBezTo>
                    <a:cubicBezTo>
                      <a:pt x="38" y="46"/>
                      <a:pt x="37" y="48"/>
                      <a:pt x="35" y="48"/>
                    </a:cubicBezTo>
                    <a:cubicBezTo>
                      <a:pt x="33" y="48"/>
                      <a:pt x="32" y="47"/>
                      <a:pt x="30" y="47"/>
                    </a:cubicBezTo>
                    <a:cubicBezTo>
                      <a:pt x="28" y="46"/>
                      <a:pt x="27" y="44"/>
                      <a:pt x="25" y="43"/>
                    </a:cubicBezTo>
                    <a:cubicBezTo>
                      <a:pt x="24" y="42"/>
                      <a:pt x="22" y="41"/>
                      <a:pt x="20" y="39"/>
                    </a:cubicBezTo>
                    <a:cubicBezTo>
                      <a:pt x="21" y="38"/>
                      <a:pt x="22" y="37"/>
                      <a:pt x="22" y="35"/>
                    </a:cubicBezTo>
                    <a:cubicBezTo>
                      <a:pt x="22" y="34"/>
                      <a:pt x="23" y="32"/>
                      <a:pt x="22" y="31"/>
                    </a:cubicBezTo>
                    <a:cubicBezTo>
                      <a:pt x="21" y="30"/>
                      <a:pt x="19" y="29"/>
                      <a:pt x="17" y="28"/>
                    </a:cubicBezTo>
                    <a:cubicBezTo>
                      <a:pt x="16" y="28"/>
                      <a:pt x="16" y="29"/>
                      <a:pt x="15" y="29"/>
                    </a:cubicBezTo>
                    <a:cubicBezTo>
                      <a:pt x="13" y="29"/>
                      <a:pt x="12" y="29"/>
                      <a:pt x="11" y="29"/>
                    </a:cubicBezTo>
                    <a:cubicBezTo>
                      <a:pt x="9" y="28"/>
                      <a:pt x="8" y="27"/>
                      <a:pt x="6" y="26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25" name="Freeform 2646"/>
              <p:cNvSpPr>
                <a:spLocks noChangeAspect="1"/>
              </p:cNvSpPr>
              <p:nvPr/>
            </p:nvSpPr>
            <p:spPr bwMode="auto">
              <a:xfrm>
                <a:off x="4765153" y="2011658"/>
                <a:ext cx="115205" cy="49840"/>
              </a:xfrm>
              <a:custGeom>
                <a:avLst/>
                <a:gdLst>
                  <a:gd name="T0" fmla="*/ 87 w 86"/>
                  <a:gd name="T1" fmla="*/ 11 h 50"/>
                  <a:gd name="T2" fmla="*/ 84 w 86"/>
                  <a:gd name="T3" fmla="*/ 11 h 50"/>
                  <a:gd name="T4" fmla="*/ 79 w 86"/>
                  <a:gd name="T5" fmla="*/ 13 h 50"/>
                  <a:gd name="T6" fmla="*/ 71 w 86"/>
                  <a:gd name="T7" fmla="*/ 7 h 50"/>
                  <a:gd name="T8" fmla="*/ 60 w 86"/>
                  <a:gd name="T9" fmla="*/ 2 h 50"/>
                  <a:gd name="T10" fmla="*/ 55 w 86"/>
                  <a:gd name="T11" fmla="*/ 1 h 50"/>
                  <a:gd name="T12" fmla="*/ 47 w 86"/>
                  <a:gd name="T13" fmla="*/ 6 h 50"/>
                  <a:gd name="T14" fmla="*/ 49 w 86"/>
                  <a:gd name="T15" fmla="*/ 17 h 50"/>
                  <a:gd name="T16" fmla="*/ 44 w 86"/>
                  <a:gd name="T17" fmla="*/ 24 h 50"/>
                  <a:gd name="T18" fmla="*/ 35 w 86"/>
                  <a:gd name="T19" fmla="*/ 28 h 50"/>
                  <a:gd name="T20" fmla="*/ 29 w 86"/>
                  <a:gd name="T21" fmla="*/ 19 h 50"/>
                  <a:gd name="T22" fmla="*/ 23 w 86"/>
                  <a:gd name="T23" fmla="*/ 13 h 50"/>
                  <a:gd name="T24" fmla="*/ 22 w 86"/>
                  <a:gd name="T25" fmla="*/ 10 h 50"/>
                  <a:gd name="T26" fmla="*/ 11 w 86"/>
                  <a:gd name="T27" fmla="*/ 14 h 50"/>
                  <a:gd name="T28" fmla="*/ 7 w 86"/>
                  <a:gd name="T29" fmla="*/ 19 h 50"/>
                  <a:gd name="T30" fmla="*/ 1 w 86"/>
                  <a:gd name="T31" fmla="*/ 34 h 50"/>
                  <a:gd name="T32" fmla="*/ 1 w 86"/>
                  <a:gd name="T33" fmla="*/ 48 h 50"/>
                  <a:gd name="T34" fmla="*/ 6 w 86"/>
                  <a:gd name="T35" fmla="*/ 43 h 50"/>
                  <a:gd name="T36" fmla="*/ 16 w 86"/>
                  <a:gd name="T37" fmla="*/ 38 h 50"/>
                  <a:gd name="T38" fmla="*/ 30 w 86"/>
                  <a:gd name="T39" fmla="*/ 41 h 50"/>
                  <a:gd name="T40" fmla="*/ 44 w 86"/>
                  <a:gd name="T41" fmla="*/ 42 h 50"/>
                  <a:gd name="T42" fmla="*/ 49 w 86"/>
                  <a:gd name="T43" fmla="*/ 44 h 50"/>
                  <a:gd name="T44" fmla="*/ 56 w 86"/>
                  <a:gd name="T45" fmla="*/ 42 h 50"/>
                  <a:gd name="T46" fmla="*/ 63 w 86"/>
                  <a:gd name="T47" fmla="*/ 47 h 50"/>
                  <a:gd name="T48" fmla="*/ 73 w 86"/>
                  <a:gd name="T49" fmla="*/ 53 h 50"/>
                  <a:gd name="T50" fmla="*/ 83 w 86"/>
                  <a:gd name="T51" fmla="*/ 60 h 50"/>
                  <a:gd name="T52" fmla="*/ 87 w 86"/>
                  <a:gd name="T53" fmla="*/ 55 h 50"/>
                  <a:gd name="T54" fmla="*/ 95 w 86"/>
                  <a:gd name="T55" fmla="*/ 56 h 50"/>
                  <a:gd name="T56" fmla="*/ 98 w 86"/>
                  <a:gd name="T57" fmla="*/ 49 h 50"/>
                  <a:gd name="T58" fmla="*/ 102 w 86"/>
                  <a:gd name="T59" fmla="*/ 46 h 50"/>
                  <a:gd name="T60" fmla="*/ 103 w 86"/>
                  <a:gd name="T61" fmla="*/ 41 h 50"/>
                  <a:gd name="T62" fmla="*/ 96 w 86"/>
                  <a:gd name="T63" fmla="*/ 29 h 50"/>
                  <a:gd name="T64" fmla="*/ 96 w 86"/>
                  <a:gd name="T65" fmla="*/ 20 h 50"/>
                  <a:gd name="T66" fmla="*/ 92 w 86"/>
                  <a:gd name="T67" fmla="*/ 16 h 50"/>
                  <a:gd name="T68" fmla="*/ 87 w 86"/>
                  <a:gd name="T69" fmla="*/ 11 h 50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86"/>
                  <a:gd name="T106" fmla="*/ 0 h 50"/>
                  <a:gd name="T107" fmla="*/ 86 w 86"/>
                  <a:gd name="T108" fmla="*/ 50 h 50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86" h="50">
                    <a:moveTo>
                      <a:pt x="73" y="9"/>
                    </a:moveTo>
                    <a:cubicBezTo>
                      <a:pt x="72" y="9"/>
                      <a:pt x="71" y="9"/>
                      <a:pt x="70" y="9"/>
                    </a:cubicBezTo>
                    <a:cubicBezTo>
                      <a:pt x="68" y="10"/>
                      <a:pt x="67" y="11"/>
                      <a:pt x="66" y="11"/>
                    </a:cubicBezTo>
                    <a:cubicBezTo>
                      <a:pt x="63" y="10"/>
                      <a:pt x="61" y="8"/>
                      <a:pt x="59" y="6"/>
                    </a:cubicBezTo>
                    <a:cubicBezTo>
                      <a:pt x="56" y="5"/>
                      <a:pt x="53" y="4"/>
                      <a:pt x="50" y="2"/>
                    </a:cubicBezTo>
                    <a:cubicBezTo>
                      <a:pt x="49" y="2"/>
                      <a:pt x="47" y="0"/>
                      <a:pt x="46" y="1"/>
                    </a:cubicBezTo>
                    <a:cubicBezTo>
                      <a:pt x="43" y="1"/>
                      <a:pt x="41" y="4"/>
                      <a:pt x="39" y="5"/>
                    </a:cubicBezTo>
                    <a:cubicBezTo>
                      <a:pt x="39" y="8"/>
                      <a:pt x="41" y="11"/>
                      <a:pt x="41" y="14"/>
                    </a:cubicBezTo>
                    <a:cubicBezTo>
                      <a:pt x="40" y="17"/>
                      <a:pt x="39" y="19"/>
                      <a:pt x="37" y="20"/>
                    </a:cubicBezTo>
                    <a:cubicBezTo>
                      <a:pt x="35" y="22"/>
                      <a:pt x="32" y="24"/>
                      <a:pt x="29" y="23"/>
                    </a:cubicBezTo>
                    <a:cubicBezTo>
                      <a:pt x="27" y="22"/>
                      <a:pt x="26" y="18"/>
                      <a:pt x="24" y="16"/>
                    </a:cubicBezTo>
                    <a:cubicBezTo>
                      <a:pt x="23" y="14"/>
                      <a:pt x="20" y="13"/>
                      <a:pt x="19" y="11"/>
                    </a:cubicBezTo>
                    <a:cubicBezTo>
                      <a:pt x="18" y="10"/>
                      <a:pt x="19" y="8"/>
                      <a:pt x="18" y="8"/>
                    </a:cubicBezTo>
                    <a:cubicBezTo>
                      <a:pt x="15" y="9"/>
                      <a:pt x="12" y="10"/>
                      <a:pt x="9" y="12"/>
                    </a:cubicBezTo>
                    <a:cubicBezTo>
                      <a:pt x="8" y="13"/>
                      <a:pt x="6" y="15"/>
                      <a:pt x="6" y="16"/>
                    </a:cubicBezTo>
                    <a:cubicBezTo>
                      <a:pt x="5" y="21"/>
                      <a:pt x="3" y="25"/>
                      <a:pt x="1" y="28"/>
                    </a:cubicBezTo>
                    <a:cubicBezTo>
                      <a:pt x="0" y="32"/>
                      <a:pt x="1" y="36"/>
                      <a:pt x="1" y="40"/>
                    </a:cubicBezTo>
                    <a:cubicBezTo>
                      <a:pt x="2" y="38"/>
                      <a:pt x="3" y="37"/>
                      <a:pt x="5" y="36"/>
                    </a:cubicBezTo>
                    <a:cubicBezTo>
                      <a:pt x="7" y="34"/>
                      <a:pt x="10" y="32"/>
                      <a:pt x="13" y="32"/>
                    </a:cubicBezTo>
                    <a:cubicBezTo>
                      <a:pt x="17" y="31"/>
                      <a:pt x="21" y="33"/>
                      <a:pt x="25" y="34"/>
                    </a:cubicBezTo>
                    <a:cubicBezTo>
                      <a:pt x="29" y="34"/>
                      <a:pt x="33" y="34"/>
                      <a:pt x="37" y="35"/>
                    </a:cubicBezTo>
                    <a:cubicBezTo>
                      <a:pt x="38" y="36"/>
                      <a:pt x="40" y="37"/>
                      <a:pt x="41" y="37"/>
                    </a:cubicBezTo>
                    <a:cubicBezTo>
                      <a:pt x="43" y="38"/>
                      <a:pt x="45" y="35"/>
                      <a:pt x="47" y="35"/>
                    </a:cubicBezTo>
                    <a:cubicBezTo>
                      <a:pt x="49" y="36"/>
                      <a:pt x="51" y="38"/>
                      <a:pt x="53" y="39"/>
                    </a:cubicBezTo>
                    <a:cubicBezTo>
                      <a:pt x="56" y="41"/>
                      <a:pt x="58" y="43"/>
                      <a:pt x="61" y="44"/>
                    </a:cubicBezTo>
                    <a:cubicBezTo>
                      <a:pt x="64" y="46"/>
                      <a:pt x="66" y="48"/>
                      <a:pt x="69" y="50"/>
                    </a:cubicBezTo>
                    <a:cubicBezTo>
                      <a:pt x="70" y="49"/>
                      <a:pt x="71" y="47"/>
                      <a:pt x="73" y="46"/>
                    </a:cubicBezTo>
                    <a:cubicBezTo>
                      <a:pt x="75" y="46"/>
                      <a:pt x="77" y="48"/>
                      <a:pt x="79" y="47"/>
                    </a:cubicBezTo>
                    <a:cubicBezTo>
                      <a:pt x="80" y="45"/>
                      <a:pt x="81" y="43"/>
                      <a:pt x="82" y="41"/>
                    </a:cubicBezTo>
                    <a:cubicBezTo>
                      <a:pt x="83" y="40"/>
                      <a:pt x="84" y="39"/>
                      <a:pt x="85" y="38"/>
                    </a:cubicBezTo>
                    <a:cubicBezTo>
                      <a:pt x="85" y="37"/>
                      <a:pt x="86" y="35"/>
                      <a:pt x="86" y="34"/>
                    </a:cubicBezTo>
                    <a:cubicBezTo>
                      <a:pt x="85" y="30"/>
                      <a:pt x="82" y="28"/>
                      <a:pt x="80" y="24"/>
                    </a:cubicBezTo>
                    <a:cubicBezTo>
                      <a:pt x="80" y="22"/>
                      <a:pt x="81" y="19"/>
                      <a:pt x="80" y="17"/>
                    </a:cubicBezTo>
                    <a:cubicBezTo>
                      <a:pt x="80" y="15"/>
                      <a:pt x="78" y="15"/>
                      <a:pt x="77" y="13"/>
                    </a:cubicBezTo>
                    <a:cubicBezTo>
                      <a:pt x="75" y="12"/>
                      <a:pt x="74" y="10"/>
                      <a:pt x="73" y="9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26" name="Freeform 2647"/>
              <p:cNvSpPr>
                <a:spLocks noChangeAspect="1"/>
              </p:cNvSpPr>
              <p:nvPr/>
            </p:nvSpPr>
            <p:spPr bwMode="auto">
              <a:xfrm>
                <a:off x="4800945" y="1985907"/>
                <a:ext cx="71583" cy="37379"/>
              </a:xfrm>
              <a:custGeom>
                <a:avLst/>
                <a:gdLst>
                  <a:gd name="T0" fmla="*/ 56 w 53"/>
                  <a:gd name="T1" fmla="*/ 43 h 37"/>
                  <a:gd name="T2" fmla="*/ 52 w 53"/>
                  <a:gd name="T3" fmla="*/ 43 h 37"/>
                  <a:gd name="T4" fmla="*/ 47 w 53"/>
                  <a:gd name="T5" fmla="*/ 45 h 37"/>
                  <a:gd name="T6" fmla="*/ 39 w 53"/>
                  <a:gd name="T7" fmla="*/ 39 h 37"/>
                  <a:gd name="T8" fmla="*/ 28 w 53"/>
                  <a:gd name="T9" fmla="*/ 34 h 37"/>
                  <a:gd name="T10" fmla="*/ 23 w 53"/>
                  <a:gd name="T11" fmla="*/ 33 h 37"/>
                  <a:gd name="T12" fmla="*/ 14 w 53"/>
                  <a:gd name="T13" fmla="*/ 38 h 37"/>
                  <a:gd name="T14" fmla="*/ 17 w 53"/>
                  <a:gd name="T15" fmla="*/ 27 h 37"/>
                  <a:gd name="T16" fmla="*/ 12 w 53"/>
                  <a:gd name="T17" fmla="*/ 27 h 37"/>
                  <a:gd name="T18" fmla="*/ 8 w 53"/>
                  <a:gd name="T19" fmla="*/ 29 h 37"/>
                  <a:gd name="T20" fmla="*/ 2 w 53"/>
                  <a:gd name="T21" fmla="*/ 23 h 37"/>
                  <a:gd name="T22" fmla="*/ 2 w 53"/>
                  <a:gd name="T23" fmla="*/ 18 h 37"/>
                  <a:gd name="T24" fmla="*/ 0 w 53"/>
                  <a:gd name="T25" fmla="*/ 13 h 37"/>
                  <a:gd name="T26" fmla="*/ 2 w 53"/>
                  <a:gd name="T27" fmla="*/ 7 h 37"/>
                  <a:gd name="T28" fmla="*/ 12 w 53"/>
                  <a:gd name="T29" fmla="*/ 4 h 37"/>
                  <a:gd name="T30" fmla="*/ 29 w 53"/>
                  <a:gd name="T31" fmla="*/ 0 h 37"/>
                  <a:gd name="T32" fmla="*/ 43 w 53"/>
                  <a:gd name="T33" fmla="*/ 0 h 37"/>
                  <a:gd name="T34" fmla="*/ 50 w 53"/>
                  <a:gd name="T35" fmla="*/ 4 h 37"/>
                  <a:gd name="T36" fmla="*/ 64 w 53"/>
                  <a:gd name="T37" fmla="*/ 4 h 37"/>
                  <a:gd name="T38" fmla="*/ 63 w 53"/>
                  <a:gd name="T39" fmla="*/ 10 h 37"/>
                  <a:gd name="T40" fmla="*/ 62 w 53"/>
                  <a:gd name="T41" fmla="*/ 13 h 37"/>
                  <a:gd name="T42" fmla="*/ 54 w 53"/>
                  <a:gd name="T43" fmla="*/ 15 h 37"/>
                  <a:gd name="T44" fmla="*/ 48 w 53"/>
                  <a:gd name="T45" fmla="*/ 17 h 37"/>
                  <a:gd name="T46" fmla="*/ 53 w 53"/>
                  <a:gd name="T47" fmla="*/ 27 h 37"/>
                  <a:gd name="T48" fmla="*/ 58 w 53"/>
                  <a:gd name="T49" fmla="*/ 38 h 37"/>
                  <a:gd name="T50" fmla="*/ 57 w 53"/>
                  <a:gd name="T51" fmla="*/ 40 h 37"/>
                  <a:gd name="T52" fmla="*/ 56 w 53"/>
                  <a:gd name="T53" fmla="*/ 43 h 37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53"/>
                  <a:gd name="T82" fmla="*/ 0 h 37"/>
                  <a:gd name="T83" fmla="*/ 53 w 53"/>
                  <a:gd name="T84" fmla="*/ 37 h 37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53" h="37">
                    <a:moveTo>
                      <a:pt x="46" y="35"/>
                    </a:moveTo>
                    <a:cubicBezTo>
                      <a:pt x="45" y="35"/>
                      <a:pt x="44" y="35"/>
                      <a:pt x="43" y="35"/>
                    </a:cubicBezTo>
                    <a:cubicBezTo>
                      <a:pt x="41" y="36"/>
                      <a:pt x="40" y="37"/>
                      <a:pt x="39" y="37"/>
                    </a:cubicBezTo>
                    <a:cubicBezTo>
                      <a:pt x="36" y="36"/>
                      <a:pt x="34" y="34"/>
                      <a:pt x="32" y="32"/>
                    </a:cubicBezTo>
                    <a:cubicBezTo>
                      <a:pt x="29" y="31"/>
                      <a:pt x="26" y="30"/>
                      <a:pt x="23" y="28"/>
                    </a:cubicBezTo>
                    <a:cubicBezTo>
                      <a:pt x="22" y="28"/>
                      <a:pt x="20" y="26"/>
                      <a:pt x="19" y="27"/>
                    </a:cubicBezTo>
                    <a:cubicBezTo>
                      <a:pt x="16" y="27"/>
                      <a:pt x="14" y="30"/>
                      <a:pt x="12" y="31"/>
                    </a:cubicBezTo>
                    <a:cubicBezTo>
                      <a:pt x="12" y="28"/>
                      <a:pt x="14" y="25"/>
                      <a:pt x="14" y="22"/>
                    </a:cubicBezTo>
                    <a:cubicBezTo>
                      <a:pt x="13" y="21"/>
                      <a:pt x="11" y="22"/>
                      <a:pt x="10" y="22"/>
                    </a:cubicBezTo>
                    <a:cubicBezTo>
                      <a:pt x="9" y="23"/>
                      <a:pt x="8" y="24"/>
                      <a:pt x="7" y="24"/>
                    </a:cubicBezTo>
                    <a:cubicBezTo>
                      <a:pt x="4" y="23"/>
                      <a:pt x="3" y="21"/>
                      <a:pt x="2" y="19"/>
                    </a:cubicBezTo>
                    <a:cubicBezTo>
                      <a:pt x="1" y="18"/>
                      <a:pt x="2" y="16"/>
                      <a:pt x="2" y="15"/>
                    </a:cubicBezTo>
                    <a:cubicBezTo>
                      <a:pt x="2" y="14"/>
                      <a:pt x="0" y="12"/>
                      <a:pt x="0" y="11"/>
                    </a:cubicBezTo>
                    <a:cubicBezTo>
                      <a:pt x="0" y="9"/>
                      <a:pt x="1" y="7"/>
                      <a:pt x="2" y="6"/>
                    </a:cubicBezTo>
                    <a:cubicBezTo>
                      <a:pt x="4" y="4"/>
                      <a:pt x="7" y="3"/>
                      <a:pt x="10" y="3"/>
                    </a:cubicBezTo>
                    <a:cubicBezTo>
                      <a:pt x="14" y="1"/>
                      <a:pt x="19" y="0"/>
                      <a:pt x="24" y="0"/>
                    </a:cubicBezTo>
                    <a:cubicBezTo>
                      <a:pt x="28" y="0"/>
                      <a:pt x="32" y="0"/>
                      <a:pt x="36" y="0"/>
                    </a:cubicBezTo>
                    <a:cubicBezTo>
                      <a:pt x="38" y="1"/>
                      <a:pt x="39" y="3"/>
                      <a:pt x="41" y="3"/>
                    </a:cubicBezTo>
                    <a:cubicBezTo>
                      <a:pt x="45" y="4"/>
                      <a:pt x="49" y="3"/>
                      <a:pt x="53" y="3"/>
                    </a:cubicBezTo>
                    <a:cubicBezTo>
                      <a:pt x="53" y="4"/>
                      <a:pt x="52" y="6"/>
                      <a:pt x="52" y="8"/>
                    </a:cubicBezTo>
                    <a:cubicBezTo>
                      <a:pt x="51" y="9"/>
                      <a:pt x="51" y="10"/>
                      <a:pt x="51" y="11"/>
                    </a:cubicBezTo>
                    <a:cubicBezTo>
                      <a:pt x="49" y="11"/>
                      <a:pt x="47" y="11"/>
                      <a:pt x="45" y="12"/>
                    </a:cubicBezTo>
                    <a:cubicBezTo>
                      <a:pt x="43" y="12"/>
                      <a:pt x="40" y="13"/>
                      <a:pt x="40" y="14"/>
                    </a:cubicBezTo>
                    <a:cubicBezTo>
                      <a:pt x="40" y="17"/>
                      <a:pt x="43" y="20"/>
                      <a:pt x="44" y="22"/>
                    </a:cubicBezTo>
                    <a:cubicBezTo>
                      <a:pt x="45" y="25"/>
                      <a:pt x="47" y="28"/>
                      <a:pt x="48" y="31"/>
                    </a:cubicBezTo>
                    <a:cubicBezTo>
                      <a:pt x="48" y="31"/>
                      <a:pt x="48" y="32"/>
                      <a:pt x="47" y="33"/>
                    </a:cubicBezTo>
                    <a:cubicBezTo>
                      <a:pt x="47" y="34"/>
                      <a:pt x="46" y="34"/>
                      <a:pt x="46" y="35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27" name="Freeform 2648"/>
              <p:cNvSpPr>
                <a:spLocks noChangeAspect="1"/>
              </p:cNvSpPr>
              <p:nvPr/>
            </p:nvSpPr>
            <p:spPr bwMode="auto">
              <a:xfrm>
                <a:off x="4747258" y="1771594"/>
                <a:ext cx="171129" cy="210159"/>
              </a:xfrm>
              <a:custGeom>
                <a:avLst/>
                <a:gdLst>
                  <a:gd name="T0" fmla="*/ 58 w 127"/>
                  <a:gd name="T1" fmla="*/ 114 h 211"/>
                  <a:gd name="T2" fmla="*/ 66 w 127"/>
                  <a:gd name="T3" fmla="*/ 131 h 211"/>
                  <a:gd name="T4" fmla="*/ 47 w 127"/>
                  <a:gd name="T5" fmla="*/ 146 h 211"/>
                  <a:gd name="T6" fmla="*/ 27 w 127"/>
                  <a:gd name="T7" fmla="*/ 169 h 211"/>
                  <a:gd name="T8" fmla="*/ 12 w 127"/>
                  <a:gd name="T9" fmla="*/ 180 h 211"/>
                  <a:gd name="T10" fmla="*/ 16 w 127"/>
                  <a:gd name="T11" fmla="*/ 222 h 211"/>
                  <a:gd name="T12" fmla="*/ 31 w 127"/>
                  <a:gd name="T13" fmla="*/ 237 h 211"/>
                  <a:gd name="T14" fmla="*/ 41 w 127"/>
                  <a:gd name="T15" fmla="*/ 251 h 211"/>
                  <a:gd name="T16" fmla="*/ 71 w 127"/>
                  <a:gd name="T17" fmla="*/ 245 h 211"/>
                  <a:gd name="T18" fmla="*/ 99 w 127"/>
                  <a:gd name="T19" fmla="*/ 237 h 211"/>
                  <a:gd name="T20" fmla="*/ 113 w 127"/>
                  <a:gd name="T21" fmla="*/ 228 h 211"/>
                  <a:gd name="T22" fmla="*/ 135 w 127"/>
                  <a:gd name="T23" fmla="*/ 206 h 211"/>
                  <a:gd name="T24" fmla="*/ 153 w 127"/>
                  <a:gd name="T25" fmla="*/ 179 h 211"/>
                  <a:gd name="T26" fmla="*/ 134 w 127"/>
                  <a:gd name="T27" fmla="*/ 158 h 211"/>
                  <a:gd name="T28" fmla="*/ 136 w 127"/>
                  <a:gd name="T29" fmla="*/ 145 h 211"/>
                  <a:gd name="T30" fmla="*/ 131 w 127"/>
                  <a:gd name="T31" fmla="*/ 134 h 211"/>
                  <a:gd name="T32" fmla="*/ 126 w 127"/>
                  <a:gd name="T33" fmla="*/ 126 h 211"/>
                  <a:gd name="T34" fmla="*/ 124 w 127"/>
                  <a:gd name="T35" fmla="*/ 119 h 211"/>
                  <a:gd name="T36" fmla="*/ 131 w 127"/>
                  <a:gd name="T37" fmla="*/ 106 h 211"/>
                  <a:gd name="T38" fmla="*/ 125 w 127"/>
                  <a:gd name="T39" fmla="*/ 64 h 211"/>
                  <a:gd name="T40" fmla="*/ 106 w 127"/>
                  <a:gd name="T41" fmla="*/ 50 h 211"/>
                  <a:gd name="T42" fmla="*/ 106 w 127"/>
                  <a:gd name="T43" fmla="*/ 34 h 211"/>
                  <a:gd name="T44" fmla="*/ 107 w 127"/>
                  <a:gd name="T45" fmla="*/ 28 h 211"/>
                  <a:gd name="T46" fmla="*/ 101 w 127"/>
                  <a:gd name="T47" fmla="*/ 8 h 211"/>
                  <a:gd name="T48" fmla="*/ 73 w 127"/>
                  <a:gd name="T49" fmla="*/ 4 h 211"/>
                  <a:gd name="T50" fmla="*/ 66 w 127"/>
                  <a:gd name="T51" fmla="*/ 30 h 211"/>
                  <a:gd name="T52" fmla="*/ 58 w 127"/>
                  <a:gd name="T53" fmla="*/ 40 h 211"/>
                  <a:gd name="T54" fmla="*/ 33 w 127"/>
                  <a:gd name="T55" fmla="*/ 38 h 211"/>
                  <a:gd name="T56" fmla="*/ 5 w 127"/>
                  <a:gd name="T57" fmla="*/ 17 h 211"/>
                  <a:gd name="T58" fmla="*/ 0 w 127"/>
                  <a:gd name="T59" fmla="*/ 28 h 211"/>
                  <a:gd name="T60" fmla="*/ 27 w 127"/>
                  <a:gd name="T61" fmla="*/ 43 h 211"/>
                  <a:gd name="T62" fmla="*/ 37 w 127"/>
                  <a:gd name="T63" fmla="*/ 65 h 211"/>
                  <a:gd name="T64" fmla="*/ 41 w 127"/>
                  <a:gd name="T65" fmla="*/ 72 h 211"/>
                  <a:gd name="T66" fmla="*/ 42 w 127"/>
                  <a:gd name="T67" fmla="*/ 95 h 211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27"/>
                  <a:gd name="T103" fmla="*/ 0 h 211"/>
                  <a:gd name="T104" fmla="*/ 127 w 127"/>
                  <a:gd name="T105" fmla="*/ 211 h 211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27" h="211">
                    <a:moveTo>
                      <a:pt x="40" y="91"/>
                    </a:moveTo>
                    <a:cubicBezTo>
                      <a:pt x="43" y="92"/>
                      <a:pt x="45" y="93"/>
                      <a:pt x="48" y="95"/>
                    </a:cubicBezTo>
                    <a:cubicBezTo>
                      <a:pt x="51" y="96"/>
                      <a:pt x="54" y="97"/>
                      <a:pt x="56" y="100"/>
                    </a:cubicBezTo>
                    <a:cubicBezTo>
                      <a:pt x="57" y="102"/>
                      <a:pt x="57" y="106"/>
                      <a:pt x="55" y="109"/>
                    </a:cubicBezTo>
                    <a:cubicBezTo>
                      <a:pt x="53" y="111"/>
                      <a:pt x="49" y="110"/>
                      <a:pt x="47" y="112"/>
                    </a:cubicBezTo>
                    <a:cubicBezTo>
                      <a:pt x="43" y="114"/>
                      <a:pt x="42" y="119"/>
                      <a:pt x="39" y="122"/>
                    </a:cubicBezTo>
                    <a:cubicBezTo>
                      <a:pt x="36" y="126"/>
                      <a:pt x="32" y="129"/>
                      <a:pt x="29" y="132"/>
                    </a:cubicBezTo>
                    <a:cubicBezTo>
                      <a:pt x="26" y="135"/>
                      <a:pt x="25" y="139"/>
                      <a:pt x="22" y="141"/>
                    </a:cubicBezTo>
                    <a:cubicBezTo>
                      <a:pt x="20" y="142"/>
                      <a:pt x="17" y="142"/>
                      <a:pt x="15" y="144"/>
                    </a:cubicBezTo>
                    <a:cubicBezTo>
                      <a:pt x="13" y="145"/>
                      <a:pt x="10" y="148"/>
                      <a:pt x="10" y="150"/>
                    </a:cubicBezTo>
                    <a:cubicBezTo>
                      <a:pt x="9" y="157"/>
                      <a:pt x="10" y="164"/>
                      <a:pt x="11" y="171"/>
                    </a:cubicBezTo>
                    <a:cubicBezTo>
                      <a:pt x="11" y="175"/>
                      <a:pt x="13" y="180"/>
                      <a:pt x="13" y="185"/>
                    </a:cubicBezTo>
                    <a:cubicBezTo>
                      <a:pt x="13" y="188"/>
                      <a:pt x="11" y="193"/>
                      <a:pt x="13" y="195"/>
                    </a:cubicBezTo>
                    <a:cubicBezTo>
                      <a:pt x="16" y="198"/>
                      <a:pt x="22" y="197"/>
                      <a:pt x="26" y="198"/>
                    </a:cubicBezTo>
                    <a:cubicBezTo>
                      <a:pt x="29" y="199"/>
                      <a:pt x="32" y="199"/>
                      <a:pt x="33" y="201"/>
                    </a:cubicBezTo>
                    <a:cubicBezTo>
                      <a:pt x="35" y="203"/>
                      <a:pt x="32" y="209"/>
                      <a:pt x="34" y="209"/>
                    </a:cubicBezTo>
                    <a:cubicBezTo>
                      <a:pt x="38" y="211"/>
                      <a:pt x="42" y="207"/>
                      <a:pt x="46" y="206"/>
                    </a:cubicBezTo>
                    <a:cubicBezTo>
                      <a:pt x="50" y="205"/>
                      <a:pt x="55" y="205"/>
                      <a:pt x="59" y="204"/>
                    </a:cubicBezTo>
                    <a:cubicBezTo>
                      <a:pt x="62" y="203"/>
                      <a:pt x="64" y="199"/>
                      <a:pt x="67" y="198"/>
                    </a:cubicBezTo>
                    <a:cubicBezTo>
                      <a:pt x="72" y="197"/>
                      <a:pt x="77" y="198"/>
                      <a:pt x="82" y="198"/>
                    </a:cubicBezTo>
                    <a:cubicBezTo>
                      <a:pt x="85" y="198"/>
                      <a:pt x="87" y="198"/>
                      <a:pt x="90" y="198"/>
                    </a:cubicBezTo>
                    <a:cubicBezTo>
                      <a:pt x="92" y="195"/>
                      <a:pt x="92" y="192"/>
                      <a:pt x="94" y="190"/>
                    </a:cubicBezTo>
                    <a:cubicBezTo>
                      <a:pt x="97" y="187"/>
                      <a:pt x="102" y="186"/>
                      <a:pt x="105" y="183"/>
                    </a:cubicBezTo>
                    <a:cubicBezTo>
                      <a:pt x="108" y="180"/>
                      <a:pt x="110" y="176"/>
                      <a:pt x="112" y="172"/>
                    </a:cubicBezTo>
                    <a:cubicBezTo>
                      <a:pt x="115" y="167"/>
                      <a:pt x="117" y="162"/>
                      <a:pt x="120" y="158"/>
                    </a:cubicBezTo>
                    <a:cubicBezTo>
                      <a:pt x="122" y="155"/>
                      <a:pt x="127" y="153"/>
                      <a:pt x="127" y="149"/>
                    </a:cubicBezTo>
                    <a:cubicBezTo>
                      <a:pt x="127" y="145"/>
                      <a:pt x="122" y="143"/>
                      <a:pt x="120" y="140"/>
                    </a:cubicBezTo>
                    <a:cubicBezTo>
                      <a:pt x="117" y="137"/>
                      <a:pt x="113" y="135"/>
                      <a:pt x="111" y="132"/>
                    </a:cubicBezTo>
                    <a:cubicBezTo>
                      <a:pt x="110" y="130"/>
                      <a:pt x="114" y="128"/>
                      <a:pt x="115" y="126"/>
                    </a:cubicBezTo>
                    <a:cubicBezTo>
                      <a:pt x="115" y="124"/>
                      <a:pt x="114" y="122"/>
                      <a:pt x="113" y="121"/>
                    </a:cubicBezTo>
                    <a:cubicBezTo>
                      <a:pt x="112" y="120"/>
                      <a:pt x="110" y="120"/>
                      <a:pt x="109" y="118"/>
                    </a:cubicBezTo>
                    <a:cubicBezTo>
                      <a:pt x="108" y="116"/>
                      <a:pt x="110" y="114"/>
                      <a:pt x="109" y="112"/>
                    </a:cubicBezTo>
                    <a:cubicBezTo>
                      <a:pt x="108" y="111"/>
                      <a:pt x="106" y="113"/>
                      <a:pt x="105" y="112"/>
                    </a:cubicBezTo>
                    <a:cubicBezTo>
                      <a:pt x="104" y="110"/>
                      <a:pt x="104" y="107"/>
                      <a:pt x="105" y="105"/>
                    </a:cubicBezTo>
                    <a:cubicBezTo>
                      <a:pt x="105" y="103"/>
                      <a:pt x="108" y="102"/>
                      <a:pt x="107" y="101"/>
                    </a:cubicBezTo>
                    <a:cubicBezTo>
                      <a:pt x="107" y="99"/>
                      <a:pt x="103" y="101"/>
                      <a:pt x="103" y="99"/>
                    </a:cubicBezTo>
                    <a:cubicBezTo>
                      <a:pt x="103" y="96"/>
                      <a:pt x="105" y="94"/>
                      <a:pt x="106" y="92"/>
                    </a:cubicBezTo>
                    <a:lnTo>
                      <a:pt x="109" y="88"/>
                    </a:lnTo>
                    <a:lnTo>
                      <a:pt x="94" y="65"/>
                    </a:lnTo>
                    <a:lnTo>
                      <a:pt x="104" y="53"/>
                    </a:lnTo>
                    <a:cubicBezTo>
                      <a:pt x="100" y="49"/>
                      <a:pt x="97" y="46"/>
                      <a:pt x="96" y="44"/>
                    </a:cubicBezTo>
                    <a:cubicBezTo>
                      <a:pt x="95" y="42"/>
                      <a:pt x="90" y="44"/>
                      <a:pt x="88" y="42"/>
                    </a:cubicBezTo>
                    <a:cubicBezTo>
                      <a:pt x="86" y="40"/>
                      <a:pt x="86" y="37"/>
                      <a:pt x="86" y="35"/>
                    </a:cubicBezTo>
                    <a:cubicBezTo>
                      <a:pt x="86" y="32"/>
                      <a:pt x="88" y="31"/>
                      <a:pt x="88" y="28"/>
                    </a:cubicBezTo>
                    <a:cubicBezTo>
                      <a:pt x="88" y="27"/>
                      <a:pt x="85" y="28"/>
                      <a:pt x="85" y="27"/>
                    </a:cubicBezTo>
                    <a:cubicBezTo>
                      <a:pt x="85" y="25"/>
                      <a:pt x="88" y="24"/>
                      <a:pt x="89" y="23"/>
                    </a:cubicBezTo>
                    <a:cubicBezTo>
                      <a:pt x="90" y="19"/>
                      <a:pt x="93" y="16"/>
                      <a:pt x="92" y="12"/>
                    </a:cubicBezTo>
                    <a:cubicBezTo>
                      <a:pt x="92" y="9"/>
                      <a:pt x="87" y="9"/>
                      <a:pt x="84" y="7"/>
                    </a:cubicBezTo>
                    <a:cubicBezTo>
                      <a:pt x="80" y="6"/>
                      <a:pt x="76" y="0"/>
                      <a:pt x="72" y="2"/>
                    </a:cubicBezTo>
                    <a:cubicBezTo>
                      <a:pt x="69" y="5"/>
                      <a:pt x="64" y="4"/>
                      <a:pt x="61" y="3"/>
                    </a:cubicBezTo>
                    <a:cubicBezTo>
                      <a:pt x="59" y="5"/>
                      <a:pt x="56" y="10"/>
                      <a:pt x="55" y="15"/>
                    </a:cubicBezTo>
                    <a:cubicBezTo>
                      <a:pt x="54" y="18"/>
                      <a:pt x="56" y="22"/>
                      <a:pt x="55" y="25"/>
                    </a:cubicBezTo>
                    <a:cubicBezTo>
                      <a:pt x="54" y="27"/>
                      <a:pt x="50" y="25"/>
                      <a:pt x="49" y="27"/>
                    </a:cubicBezTo>
                    <a:cubicBezTo>
                      <a:pt x="47" y="29"/>
                      <a:pt x="50" y="33"/>
                      <a:pt x="48" y="33"/>
                    </a:cubicBezTo>
                    <a:cubicBezTo>
                      <a:pt x="43" y="33"/>
                      <a:pt x="39" y="28"/>
                      <a:pt x="35" y="28"/>
                    </a:cubicBezTo>
                    <a:cubicBezTo>
                      <a:pt x="32" y="28"/>
                      <a:pt x="29" y="33"/>
                      <a:pt x="27" y="32"/>
                    </a:cubicBezTo>
                    <a:cubicBezTo>
                      <a:pt x="23" y="30"/>
                      <a:pt x="19" y="31"/>
                      <a:pt x="17" y="30"/>
                    </a:cubicBezTo>
                    <a:cubicBezTo>
                      <a:pt x="13" y="25"/>
                      <a:pt x="12" y="16"/>
                      <a:pt x="4" y="14"/>
                    </a:cubicBezTo>
                    <a:cubicBezTo>
                      <a:pt x="2" y="14"/>
                      <a:pt x="5" y="19"/>
                      <a:pt x="4" y="21"/>
                    </a:cubicBezTo>
                    <a:cubicBezTo>
                      <a:pt x="3" y="22"/>
                      <a:pt x="1" y="22"/>
                      <a:pt x="0" y="23"/>
                    </a:cubicBezTo>
                    <a:cubicBezTo>
                      <a:pt x="3" y="26"/>
                      <a:pt x="6" y="31"/>
                      <a:pt x="10" y="33"/>
                    </a:cubicBezTo>
                    <a:cubicBezTo>
                      <a:pt x="14" y="35"/>
                      <a:pt x="19" y="34"/>
                      <a:pt x="22" y="36"/>
                    </a:cubicBezTo>
                    <a:cubicBezTo>
                      <a:pt x="26" y="38"/>
                      <a:pt x="29" y="41"/>
                      <a:pt x="31" y="45"/>
                    </a:cubicBezTo>
                    <a:cubicBezTo>
                      <a:pt x="33" y="48"/>
                      <a:pt x="31" y="51"/>
                      <a:pt x="31" y="54"/>
                    </a:cubicBezTo>
                    <a:cubicBezTo>
                      <a:pt x="32" y="55"/>
                      <a:pt x="34" y="56"/>
                      <a:pt x="34" y="58"/>
                    </a:cubicBezTo>
                    <a:cubicBezTo>
                      <a:pt x="35" y="59"/>
                      <a:pt x="34" y="59"/>
                      <a:pt x="34" y="60"/>
                    </a:cubicBezTo>
                    <a:cubicBezTo>
                      <a:pt x="34" y="63"/>
                      <a:pt x="37" y="66"/>
                      <a:pt x="37" y="69"/>
                    </a:cubicBezTo>
                    <a:cubicBezTo>
                      <a:pt x="37" y="73"/>
                      <a:pt x="34" y="76"/>
                      <a:pt x="35" y="79"/>
                    </a:cubicBezTo>
                    <a:cubicBezTo>
                      <a:pt x="35" y="83"/>
                      <a:pt x="38" y="87"/>
                      <a:pt x="40" y="9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28" name="Freeform 2649"/>
              <p:cNvSpPr>
                <a:spLocks noChangeAspect="1"/>
              </p:cNvSpPr>
              <p:nvPr/>
            </p:nvSpPr>
            <p:spPr bwMode="auto">
              <a:xfrm>
                <a:off x="4609683" y="1792362"/>
                <a:ext cx="191262" cy="273289"/>
              </a:xfrm>
              <a:custGeom>
                <a:avLst/>
                <a:gdLst>
                  <a:gd name="T0" fmla="*/ 6 w 143"/>
                  <a:gd name="T1" fmla="*/ 234 h 274"/>
                  <a:gd name="T2" fmla="*/ 17 w 143"/>
                  <a:gd name="T3" fmla="*/ 217 h 274"/>
                  <a:gd name="T4" fmla="*/ 19 w 143"/>
                  <a:gd name="T5" fmla="*/ 195 h 274"/>
                  <a:gd name="T6" fmla="*/ 11 w 143"/>
                  <a:gd name="T7" fmla="*/ 177 h 274"/>
                  <a:gd name="T8" fmla="*/ 19 w 143"/>
                  <a:gd name="T9" fmla="*/ 125 h 274"/>
                  <a:gd name="T10" fmla="*/ 33 w 143"/>
                  <a:gd name="T11" fmla="*/ 115 h 274"/>
                  <a:gd name="T12" fmla="*/ 42 w 143"/>
                  <a:gd name="T13" fmla="*/ 74 h 274"/>
                  <a:gd name="T14" fmla="*/ 62 w 143"/>
                  <a:gd name="T15" fmla="*/ 54 h 274"/>
                  <a:gd name="T16" fmla="*/ 79 w 143"/>
                  <a:gd name="T17" fmla="*/ 26 h 274"/>
                  <a:gd name="T18" fmla="*/ 88 w 143"/>
                  <a:gd name="T19" fmla="*/ 13 h 274"/>
                  <a:gd name="T20" fmla="*/ 114 w 143"/>
                  <a:gd name="T21" fmla="*/ 18 h 274"/>
                  <a:gd name="T22" fmla="*/ 123 w 143"/>
                  <a:gd name="T23" fmla="*/ 2 h 274"/>
                  <a:gd name="T24" fmla="*/ 149 w 143"/>
                  <a:gd name="T25" fmla="*/ 18 h 274"/>
                  <a:gd name="T26" fmla="*/ 160 w 143"/>
                  <a:gd name="T27" fmla="*/ 40 h 274"/>
                  <a:gd name="T28" fmla="*/ 164 w 143"/>
                  <a:gd name="T29" fmla="*/ 47 h 274"/>
                  <a:gd name="T30" fmla="*/ 165 w 143"/>
                  <a:gd name="T31" fmla="*/ 70 h 274"/>
                  <a:gd name="T32" fmla="*/ 160 w 143"/>
                  <a:gd name="T33" fmla="*/ 84 h 274"/>
                  <a:gd name="T34" fmla="*/ 148 w 143"/>
                  <a:gd name="T35" fmla="*/ 91 h 274"/>
                  <a:gd name="T36" fmla="*/ 139 w 143"/>
                  <a:gd name="T37" fmla="*/ 98 h 274"/>
                  <a:gd name="T38" fmla="*/ 140 w 143"/>
                  <a:gd name="T39" fmla="*/ 116 h 274"/>
                  <a:gd name="T40" fmla="*/ 123 w 143"/>
                  <a:gd name="T41" fmla="*/ 134 h 274"/>
                  <a:gd name="T42" fmla="*/ 102 w 143"/>
                  <a:gd name="T43" fmla="*/ 146 h 274"/>
                  <a:gd name="T44" fmla="*/ 92 w 143"/>
                  <a:gd name="T45" fmla="*/ 161 h 274"/>
                  <a:gd name="T46" fmla="*/ 87 w 143"/>
                  <a:gd name="T47" fmla="*/ 168 h 274"/>
                  <a:gd name="T48" fmla="*/ 81 w 143"/>
                  <a:gd name="T49" fmla="*/ 184 h 274"/>
                  <a:gd name="T50" fmla="*/ 90 w 143"/>
                  <a:gd name="T51" fmla="*/ 214 h 274"/>
                  <a:gd name="T52" fmla="*/ 111 w 143"/>
                  <a:gd name="T53" fmla="*/ 227 h 274"/>
                  <a:gd name="T54" fmla="*/ 93 w 143"/>
                  <a:gd name="T55" fmla="*/ 234 h 274"/>
                  <a:gd name="T56" fmla="*/ 103 w 143"/>
                  <a:gd name="T57" fmla="*/ 238 h 274"/>
                  <a:gd name="T58" fmla="*/ 92 w 143"/>
                  <a:gd name="T59" fmla="*/ 245 h 274"/>
                  <a:gd name="T60" fmla="*/ 80 w 143"/>
                  <a:gd name="T61" fmla="*/ 257 h 274"/>
                  <a:gd name="T62" fmla="*/ 75 w 143"/>
                  <a:gd name="T63" fmla="*/ 298 h 274"/>
                  <a:gd name="T64" fmla="*/ 55 w 143"/>
                  <a:gd name="T65" fmla="*/ 310 h 274"/>
                  <a:gd name="T66" fmla="*/ 51 w 143"/>
                  <a:gd name="T67" fmla="*/ 325 h 274"/>
                  <a:gd name="T68" fmla="*/ 29 w 143"/>
                  <a:gd name="T69" fmla="*/ 328 h 274"/>
                  <a:gd name="T70" fmla="*/ 31 w 143"/>
                  <a:gd name="T71" fmla="*/ 319 h 274"/>
                  <a:gd name="T72" fmla="*/ 29 w 143"/>
                  <a:gd name="T73" fmla="*/ 309 h 274"/>
                  <a:gd name="T74" fmla="*/ 29 w 143"/>
                  <a:gd name="T75" fmla="*/ 303 h 274"/>
                  <a:gd name="T76" fmla="*/ 12 w 143"/>
                  <a:gd name="T77" fmla="*/ 285 h 274"/>
                  <a:gd name="T78" fmla="*/ 10 w 143"/>
                  <a:gd name="T79" fmla="*/ 262 h 274"/>
                  <a:gd name="T80" fmla="*/ 5 w 143"/>
                  <a:gd name="T81" fmla="*/ 249 h 274"/>
                  <a:gd name="T82" fmla="*/ 6 w 143"/>
                  <a:gd name="T83" fmla="*/ 244 h 27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43"/>
                  <a:gd name="T127" fmla="*/ 0 h 274"/>
                  <a:gd name="T128" fmla="*/ 143 w 143"/>
                  <a:gd name="T129" fmla="*/ 274 h 27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43" h="274">
                    <a:moveTo>
                      <a:pt x="5" y="203"/>
                    </a:moveTo>
                    <a:cubicBezTo>
                      <a:pt x="5" y="200"/>
                      <a:pt x="5" y="197"/>
                      <a:pt x="5" y="195"/>
                    </a:cubicBezTo>
                    <a:cubicBezTo>
                      <a:pt x="6" y="192"/>
                      <a:pt x="7" y="189"/>
                      <a:pt x="9" y="186"/>
                    </a:cubicBezTo>
                    <a:cubicBezTo>
                      <a:pt x="10" y="184"/>
                      <a:pt x="14" y="184"/>
                      <a:pt x="14" y="181"/>
                    </a:cubicBezTo>
                    <a:cubicBezTo>
                      <a:pt x="15" y="176"/>
                      <a:pt x="12" y="170"/>
                      <a:pt x="13" y="164"/>
                    </a:cubicBezTo>
                    <a:cubicBezTo>
                      <a:pt x="13" y="163"/>
                      <a:pt x="16" y="163"/>
                      <a:pt x="16" y="162"/>
                    </a:cubicBezTo>
                    <a:cubicBezTo>
                      <a:pt x="17" y="161"/>
                      <a:pt x="18" y="159"/>
                      <a:pt x="17" y="158"/>
                    </a:cubicBezTo>
                    <a:cubicBezTo>
                      <a:pt x="15" y="154"/>
                      <a:pt x="9" y="151"/>
                      <a:pt x="9" y="147"/>
                    </a:cubicBezTo>
                    <a:cubicBezTo>
                      <a:pt x="9" y="136"/>
                      <a:pt x="9" y="125"/>
                      <a:pt x="10" y="113"/>
                    </a:cubicBezTo>
                    <a:cubicBezTo>
                      <a:pt x="10" y="110"/>
                      <a:pt x="13" y="106"/>
                      <a:pt x="16" y="104"/>
                    </a:cubicBezTo>
                    <a:cubicBezTo>
                      <a:pt x="21" y="102"/>
                      <a:pt x="27" y="107"/>
                      <a:pt x="31" y="104"/>
                    </a:cubicBezTo>
                    <a:cubicBezTo>
                      <a:pt x="33" y="102"/>
                      <a:pt x="28" y="99"/>
                      <a:pt x="28" y="96"/>
                    </a:cubicBezTo>
                    <a:cubicBezTo>
                      <a:pt x="28" y="86"/>
                      <a:pt x="32" y="77"/>
                      <a:pt x="33" y="68"/>
                    </a:cubicBezTo>
                    <a:cubicBezTo>
                      <a:pt x="34" y="66"/>
                      <a:pt x="33" y="64"/>
                      <a:pt x="35" y="62"/>
                    </a:cubicBezTo>
                    <a:cubicBezTo>
                      <a:pt x="37" y="60"/>
                      <a:pt x="43" y="62"/>
                      <a:pt x="44" y="59"/>
                    </a:cubicBezTo>
                    <a:cubicBezTo>
                      <a:pt x="45" y="54"/>
                      <a:pt x="48" y="49"/>
                      <a:pt x="52" y="45"/>
                    </a:cubicBezTo>
                    <a:cubicBezTo>
                      <a:pt x="54" y="43"/>
                      <a:pt x="51" y="40"/>
                      <a:pt x="52" y="37"/>
                    </a:cubicBezTo>
                    <a:cubicBezTo>
                      <a:pt x="56" y="31"/>
                      <a:pt x="60" y="25"/>
                      <a:pt x="66" y="22"/>
                    </a:cubicBezTo>
                    <a:cubicBezTo>
                      <a:pt x="68" y="21"/>
                      <a:pt x="71" y="27"/>
                      <a:pt x="72" y="25"/>
                    </a:cubicBezTo>
                    <a:cubicBezTo>
                      <a:pt x="75" y="21"/>
                      <a:pt x="72" y="15"/>
                      <a:pt x="74" y="11"/>
                    </a:cubicBezTo>
                    <a:cubicBezTo>
                      <a:pt x="76" y="9"/>
                      <a:pt x="80" y="9"/>
                      <a:pt x="82" y="10"/>
                    </a:cubicBezTo>
                    <a:cubicBezTo>
                      <a:pt x="87" y="11"/>
                      <a:pt x="91" y="18"/>
                      <a:pt x="95" y="15"/>
                    </a:cubicBezTo>
                    <a:cubicBezTo>
                      <a:pt x="99" y="13"/>
                      <a:pt x="94" y="6"/>
                      <a:pt x="96" y="2"/>
                    </a:cubicBezTo>
                    <a:cubicBezTo>
                      <a:pt x="97" y="0"/>
                      <a:pt x="101" y="2"/>
                      <a:pt x="103" y="2"/>
                    </a:cubicBezTo>
                    <a:cubicBezTo>
                      <a:pt x="106" y="5"/>
                      <a:pt x="109" y="10"/>
                      <a:pt x="113" y="12"/>
                    </a:cubicBezTo>
                    <a:cubicBezTo>
                      <a:pt x="117" y="14"/>
                      <a:pt x="122" y="13"/>
                      <a:pt x="125" y="15"/>
                    </a:cubicBezTo>
                    <a:cubicBezTo>
                      <a:pt x="129" y="17"/>
                      <a:pt x="132" y="20"/>
                      <a:pt x="134" y="24"/>
                    </a:cubicBezTo>
                    <a:cubicBezTo>
                      <a:pt x="136" y="27"/>
                      <a:pt x="134" y="30"/>
                      <a:pt x="134" y="33"/>
                    </a:cubicBezTo>
                    <a:cubicBezTo>
                      <a:pt x="135" y="34"/>
                      <a:pt x="137" y="35"/>
                      <a:pt x="137" y="37"/>
                    </a:cubicBezTo>
                    <a:cubicBezTo>
                      <a:pt x="138" y="38"/>
                      <a:pt x="137" y="38"/>
                      <a:pt x="137" y="39"/>
                    </a:cubicBezTo>
                    <a:cubicBezTo>
                      <a:pt x="137" y="42"/>
                      <a:pt x="140" y="45"/>
                      <a:pt x="140" y="48"/>
                    </a:cubicBezTo>
                    <a:cubicBezTo>
                      <a:pt x="140" y="52"/>
                      <a:pt x="137" y="55"/>
                      <a:pt x="138" y="58"/>
                    </a:cubicBezTo>
                    <a:cubicBezTo>
                      <a:pt x="138" y="62"/>
                      <a:pt x="141" y="66"/>
                      <a:pt x="143" y="70"/>
                    </a:cubicBezTo>
                    <a:cubicBezTo>
                      <a:pt x="140" y="70"/>
                      <a:pt x="137" y="70"/>
                      <a:pt x="134" y="70"/>
                    </a:cubicBezTo>
                    <a:cubicBezTo>
                      <a:pt x="130" y="70"/>
                      <a:pt x="127" y="67"/>
                      <a:pt x="124" y="69"/>
                    </a:cubicBezTo>
                    <a:cubicBezTo>
                      <a:pt x="122" y="70"/>
                      <a:pt x="126" y="74"/>
                      <a:pt x="124" y="76"/>
                    </a:cubicBezTo>
                    <a:cubicBezTo>
                      <a:pt x="122" y="78"/>
                      <a:pt x="118" y="76"/>
                      <a:pt x="116" y="78"/>
                    </a:cubicBezTo>
                    <a:cubicBezTo>
                      <a:pt x="115" y="79"/>
                      <a:pt x="117" y="81"/>
                      <a:pt x="116" y="82"/>
                    </a:cubicBezTo>
                    <a:cubicBezTo>
                      <a:pt x="114" y="84"/>
                      <a:pt x="108" y="86"/>
                      <a:pt x="109" y="89"/>
                    </a:cubicBezTo>
                    <a:cubicBezTo>
                      <a:pt x="109" y="93"/>
                      <a:pt x="117" y="94"/>
                      <a:pt x="117" y="97"/>
                    </a:cubicBezTo>
                    <a:cubicBezTo>
                      <a:pt x="117" y="101"/>
                      <a:pt x="110" y="100"/>
                      <a:pt x="109" y="102"/>
                    </a:cubicBezTo>
                    <a:cubicBezTo>
                      <a:pt x="108" y="106"/>
                      <a:pt x="107" y="110"/>
                      <a:pt x="103" y="112"/>
                    </a:cubicBezTo>
                    <a:cubicBezTo>
                      <a:pt x="99" y="113"/>
                      <a:pt x="95" y="116"/>
                      <a:pt x="91" y="118"/>
                    </a:cubicBezTo>
                    <a:cubicBezTo>
                      <a:pt x="89" y="119"/>
                      <a:pt x="87" y="120"/>
                      <a:pt x="85" y="122"/>
                    </a:cubicBezTo>
                    <a:cubicBezTo>
                      <a:pt x="82" y="124"/>
                      <a:pt x="78" y="127"/>
                      <a:pt x="76" y="130"/>
                    </a:cubicBezTo>
                    <a:cubicBezTo>
                      <a:pt x="75" y="131"/>
                      <a:pt x="77" y="133"/>
                      <a:pt x="77" y="134"/>
                    </a:cubicBezTo>
                    <a:cubicBezTo>
                      <a:pt x="75" y="135"/>
                      <a:pt x="71" y="135"/>
                      <a:pt x="71" y="137"/>
                    </a:cubicBezTo>
                    <a:cubicBezTo>
                      <a:pt x="71" y="139"/>
                      <a:pt x="73" y="138"/>
                      <a:pt x="73" y="140"/>
                    </a:cubicBezTo>
                    <a:cubicBezTo>
                      <a:pt x="74" y="145"/>
                      <a:pt x="73" y="149"/>
                      <a:pt x="71" y="153"/>
                    </a:cubicBezTo>
                    <a:cubicBezTo>
                      <a:pt x="70" y="154"/>
                      <a:pt x="69" y="151"/>
                      <a:pt x="68" y="153"/>
                    </a:cubicBezTo>
                    <a:cubicBezTo>
                      <a:pt x="67" y="155"/>
                      <a:pt x="68" y="158"/>
                      <a:pt x="69" y="161"/>
                    </a:cubicBezTo>
                    <a:cubicBezTo>
                      <a:pt x="70" y="167"/>
                      <a:pt x="71" y="173"/>
                      <a:pt x="75" y="178"/>
                    </a:cubicBezTo>
                    <a:cubicBezTo>
                      <a:pt x="77" y="180"/>
                      <a:pt x="82" y="176"/>
                      <a:pt x="85" y="178"/>
                    </a:cubicBezTo>
                    <a:cubicBezTo>
                      <a:pt x="89" y="181"/>
                      <a:pt x="93" y="184"/>
                      <a:pt x="93" y="189"/>
                    </a:cubicBezTo>
                    <a:cubicBezTo>
                      <a:pt x="93" y="193"/>
                      <a:pt x="88" y="195"/>
                      <a:pt x="85" y="196"/>
                    </a:cubicBezTo>
                    <a:cubicBezTo>
                      <a:pt x="83" y="197"/>
                      <a:pt x="80" y="194"/>
                      <a:pt x="78" y="195"/>
                    </a:cubicBezTo>
                    <a:cubicBezTo>
                      <a:pt x="77" y="196"/>
                      <a:pt x="74" y="200"/>
                      <a:pt x="76" y="200"/>
                    </a:cubicBezTo>
                    <a:cubicBezTo>
                      <a:pt x="79" y="202"/>
                      <a:pt x="83" y="196"/>
                      <a:pt x="86" y="198"/>
                    </a:cubicBezTo>
                    <a:cubicBezTo>
                      <a:pt x="88" y="200"/>
                      <a:pt x="84" y="204"/>
                      <a:pt x="81" y="205"/>
                    </a:cubicBezTo>
                    <a:cubicBezTo>
                      <a:pt x="80" y="206"/>
                      <a:pt x="79" y="204"/>
                      <a:pt x="77" y="204"/>
                    </a:cubicBezTo>
                    <a:cubicBezTo>
                      <a:pt x="76" y="205"/>
                      <a:pt x="76" y="206"/>
                      <a:pt x="75" y="207"/>
                    </a:cubicBezTo>
                    <a:cubicBezTo>
                      <a:pt x="72" y="209"/>
                      <a:pt x="68" y="210"/>
                      <a:pt x="67" y="214"/>
                    </a:cubicBezTo>
                    <a:cubicBezTo>
                      <a:pt x="66" y="217"/>
                      <a:pt x="68" y="222"/>
                      <a:pt x="68" y="226"/>
                    </a:cubicBezTo>
                    <a:cubicBezTo>
                      <a:pt x="67" y="233"/>
                      <a:pt x="65" y="241"/>
                      <a:pt x="63" y="248"/>
                    </a:cubicBezTo>
                    <a:cubicBezTo>
                      <a:pt x="62" y="251"/>
                      <a:pt x="60" y="256"/>
                      <a:pt x="57" y="258"/>
                    </a:cubicBezTo>
                    <a:cubicBezTo>
                      <a:pt x="54" y="260"/>
                      <a:pt x="49" y="257"/>
                      <a:pt x="46" y="258"/>
                    </a:cubicBezTo>
                    <a:cubicBezTo>
                      <a:pt x="43" y="259"/>
                      <a:pt x="40" y="261"/>
                      <a:pt x="40" y="263"/>
                    </a:cubicBezTo>
                    <a:cubicBezTo>
                      <a:pt x="39" y="266"/>
                      <a:pt x="45" y="268"/>
                      <a:pt x="43" y="271"/>
                    </a:cubicBezTo>
                    <a:cubicBezTo>
                      <a:pt x="42" y="273"/>
                      <a:pt x="37" y="272"/>
                      <a:pt x="33" y="272"/>
                    </a:cubicBezTo>
                    <a:cubicBezTo>
                      <a:pt x="30" y="273"/>
                      <a:pt x="27" y="274"/>
                      <a:pt x="24" y="273"/>
                    </a:cubicBezTo>
                    <a:cubicBezTo>
                      <a:pt x="23" y="273"/>
                      <a:pt x="24" y="271"/>
                      <a:pt x="24" y="270"/>
                    </a:cubicBezTo>
                    <a:cubicBezTo>
                      <a:pt x="25" y="269"/>
                      <a:pt x="27" y="267"/>
                      <a:pt x="26" y="266"/>
                    </a:cubicBezTo>
                    <a:cubicBezTo>
                      <a:pt x="25" y="263"/>
                      <a:pt x="19" y="261"/>
                      <a:pt x="18" y="257"/>
                    </a:cubicBezTo>
                    <a:cubicBezTo>
                      <a:pt x="18" y="256"/>
                      <a:pt x="23" y="259"/>
                      <a:pt x="24" y="257"/>
                    </a:cubicBezTo>
                    <a:cubicBezTo>
                      <a:pt x="25" y="255"/>
                      <a:pt x="20" y="254"/>
                      <a:pt x="20" y="252"/>
                    </a:cubicBezTo>
                    <a:cubicBezTo>
                      <a:pt x="20" y="251"/>
                      <a:pt x="25" y="253"/>
                      <a:pt x="24" y="252"/>
                    </a:cubicBezTo>
                    <a:cubicBezTo>
                      <a:pt x="22" y="246"/>
                      <a:pt x="18" y="240"/>
                      <a:pt x="14" y="236"/>
                    </a:cubicBezTo>
                    <a:cubicBezTo>
                      <a:pt x="13" y="235"/>
                      <a:pt x="10" y="239"/>
                      <a:pt x="10" y="237"/>
                    </a:cubicBezTo>
                    <a:cubicBezTo>
                      <a:pt x="8" y="233"/>
                      <a:pt x="9" y="229"/>
                      <a:pt x="9" y="225"/>
                    </a:cubicBezTo>
                    <a:cubicBezTo>
                      <a:pt x="9" y="222"/>
                      <a:pt x="9" y="220"/>
                      <a:pt x="8" y="218"/>
                    </a:cubicBezTo>
                    <a:cubicBezTo>
                      <a:pt x="8" y="217"/>
                      <a:pt x="5" y="217"/>
                      <a:pt x="5" y="216"/>
                    </a:cubicBezTo>
                    <a:cubicBezTo>
                      <a:pt x="4" y="213"/>
                      <a:pt x="5" y="210"/>
                      <a:pt x="4" y="207"/>
                    </a:cubicBezTo>
                    <a:cubicBezTo>
                      <a:pt x="3" y="206"/>
                      <a:pt x="0" y="205"/>
                      <a:pt x="1" y="204"/>
                    </a:cubicBezTo>
                    <a:cubicBezTo>
                      <a:pt x="1" y="202"/>
                      <a:pt x="4" y="203"/>
                      <a:pt x="5" y="20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29" name="Freeform 2650"/>
              <p:cNvSpPr>
                <a:spLocks noChangeAspect="1"/>
              </p:cNvSpPr>
              <p:nvPr/>
            </p:nvSpPr>
            <p:spPr bwMode="auto">
              <a:xfrm>
                <a:off x="4512375" y="1749167"/>
                <a:ext cx="385881" cy="265813"/>
              </a:xfrm>
              <a:custGeom>
                <a:avLst/>
                <a:gdLst>
                  <a:gd name="T0" fmla="*/ 84 w 287"/>
                  <a:gd name="T1" fmla="*/ 283 h 267"/>
                  <a:gd name="T2" fmla="*/ 78 w 287"/>
                  <a:gd name="T3" fmla="*/ 294 h 267"/>
                  <a:gd name="T4" fmla="*/ 47 w 287"/>
                  <a:gd name="T5" fmla="*/ 316 h 267"/>
                  <a:gd name="T6" fmla="*/ 7 w 287"/>
                  <a:gd name="T7" fmla="*/ 300 h 267"/>
                  <a:gd name="T8" fmla="*/ 16 w 287"/>
                  <a:gd name="T9" fmla="*/ 284 h 267"/>
                  <a:gd name="T10" fmla="*/ 16 w 287"/>
                  <a:gd name="T11" fmla="*/ 276 h 267"/>
                  <a:gd name="T12" fmla="*/ 11 w 287"/>
                  <a:gd name="T13" fmla="*/ 274 h 267"/>
                  <a:gd name="T14" fmla="*/ 6 w 287"/>
                  <a:gd name="T15" fmla="*/ 250 h 267"/>
                  <a:gd name="T16" fmla="*/ 8 w 287"/>
                  <a:gd name="T17" fmla="*/ 233 h 267"/>
                  <a:gd name="T18" fmla="*/ 1 w 287"/>
                  <a:gd name="T19" fmla="*/ 223 h 267"/>
                  <a:gd name="T20" fmla="*/ 30 w 287"/>
                  <a:gd name="T21" fmla="*/ 222 h 267"/>
                  <a:gd name="T22" fmla="*/ 36 w 287"/>
                  <a:gd name="T23" fmla="*/ 213 h 267"/>
                  <a:gd name="T24" fmla="*/ 46 w 287"/>
                  <a:gd name="T25" fmla="*/ 211 h 267"/>
                  <a:gd name="T26" fmla="*/ 54 w 287"/>
                  <a:gd name="T27" fmla="*/ 195 h 267"/>
                  <a:gd name="T28" fmla="*/ 65 w 287"/>
                  <a:gd name="T29" fmla="*/ 192 h 267"/>
                  <a:gd name="T30" fmla="*/ 85 w 287"/>
                  <a:gd name="T31" fmla="*/ 182 h 267"/>
                  <a:gd name="T32" fmla="*/ 65 w 287"/>
                  <a:gd name="T33" fmla="*/ 183 h 267"/>
                  <a:gd name="T34" fmla="*/ 94 w 287"/>
                  <a:gd name="T35" fmla="*/ 168 h 267"/>
                  <a:gd name="T36" fmla="*/ 103 w 287"/>
                  <a:gd name="T37" fmla="*/ 149 h 267"/>
                  <a:gd name="T38" fmla="*/ 108 w 287"/>
                  <a:gd name="T39" fmla="*/ 129 h 267"/>
                  <a:gd name="T40" fmla="*/ 112 w 287"/>
                  <a:gd name="T41" fmla="*/ 119 h 267"/>
                  <a:gd name="T42" fmla="*/ 127 w 287"/>
                  <a:gd name="T43" fmla="*/ 107 h 267"/>
                  <a:gd name="T44" fmla="*/ 137 w 287"/>
                  <a:gd name="T45" fmla="*/ 96 h 267"/>
                  <a:gd name="T46" fmla="*/ 132 w 287"/>
                  <a:gd name="T47" fmla="*/ 89 h 267"/>
                  <a:gd name="T48" fmla="*/ 165 w 287"/>
                  <a:gd name="T49" fmla="*/ 72 h 267"/>
                  <a:gd name="T50" fmla="*/ 142 w 287"/>
                  <a:gd name="T51" fmla="*/ 56 h 267"/>
                  <a:gd name="T52" fmla="*/ 155 w 287"/>
                  <a:gd name="T53" fmla="*/ 67 h 267"/>
                  <a:gd name="T54" fmla="*/ 161 w 287"/>
                  <a:gd name="T55" fmla="*/ 59 h 267"/>
                  <a:gd name="T56" fmla="*/ 173 w 287"/>
                  <a:gd name="T57" fmla="*/ 43 h 267"/>
                  <a:gd name="T58" fmla="*/ 189 w 287"/>
                  <a:gd name="T59" fmla="*/ 48 h 267"/>
                  <a:gd name="T60" fmla="*/ 194 w 287"/>
                  <a:gd name="T61" fmla="*/ 43 h 267"/>
                  <a:gd name="T62" fmla="*/ 200 w 287"/>
                  <a:gd name="T63" fmla="*/ 47 h 267"/>
                  <a:gd name="T64" fmla="*/ 224 w 287"/>
                  <a:gd name="T65" fmla="*/ 42 h 267"/>
                  <a:gd name="T66" fmla="*/ 225 w 287"/>
                  <a:gd name="T67" fmla="*/ 23 h 267"/>
                  <a:gd name="T68" fmla="*/ 244 w 287"/>
                  <a:gd name="T69" fmla="*/ 24 h 267"/>
                  <a:gd name="T70" fmla="*/ 257 w 287"/>
                  <a:gd name="T71" fmla="*/ 4 h 267"/>
                  <a:gd name="T72" fmla="*/ 274 w 287"/>
                  <a:gd name="T73" fmla="*/ 10 h 267"/>
                  <a:gd name="T74" fmla="*/ 279 w 287"/>
                  <a:gd name="T75" fmla="*/ 12 h 267"/>
                  <a:gd name="T76" fmla="*/ 291 w 287"/>
                  <a:gd name="T77" fmla="*/ 18 h 267"/>
                  <a:gd name="T78" fmla="*/ 303 w 287"/>
                  <a:gd name="T79" fmla="*/ 1 h 267"/>
                  <a:gd name="T80" fmla="*/ 305 w 287"/>
                  <a:gd name="T81" fmla="*/ 14 h 267"/>
                  <a:gd name="T82" fmla="*/ 315 w 287"/>
                  <a:gd name="T83" fmla="*/ 8 h 267"/>
                  <a:gd name="T84" fmla="*/ 343 w 287"/>
                  <a:gd name="T85" fmla="*/ 23 h 267"/>
                  <a:gd name="T86" fmla="*/ 329 w 287"/>
                  <a:gd name="T87" fmla="*/ 34 h 267"/>
                  <a:gd name="T88" fmla="*/ 345 w 287"/>
                  <a:gd name="T89" fmla="*/ 40 h 267"/>
                  <a:gd name="T90" fmla="*/ 332 w 287"/>
                  <a:gd name="T91" fmla="*/ 46 h 267"/>
                  <a:gd name="T92" fmla="*/ 317 w 287"/>
                  <a:gd name="T93" fmla="*/ 55 h 267"/>
                  <a:gd name="T94" fmla="*/ 297 w 287"/>
                  <a:gd name="T95" fmla="*/ 30 h 267"/>
                  <a:gd name="T96" fmla="*/ 276 w 287"/>
                  <a:gd name="T97" fmla="*/ 58 h 267"/>
                  <a:gd name="T98" fmla="*/ 252 w 287"/>
                  <a:gd name="T99" fmla="*/ 61 h 267"/>
                  <a:gd name="T100" fmla="*/ 215 w 287"/>
                  <a:gd name="T101" fmla="*/ 44 h 267"/>
                  <a:gd name="T102" fmla="*/ 202 w 287"/>
                  <a:gd name="T103" fmla="*/ 55 h 267"/>
                  <a:gd name="T104" fmla="*/ 176 w 287"/>
                  <a:gd name="T105" fmla="*/ 66 h 267"/>
                  <a:gd name="T106" fmla="*/ 149 w 287"/>
                  <a:gd name="T107" fmla="*/ 97 h 267"/>
                  <a:gd name="T108" fmla="*/ 129 w 287"/>
                  <a:gd name="T109" fmla="*/ 127 h 267"/>
                  <a:gd name="T110" fmla="*/ 124 w 287"/>
                  <a:gd name="T111" fmla="*/ 177 h 267"/>
                  <a:gd name="T112" fmla="*/ 97 w 287"/>
                  <a:gd name="T113" fmla="*/ 229 h 267"/>
                  <a:gd name="T114" fmla="*/ 102 w 287"/>
                  <a:gd name="T115" fmla="*/ 249 h 267"/>
                  <a:gd name="T116" fmla="*/ 93 w 287"/>
                  <a:gd name="T117" fmla="*/ 286 h 267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87"/>
                  <a:gd name="T178" fmla="*/ 0 h 267"/>
                  <a:gd name="T179" fmla="*/ 287 w 287"/>
                  <a:gd name="T180" fmla="*/ 267 h 267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87" h="267">
                    <a:moveTo>
                      <a:pt x="77" y="247"/>
                    </a:moveTo>
                    <a:cubicBezTo>
                      <a:pt x="76" y="246"/>
                      <a:pt x="71" y="246"/>
                      <a:pt x="70" y="244"/>
                    </a:cubicBezTo>
                    <a:cubicBezTo>
                      <a:pt x="68" y="242"/>
                      <a:pt x="70" y="239"/>
                      <a:pt x="70" y="236"/>
                    </a:cubicBezTo>
                    <a:cubicBezTo>
                      <a:pt x="69" y="234"/>
                      <a:pt x="69" y="230"/>
                      <a:pt x="66" y="230"/>
                    </a:cubicBezTo>
                    <a:cubicBezTo>
                      <a:pt x="64" y="231"/>
                      <a:pt x="65" y="235"/>
                      <a:pt x="65" y="237"/>
                    </a:cubicBezTo>
                    <a:cubicBezTo>
                      <a:pt x="65" y="240"/>
                      <a:pt x="66" y="243"/>
                      <a:pt x="65" y="245"/>
                    </a:cubicBezTo>
                    <a:cubicBezTo>
                      <a:pt x="64" y="247"/>
                      <a:pt x="62" y="249"/>
                      <a:pt x="60" y="249"/>
                    </a:cubicBezTo>
                    <a:cubicBezTo>
                      <a:pt x="58" y="250"/>
                      <a:pt x="57" y="247"/>
                      <a:pt x="55" y="248"/>
                    </a:cubicBezTo>
                    <a:cubicBezTo>
                      <a:pt x="49" y="252"/>
                      <a:pt x="45" y="260"/>
                      <a:pt x="39" y="264"/>
                    </a:cubicBezTo>
                    <a:cubicBezTo>
                      <a:pt x="36" y="266"/>
                      <a:pt x="32" y="267"/>
                      <a:pt x="29" y="266"/>
                    </a:cubicBezTo>
                    <a:cubicBezTo>
                      <a:pt x="23" y="264"/>
                      <a:pt x="17" y="261"/>
                      <a:pt x="11" y="258"/>
                    </a:cubicBezTo>
                    <a:cubicBezTo>
                      <a:pt x="9" y="256"/>
                      <a:pt x="6" y="253"/>
                      <a:pt x="6" y="250"/>
                    </a:cubicBezTo>
                    <a:cubicBezTo>
                      <a:pt x="7" y="248"/>
                      <a:pt x="12" y="250"/>
                      <a:pt x="14" y="249"/>
                    </a:cubicBezTo>
                    <a:cubicBezTo>
                      <a:pt x="16" y="247"/>
                      <a:pt x="16" y="244"/>
                      <a:pt x="16" y="242"/>
                    </a:cubicBezTo>
                    <a:cubicBezTo>
                      <a:pt x="16" y="240"/>
                      <a:pt x="15" y="237"/>
                      <a:pt x="13" y="237"/>
                    </a:cubicBezTo>
                    <a:cubicBezTo>
                      <a:pt x="10" y="236"/>
                      <a:pt x="7" y="241"/>
                      <a:pt x="5" y="240"/>
                    </a:cubicBezTo>
                    <a:cubicBezTo>
                      <a:pt x="3" y="239"/>
                      <a:pt x="7" y="236"/>
                      <a:pt x="8" y="235"/>
                    </a:cubicBezTo>
                    <a:cubicBezTo>
                      <a:pt x="10" y="233"/>
                      <a:pt x="11" y="232"/>
                      <a:pt x="13" y="230"/>
                    </a:cubicBezTo>
                    <a:cubicBezTo>
                      <a:pt x="15" y="227"/>
                      <a:pt x="17" y="224"/>
                      <a:pt x="19" y="221"/>
                    </a:cubicBezTo>
                    <a:cubicBezTo>
                      <a:pt x="19" y="220"/>
                      <a:pt x="17" y="220"/>
                      <a:pt x="17" y="221"/>
                    </a:cubicBezTo>
                    <a:cubicBezTo>
                      <a:pt x="14" y="223"/>
                      <a:pt x="13" y="228"/>
                      <a:pt x="9" y="229"/>
                    </a:cubicBezTo>
                    <a:cubicBezTo>
                      <a:pt x="6" y="229"/>
                      <a:pt x="6" y="224"/>
                      <a:pt x="5" y="222"/>
                    </a:cubicBezTo>
                    <a:cubicBezTo>
                      <a:pt x="3" y="220"/>
                      <a:pt x="0" y="218"/>
                      <a:pt x="0" y="215"/>
                    </a:cubicBezTo>
                    <a:cubicBezTo>
                      <a:pt x="0" y="213"/>
                      <a:pt x="4" y="212"/>
                      <a:pt x="5" y="209"/>
                    </a:cubicBezTo>
                    <a:cubicBezTo>
                      <a:pt x="5" y="207"/>
                      <a:pt x="5" y="204"/>
                      <a:pt x="5" y="202"/>
                    </a:cubicBezTo>
                    <a:cubicBezTo>
                      <a:pt x="4" y="200"/>
                      <a:pt x="0" y="200"/>
                      <a:pt x="0" y="199"/>
                    </a:cubicBezTo>
                    <a:cubicBezTo>
                      <a:pt x="1" y="196"/>
                      <a:pt x="4" y="195"/>
                      <a:pt x="7" y="194"/>
                    </a:cubicBezTo>
                    <a:cubicBezTo>
                      <a:pt x="9" y="193"/>
                      <a:pt x="15" y="195"/>
                      <a:pt x="13" y="194"/>
                    </a:cubicBezTo>
                    <a:cubicBezTo>
                      <a:pt x="10" y="192"/>
                      <a:pt x="6" y="193"/>
                      <a:pt x="3" y="191"/>
                    </a:cubicBezTo>
                    <a:cubicBezTo>
                      <a:pt x="2" y="190"/>
                      <a:pt x="0" y="187"/>
                      <a:pt x="1" y="186"/>
                    </a:cubicBezTo>
                    <a:cubicBezTo>
                      <a:pt x="3" y="184"/>
                      <a:pt x="5" y="187"/>
                      <a:pt x="8" y="187"/>
                    </a:cubicBezTo>
                    <a:cubicBezTo>
                      <a:pt x="11" y="187"/>
                      <a:pt x="14" y="186"/>
                      <a:pt x="17" y="185"/>
                    </a:cubicBezTo>
                    <a:cubicBezTo>
                      <a:pt x="20" y="185"/>
                      <a:pt x="26" y="187"/>
                      <a:pt x="25" y="185"/>
                    </a:cubicBezTo>
                    <a:cubicBezTo>
                      <a:pt x="24" y="181"/>
                      <a:pt x="17" y="183"/>
                      <a:pt x="15" y="180"/>
                    </a:cubicBezTo>
                    <a:cubicBezTo>
                      <a:pt x="14" y="178"/>
                      <a:pt x="19" y="179"/>
                      <a:pt x="21" y="178"/>
                    </a:cubicBezTo>
                    <a:cubicBezTo>
                      <a:pt x="24" y="178"/>
                      <a:pt x="29" y="181"/>
                      <a:pt x="30" y="178"/>
                    </a:cubicBezTo>
                    <a:cubicBezTo>
                      <a:pt x="32" y="176"/>
                      <a:pt x="23" y="176"/>
                      <a:pt x="24" y="173"/>
                    </a:cubicBezTo>
                    <a:cubicBezTo>
                      <a:pt x="24" y="171"/>
                      <a:pt x="29" y="171"/>
                      <a:pt x="32" y="172"/>
                    </a:cubicBezTo>
                    <a:cubicBezTo>
                      <a:pt x="34" y="172"/>
                      <a:pt x="35" y="176"/>
                      <a:pt x="38" y="176"/>
                    </a:cubicBezTo>
                    <a:cubicBezTo>
                      <a:pt x="40" y="175"/>
                      <a:pt x="41" y="172"/>
                      <a:pt x="41" y="170"/>
                    </a:cubicBezTo>
                    <a:cubicBezTo>
                      <a:pt x="41" y="169"/>
                      <a:pt x="38" y="168"/>
                      <a:pt x="38" y="166"/>
                    </a:cubicBezTo>
                    <a:cubicBezTo>
                      <a:pt x="40" y="164"/>
                      <a:pt x="43" y="165"/>
                      <a:pt x="45" y="163"/>
                    </a:cubicBezTo>
                    <a:cubicBezTo>
                      <a:pt x="46" y="162"/>
                      <a:pt x="45" y="158"/>
                      <a:pt x="46" y="158"/>
                    </a:cubicBezTo>
                    <a:cubicBezTo>
                      <a:pt x="49" y="158"/>
                      <a:pt x="49" y="164"/>
                      <a:pt x="52" y="164"/>
                    </a:cubicBezTo>
                    <a:cubicBezTo>
                      <a:pt x="54" y="165"/>
                      <a:pt x="53" y="160"/>
                      <a:pt x="54" y="160"/>
                    </a:cubicBezTo>
                    <a:cubicBezTo>
                      <a:pt x="56" y="159"/>
                      <a:pt x="58" y="162"/>
                      <a:pt x="60" y="162"/>
                    </a:cubicBezTo>
                    <a:cubicBezTo>
                      <a:pt x="61" y="163"/>
                      <a:pt x="63" y="162"/>
                      <a:pt x="64" y="161"/>
                    </a:cubicBezTo>
                    <a:cubicBezTo>
                      <a:pt x="67" y="159"/>
                      <a:pt x="69" y="155"/>
                      <a:pt x="71" y="152"/>
                    </a:cubicBezTo>
                    <a:cubicBezTo>
                      <a:pt x="71" y="151"/>
                      <a:pt x="69" y="150"/>
                      <a:pt x="69" y="151"/>
                    </a:cubicBezTo>
                    <a:cubicBezTo>
                      <a:pt x="65" y="153"/>
                      <a:pt x="63" y="158"/>
                      <a:pt x="59" y="159"/>
                    </a:cubicBezTo>
                    <a:cubicBezTo>
                      <a:pt x="56" y="159"/>
                      <a:pt x="54" y="155"/>
                      <a:pt x="54" y="153"/>
                    </a:cubicBezTo>
                    <a:cubicBezTo>
                      <a:pt x="55" y="149"/>
                      <a:pt x="59" y="146"/>
                      <a:pt x="62" y="143"/>
                    </a:cubicBezTo>
                    <a:cubicBezTo>
                      <a:pt x="65" y="141"/>
                      <a:pt x="67" y="140"/>
                      <a:pt x="70" y="139"/>
                    </a:cubicBezTo>
                    <a:cubicBezTo>
                      <a:pt x="73" y="138"/>
                      <a:pt x="77" y="142"/>
                      <a:pt x="78" y="140"/>
                    </a:cubicBezTo>
                    <a:cubicBezTo>
                      <a:pt x="80" y="137"/>
                      <a:pt x="74" y="132"/>
                      <a:pt x="76" y="130"/>
                    </a:cubicBezTo>
                    <a:cubicBezTo>
                      <a:pt x="78" y="127"/>
                      <a:pt x="83" y="130"/>
                      <a:pt x="86" y="128"/>
                    </a:cubicBezTo>
                    <a:cubicBezTo>
                      <a:pt x="88" y="127"/>
                      <a:pt x="86" y="125"/>
                      <a:pt x="86" y="124"/>
                    </a:cubicBezTo>
                    <a:cubicBezTo>
                      <a:pt x="86" y="121"/>
                      <a:pt x="85" y="118"/>
                      <a:pt x="86" y="116"/>
                    </a:cubicBezTo>
                    <a:cubicBezTo>
                      <a:pt x="88" y="114"/>
                      <a:pt x="92" y="116"/>
                      <a:pt x="93" y="113"/>
                    </a:cubicBezTo>
                    <a:cubicBezTo>
                      <a:pt x="94" y="111"/>
                      <a:pt x="89" y="110"/>
                      <a:pt x="90" y="108"/>
                    </a:cubicBezTo>
                    <a:cubicBezTo>
                      <a:pt x="92" y="106"/>
                      <a:pt x="97" y="109"/>
                      <a:pt x="100" y="106"/>
                    </a:cubicBezTo>
                    <a:cubicBezTo>
                      <a:pt x="101" y="105"/>
                      <a:pt x="95" y="107"/>
                      <a:pt x="94" y="105"/>
                    </a:cubicBezTo>
                    <a:cubicBezTo>
                      <a:pt x="92" y="103"/>
                      <a:pt x="92" y="100"/>
                      <a:pt x="93" y="99"/>
                    </a:cubicBezTo>
                    <a:cubicBezTo>
                      <a:pt x="95" y="97"/>
                      <a:pt x="98" y="100"/>
                      <a:pt x="99" y="99"/>
                    </a:cubicBezTo>
                    <a:cubicBezTo>
                      <a:pt x="100" y="97"/>
                      <a:pt x="98" y="94"/>
                      <a:pt x="99" y="93"/>
                    </a:cubicBezTo>
                    <a:cubicBezTo>
                      <a:pt x="100" y="90"/>
                      <a:pt x="103" y="89"/>
                      <a:pt x="106" y="89"/>
                    </a:cubicBezTo>
                    <a:cubicBezTo>
                      <a:pt x="110" y="88"/>
                      <a:pt x="117" y="92"/>
                      <a:pt x="117" y="88"/>
                    </a:cubicBezTo>
                    <a:cubicBezTo>
                      <a:pt x="118" y="85"/>
                      <a:pt x="108" y="88"/>
                      <a:pt x="107" y="85"/>
                    </a:cubicBezTo>
                    <a:cubicBezTo>
                      <a:pt x="106" y="82"/>
                      <a:pt x="111" y="81"/>
                      <a:pt x="114" y="80"/>
                    </a:cubicBezTo>
                    <a:cubicBezTo>
                      <a:pt x="116" y="80"/>
                      <a:pt x="119" y="83"/>
                      <a:pt x="120" y="81"/>
                    </a:cubicBezTo>
                    <a:cubicBezTo>
                      <a:pt x="121" y="79"/>
                      <a:pt x="119" y="76"/>
                      <a:pt x="117" y="74"/>
                    </a:cubicBezTo>
                    <a:cubicBezTo>
                      <a:pt x="115" y="73"/>
                      <a:pt x="109" y="76"/>
                      <a:pt x="110" y="74"/>
                    </a:cubicBezTo>
                    <a:cubicBezTo>
                      <a:pt x="112" y="71"/>
                      <a:pt x="117" y="72"/>
                      <a:pt x="120" y="70"/>
                    </a:cubicBezTo>
                    <a:cubicBezTo>
                      <a:pt x="122" y="67"/>
                      <a:pt x="122" y="63"/>
                      <a:pt x="125" y="61"/>
                    </a:cubicBezTo>
                    <a:cubicBezTo>
                      <a:pt x="128" y="59"/>
                      <a:pt x="134" y="62"/>
                      <a:pt x="137" y="60"/>
                    </a:cubicBezTo>
                    <a:cubicBezTo>
                      <a:pt x="139" y="59"/>
                      <a:pt x="133" y="58"/>
                      <a:pt x="131" y="58"/>
                    </a:cubicBezTo>
                    <a:cubicBezTo>
                      <a:pt x="125" y="58"/>
                      <a:pt x="117" y="63"/>
                      <a:pt x="112" y="59"/>
                    </a:cubicBezTo>
                    <a:cubicBezTo>
                      <a:pt x="109" y="56"/>
                      <a:pt x="115" y="50"/>
                      <a:pt x="118" y="47"/>
                    </a:cubicBezTo>
                    <a:cubicBezTo>
                      <a:pt x="120" y="46"/>
                      <a:pt x="118" y="52"/>
                      <a:pt x="120" y="52"/>
                    </a:cubicBezTo>
                    <a:cubicBezTo>
                      <a:pt x="123" y="53"/>
                      <a:pt x="126" y="48"/>
                      <a:pt x="129" y="50"/>
                    </a:cubicBezTo>
                    <a:cubicBezTo>
                      <a:pt x="131" y="51"/>
                      <a:pt x="127" y="55"/>
                      <a:pt x="129" y="56"/>
                    </a:cubicBezTo>
                    <a:cubicBezTo>
                      <a:pt x="131" y="58"/>
                      <a:pt x="135" y="56"/>
                      <a:pt x="137" y="54"/>
                    </a:cubicBezTo>
                    <a:cubicBezTo>
                      <a:pt x="138" y="53"/>
                      <a:pt x="139" y="51"/>
                      <a:pt x="139" y="50"/>
                    </a:cubicBezTo>
                    <a:cubicBezTo>
                      <a:pt x="138" y="49"/>
                      <a:pt x="135" y="51"/>
                      <a:pt x="134" y="49"/>
                    </a:cubicBezTo>
                    <a:cubicBezTo>
                      <a:pt x="134" y="48"/>
                      <a:pt x="135" y="46"/>
                      <a:pt x="136" y="46"/>
                    </a:cubicBezTo>
                    <a:cubicBezTo>
                      <a:pt x="138" y="45"/>
                      <a:pt x="141" y="47"/>
                      <a:pt x="143" y="45"/>
                    </a:cubicBezTo>
                    <a:cubicBezTo>
                      <a:pt x="145" y="43"/>
                      <a:pt x="141" y="38"/>
                      <a:pt x="144" y="36"/>
                    </a:cubicBezTo>
                    <a:cubicBezTo>
                      <a:pt x="146" y="35"/>
                      <a:pt x="147" y="42"/>
                      <a:pt x="149" y="41"/>
                    </a:cubicBezTo>
                    <a:cubicBezTo>
                      <a:pt x="151" y="41"/>
                      <a:pt x="149" y="36"/>
                      <a:pt x="150" y="36"/>
                    </a:cubicBezTo>
                    <a:cubicBezTo>
                      <a:pt x="153" y="36"/>
                      <a:pt x="155" y="42"/>
                      <a:pt x="157" y="40"/>
                    </a:cubicBezTo>
                    <a:cubicBezTo>
                      <a:pt x="159" y="38"/>
                      <a:pt x="155" y="34"/>
                      <a:pt x="157" y="31"/>
                    </a:cubicBezTo>
                    <a:cubicBezTo>
                      <a:pt x="157" y="30"/>
                      <a:pt x="161" y="30"/>
                      <a:pt x="162" y="31"/>
                    </a:cubicBezTo>
                    <a:cubicBezTo>
                      <a:pt x="163" y="32"/>
                      <a:pt x="159" y="37"/>
                      <a:pt x="161" y="36"/>
                    </a:cubicBezTo>
                    <a:cubicBezTo>
                      <a:pt x="164" y="33"/>
                      <a:pt x="165" y="27"/>
                      <a:pt x="169" y="26"/>
                    </a:cubicBezTo>
                    <a:cubicBezTo>
                      <a:pt x="171" y="25"/>
                      <a:pt x="168" y="31"/>
                      <a:pt x="168" y="33"/>
                    </a:cubicBezTo>
                    <a:cubicBezTo>
                      <a:pt x="167" y="35"/>
                      <a:pt x="164" y="40"/>
                      <a:pt x="166" y="39"/>
                    </a:cubicBezTo>
                    <a:cubicBezTo>
                      <a:pt x="169" y="36"/>
                      <a:pt x="169" y="31"/>
                      <a:pt x="173" y="29"/>
                    </a:cubicBezTo>
                    <a:cubicBezTo>
                      <a:pt x="175" y="27"/>
                      <a:pt x="178" y="26"/>
                      <a:pt x="180" y="27"/>
                    </a:cubicBezTo>
                    <a:cubicBezTo>
                      <a:pt x="183" y="28"/>
                      <a:pt x="183" y="36"/>
                      <a:pt x="186" y="35"/>
                    </a:cubicBezTo>
                    <a:cubicBezTo>
                      <a:pt x="189" y="34"/>
                      <a:pt x="187" y="28"/>
                      <a:pt x="186" y="25"/>
                    </a:cubicBezTo>
                    <a:cubicBezTo>
                      <a:pt x="186" y="23"/>
                      <a:pt x="182" y="22"/>
                      <a:pt x="182" y="19"/>
                    </a:cubicBezTo>
                    <a:cubicBezTo>
                      <a:pt x="182" y="18"/>
                      <a:pt x="185" y="18"/>
                      <a:pt x="187" y="19"/>
                    </a:cubicBezTo>
                    <a:cubicBezTo>
                      <a:pt x="189" y="19"/>
                      <a:pt x="191" y="22"/>
                      <a:pt x="194" y="23"/>
                    </a:cubicBezTo>
                    <a:cubicBezTo>
                      <a:pt x="197" y="25"/>
                      <a:pt x="200" y="28"/>
                      <a:pt x="203" y="27"/>
                    </a:cubicBezTo>
                    <a:cubicBezTo>
                      <a:pt x="205" y="26"/>
                      <a:pt x="202" y="22"/>
                      <a:pt x="203" y="20"/>
                    </a:cubicBezTo>
                    <a:cubicBezTo>
                      <a:pt x="204" y="17"/>
                      <a:pt x="206" y="15"/>
                      <a:pt x="208" y="14"/>
                    </a:cubicBezTo>
                    <a:cubicBezTo>
                      <a:pt x="210" y="12"/>
                      <a:pt x="213" y="11"/>
                      <a:pt x="215" y="9"/>
                    </a:cubicBezTo>
                    <a:cubicBezTo>
                      <a:pt x="216" y="7"/>
                      <a:pt x="212" y="3"/>
                      <a:pt x="214" y="3"/>
                    </a:cubicBezTo>
                    <a:cubicBezTo>
                      <a:pt x="217" y="3"/>
                      <a:pt x="218" y="8"/>
                      <a:pt x="221" y="8"/>
                    </a:cubicBezTo>
                    <a:cubicBezTo>
                      <a:pt x="224" y="8"/>
                      <a:pt x="223" y="6"/>
                      <a:pt x="226" y="6"/>
                    </a:cubicBezTo>
                    <a:cubicBezTo>
                      <a:pt x="228" y="6"/>
                      <a:pt x="229" y="6"/>
                      <a:pt x="228" y="8"/>
                    </a:cubicBezTo>
                    <a:cubicBezTo>
                      <a:pt x="227" y="11"/>
                      <a:pt x="222" y="11"/>
                      <a:pt x="221" y="14"/>
                    </a:cubicBezTo>
                    <a:cubicBezTo>
                      <a:pt x="220" y="17"/>
                      <a:pt x="218" y="25"/>
                      <a:pt x="221" y="23"/>
                    </a:cubicBezTo>
                    <a:cubicBezTo>
                      <a:pt x="227" y="22"/>
                      <a:pt x="228" y="14"/>
                      <a:pt x="232" y="10"/>
                    </a:cubicBezTo>
                    <a:cubicBezTo>
                      <a:pt x="233" y="9"/>
                      <a:pt x="236" y="4"/>
                      <a:pt x="237" y="6"/>
                    </a:cubicBezTo>
                    <a:cubicBezTo>
                      <a:pt x="239" y="9"/>
                      <a:pt x="235" y="14"/>
                      <a:pt x="237" y="17"/>
                    </a:cubicBezTo>
                    <a:cubicBezTo>
                      <a:pt x="238" y="19"/>
                      <a:pt x="241" y="17"/>
                      <a:pt x="242" y="15"/>
                    </a:cubicBezTo>
                    <a:cubicBezTo>
                      <a:pt x="244" y="13"/>
                      <a:pt x="244" y="10"/>
                      <a:pt x="244" y="8"/>
                    </a:cubicBezTo>
                    <a:cubicBezTo>
                      <a:pt x="245" y="6"/>
                      <a:pt x="242" y="5"/>
                      <a:pt x="243" y="4"/>
                    </a:cubicBezTo>
                    <a:cubicBezTo>
                      <a:pt x="246" y="2"/>
                      <a:pt x="249" y="0"/>
                      <a:pt x="252" y="1"/>
                    </a:cubicBezTo>
                    <a:cubicBezTo>
                      <a:pt x="255" y="2"/>
                      <a:pt x="257" y="5"/>
                      <a:pt x="256" y="7"/>
                    </a:cubicBezTo>
                    <a:cubicBezTo>
                      <a:pt x="255" y="9"/>
                      <a:pt x="251" y="6"/>
                      <a:pt x="251" y="7"/>
                    </a:cubicBezTo>
                    <a:cubicBezTo>
                      <a:pt x="250" y="9"/>
                      <a:pt x="255" y="10"/>
                      <a:pt x="254" y="12"/>
                    </a:cubicBezTo>
                    <a:cubicBezTo>
                      <a:pt x="254" y="14"/>
                      <a:pt x="248" y="15"/>
                      <a:pt x="250" y="16"/>
                    </a:cubicBezTo>
                    <a:cubicBezTo>
                      <a:pt x="252" y="17"/>
                      <a:pt x="255" y="15"/>
                      <a:pt x="257" y="14"/>
                    </a:cubicBezTo>
                    <a:cubicBezTo>
                      <a:pt x="259" y="12"/>
                      <a:pt x="259" y="7"/>
                      <a:pt x="262" y="7"/>
                    </a:cubicBezTo>
                    <a:cubicBezTo>
                      <a:pt x="264" y="6"/>
                      <a:pt x="266" y="9"/>
                      <a:pt x="268" y="10"/>
                    </a:cubicBezTo>
                    <a:cubicBezTo>
                      <a:pt x="270" y="11"/>
                      <a:pt x="272" y="10"/>
                      <a:pt x="275" y="11"/>
                    </a:cubicBezTo>
                    <a:cubicBezTo>
                      <a:pt x="278" y="13"/>
                      <a:pt x="285" y="14"/>
                      <a:pt x="285" y="19"/>
                    </a:cubicBezTo>
                    <a:cubicBezTo>
                      <a:pt x="286" y="22"/>
                      <a:pt x="280" y="23"/>
                      <a:pt x="276" y="23"/>
                    </a:cubicBezTo>
                    <a:cubicBezTo>
                      <a:pt x="271" y="24"/>
                      <a:pt x="263" y="17"/>
                      <a:pt x="261" y="22"/>
                    </a:cubicBezTo>
                    <a:cubicBezTo>
                      <a:pt x="258" y="26"/>
                      <a:pt x="270" y="25"/>
                      <a:pt x="274" y="28"/>
                    </a:cubicBezTo>
                    <a:cubicBezTo>
                      <a:pt x="275" y="28"/>
                      <a:pt x="273" y="31"/>
                      <a:pt x="274" y="31"/>
                    </a:cubicBezTo>
                    <a:cubicBezTo>
                      <a:pt x="276" y="32"/>
                      <a:pt x="279" y="29"/>
                      <a:pt x="281" y="30"/>
                    </a:cubicBezTo>
                    <a:cubicBezTo>
                      <a:pt x="283" y="30"/>
                      <a:pt x="285" y="32"/>
                      <a:pt x="287" y="33"/>
                    </a:cubicBezTo>
                    <a:cubicBezTo>
                      <a:pt x="286" y="34"/>
                      <a:pt x="286" y="36"/>
                      <a:pt x="284" y="36"/>
                    </a:cubicBezTo>
                    <a:cubicBezTo>
                      <a:pt x="282" y="36"/>
                      <a:pt x="280" y="33"/>
                      <a:pt x="278" y="33"/>
                    </a:cubicBezTo>
                    <a:cubicBezTo>
                      <a:pt x="276" y="33"/>
                      <a:pt x="277" y="38"/>
                      <a:pt x="276" y="38"/>
                    </a:cubicBezTo>
                    <a:cubicBezTo>
                      <a:pt x="273" y="39"/>
                      <a:pt x="271" y="40"/>
                      <a:pt x="269" y="41"/>
                    </a:cubicBezTo>
                    <a:cubicBezTo>
                      <a:pt x="268" y="43"/>
                      <a:pt x="269" y="46"/>
                      <a:pt x="268" y="47"/>
                    </a:cubicBezTo>
                    <a:cubicBezTo>
                      <a:pt x="267" y="48"/>
                      <a:pt x="265" y="46"/>
                      <a:pt x="264" y="46"/>
                    </a:cubicBezTo>
                    <a:cubicBezTo>
                      <a:pt x="265" y="42"/>
                      <a:pt x="268" y="39"/>
                      <a:pt x="267" y="35"/>
                    </a:cubicBezTo>
                    <a:cubicBezTo>
                      <a:pt x="267" y="32"/>
                      <a:pt x="262" y="32"/>
                      <a:pt x="259" y="30"/>
                    </a:cubicBezTo>
                    <a:cubicBezTo>
                      <a:pt x="255" y="29"/>
                      <a:pt x="251" y="23"/>
                      <a:pt x="247" y="25"/>
                    </a:cubicBezTo>
                    <a:cubicBezTo>
                      <a:pt x="244" y="28"/>
                      <a:pt x="239" y="27"/>
                      <a:pt x="236" y="26"/>
                    </a:cubicBezTo>
                    <a:cubicBezTo>
                      <a:pt x="234" y="28"/>
                      <a:pt x="231" y="33"/>
                      <a:pt x="230" y="38"/>
                    </a:cubicBezTo>
                    <a:cubicBezTo>
                      <a:pt x="229" y="41"/>
                      <a:pt x="231" y="45"/>
                      <a:pt x="230" y="48"/>
                    </a:cubicBezTo>
                    <a:cubicBezTo>
                      <a:pt x="229" y="50"/>
                      <a:pt x="225" y="48"/>
                      <a:pt x="224" y="50"/>
                    </a:cubicBezTo>
                    <a:cubicBezTo>
                      <a:pt x="222" y="52"/>
                      <a:pt x="225" y="56"/>
                      <a:pt x="223" y="56"/>
                    </a:cubicBezTo>
                    <a:cubicBezTo>
                      <a:pt x="218" y="56"/>
                      <a:pt x="214" y="51"/>
                      <a:pt x="210" y="51"/>
                    </a:cubicBezTo>
                    <a:cubicBezTo>
                      <a:pt x="207" y="51"/>
                      <a:pt x="204" y="56"/>
                      <a:pt x="202" y="55"/>
                    </a:cubicBezTo>
                    <a:cubicBezTo>
                      <a:pt x="198" y="53"/>
                      <a:pt x="194" y="54"/>
                      <a:pt x="192" y="53"/>
                    </a:cubicBezTo>
                    <a:cubicBezTo>
                      <a:pt x="188" y="48"/>
                      <a:pt x="187" y="39"/>
                      <a:pt x="179" y="37"/>
                    </a:cubicBezTo>
                    <a:cubicBezTo>
                      <a:pt x="177" y="37"/>
                      <a:pt x="180" y="42"/>
                      <a:pt x="179" y="44"/>
                    </a:cubicBezTo>
                    <a:cubicBezTo>
                      <a:pt x="178" y="45"/>
                      <a:pt x="176" y="45"/>
                      <a:pt x="175" y="46"/>
                    </a:cubicBezTo>
                    <a:cubicBezTo>
                      <a:pt x="173" y="46"/>
                      <a:pt x="169" y="44"/>
                      <a:pt x="168" y="46"/>
                    </a:cubicBezTo>
                    <a:cubicBezTo>
                      <a:pt x="166" y="50"/>
                      <a:pt x="171" y="57"/>
                      <a:pt x="167" y="59"/>
                    </a:cubicBezTo>
                    <a:cubicBezTo>
                      <a:pt x="163" y="62"/>
                      <a:pt x="159" y="55"/>
                      <a:pt x="154" y="54"/>
                    </a:cubicBezTo>
                    <a:cubicBezTo>
                      <a:pt x="152" y="53"/>
                      <a:pt x="148" y="53"/>
                      <a:pt x="146" y="55"/>
                    </a:cubicBezTo>
                    <a:cubicBezTo>
                      <a:pt x="144" y="59"/>
                      <a:pt x="147" y="65"/>
                      <a:pt x="144" y="69"/>
                    </a:cubicBezTo>
                    <a:cubicBezTo>
                      <a:pt x="143" y="71"/>
                      <a:pt x="140" y="65"/>
                      <a:pt x="138" y="66"/>
                    </a:cubicBezTo>
                    <a:cubicBezTo>
                      <a:pt x="132" y="69"/>
                      <a:pt x="128" y="75"/>
                      <a:pt x="124" y="81"/>
                    </a:cubicBezTo>
                    <a:cubicBezTo>
                      <a:pt x="123" y="84"/>
                      <a:pt x="126" y="87"/>
                      <a:pt x="124" y="89"/>
                    </a:cubicBezTo>
                    <a:cubicBezTo>
                      <a:pt x="120" y="93"/>
                      <a:pt x="117" y="98"/>
                      <a:pt x="116" y="103"/>
                    </a:cubicBezTo>
                    <a:cubicBezTo>
                      <a:pt x="115" y="106"/>
                      <a:pt x="109" y="104"/>
                      <a:pt x="107" y="106"/>
                    </a:cubicBezTo>
                    <a:cubicBezTo>
                      <a:pt x="105" y="108"/>
                      <a:pt x="106" y="110"/>
                      <a:pt x="105" y="112"/>
                    </a:cubicBezTo>
                    <a:cubicBezTo>
                      <a:pt x="104" y="121"/>
                      <a:pt x="100" y="130"/>
                      <a:pt x="100" y="140"/>
                    </a:cubicBezTo>
                    <a:cubicBezTo>
                      <a:pt x="100" y="143"/>
                      <a:pt x="105" y="146"/>
                      <a:pt x="103" y="148"/>
                    </a:cubicBezTo>
                    <a:cubicBezTo>
                      <a:pt x="99" y="151"/>
                      <a:pt x="93" y="146"/>
                      <a:pt x="88" y="148"/>
                    </a:cubicBezTo>
                    <a:cubicBezTo>
                      <a:pt x="85" y="150"/>
                      <a:pt x="82" y="154"/>
                      <a:pt x="82" y="157"/>
                    </a:cubicBezTo>
                    <a:cubicBezTo>
                      <a:pt x="81" y="169"/>
                      <a:pt x="81" y="180"/>
                      <a:pt x="81" y="191"/>
                    </a:cubicBezTo>
                    <a:cubicBezTo>
                      <a:pt x="81" y="195"/>
                      <a:pt x="87" y="198"/>
                      <a:pt x="89" y="202"/>
                    </a:cubicBezTo>
                    <a:cubicBezTo>
                      <a:pt x="90" y="203"/>
                      <a:pt x="89" y="205"/>
                      <a:pt x="88" y="206"/>
                    </a:cubicBezTo>
                    <a:cubicBezTo>
                      <a:pt x="88" y="207"/>
                      <a:pt x="85" y="207"/>
                      <a:pt x="85" y="208"/>
                    </a:cubicBezTo>
                    <a:cubicBezTo>
                      <a:pt x="84" y="214"/>
                      <a:pt x="87" y="220"/>
                      <a:pt x="86" y="225"/>
                    </a:cubicBezTo>
                    <a:cubicBezTo>
                      <a:pt x="86" y="228"/>
                      <a:pt x="82" y="228"/>
                      <a:pt x="81" y="230"/>
                    </a:cubicBezTo>
                    <a:cubicBezTo>
                      <a:pt x="79" y="233"/>
                      <a:pt x="78" y="236"/>
                      <a:pt x="77" y="239"/>
                    </a:cubicBezTo>
                    <a:cubicBezTo>
                      <a:pt x="77" y="241"/>
                      <a:pt x="77" y="244"/>
                      <a:pt x="77" y="247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30" name="Freeform 2651"/>
              <p:cNvSpPr>
                <a:spLocks noChangeAspect="1"/>
              </p:cNvSpPr>
              <p:nvPr/>
            </p:nvSpPr>
            <p:spPr bwMode="auto">
              <a:xfrm>
                <a:off x="4531388" y="2071465"/>
                <a:ext cx="145404" cy="133738"/>
              </a:xfrm>
              <a:custGeom>
                <a:avLst/>
                <a:gdLst>
                  <a:gd name="T0" fmla="*/ 113 w 108"/>
                  <a:gd name="T1" fmla="*/ 24 h 134"/>
                  <a:gd name="T2" fmla="*/ 107 w 108"/>
                  <a:gd name="T3" fmla="*/ 18 h 134"/>
                  <a:gd name="T4" fmla="*/ 93 w 108"/>
                  <a:gd name="T5" fmla="*/ 13 h 134"/>
                  <a:gd name="T6" fmla="*/ 78 w 108"/>
                  <a:gd name="T7" fmla="*/ 19 h 134"/>
                  <a:gd name="T8" fmla="*/ 75 w 108"/>
                  <a:gd name="T9" fmla="*/ 11 h 134"/>
                  <a:gd name="T10" fmla="*/ 63 w 108"/>
                  <a:gd name="T11" fmla="*/ 11 h 134"/>
                  <a:gd name="T12" fmla="*/ 58 w 108"/>
                  <a:gd name="T13" fmla="*/ 5 h 134"/>
                  <a:gd name="T14" fmla="*/ 47 w 108"/>
                  <a:gd name="T15" fmla="*/ 2 h 134"/>
                  <a:gd name="T16" fmla="*/ 39 w 108"/>
                  <a:gd name="T17" fmla="*/ 0 h 134"/>
                  <a:gd name="T18" fmla="*/ 42 w 108"/>
                  <a:gd name="T19" fmla="*/ 10 h 134"/>
                  <a:gd name="T20" fmla="*/ 42 w 108"/>
                  <a:gd name="T21" fmla="*/ 18 h 134"/>
                  <a:gd name="T22" fmla="*/ 43 w 108"/>
                  <a:gd name="T23" fmla="*/ 20 h 134"/>
                  <a:gd name="T24" fmla="*/ 37 w 108"/>
                  <a:gd name="T25" fmla="*/ 23 h 134"/>
                  <a:gd name="T26" fmla="*/ 34 w 108"/>
                  <a:gd name="T27" fmla="*/ 26 h 134"/>
                  <a:gd name="T28" fmla="*/ 29 w 108"/>
                  <a:gd name="T29" fmla="*/ 31 h 134"/>
                  <a:gd name="T30" fmla="*/ 23 w 108"/>
                  <a:gd name="T31" fmla="*/ 26 h 134"/>
                  <a:gd name="T32" fmla="*/ 19 w 108"/>
                  <a:gd name="T33" fmla="*/ 32 h 134"/>
                  <a:gd name="T34" fmla="*/ 17 w 108"/>
                  <a:gd name="T35" fmla="*/ 42 h 134"/>
                  <a:gd name="T36" fmla="*/ 16 w 108"/>
                  <a:gd name="T37" fmla="*/ 55 h 134"/>
                  <a:gd name="T38" fmla="*/ 11 w 108"/>
                  <a:gd name="T39" fmla="*/ 64 h 134"/>
                  <a:gd name="T40" fmla="*/ 1 w 108"/>
                  <a:gd name="T41" fmla="*/ 65 h 134"/>
                  <a:gd name="T42" fmla="*/ 2 w 108"/>
                  <a:gd name="T43" fmla="*/ 79 h 134"/>
                  <a:gd name="T44" fmla="*/ 1 w 108"/>
                  <a:gd name="T45" fmla="*/ 87 h 134"/>
                  <a:gd name="T46" fmla="*/ 4 w 108"/>
                  <a:gd name="T47" fmla="*/ 93 h 134"/>
                  <a:gd name="T48" fmla="*/ 7 w 108"/>
                  <a:gd name="T49" fmla="*/ 96 h 134"/>
                  <a:gd name="T50" fmla="*/ 4 w 108"/>
                  <a:gd name="T51" fmla="*/ 103 h 134"/>
                  <a:gd name="T52" fmla="*/ 8 w 108"/>
                  <a:gd name="T53" fmla="*/ 109 h 134"/>
                  <a:gd name="T54" fmla="*/ 10 w 108"/>
                  <a:gd name="T55" fmla="*/ 115 h 134"/>
                  <a:gd name="T56" fmla="*/ 18 w 108"/>
                  <a:gd name="T57" fmla="*/ 121 h 134"/>
                  <a:gd name="T58" fmla="*/ 26 w 108"/>
                  <a:gd name="T59" fmla="*/ 124 h 134"/>
                  <a:gd name="T60" fmla="*/ 30 w 108"/>
                  <a:gd name="T61" fmla="*/ 129 h 134"/>
                  <a:gd name="T62" fmla="*/ 25 w 108"/>
                  <a:gd name="T63" fmla="*/ 143 h 134"/>
                  <a:gd name="T64" fmla="*/ 25 w 108"/>
                  <a:gd name="T65" fmla="*/ 156 h 134"/>
                  <a:gd name="T66" fmla="*/ 35 w 108"/>
                  <a:gd name="T67" fmla="*/ 155 h 134"/>
                  <a:gd name="T68" fmla="*/ 39 w 108"/>
                  <a:gd name="T69" fmla="*/ 150 h 134"/>
                  <a:gd name="T70" fmla="*/ 49 w 108"/>
                  <a:gd name="T71" fmla="*/ 153 h 134"/>
                  <a:gd name="T72" fmla="*/ 54 w 108"/>
                  <a:gd name="T73" fmla="*/ 160 h 134"/>
                  <a:gd name="T74" fmla="*/ 64 w 108"/>
                  <a:gd name="T75" fmla="*/ 161 h 134"/>
                  <a:gd name="T76" fmla="*/ 72 w 108"/>
                  <a:gd name="T77" fmla="*/ 156 h 134"/>
                  <a:gd name="T78" fmla="*/ 83 w 108"/>
                  <a:gd name="T79" fmla="*/ 155 h 134"/>
                  <a:gd name="T80" fmla="*/ 102 w 108"/>
                  <a:gd name="T81" fmla="*/ 149 h 134"/>
                  <a:gd name="T82" fmla="*/ 108 w 108"/>
                  <a:gd name="T83" fmla="*/ 138 h 134"/>
                  <a:gd name="T84" fmla="*/ 114 w 108"/>
                  <a:gd name="T85" fmla="*/ 133 h 134"/>
                  <a:gd name="T86" fmla="*/ 106 w 108"/>
                  <a:gd name="T87" fmla="*/ 121 h 134"/>
                  <a:gd name="T88" fmla="*/ 94 w 108"/>
                  <a:gd name="T89" fmla="*/ 108 h 134"/>
                  <a:gd name="T90" fmla="*/ 88 w 108"/>
                  <a:gd name="T91" fmla="*/ 97 h 134"/>
                  <a:gd name="T92" fmla="*/ 96 w 108"/>
                  <a:gd name="T93" fmla="*/ 95 h 134"/>
                  <a:gd name="T94" fmla="*/ 113 w 108"/>
                  <a:gd name="T95" fmla="*/ 89 h 134"/>
                  <a:gd name="T96" fmla="*/ 122 w 108"/>
                  <a:gd name="T97" fmla="*/ 82 h 134"/>
                  <a:gd name="T98" fmla="*/ 129 w 108"/>
                  <a:gd name="T99" fmla="*/ 82 h 134"/>
                  <a:gd name="T100" fmla="*/ 125 w 108"/>
                  <a:gd name="T101" fmla="*/ 73 h 134"/>
                  <a:gd name="T102" fmla="*/ 125 w 108"/>
                  <a:gd name="T103" fmla="*/ 61 h 134"/>
                  <a:gd name="T104" fmla="*/ 123 w 108"/>
                  <a:gd name="T105" fmla="*/ 52 h 134"/>
                  <a:gd name="T106" fmla="*/ 120 w 108"/>
                  <a:gd name="T107" fmla="*/ 34 h 134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08"/>
                  <a:gd name="T163" fmla="*/ 0 h 134"/>
                  <a:gd name="T164" fmla="*/ 108 w 108"/>
                  <a:gd name="T165" fmla="*/ 134 h 134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08" h="134">
                    <a:moveTo>
                      <a:pt x="98" y="21"/>
                    </a:moveTo>
                    <a:cubicBezTo>
                      <a:pt x="97" y="21"/>
                      <a:pt x="94" y="21"/>
                      <a:pt x="94" y="20"/>
                    </a:cubicBezTo>
                    <a:cubicBezTo>
                      <a:pt x="94" y="19"/>
                      <a:pt x="98" y="19"/>
                      <a:pt x="97" y="18"/>
                    </a:cubicBezTo>
                    <a:cubicBezTo>
                      <a:pt x="95" y="16"/>
                      <a:pt x="92" y="17"/>
                      <a:pt x="89" y="15"/>
                    </a:cubicBezTo>
                    <a:cubicBezTo>
                      <a:pt x="87" y="14"/>
                      <a:pt x="86" y="12"/>
                      <a:pt x="84" y="11"/>
                    </a:cubicBezTo>
                    <a:cubicBezTo>
                      <a:pt x="82" y="11"/>
                      <a:pt x="79" y="11"/>
                      <a:pt x="77" y="11"/>
                    </a:cubicBezTo>
                    <a:cubicBezTo>
                      <a:pt x="75" y="12"/>
                      <a:pt x="73" y="13"/>
                      <a:pt x="71" y="13"/>
                    </a:cubicBezTo>
                    <a:cubicBezTo>
                      <a:pt x="69" y="14"/>
                      <a:pt x="67" y="15"/>
                      <a:pt x="65" y="16"/>
                    </a:cubicBezTo>
                    <a:cubicBezTo>
                      <a:pt x="62" y="16"/>
                      <a:pt x="58" y="19"/>
                      <a:pt x="57" y="16"/>
                    </a:cubicBezTo>
                    <a:cubicBezTo>
                      <a:pt x="56" y="13"/>
                      <a:pt x="62" y="12"/>
                      <a:pt x="62" y="9"/>
                    </a:cubicBezTo>
                    <a:cubicBezTo>
                      <a:pt x="62" y="7"/>
                      <a:pt x="59" y="11"/>
                      <a:pt x="57" y="11"/>
                    </a:cubicBezTo>
                    <a:cubicBezTo>
                      <a:pt x="55" y="11"/>
                      <a:pt x="54" y="10"/>
                      <a:pt x="52" y="9"/>
                    </a:cubicBezTo>
                    <a:cubicBezTo>
                      <a:pt x="50" y="9"/>
                      <a:pt x="48" y="11"/>
                      <a:pt x="46" y="9"/>
                    </a:cubicBezTo>
                    <a:cubicBezTo>
                      <a:pt x="45" y="8"/>
                      <a:pt x="49" y="6"/>
                      <a:pt x="48" y="4"/>
                    </a:cubicBezTo>
                    <a:cubicBezTo>
                      <a:pt x="47" y="3"/>
                      <a:pt x="45" y="3"/>
                      <a:pt x="44" y="3"/>
                    </a:cubicBezTo>
                    <a:cubicBezTo>
                      <a:pt x="42" y="3"/>
                      <a:pt x="41" y="3"/>
                      <a:pt x="39" y="2"/>
                    </a:cubicBezTo>
                    <a:cubicBezTo>
                      <a:pt x="38" y="2"/>
                      <a:pt x="37" y="1"/>
                      <a:pt x="36" y="1"/>
                    </a:cubicBezTo>
                    <a:cubicBezTo>
                      <a:pt x="34" y="1"/>
                      <a:pt x="33" y="1"/>
                      <a:pt x="32" y="0"/>
                    </a:cubicBezTo>
                    <a:cubicBezTo>
                      <a:pt x="32" y="1"/>
                      <a:pt x="32" y="3"/>
                      <a:pt x="32" y="3"/>
                    </a:cubicBezTo>
                    <a:cubicBezTo>
                      <a:pt x="33" y="5"/>
                      <a:pt x="35" y="6"/>
                      <a:pt x="35" y="8"/>
                    </a:cubicBezTo>
                    <a:cubicBezTo>
                      <a:pt x="34" y="10"/>
                      <a:pt x="30" y="9"/>
                      <a:pt x="30" y="11"/>
                    </a:cubicBezTo>
                    <a:cubicBezTo>
                      <a:pt x="30" y="13"/>
                      <a:pt x="34" y="13"/>
                      <a:pt x="35" y="15"/>
                    </a:cubicBezTo>
                    <a:cubicBezTo>
                      <a:pt x="35" y="16"/>
                      <a:pt x="31" y="14"/>
                      <a:pt x="32" y="15"/>
                    </a:cubicBezTo>
                    <a:cubicBezTo>
                      <a:pt x="33" y="16"/>
                      <a:pt x="35" y="16"/>
                      <a:pt x="36" y="17"/>
                    </a:cubicBezTo>
                    <a:cubicBezTo>
                      <a:pt x="37" y="18"/>
                      <a:pt x="37" y="20"/>
                      <a:pt x="37" y="20"/>
                    </a:cubicBezTo>
                    <a:cubicBezTo>
                      <a:pt x="35" y="21"/>
                      <a:pt x="32" y="18"/>
                      <a:pt x="31" y="19"/>
                    </a:cubicBezTo>
                    <a:cubicBezTo>
                      <a:pt x="29" y="21"/>
                      <a:pt x="33" y="24"/>
                      <a:pt x="32" y="25"/>
                    </a:cubicBezTo>
                    <a:cubicBezTo>
                      <a:pt x="31" y="26"/>
                      <a:pt x="29" y="21"/>
                      <a:pt x="28" y="22"/>
                    </a:cubicBezTo>
                    <a:cubicBezTo>
                      <a:pt x="27" y="23"/>
                      <a:pt x="29" y="26"/>
                      <a:pt x="28" y="27"/>
                    </a:cubicBezTo>
                    <a:cubicBezTo>
                      <a:pt x="27" y="28"/>
                      <a:pt x="25" y="27"/>
                      <a:pt x="24" y="26"/>
                    </a:cubicBezTo>
                    <a:cubicBezTo>
                      <a:pt x="23" y="25"/>
                      <a:pt x="25" y="23"/>
                      <a:pt x="24" y="23"/>
                    </a:cubicBezTo>
                    <a:cubicBezTo>
                      <a:pt x="23" y="21"/>
                      <a:pt x="20" y="22"/>
                      <a:pt x="19" y="22"/>
                    </a:cubicBezTo>
                    <a:cubicBezTo>
                      <a:pt x="17" y="23"/>
                      <a:pt x="15" y="24"/>
                      <a:pt x="14" y="26"/>
                    </a:cubicBezTo>
                    <a:cubicBezTo>
                      <a:pt x="14" y="26"/>
                      <a:pt x="16" y="26"/>
                      <a:pt x="16" y="27"/>
                    </a:cubicBezTo>
                    <a:cubicBezTo>
                      <a:pt x="16" y="28"/>
                      <a:pt x="15" y="30"/>
                      <a:pt x="15" y="31"/>
                    </a:cubicBezTo>
                    <a:cubicBezTo>
                      <a:pt x="15" y="32"/>
                      <a:pt x="15" y="33"/>
                      <a:pt x="14" y="35"/>
                    </a:cubicBezTo>
                    <a:cubicBezTo>
                      <a:pt x="14" y="37"/>
                      <a:pt x="12" y="38"/>
                      <a:pt x="12" y="40"/>
                    </a:cubicBezTo>
                    <a:cubicBezTo>
                      <a:pt x="12" y="42"/>
                      <a:pt x="13" y="44"/>
                      <a:pt x="13" y="46"/>
                    </a:cubicBezTo>
                    <a:cubicBezTo>
                      <a:pt x="12" y="47"/>
                      <a:pt x="10" y="48"/>
                      <a:pt x="9" y="49"/>
                    </a:cubicBezTo>
                    <a:cubicBezTo>
                      <a:pt x="9" y="51"/>
                      <a:pt x="10" y="52"/>
                      <a:pt x="9" y="53"/>
                    </a:cubicBezTo>
                    <a:cubicBezTo>
                      <a:pt x="8" y="54"/>
                      <a:pt x="6" y="54"/>
                      <a:pt x="5" y="54"/>
                    </a:cubicBezTo>
                    <a:cubicBezTo>
                      <a:pt x="4" y="55"/>
                      <a:pt x="1" y="53"/>
                      <a:pt x="1" y="54"/>
                    </a:cubicBezTo>
                    <a:cubicBezTo>
                      <a:pt x="0" y="57"/>
                      <a:pt x="3" y="59"/>
                      <a:pt x="3" y="62"/>
                    </a:cubicBezTo>
                    <a:cubicBezTo>
                      <a:pt x="3" y="63"/>
                      <a:pt x="3" y="65"/>
                      <a:pt x="2" y="66"/>
                    </a:cubicBezTo>
                    <a:cubicBezTo>
                      <a:pt x="2" y="67"/>
                      <a:pt x="1" y="68"/>
                      <a:pt x="1" y="69"/>
                    </a:cubicBezTo>
                    <a:cubicBezTo>
                      <a:pt x="0" y="70"/>
                      <a:pt x="1" y="71"/>
                      <a:pt x="1" y="72"/>
                    </a:cubicBezTo>
                    <a:cubicBezTo>
                      <a:pt x="2" y="73"/>
                      <a:pt x="3" y="74"/>
                      <a:pt x="4" y="75"/>
                    </a:cubicBezTo>
                    <a:cubicBezTo>
                      <a:pt x="4" y="75"/>
                      <a:pt x="3" y="76"/>
                      <a:pt x="3" y="77"/>
                    </a:cubicBezTo>
                    <a:cubicBezTo>
                      <a:pt x="4" y="77"/>
                      <a:pt x="5" y="77"/>
                      <a:pt x="5" y="77"/>
                    </a:cubicBezTo>
                    <a:cubicBezTo>
                      <a:pt x="6" y="78"/>
                      <a:pt x="6" y="79"/>
                      <a:pt x="6" y="80"/>
                    </a:cubicBezTo>
                    <a:cubicBezTo>
                      <a:pt x="5" y="82"/>
                      <a:pt x="3" y="82"/>
                      <a:pt x="2" y="83"/>
                    </a:cubicBezTo>
                    <a:cubicBezTo>
                      <a:pt x="2" y="84"/>
                      <a:pt x="3" y="85"/>
                      <a:pt x="3" y="86"/>
                    </a:cubicBezTo>
                    <a:cubicBezTo>
                      <a:pt x="4" y="87"/>
                      <a:pt x="5" y="88"/>
                      <a:pt x="6" y="89"/>
                    </a:cubicBezTo>
                    <a:cubicBezTo>
                      <a:pt x="7" y="89"/>
                      <a:pt x="7" y="90"/>
                      <a:pt x="7" y="91"/>
                    </a:cubicBezTo>
                    <a:cubicBezTo>
                      <a:pt x="7" y="92"/>
                      <a:pt x="6" y="93"/>
                      <a:pt x="6" y="95"/>
                    </a:cubicBezTo>
                    <a:cubicBezTo>
                      <a:pt x="7" y="95"/>
                      <a:pt x="7" y="96"/>
                      <a:pt x="8" y="96"/>
                    </a:cubicBezTo>
                    <a:cubicBezTo>
                      <a:pt x="9" y="97"/>
                      <a:pt x="10" y="98"/>
                      <a:pt x="11" y="99"/>
                    </a:cubicBezTo>
                    <a:cubicBezTo>
                      <a:pt x="12" y="100"/>
                      <a:pt x="13" y="100"/>
                      <a:pt x="15" y="101"/>
                    </a:cubicBezTo>
                    <a:cubicBezTo>
                      <a:pt x="16" y="101"/>
                      <a:pt x="17" y="100"/>
                      <a:pt x="18" y="100"/>
                    </a:cubicBezTo>
                    <a:cubicBezTo>
                      <a:pt x="20" y="101"/>
                      <a:pt x="21" y="102"/>
                      <a:pt x="22" y="103"/>
                    </a:cubicBezTo>
                    <a:cubicBezTo>
                      <a:pt x="24" y="103"/>
                      <a:pt x="27" y="103"/>
                      <a:pt x="28" y="104"/>
                    </a:cubicBezTo>
                    <a:cubicBezTo>
                      <a:pt x="28" y="106"/>
                      <a:pt x="26" y="106"/>
                      <a:pt x="25" y="107"/>
                    </a:cubicBezTo>
                    <a:cubicBezTo>
                      <a:pt x="24" y="109"/>
                      <a:pt x="24" y="111"/>
                      <a:pt x="23" y="113"/>
                    </a:cubicBezTo>
                    <a:cubicBezTo>
                      <a:pt x="22" y="115"/>
                      <a:pt x="21" y="117"/>
                      <a:pt x="21" y="119"/>
                    </a:cubicBezTo>
                    <a:cubicBezTo>
                      <a:pt x="21" y="120"/>
                      <a:pt x="21" y="122"/>
                      <a:pt x="21" y="124"/>
                    </a:cubicBezTo>
                    <a:cubicBezTo>
                      <a:pt x="21" y="126"/>
                      <a:pt x="21" y="128"/>
                      <a:pt x="21" y="130"/>
                    </a:cubicBezTo>
                    <a:cubicBezTo>
                      <a:pt x="22" y="130"/>
                      <a:pt x="24" y="131"/>
                      <a:pt x="26" y="131"/>
                    </a:cubicBezTo>
                    <a:cubicBezTo>
                      <a:pt x="27" y="130"/>
                      <a:pt x="28" y="129"/>
                      <a:pt x="29" y="129"/>
                    </a:cubicBezTo>
                    <a:cubicBezTo>
                      <a:pt x="30" y="128"/>
                      <a:pt x="31" y="129"/>
                      <a:pt x="32" y="128"/>
                    </a:cubicBezTo>
                    <a:cubicBezTo>
                      <a:pt x="33" y="127"/>
                      <a:pt x="31" y="125"/>
                      <a:pt x="32" y="125"/>
                    </a:cubicBezTo>
                    <a:cubicBezTo>
                      <a:pt x="33" y="125"/>
                      <a:pt x="35" y="127"/>
                      <a:pt x="36" y="127"/>
                    </a:cubicBezTo>
                    <a:cubicBezTo>
                      <a:pt x="38" y="127"/>
                      <a:pt x="39" y="127"/>
                      <a:pt x="41" y="127"/>
                    </a:cubicBezTo>
                    <a:cubicBezTo>
                      <a:pt x="42" y="128"/>
                      <a:pt x="43" y="129"/>
                      <a:pt x="44" y="130"/>
                    </a:cubicBezTo>
                    <a:cubicBezTo>
                      <a:pt x="44" y="131"/>
                      <a:pt x="44" y="132"/>
                      <a:pt x="45" y="133"/>
                    </a:cubicBezTo>
                    <a:cubicBezTo>
                      <a:pt x="46" y="132"/>
                      <a:pt x="46" y="129"/>
                      <a:pt x="47" y="129"/>
                    </a:cubicBezTo>
                    <a:cubicBezTo>
                      <a:pt x="50" y="130"/>
                      <a:pt x="51" y="134"/>
                      <a:pt x="53" y="134"/>
                    </a:cubicBezTo>
                    <a:cubicBezTo>
                      <a:pt x="55" y="134"/>
                      <a:pt x="53" y="130"/>
                      <a:pt x="55" y="130"/>
                    </a:cubicBezTo>
                    <a:cubicBezTo>
                      <a:pt x="56" y="129"/>
                      <a:pt x="58" y="130"/>
                      <a:pt x="60" y="130"/>
                    </a:cubicBezTo>
                    <a:cubicBezTo>
                      <a:pt x="62" y="131"/>
                      <a:pt x="63" y="133"/>
                      <a:pt x="65" y="132"/>
                    </a:cubicBezTo>
                    <a:cubicBezTo>
                      <a:pt x="66" y="132"/>
                      <a:pt x="67" y="130"/>
                      <a:pt x="69" y="129"/>
                    </a:cubicBezTo>
                    <a:cubicBezTo>
                      <a:pt x="71" y="128"/>
                      <a:pt x="74" y="128"/>
                      <a:pt x="77" y="127"/>
                    </a:cubicBezTo>
                    <a:cubicBezTo>
                      <a:pt x="79" y="126"/>
                      <a:pt x="83" y="126"/>
                      <a:pt x="85" y="124"/>
                    </a:cubicBezTo>
                    <a:cubicBezTo>
                      <a:pt x="86" y="122"/>
                      <a:pt x="82" y="120"/>
                      <a:pt x="83" y="118"/>
                    </a:cubicBezTo>
                    <a:cubicBezTo>
                      <a:pt x="84" y="116"/>
                      <a:pt x="88" y="117"/>
                      <a:pt x="90" y="115"/>
                    </a:cubicBezTo>
                    <a:cubicBezTo>
                      <a:pt x="91" y="114"/>
                      <a:pt x="89" y="112"/>
                      <a:pt x="90" y="111"/>
                    </a:cubicBezTo>
                    <a:cubicBezTo>
                      <a:pt x="91" y="111"/>
                      <a:pt x="94" y="112"/>
                      <a:pt x="95" y="111"/>
                    </a:cubicBezTo>
                    <a:cubicBezTo>
                      <a:pt x="95" y="111"/>
                      <a:pt x="95" y="109"/>
                      <a:pt x="95" y="108"/>
                    </a:cubicBezTo>
                    <a:cubicBezTo>
                      <a:pt x="93" y="106"/>
                      <a:pt x="91" y="103"/>
                      <a:pt x="88" y="101"/>
                    </a:cubicBezTo>
                    <a:cubicBezTo>
                      <a:pt x="86" y="100"/>
                      <a:pt x="84" y="99"/>
                      <a:pt x="82" y="97"/>
                    </a:cubicBezTo>
                    <a:cubicBezTo>
                      <a:pt x="80" y="95"/>
                      <a:pt x="79" y="93"/>
                      <a:pt x="78" y="90"/>
                    </a:cubicBezTo>
                    <a:cubicBezTo>
                      <a:pt x="77" y="89"/>
                      <a:pt x="79" y="87"/>
                      <a:pt x="78" y="86"/>
                    </a:cubicBezTo>
                    <a:cubicBezTo>
                      <a:pt x="77" y="84"/>
                      <a:pt x="74" y="83"/>
                      <a:pt x="73" y="81"/>
                    </a:cubicBezTo>
                    <a:cubicBezTo>
                      <a:pt x="73" y="80"/>
                      <a:pt x="75" y="81"/>
                      <a:pt x="76" y="80"/>
                    </a:cubicBezTo>
                    <a:cubicBezTo>
                      <a:pt x="78" y="80"/>
                      <a:pt x="79" y="79"/>
                      <a:pt x="80" y="79"/>
                    </a:cubicBezTo>
                    <a:cubicBezTo>
                      <a:pt x="82" y="78"/>
                      <a:pt x="85" y="77"/>
                      <a:pt x="87" y="77"/>
                    </a:cubicBezTo>
                    <a:cubicBezTo>
                      <a:pt x="89" y="76"/>
                      <a:pt x="91" y="75"/>
                      <a:pt x="94" y="74"/>
                    </a:cubicBezTo>
                    <a:cubicBezTo>
                      <a:pt x="96" y="73"/>
                      <a:pt x="98" y="72"/>
                      <a:pt x="100" y="71"/>
                    </a:cubicBezTo>
                    <a:cubicBezTo>
                      <a:pt x="101" y="70"/>
                      <a:pt x="100" y="67"/>
                      <a:pt x="101" y="68"/>
                    </a:cubicBezTo>
                    <a:cubicBezTo>
                      <a:pt x="103" y="68"/>
                      <a:pt x="103" y="72"/>
                      <a:pt x="105" y="72"/>
                    </a:cubicBezTo>
                    <a:cubicBezTo>
                      <a:pt x="107" y="73"/>
                      <a:pt x="106" y="70"/>
                      <a:pt x="107" y="68"/>
                    </a:cubicBezTo>
                    <a:cubicBezTo>
                      <a:pt x="107" y="67"/>
                      <a:pt x="108" y="66"/>
                      <a:pt x="107" y="65"/>
                    </a:cubicBezTo>
                    <a:cubicBezTo>
                      <a:pt x="107" y="63"/>
                      <a:pt x="105" y="62"/>
                      <a:pt x="104" y="61"/>
                    </a:cubicBezTo>
                    <a:cubicBezTo>
                      <a:pt x="103" y="59"/>
                      <a:pt x="102" y="57"/>
                      <a:pt x="102" y="56"/>
                    </a:cubicBezTo>
                    <a:cubicBezTo>
                      <a:pt x="102" y="54"/>
                      <a:pt x="104" y="53"/>
                      <a:pt x="104" y="51"/>
                    </a:cubicBezTo>
                    <a:cubicBezTo>
                      <a:pt x="104" y="49"/>
                      <a:pt x="102" y="48"/>
                      <a:pt x="101" y="46"/>
                    </a:cubicBezTo>
                    <a:cubicBezTo>
                      <a:pt x="101" y="45"/>
                      <a:pt x="103" y="44"/>
                      <a:pt x="102" y="43"/>
                    </a:cubicBezTo>
                    <a:cubicBezTo>
                      <a:pt x="101" y="40"/>
                      <a:pt x="98" y="39"/>
                      <a:pt x="97" y="36"/>
                    </a:cubicBezTo>
                    <a:cubicBezTo>
                      <a:pt x="97" y="33"/>
                      <a:pt x="100" y="31"/>
                      <a:pt x="100" y="28"/>
                    </a:cubicBezTo>
                    <a:cubicBezTo>
                      <a:pt x="100" y="26"/>
                      <a:pt x="99" y="24"/>
                      <a:pt x="98" y="2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31" name="Freeform 2654"/>
              <p:cNvSpPr>
                <a:spLocks noChangeAspect="1"/>
              </p:cNvSpPr>
              <p:nvPr/>
            </p:nvSpPr>
            <p:spPr bwMode="auto">
              <a:xfrm>
                <a:off x="4267425" y="2061497"/>
                <a:ext cx="74939" cy="72268"/>
              </a:xfrm>
              <a:custGeom>
                <a:avLst/>
                <a:gdLst>
                  <a:gd name="T0" fmla="*/ 63 w 56"/>
                  <a:gd name="T1" fmla="*/ 39 h 72"/>
                  <a:gd name="T2" fmla="*/ 67 w 56"/>
                  <a:gd name="T3" fmla="*/ 54 h 72"/>
                  <a:gd name="T4" fmla="*/ 61 w 56"/>
                  <a:gd name="T5" fmla="*/ 69 h 72"/>
                  <a:gd name="T6" fmla="*/ 50 w 56"/>
                  <a:gd name="T7" fmla="*/ 70 h 72"/>
                  <a:gd name="T8" fmla="*/ 35 w 56"/>
                  <a:gd name="T9" fmla="*/ 79 h 72"/>
                  <a:gd name="T10" fmla="*/ 17 w 56"/>
                  <a:gd name="T11" fmla="*/ 85 h 72"/>
                  <a:gd name="T12" fmla="*/ 16 w 56"/>
                  <a:gd name="T13" fmla="*/ 81 h 72"/>
                  <a:gd name="T14" fmla="*/ 12 w 56"/>
                  <a:gd name="T15" fmla="*/ 79 h 72"/>
                  <a:gd name="T16" fmla="*/ 6 w 56"/>
                  <a:gd name="T17" fmla="*/ 74 h 72"/>
                  <a:gd name="T18" fmla="*/ 2 w 56"/>
                  <a:gd name="T19" fmla="*/ 71 h 72"/>
                  <a:gd name="T20" fmla="*/ 12 w 56"/>
                  <a:gd name="T21" fmla="*/ 68 h 72"/>
                  <a:gd name="T22" fmla="*/ 20 w 56"/>
                  <a:gd name="T23" fmla="*/ 62 h 72"/>
                  <a:gd name="T24" fmla="*/ 23 w 56"/>
                  <a:gd name="T25" fmla="*/ 58 h 72"/>
                  <a:gd name="T26" fmla="*/ 14 w 56"/>
                  <a:gd name="T27" fmla="*/ 59 h 72"/>
                  <a:gd name="T28" fmla="*/ 20 w 56"/>
                  <a:gd name="T29" fmla="*/ 51 h 72"/>
                  <a:gd name="T30" fmla="*/ 23 w 56"/>
                  <a:gd name="T31" fmla="*/ 45 h 72"/>
                  <a:gd name="T32" fmla="*/ 18 w 56"/>
                  <a:gd name="T33" fmla="*/ 42 h 72"/>
                  <a:gd name="T34" fmla="*/ 14 w 56"/>
                  <a:gd name="T35" fmla="*/ 47 h 72"/>
                  <a:gd name="T36" fmla="*/ 10 w 56"/>
                  <a:gd name="T37" fmla="*/ 39 h 72"/>
                  <a:gd name="T38" fmla="*/ 16 w 56"/>
                  <a:gd name="T39" fmla="*/ 33 h 72"/>
                  <a:gd name="T40" fmla="*/ 13 w 56"/>
                  <a:gd name="T41" fmla="*/ 29 h 72"/>
                  <a:gd name="T42" fmla="*/ 14 w 56"/>
                  <a:gd name="T43" fmla="*/ 23 h 72"/>
                  <a:gd name="T44" fmla="*/ 24 w 56"/>
                  <a:gd name="T45" fmla="*/ 27 h 72"/>
                  <a:gd name="T46" fmla="*/ 31 w 56"/>
                  <a:gd name="T47" fmla="*/ 25 h 72"/>
                  <a:gd name="T48" fmla="*/ 36 w 56"/>
                  <a:gd name="T49" fmla="*/ 18 h 72"/>
                  <a:gd name="T50" fmla="*/ 29 w 56"/>
                  <a:gd name="T51" fmla="*/ 13 h 72"/>
                  <a:gd name="T52" fmla="*/ 36 w 56"/>
                  <a:gd name="T53" fmla="*/ 5 h 72"/>
                  <a:gd name="T54" fmla="*/ 48 w 56"/>
                  <a:gd name="T55" fmla="*/ 0 h 72"/>
                  <a:gd name="T56" fmla="*/ 49 w 56"/>
                  <a:gd name="T57" fmla="*/ 10 h 72"/>
                  <a:gd name="T58" fmla="*/ 41 w 56"/>
                  <a:gd name="T59" fmla="*/ 13 h 72"/>
                  <a:gd name="T60" fmla="*/ 36 w 56"/>
                  <a:gd name="T61" fmla="*/ 19 h 72"/>
                  <a:gd name="T62" fmla="*/ 49 w 56"/>
                  <a:gd name="T63" fmla="*/ 28 h 72"/>
                  <a:gd name="T64" fmla="*/ 50 w 56"/>
                  <a:gd name="T65" fmla="*/ 22 h 72"/>
                  <a:gd name="T66" fmla="*/ 57 w 56"/>
                  <a:gd name="T67" fmla="*/ 27 h 72"/>
                  <a:gd name="T68" fmla="*/ 65 w 56"/>
                  <a:gd name="T69" fmla="*/ 34 h 72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56"/>
                  <a:gd name="T106" fmla="*/ 0 h 72"/>
                  <a:gd name="T107" fmla="*/ 56 w 56"/>
                  <a:gd name="T108" fmla="*/ 72 h 72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56" h="72">
                    <a:moveTo>
                      <a:pt x="54" y="28"/>
                    </a:moveTo>
                    <a:cubicBezTo>
                      <a:pt x="54" y="29"/>
                      <a:pt x="53" y="30"/>
                      <a:pt x="53" y="32"/>
                    </a:cubicBezTo>
                    <a:cubicBezTo>
                      <a:pt x="54" y="33"/>
                      <a:pt x="55" y="34"/>
                      <a:pt x="55" y="36"/>
                    </a:cubicBezTo>
                    <a:cubicBezTo>
                      <a:pt x="56" y="39"/>
                      <a:pt x="56" y="42"/>
                      <a:pt x="56" y="45"/>
                    </a:cubicBezTo>
                    <a:cubicBezTo>
                      <a:pt x="55" y="47"/>
                      <a:pt x="54" y="48"/>
                      <a:pt x="54" y="50"/>
                    </a:cubicBezTo>
                    <a:cubicBezTo>
                      <a:pt x="53" y="53"/>
                      <a:pt x="53" y="56"/>
                      <a:pt x="51" y="57"/>
                    </a:cubicBezTo>
                    <a:cubicBezTo>
                      <a:pt x="50" y="58"/>
                      <a:pt x="47" y="57"/>
                      <a:pt x="46" y="57"/>
                    </a:cubicBezTo>
                    <a:cubicBezTo>
                      <a:pt x="44" y="57"/>
                      <a:pt x="43" y="58"/>
                      <a:pt x="42" y="58"/>
                    </a:cubicBezTo>
                    <a:cubicBezTo>
                      <a:pt x="40" y="59"/>
                      <a:pt x="39" y="60"/>
                      <a:pt x="37" y="60"/>
                    </a:cubicBezTo>
                    <a:cubicBezTo>
                      <a:pt x="34" y="62"/>
                      <a:pt x="32" y="63"/>
                      <a:pt x="29" y="65"/>
                    </a:cubicBezTo>
                    <a:cubicBezTo>
                      <a:pt x="26" y="66"/>
                      <a:pt x="24" y="68"/>
                      <a:pt x="21" y="69"/>
                    </a:cubicBezTo>
                    <a:cubicBezTo>
                      <a:pt x="19" y="70"/>
                      <a:pt x="16" y="69"/>
                      <a:pt x="14" y="70"/>
                    </a:cubicBezTo>
                    <a:cubicBezTo>
                      <a:pt x="13" y="70"/>
                      <a:pt x="11" y="72"/>
                      <a:pt x="10" y="71"/>
                    </a:cubicBezTo>
                    <a:cubicBezTo>
                      <a:pt x="9" y="69"/>
                      <a:pt x="14" y="68"/>
                      <a:pt x="13" y="67"/>
                    </a:cubicBezTo>
                    <a:cubicBezTo>
                      <a:pt x="11" y="66"/>
                      <a:pt x="8" y="70"/>
                      <a:pt x="7" y="69"/>
                    </a:cubicBezTo>
                    <a:cubicBezTo>
                      <a:pt x="6" y="67"/>
                      <a:pt x="11" y="66"/>
                      <a:pt x="10" y="65"/>
                    </a:cubicBezTo>
                    <a:cubicBezTo>
                      <a:pt x="9" y="63"/>
                      <a:pt x="5" y="66"/>
                      <a:pt x="3" y="65"/>
                    </a:cubicBezTo>
                    <a:cubicBezTo>
                      <a:pt x="2" y="64"/>
                      <a:pt x="4" y="62"/>
                      <a:pt x="5" y="61"/>
                    </a:cubicBezTo>
                    <a:cubicBezTo>
                      <a:pt x="7" y="60"/>
                      <a:pt x="12" y="60"/>
                      <a:pt x="10" y="59"/>
                    </a:cubicBezTo>
                    <a:cubicBezTo>
                      <a:pt x="8" y="58"/>
                      <a:pt x="4" y="61"/>
                      <a:pt x="2" y="59"/>
                    </a:cubicBezTo>
                    <a:cubicBezTo>
                      <a:pt x="0" y="58"/>
                      <a:pt x="5" y="57"/>
                      <a:pt x="7" y="56"/>
                    </a:cubicBezTo>
                    <a:cubicBezTo>
                      <a:pt x="8" y="56"/>
                      <a:pt x="9" y="57"/>
                      <a:pt x="10" y="56"/>
                    </a:cubicBezTo>
                    <a:cubicBezTo>
                      <a:pt x="11" y="55"/>
                      <a:pt x="10" y="53"/>
                      <a:pt x="11" y="52"/>
                    </a:cubicBezTo>
                    <a:cubicBezTo>
                      <a:pt x="13" y="51"/>
                      <a:pt x="15" y="51"/>
                      <a:pt x="17" y="51"/>
                    </a:cubicBezTo>
                    <a:cubicBezTo>
                      <a:pt x="19" y="50"/>
                      <a:pt x="21" y="51"/>
                      <a:pt x="23" y="49"/>
                    </a:cubicBezTo>
                    <a:cubicBezTo>
                      <a:pt x="23" y="48"/>
                      <a:pt x="20" y="48"/>
                      <a:pt x="19" y="48"/>
                    </a:cubicBezTo>
                    <a:cubicBezTo>
                      <a:pt x="18" y="48"/>
                      <a:pt x="17" y="49"/>
                      <a:pt x="15" y="49"/>
                    </a:cubicBezTo>
                    <a:cubicBezTo>
                      <a:pt x="14" y="50"/>
                      <a:pt x="12" y="51"/>
                      <a:pt x="12" y="49"/>
                    </a:cubicBezTo>
                    <a:cubicBezTo>
                      <a:pt x="12" y="48"/>
                      <a:pt x="14" y="47"/>
                      <a:pt x="15" y="46"/>
                    </a:cubicBezTo>
                    <a:cubicBezTo>
                      <a:pt x="16" y="44"/>
                      <a:pt x="16" y="43"/>
                      <a:pt x="17" y="42"/>
                    </a:cubicBezTo>
                    <a:cubicBezTo>
                      <a:pt x="18" y="41"/>
                      <a:pt x="20" y="41"/>
                      <a:pt x="21" y="40"/>
                    </a:cubicBezTo>
                    <a:cubicBezTo>
                      <a:pt x="21" y="39"/>
                      <a:pt x="19" y="38"/>
                      <a:pt x="19" y="37"/>
                    </a:cubicBezTo>
                    <a:cubicBezTo>
                      <a:pt x="18" y="36"/>
                      <a:pt x="17" y="35"/>
                      <a:pt x="16" y="34"/>
                    </a:cubicBezTo>
                    <a:cubicBezTo>
                      <a:pt x="16" y="34"/>
                      <a:pt x="14" y="35"/>
                      <a:pt x="15" y="35"/>
                    </a:cubicBezTo>
                    <a:cubicBezTo>
                      <a:pt x="15" y="37"/>
                      <a:pt x="20" y="38"/>
                      <a:pt x="19" y="39"/>
                    </a:cubicBezTo>
                    <a:cubicBezTo>
                      <a:pt x="17" y="41"/>
                      <a:pt x="14" y="39"/>
                      <a:pt x="12" y="39"/>
                    </a:cubicBezTo>
                    <a:cubicBezTo>
                      <a:pt x="11" y="38"/>
                      <a:pt x="9" y="37"/>
                      <a:pt x="9" y="36"/>
                    </a:cubicBezTo>
                    <a:cubicBezTo>
                      <a:pt x="8" y="35"/>
                      <a:pt x="8" y="33"/>
                      <a:pt x="8" y="32"/>
                    </a:cubicBezTo>
                    <a:cubicBezTo>
                      <a:pt x="9" y="31"/>
                      <a:pt x="12" y="30"/>
                      <a:pt x="13" y="29"/>
                    </a:cubicBezTo>
                    <a:cubicBezTo>
                      <a:pt x="14" y="28"/>
                      <a:pt x="14" y="27"/>
                      <a:pt x="13" y="27"/>
                    </a:cubicBezTo>
                    <a:cubicBezTo>
                      <a:pt x="12" y="26"/>
                      <a:pt x="10" y="28"/>
                      <a:pt x="10" y="27"/>
                    </a:cubicBezTo>
                    <a:cubicBezTo>
                      <a:pt x="9" y="26"/>
                      <a:pt x="11" y="25"/>
                      <a:pt x="11" y="24"/>
                    </a:cubicBezTo>
                    <a:cubicBezTo>
                      <a:pt x="11" y="22"/>
                      <a:pt x="9" y="21"/>
                      <a:pt x="9" y="20"/>
                    </a:cubicBezTo>
                    <a:cubicBezTo>
                      <a:pt x="10" y="19"/>
                      <a:pt x="11" y="19"/>
                      <a:pt x="12" y="19"/>
                    </a:cubicBezTo>
                    <a:cubicBezTo>
                      <a:pt x="14" y="19"/>
                      <a:pt x="17" y="19"/>
                      <a:pt x="19" y="19"/>
                    </a:cubicBezTo>
                    <a:cubicBezTo>
                      <a:pt x="19" y="20"/>
                      <a:pt x="19" y="21"/>
                      <a:pt x="20" y="22"/>
                    </a:cubicBezTo>
                    <a:cubicBezTo>
                      <a:pt x="21" y="22"/>
                      <a:pt x="21" y="20"/>
                      <a:pt x="22" y="20"/>
                    </a:cubicBezTo>
                    <a:cubicBezTo>
                      <a:pt x="24" y="20"/>
                      <a:pt x="25" y="22"/>
                      <a:pt x="26" y="21"/>
                    </a:cubicBezTo>
                    <a:cubicBezTo>
                      <a:pt x="27" y="21"/>
                      <a:pt x="27" y="19"/>
                      <a:pt x="27" y="18"/>
                    </a:cubicBezTo>
                    <a:cubicBezTo>
                      <a:pt x="28" y="17"/>
                      <a:pt x="30" y="16"/>
                      <a:pt x="30" y="15"/>
                    </a:cubicBezTo>
                    <a:cubicBezTo>
                      <a:pt x="29" y="13"/>
                      <a:pt x="26" y="15"/>
                      <a:pt x="24" y="14"/>
                    </a:cubicBezTo>
                    <a:cubicBezTo>
                      <a:pt x="23" y="13"/>
                      <a:pt x="24" y="12"/>
                      <a:pt x="24" y="11"/>
                    </a:cubicBezTo>
                    <a:cubicBezTo>
                      <a:pt x="26" y="9"/>
                      <a:pt x="28" y="9"/>
                      <a:pt x="30" y="8"/>
                    </a:cubicBezTo>
                    <a:cubicBezTo>
                      <a:pt x="30" y="7"/>
                      <a:pt x="29" y="5"/>
                      <a:pt x="30" y="4"/>
                    </a:cubicBezTo>
                    <a:cubicBezTo>
                      <a:pt x="32" y="3"/>
                      <a:pt x="35" y="4"/>
                      <a:pt x="38" y="3"/>
                    </a:cubicBezTo>
                    <a:cubicBezTo>
                      <a:pt x="39" y="3"/>
                      <a:pt x="39" y="0"/>
                      <a:pt x="40" y="0"/>
                    </a:cubicBezTo>
                    <a:cubicBezTo>
                      <a:pt x="42" y="0"/>
                      <a:pt x="43" y="2"/>
                      <a:pt x="45" y="3"/>
                    </a:cubicBezTo>
                    <a:cubicBezTo>
                      <a:pt x="43" y="4"/>
                      <a:pt x="42" y="6"/>
                      <a:pt x="41" y="8"/>
                    </a:cubicBezTo>
                    <a:cubicBezTo>
                      <a:pt x="40" y="9"/>
                      <a:pt x="39" y="11"/>
                      <a:pt x="38" y="11"/>
                    </a:cubicBezTo>
                    <a:cubicBezTo>
                      <a:pt x="37" y="12"/>
                      <a:pt x="35" y="10"/>
                      <a:pt x="34" y="11"/>
                    </a:cubicBezTo>
                    <a:cubicBezTo>
                      <a:pt x="33" y="12"/>
                      <a:pt x="35" y="13"/>
                      <a:pt x="35" y="14"/>
                    </a:cubicBezTo>
                    <a:cubicBezTo>
                      <a:pt x="34" y="15"/>
                      <a:pt x="30" y="15"/>
                      <a:pt x="30" y="16"/>
                    </a:cubicBezTo>
                    <a:cubicBezTo>
                      <a:pt x="31" y="19"/>
                      <a:pt x="33" y="20"/>
                      <a:pt x="35" y="22"/>
                    </a:cubicBezTo>
                    <a:cubicBezTo>
                      <a:pt x="37" y="23"/>
                      <a:pt x="39" y="23"/>
                      <a:pt x="41" y="23"/>
                    </a:cubicBezTo>
                    <a:cubicBezTo>
                      <a:pt x="42" y="23"/>
                      <a:pt x="43" y="22"/>
                      <a:pt x="43" y="21"/>
                    </a:cubicBezTo>
                    <a:cubicBezTo>
                      <a:pt x="44" y="20"/>
                      <a:pt x="42" y="19"/>
                      <a:pt x="42" y="18"/>
                    </a:cubicBezTo>
                    <a:cubicBezTo>
                      <a:pt x="43" y="18"/>
                      <a:pt x="44" y="18"/>
                      <a:pt x="45" y="18"/>
                    </a:cubicBezTo>
                    <a:cubicBezTo>
                      <a:pt x="47" y="19"/>
                      <a:pt x="47" y="21"/>
                      <a:pt x="48" y="22"/>
                    </a:cubicBezTo>
                    <a:cubicBezTo>
                      <a:pt x="50" y="23"/>
                      <a:pt x="51" y="24"/>
                      <a:pt x="52" y="25"/>
                    </a:cubicBezTo>
                    <a:cubicBezTo>
                      <a:pt x="53" y="25"/>
                      <a:pt x="53" y="27"/>
                      <a:pt x="54" y="28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32" name="Freeform 2655"/>
              <p:cNvSpPr>
                <a:spLocks noChangeAspect="1"/>
              </p:cNvSpPr>
              <p:nvPr/>
            </p:nvSpPr>
            <p:spPr bwMode="auto">
              <a:xfrm>
                <a:off x="4307690" y="2064820"/>
                <a:ext cx="41383" cy="24920"/>
              </a:xfrm>
              <a:custGeom>
                <a:avLst/>
                <a:gdLst>
                  <a:gd name="T0" fmla="*/ 29 w 31"/>
                  <a:gd name="T1" fmla="*/ 30 h 25"/>
                  <a:gd name="T2" fmla="*/ 31 w 31"/>
                  <a:gd name="T3" fmla="*/ 24 h 25"/>
                  <a:gd name="T4" fmla="*/ 36 w 31"/>
                  <a:gd name="T5" fmla="*/ 22 h 25"/>
                  <a:gd name="T6" fmla="*/ 36 w 31"/>
                  <a:gd name="T7" fmla="*/ 16 h 25"/>
                  <a:gd name="T8" fmla="*/ 35 w 31"/>
                  <a:gd name="T9" fmla="*/ 10 h 25"/>
                  <a:gd name="T10" fmla="*/ 32 w 31"/>
                  <a:gd name="T11" fmla="*/ 2 h 25"/>
                  <a:gd name="T12" fmla="*/ 26 w 31"/>
                  <a:gd name="T13" fmla="*/ 0 h 25"/>
                  <a:gd name="T14" fmla="*/ 20 w 31"/>
                  <a:gd name="T15" fmla="*/ 1 h 25"/>
                  <a:gd name="T16" fmla="*/ 18 w 31"/>
                  <a:gd name="T17" fmla="*/ 0 h 25"/>
                  <a:gd name="T18" fmla="*/ 13 w 31"/>
                  <a:gd name="T19" fmla="*/ 6 h 25"/>
                  <a:gd name="T20" fmla="*/ 10 w 31"/>
                  <a:gd name="T21" fmla="*/ 10 h 25"/>
                  <a:gd name="T22" fmla="*/ 5 w 31"/>
                  <a:gd name="T23" fmla="*/ 10 h 25"/>
                  <a:gd name="T24" fmla="*/ 6 w 31"/>
                  <a:gd name="T25" fmla="*/ 13 h 25"/>
                  <a:gd name="T26" fmla="*/ 0 w 31"/>
                  <a:gd name="T27" fmla="*/ 16 h 25"/>
                  <a:gd name="T28" fmla="*/ 6 w 31"/>
                  <a:gd name="T29" fmla="*/ 23 h 25"/>
                  <a:gd name="T30" fmla="*/ 13 w 31"/>
                  <a:gd name="T31" fmla="*/ 24 h 25"/>
                  <a:gd name="T32" fmla="*/ 16 w 31"/>
                  <a:gd name="T33" fmla="*/ 22 h 25"/>
                  <a:gd name="T34" fmla="*/ 14 w 31"/>
                  <a:gd name="T35" fmla="*/ 18 h 25"/>
                  <a:gd name="T36" fmla="*/ 18 w 31"/>
                  <a:gd name="T37" fmla="*/ 18 h 25"/>
                  <a:gd name="T38" fmla="*/ 21 w 31"/>
                  <a:gd name="T39" fmla="*/ 23 h 25"/>
                  <a:gd name="T40" fmla="*/ 26 w 31"/>
                  <a:gd name="T41" fmla="*/ 26 h 25"/>
                  <a:gd name="T42" fmla="*/ 29 w 31"/>
                  <a:gd name="T43" fmla="*/ 30 h 25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31"/>
                  <a:gd name="T67" fmla="*/ 0 h 25"/>
                  <a:gd name="T68" fmla="*/ 31 w 31"/>
                  <a:gd name="T69" fmla="*/ 25 h 25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31" h="25">
                    <a:moveTo>
                      <a:pt x="24" y="25"/>
                    </a:moveTo>
                    <a:lnTo>
                      <a:pt x="26" y="20"/>
                    </a:lnTo>
                    <a:cubicBezTo>
                      <a:pt x="27" y="19"/>
                      <a:pt x="30" y="20"/>
                      <a:pt x="30" y="18"/>
                    </a:cubicBezTo>
                    <a:cubicBezTo>
                      <a:pt x="31" y="17"/>
                      <a:pt x="30" y="15"/>
                      <a:pt x="30" y="13"/>
                    </a:cubicBezTo>
                    <a:cubicBezTo>
                      <a:pt x="30" y="11"/>
                      <a:pt x="29" y="9"/>
                      <a:pt x="29" y="8"/>
                    </a:cubicBezTo>
                    <a:cubicBezTo>
                      <a:pt x="28" y="6"/>
                      <a:pt x="28" y="4"/>
                      <a:pt x="27" y="2"/>
                    </a:cubicBezTo>
                    <a:cubicBezTo>
                      <a:pt x="26" y="1"/>
                      <a:pt x="24" y="0"/>
                      <a:pt x="22" y="0"/>
                    </a:cubicBezTo>
                    <a:cubicBezTo>
                      <a:pt x="21" y="0"/>
                      <a:pt x="19" y="1"/>
                      <a:pt x="17" y="1"/>
                    </a:cubicBezTo>
                    <a:cubicBezTo>
                      <a:pt x="16" y="1"/>
                      <a:pt x="15" y="0"/>
                      <a:pt x="15" y="0"/>
                    </a:cubicBezTo>
                    <a:cubicBezTo>
                      <a:pt x="13" y="1"/>
                      <a:pt x="12" y="3"/>
                      <a:pt x="11" y="5"/>
                    </a:cubicBezTo>
                    <a:cubicBezTo>
                      <a:pt x="10" y="6"/>
                      <a:pt x="9" y="8"/>
                      <a:pt x="8" y="8"/>
                    </a:cubicBezTo>
                    <a:cubicBezTo>
                      <a:pt x="7" y="9"/>
                      <a:pt x="5" y="7"/>
                      <a:pt x="4" y="8"/>
                    </a:cubicBezTo>
                    <a:cubicBezTo>
                      <a:pt x="3" y="9"/>
                      <a:pt x="5" y="10"/>
                      <a:pt x="5" y="11"/>
                    </a:cubicBezTo>
                    <a:cubicBezTo>
                      <a:pt x="4" y="12"/>
                      <a:pt x="0" y="12"/>
                      <a:pt x="0" y="13"/>
                    </a:cubicBezTo>
                    <a:cubicBezTo>
                      <a:pt x="1" y="16"/>
                      <a:pt x="3" y="17"/>
                      <a:pt x="5" y="19"/>
                    </a:cubicBezTo>
                    <a:cubicBezTo>
                      <a:pt x="7" y="20"/>
                      <a:pt x="9" y="20"/>
                      <a:pt x="11" y="20"/>
                    </a:cubicBezTo>
                    <a:cubicBezTo>
                      <a:pt x="12" y="20"/>
                      <a:pt x="13" y="19"/>
                      <a:pt x="13" y="18"/>
                    </a:cubicBezTo>
                    <a:cubicBezTo>
                      <a:pt x="14" y="17"/>
                      <a:pt x="12" y="16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7" y="16"/>
                      <a:pt x="17" y="18"/>
                      <a:pt x="18" y="19"/>
                    </a:cubicBezTo>
                    <a:cubicBezTo>
                      <a:pt x="20" y="20"/>
                      <a:pt x="21" y="21"/>
                      <a:pt x="22" y="22"/>
                    </a:cubicBezTo>
                    <a:cubicBezTo>
                      <a:pt x="23" y="22"/>
                      <a:pt x="23" y="24"/>
                      <a:pt x="24" y="25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33" name="Freeform 2659"/>
              <p:cNvSpPr>
                <a:spLocks noChangeAspect="1"/>
              </p:cNvSpPr>
              <p:nvPr/>
            </p:nvSpPr>
            <p:spPr bwMode="auto">
              <a:xfrm>
                <a:off x="5134255" y="2757597"/>
                <a:ext cx="174484" cy="195206"/>
              </a:xfrm>
              <a:custGeom>
                <a:avLst/>
                <a:gdLst>
                  <a:gd name="T0" fmla="*/ 11 w 130"/>
                  <a:gd name="T1" fmla="*/ 139 h 196"/>
                  <a:gd name="T2" fmla="*/ 7 w 130"/>
                  <a:gd name="T3" fmla="*/ 150 h 196"/>
                  <a:gd name="T4" fmla="*/ 0 w 130"/>
                  <a:gd name="T5" fmla="*/ 158 h 196"/>
                  <a:gd name="T6" fmla="*/ 0 w 130"/>
                  <a:gd name="T7" fmla="*/ 223 h 196"/>
                  <a:gd name="T8" fmla="*/ 10 w 130"/>
                  <a:gd name="T9" fmla="*/ 235 h 196"/>
                  <a:gd name="T10" fmla="*/ 16 w 130"/>
                  <a:gd name="T11" fmla="*/ 221 h 196"/>
                  <a:gd name="T12" fmla="*/ 31 w 130"/>
                  <a:gd name="T13" fmla="*/ 205 h 196"/>
                  <a:gd name="T14" fmla="*/ 46 w 130"/>
                  <a:gd name="T15" fmla="*/ 189 h 196"/>
                  <a:gd name="T16" fmla="*/ 52 w 130"/>
                  <a:gd name="T17" fmla="*/ 186 h 196"/>
                  <a:gd name="T18" fmla="*/ 56 w 130"/>
                  <a:gd name="T19" fmla="*/ 179 h 196"/>
                  <a:gd name="T20" fmla="*/ 70 w 130"/>
                  <a:gd name="T21" fmla="*/ 171 h 196"/>
                  <a:gd name="T22" fmla="*/ 79 w 130"/>
                  <a:gd name="T23" fmla="*/ 167 h 196"/>
                  <a:gd name="T24" fmla="*/ 90 w 130"/>
                  <a:gd name="T25" fmla="*/ 153 h 196"/>
                  <a:gd name="T26" fmla="*/ 101 w 130"/>
                  <a:gd name="T27" fmla="*/ 139 h 196"/>
                  <a:gd name="T28" fmla="*/ 110 w 130"/>
                  <a:gd name="T29" fmla="*/ 122 h 196"/>
                  <a:gd name="T30" fmla="*/ 125 w 130"/>
                  <a:gd name="T31" fmla="*/ 101 h 196"/>
                  <a:gd name="T32" fmla="*/ 124 w 130"/>
                  <a:gd name="T33" fmla="*/ 96 h 196"/>
                  <a:gd name="T34" fmla="*/ 136 w 130"/>
                  <a:gd name="T35" fmla="*/ 76 h 196"/>
                  <a:gd name="T36" fmla="*/ 134 w 130"/>
                  <a:gd name="T37" fmla="*/ 71 h 196"/>
                  <a:gd name="T38" fmla="*/ 140 w 130"/>
                  <a:gd name="T39" fmla="*/ 66 h 196"/>
                  <a:gd name="T40" fmla="*/ 145 w 130"/>
                  <a:gd name="T41" fmla="*/ 54 h 196"/>
                  <a:gd name="T42" fmla="*/ 150 w 130"/>
                  <a:gd name="T43" fmla="*/ 43 h 196"/>
                  <a:gd name="T44" fmla="*/ 150 w 130"/>
                  <a:gd name="T45" fmla="*/ 30 h 196"/>
                  <a:gd name="T46" fmla="*/ 154 w 130"/>
                  <a:gd name="T47" fmla="*/ 23 h 196"/>
                  <a:gd name="T48" fmla="*/ 152 w 130"/>
                  <a:gd name="T49" fmla="*/ 12 h 196"/>
                  <a:gd name="T50" fmla="*/ 155 w 130"/>
                  <a:gd name="T51" fmla="*/ 2 h 196"/>
                  <a:gd name="T52" fmla="*/ 148 w 130"/>
                  <a:gd name="T53" fmla="*/ 0 h 196"/>
                  <a:gd name="T54" fmla="*/ 144 w 130"/>
                  <a:gd name="T55" fmla="*/ 1 h 196"/>
                  <a:gd name="T56" fmla="*/ 139 w 130"/>
                  <a:gd name="T57" fmla="*/ 6 h 196"/>
                  <a:gd name="T58" fmla="*/ 127 w 130"/>
                  <a:gd name="T59" fmla="*/ 10 h 196"/>
                  <a:gd name="T60" fmla="*/ 120 w 130"/>
                  <a:gd name="T61" fmla="*/ 13 h 196"/>
                  <a:gd name="T62" fmla="*/ 113 w 130"/>
                  <a:gd name="T63" fmla="*/ 11 h 196"/>
                  <a:gd name="T64" fmla="*/ 107 w 130"/>
                  <a:gd name="T65" fmla="*/ 14 h 196"/>
                  <a:gd name="T66" fmla="*/ 96 w 130"/>
                  <a:gd name="T67" fmla="*/ 14 h 196"/>
                  <a:gd name="T68" fmla="*/ 88 w 130"/>
                  <a:gd name="T69" fmla="*/ 19 h 196"/>
                  <a:gd name="T70" fmla="*/ 77 w 130"/>
                  <a:gd name="T71" fmla="*/ 23 h 196"/>
                  <a:gd name="T72" fmla="*/ 71 w 130"/>
                  <a:gd name="T73" fmla="*/ 22 h 196"/>
                  <a:gd name="T74" fmla="*/ 59 w 130"/>
                  <a:gd name="T75" fmla="*/ 26 h 196"/>
                  <a:gd name="T76" fmla="*/ 47 w 130"/>
                  <a:gd name="T77" fmla="*/ 25 h 196"/>
                  <a:gd name="T78" fmla="*/ 41 w 130"/>
                  <a:gd name="T79" fmla="*/ 19 h 196"/>
                  <a:gd name="T80" fmla="*/ 41 w 130"/>
                  <a:gd name="T81" fmla="*/ 14 h 196"/>
                  <a:gd name="T82" fmla="*/ 35 w 130"/>
                  <a:gd name="T83" fmla="*/ 12 h 196"/>
                  <a:gd name="T84" fmla="*/ 31 w 130"/>
                  <a:gd name="T85" fmla="*/ 14 h 196"/>
                  <a:gd name="T86" fmla="*/ 28 w 130"/>
                  <a:gd name="T87" fmla="*/ 17 h 196"/>
                  <a:gd name="T88" fmla="*/ 22 w 130"/>
                  <a:gd name="T89" fmla="*/ 28 h 196"/>
                  <a:gd name="T90" fmla="*/ 31 w 130"/>
                  <a:gd name="T91" fmla="*/ 37 h 196"/>
                  <a:gd name="T92" fmla="*/ 34 w 130"/>
                  <a:gd name="T93" fmla="*/ 43 h 196"/>
                  <a:gd name="T94" fmla="*/ 41 w 130"/>
                  <a:gd name="T95" fmla="*/ 50 h 196"/>
                  <a:gd name="T96" fmla="*/ 90 w 130"/>
                  <a:gd name="T97" fmla="*/ 70 h 196"/>
                  <a:gd name="T98" fmla="*/ 104 w 130"/>
                  <a:gd name="T99" fmla="*/ 67 h 196"/>
                  <a:gd name="T100" fmla="*/ 60 w 130"/>
                  <a:gd name="T101" fmla="*/ 121 h 196"/>
                  <a:gd name="T102" fmla="*/ 43 w 130"/>
                  <a:gd name="T103" fmla="*/ 122 h 196"/>
                  <a:gd name="T104" fmla="*/ 26 w 130"/>
                  <a:gd name="T105" fmla="*/ 129 h 196"/>
                  <a:gd name="T106" fmla="*/ 11 w 130"/>
                  <a:gd name="T107" fmla="*/ 139 h 19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30"/>
                  <a:gd name="T163" fmla="*/ 0 h 196"/>
                  <a:gd name="T164" fmla="*/ 130 w 130"/>
                  <a:gd name="T165" fmla="*/ 196 h 19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30" h="196">
                    <a:moveTo>
                      <a:pt x="9" y="116"/>
                    </a:moveTo>
                    <a:cubicBezTo>
                      <a:pt x="8" y="119"/>
                      <a:pt x="9" y="123"/>
                      <a:pt x="6" y="125"/>
                    </a:cubicBezTo>
                    <a:lnTo>
                      <a:pt x="0" y="132"/>
                    </a:lnTo>
                    <a:lnTo>
                      <a:pt x="0" y="186"/>
                    </a:lnTo>
                    <a:lnTo>
                      <a:pt x="8" y="196"/>
                    </a:lnTo>
                    <a:cubicBezTo>
                      <a:pt x="9" y="192"/>
                      <a:pt x="11" y="188"/>
                      <a:pt x="13" y="184"/>
                    </a:cubicBezTo>
                    <a:cubicBezTo>
                      <a:pt x="17" y="179"/>
                      <a:pt x="21" y="175"/>
                      <a:pt x="26" y="171"/>
                    </a:cubicBezTo>
                    <a:cubicBezTo>
                      <a:pt x="30" y="166"/>
                      <a:pt x="34" y="162"/>
                      <a:pt x="38" y="158"/>
                    </a:cubicBezTo>
                    <a:cubicBezTo>
                      <a:pt x="39" y="157"/>
                      <a:pt x="41" y="156"/>
                      <a:pt x="43" y="155"/>
                    </a:cubicBezTo>
                    <a:cubicBezTo>
                      <a:pt x="45" y="153"/>
                      <a:pt x="46" y="150"/>
                      <a:pt x="47" y="149"/>
                    </a:cubicBezTo>
                    <a:cubicBezTo>
                      <a:pt x="51" y="146"/>
                      <a:pt x="54" y="145"/>
                      <a:pt x="58" y="143"/>
                    </a:cubicBezTo>
                    <a:cubicBezTo>
                      <a:pt x="61" y="141"/>
                      <a:pt x="64" y="141"/>
                      <a:pt x="66" y="139"/>
                    </a:cubicBezTo>
                    <a:cubicBezTo>
                      <a:pt x="70" y="136"/>
                      <a:pt x="72" y="132"/>
                      <a:pt x="75" y="128"/>
                    </a:cubicBezTo>
                    <a:cubicBezTo>
                      <a:pt x="78" y="124"/>
                      <a:pt x="81" y="120"/>
                      <a:pt x="84" y="116"/>
                    </a:cubicBezTo>
                    <a:cubicBezTo>
                      <a:pt x="87" y="111"/>
                      <a:pt x="90" y="106"/>
                      <a:pt x="92" y="102"/>
                    </a:cubicBezTo>
                    <a:cubicBezTo>
                      <a:pt x="96" y="96"/>
                      <a:pt x="100" y="90"/>
                      <a:pt x="104" y="84"/>
                    </a:cubicBezTo>
                    <a:cubicBezTo>
                      <a:pt x="104" y="83"/>
                      <a:pt x="103" y="81"/>
                      <a:pt x="103" y="80"/>
                    </a:cubicBezTo>
                    <a:cubicBezTo>
                      <a:pt x="106" y="74"/>
                      <a:pt x="110" y="69"/>
                      <a:pt x="113" y="63"/>
                    </a:cubicBezTo>
                    <a:cubicBezTo>
                      <a:pt x="113" y="62"/>
                      <a:pt x="112" y="60"/>
                      <a:pt x="112" y="59"/>
                    </a:cubicBezTo>
                    <a:cubicBezTo>
                      <a:pt x="113" y="58"/>
                      <a:pt x="116" y="57"/>
                      <a:pt x="117" y="55"/>
                    </a:cubicBezTo>
                    <a:cubicBezTo>
                      <a:pt x="119" y="52"/>
                      <a:pt x="120" y="48"/>
                      <a:pt x="121" y="45"/>
                    </a:cubicBezTo>
                    <a:cubicBezTo>
                      <a:pt x="122" y="42"/>
                      <a:pt x="124" y="39"/>
                      <a:pt x="125" y="36"/>
                    </a:cubicBezTo>
                    <a:cubicBezTo>
                      <a:pt x="125" y="32"/>
                      <a:pt x="124" y="28"/>
                      <a:pt x="125" y="25"/>
                    </a:cubicBezTo>
                    <a:cubicBezTo>
                      <a:pt x="125" y="23"/>
                      <a:pt x="128" y="21"/>
                      <a:pt x="128" y="19"/>
                    </a:cubicBezTo>
                    <a:cubicBezTo>
                      <a:pt x="128" y="16"/>
                      <a:pt x="127" y="13"/>
                      <a:pt x="127" y="10"/>
                    </a:cubicBezTo>
                    <a:cubicBezTo>
                      <a:pt x="127" y="7"/>
                      <a:pt x="130" y="5"/>
                      <a:pt x="129" y="2"/>
                    </a:cubicBezTo>
                    <a:cubicBezTo>
                      <a:pt x="128" y="0"/>
                      <a:pt x="125" y="0"/>
                      <a:pt x="123" y="0"/>
                    </a:cubicBezTo>
                    <a:cubicBezTo>
                      <a:pt x="121" y="0"/>
                      <a:pt x="120" y="1"/>
                      <a:pt x="120" y="1"/>
                    </a:cubicBezTo>
                    <a:cubicBezTo>
                      <a:pt x="118" y="2"/>
                      <a:pt x="117" y="4"/>
                      <a:pt x="116" y="5"/>
                    </a:cubicBezTo>
                    <a:cubicBezTo>
                      <a:pt x="113" y="7"/>
                      <a:pt x="109" y="7"/>
                      <a:pt x="106" y="8"/>
                    </a:cubicBezTo>
                    <a:cubicBezTo>
                      <a:pt x="104" y="9"/>
                      <a:pt x="103" y="10"/>
                      <a:pt x="100" y="11"/>
                    </a:cubicBezTo>
                    <a:cubicBezTo>
                      <a:pt x="98" y="11"/>
                      <a:pt x="96" y="9"/>
                      <a:pt x="94" y="9"/>
                    </a:cubicBezTo>
                    <a:cubicBezTo>
                      <a:pt x="92" y="9"/>
                      <a:pt x="91" y="12"/>
                      <a:pt x="89" y="12"/>
                    </a:cubicBezTo>
                    <a:cubicBezTo>
                      <a:pt x="86" y="13"/>
                      <a:pt x="83" y="11"/>
                      <a:pt x="80" y="12"/>
                    </a:cubicBezTo>
                    <a:cubicBezTo>
                      <a:pt x="77" y="13"/>
                      <a:pt x="75" y="15"/>
                      <a:pt x="73" y="16"/>
                    </a:cubicBezTo>
                    <a:cubicBezTo>
                      <a:pt x="70" y="18"/>
                      <a:pt x="67" y="19"/>
                      <a:pt x="64" y="19"/>
                    </a:cubicBezTo>
                    <a:cubicBezTo>
                      <a:pt x="63" y="19"/>
                      <a:pt x="61" y="18"/>
                      <a:pt x="59" y="18"/>
                    </a:cubicBezTo>
                    <a:cubicBezTo>
                      <a:pt x="56" y="19"/>
                      <a:pt x="53" y="22"/>
                      <a:pt x="49" y="22"/>
                    </a:cubicBezTo>
                    <a:cubicBezTo>
                      <a:pt x="46" y="23"/>
                      <a:pt x="42" y="22"/>
                      <a:pt x="39" y="21"/>
                    </a:cubicBezTo>
                    <a:cubicBezTo>
                      <a:pt x="37" y="20"/>
                      <a:pt x="35" y="18"/>
                      <a:pt x="34" y="16"/>
                    </a:cubicBezTo>
                    <a:cubicBezTo>
                      <a:pt x="33" y="15"/>
                      <a:pt x="35" y="13"/>
                      <a:pt x="34" y="12"/>
                    </a:cubicBezTo>
                    <a:cubicBezTo>
                      <a:pt x="32" y="11"/>
                      <a:pt x="31" y="11"/>
                      <a:pt x="29" y="10"/>
                    </a:cubicBezTo>
                    <a:cubicBezTo>
                      <a:pt x="28" y="11"/>
                      <a:pt x="27" y="11"/>
                      <a:pt x="26" y="12"/>
                    </a:cubicBezTo>
                    <a:cubicBezTo>
                      <a:pt x="25" y="13"/>
                      <a:pt x="24" y="14"/>
                      <a:pt x="23" y="14"/>
                    </a:cubicBezTo>
                    <a:cubicBezTo>
                      <a:pt x="21" y="17"/>
                      <a:pt x="17" y="20"/>
                      <a:pt x="18" y="23"/>
                    </a:cubicBezTo>
                    <a:cubicBezTo>
                      <a:pt x="19" y="27"/>
                      <a:pt x="24" y="28"/>
                      <a:pt x="26" y="31"/>
                    </a:cubicBezTo>
                    <a:cubicBezTo>
                      <a:pt x="27" y="32"/>
                      <a:pt x="27" y="34"/>
                      <a:pt x="28" y="36"/>
                    </a:cubicBezTo>
                    <a:cubicBezTo>
                      <a:pt x="30" y="38"/>
                      <a:pt x="31" y="41"/>
                      <a:pt x="34" y="42"/>
                    </a:cubicBezTo>
                    <a:lnTo>
                      <a:pt x="75" y="58"/>
                    </a:lnTo>
                    <a:cubicBezTo>
                      <a:pt x="79" y="59"/>
                      <a:pt x="90" y="53"/>
                      <a:pt x="87" y="56"/>
                    </a:cubicBezTo>
                    <a:lnTo>
                      <a:pt x="50" y="101"/>
                    </a:lnTo>
                    <a:cubicBezTo>
                      <a:pt x="47" y="105"/>
                      <a:pt x="40" y="101"/>
                      <a:pt x="36" y="102"/>
                    </a:cubicBezTo>
                    <a:cubicBezTo>
                      <a:pt x="31" y="103"/>
                      <a:pt x="27" y="106"/>
                      <a:pt x="22" y="108"/>
                    </a:cubicBezTo>
                    <a:cubicBezTo>
                      <a:pt x="18" y="110"/>
                      <a:pt x="13" y="114"/>
                      <a:pt x="9" y="116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34" name="Freeform 2660"/>
              <p:cNvSpPr>
                <a:spLocks noChangeAspect="1"/>
              </p:cNvSpPr>
              <p:nvPr/>
            </p:nvSpPr>
            <p:spPr bwMode="auto">
              <a:xfrm>
                <a:off x="4892661" y="3350693"/>
                <a:ext cx="40266" cy="32397"/>
              </a:xfrm>
              <a:custGeom>
                <a:avLst/>
                <a:gdLst>
                  <a:gd name="T0" fmla="*/ 23 w 30"/>
                  <a:gd name="T1" fmla="*/ 0 h 32"/>
                  <a:gd name="T2" fmla="*/ 35 w 30"/>
                  <a:gd name="T3" fmla="*/ 11 h 32"/>
                  <a:gd name="T4" fmla="*/ 35 w 30"/>
                  <a:gd name="T5" fmla="*/ 18 h 32"/>
                  <a:gd name="T6" fmla="*/ 29 w 30"/>
                  <a:gd name="T7" fmla="*/ 28 h 32"/>
                  <a:gd name="T8" fmla="*/ 25 w 30"/>
                  <a:gd name="T9" fmla="*/ 29 h 32"/>
                  <a:gd name="T10" fmla="*/ 19 w 30"/>
                  <a:gd name="T11" fmla="*/ 29 h 32"/>
                  <a:gd name="T12" fmla="*/ 14 w 30"/>
                  <a:gd name="T13" fmla="*/ 38 h 32"/>
                  <a:gd name="T14" fmla="*/ 10 w 30"/>
                  <a:gd name="T15" fmla="*/ 38 h 32"/>
                  <a:gd name="T16" fmla="*/ 5 w 30"/>
                  <a:gd name="T17" fmla="*/ 32 h 32"/>
                  <a:gd name="T18" fmla="*/ 1 w 30"/>
                  <a:gd name="T19" fmla="*/ 26 h 32"/>
                  <a:gd name="T20" fmla="*/ 1 w 30"/>
                  <a:gd name="T21" fmla="*/ 18 h 32"/>
                  <a:gd name="T22" fmla="*/ 7 w 30"/>
                  <a:gd name="T23" fmla="*/ 15 h 32"/>
                  <a:gd name="T24" fmla="*/ 13 w 30"/>
                  <a:gd name="T25" fmla="*/ 6 h 32"/>
                  <a:gd name="T26" fmla="*/ 19 w 30"/>
                  <a:gd name="T27" fmla="*/ 4 h 32"/>
                  <a:gd name="T28" fmla="*/ 23 w 30"/>
                  <a:gd name="T29" fmla="*/ 0 h 32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30"/>
                  <a:gd name="T46" fmla="*/ 0 h 32"/>
                  <a:gd name="T47" fmla="*/ 30 w 30"/>
                  <a:gd name="T48" fmla="*/ 32 h 32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30" h="32">
                    <a:moveTo>
                      <a:pt x="19" y="0"/>
                    </a:moveTo>
                    <a:cubicBezTo>
                      <a:pt x="23" y="2"/>
                      <a:pt x="26" y="6"/>
                      <a:pt x="29" y="9"/>
                    </a:cubicBezTo>
                    <a:cubicBezTo>
                      <a:pt x="30" y="11"/>
                      <a:pt x="30" y="13"/>
                      <a:pt x="29" y="15"/>
                    </a:cubicBezTo>
                    <a:cubicBezTo>
                      <a:pt x="28" y="18"/>
                      <a:pt x="26" y="20"/>
                      <a:pt x="24" y="23"/>
                    </a:cubicBezTo>
                    <a:cubicBezTo>
                      <a:pt x="23" y="24"/>
                      <a:pt x="22" y="24"/>
                      <a:pt x="21" y="24"/>
                    </a:cubicBezTo>
                    <a:cubicBezTo>
                      <a:pt x="19" y="24"/>
                      <a:pt x="17" y="23"/>
                      <a:pt x="16" y="24"/>
                    </a:cubicBezTo>
                    <a:cubicBezTo>
                      <a:pt x="14" y="26"/>
                      <a:pt x="14" y="30"/>
                      <a:pt x="12" y="31"/>
                    </a:cubicBezTo>
                    <a:cubicBezTo>
                      <a:pt x="11" y="32"/>
                      <a:pt x="9" y="32"/>
                      <a:pt x="8" y="31"/>
                    </a:cubicBezTo>
                    <a:cubicBezTo>
                      <a:pt x="6" y="30"/>
                      <a:pt x="5" y="28"/>
                      <a:pt x="4" y="26"/>
                    </a:cubicBezTo>
                    <a:cubicBezTo>
                      <a:pt x="3" y="24"/>
                      <a:pt x="2" y="23"/>
                      <a:pt x="1" y="21"/>
                    </a:cubicBezTo>
                    <a:cubicBezTo>
                      <a:pt x="1" y="19"/>
                      <a:pt x="0" y="17"/>
                      <a:pt x="1" y="15"/>
                    </a:cubicBezTo>
                    <a:cubicBezTo>
                      <a:pt x="2" y="14"/>
                      <a:pt x="5" y="14"/>
                      <a:pt x="6" y="12"/>
                    </a:cubicBezTo>
                    <a:cubicBezTo>
                      <a:pt x="8" y="10"/>
                      <a:pt x="8" y="7"/>
                      <a:pt x="11" y="5"/>
                    </a:cubicBezTo>
                    <a:cubicBezTo>
                      <a:pt x="12" y="4"/>
                      <a:pt x="14" y="4"/>
                      <a:pt x="16" y="3"/>
                    </a:cubicBezTo>
                    <a:cubicBezTo>
                      <a:pt x="17" y="3"/>
                      <a:pt x="18" y="0"/>
                      <a:pt x="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35" name="Freeform 2661"/>
              <p:cNvSpPr>
                <a:spLocks noChangeAspect="1"/>
              </p:cNvSpPr>
              <p:nvPr/>
            </p:nvSpPr>
            <p:spPr bwMode="auto">
              <a:xfrm>
                <a:off x="4616393" y="2426991"/>
                <a:ext cx="6712" cy="4153"/>
              </a:xfrm>
              <a:custGeom>
                <a:avLst/>
                <a:gdLst>
                  <a:gd name="T0" fmla="*/ 2 w 5"/>
                  <a:gd name="T1" fmla="*/ 0 h 4"/>
                  <a:gd name="T2" fmla="*/ 6 w 5"/>
                  <a:gd name="T3" fmla="*/ 3 h 4"/>
                  <a:gd name="T4" fmla="*/ 2 w 5"/>
                  <a:gd name="T5" fmla="*/ 5 h 4"/>
                  <a:gd name="T6" fmla="*/ 0 w 5"/>
                  <a:gd name="T7" fmla="*/ 3 h 4"/>
                  <a:gd name="T8" fmla="*/ 2 w 5"/>
                  <a:gd name="T9" fmla="*/ 0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4"/>
                  <a:gd name="T17" fmla="*/ 5 w 5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4">
                    <a:moveTo>
                      <a:pt x="2" y="0"/>
                    </a:moveTo>
                    <a:cubicBezTo>
                      <a:pt x="3" y="0"/>
                      <a:pt x="5" y="1"/>
                      <a:pt x="5" y="2"/>
                    </a:cubicBezTo>
                    <a:cubicBezTo>
                      <a:pt x="5" y="3"/>
                      <a:pt x="3" y="4"/>
                      <a:pt x="2" y="4"/>
                    </a:cubicBezTo>
                    <a:cubicBezTo>
                      <a:pt x="2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36" name="Freeform 2662"/>
              <p:cNvSpPr>
                <a:spLocks noChangeAspect="1"/>
              </p:cNvSpPr>
              <p:nvPr/>
            </p:nvSpPr>
            <p:spPr bwMode="auto">
              <a:xfrm>
                <a:off x="5337821" y="2745966"/>
                <a:ext cx="24606" cy="6645"/>
              </a:xfrm>
              <a:custGeom>
                <a:avLst/>
                <a:gdLst>
                  <a:gd name="T0" fmla="*/ 6 w 18"/>
                  <a:gd name="T1" fmla="*/ 1 h 7"/>
                  <a:gd name="T2" fmla="*/ 11 w 18"/>
                  <a:gd name="T3" fmla="*/ 3 h 7"/>
                  <a:gd name="T4" fmla="*/ 17 w 18"/>
                  <a:gd name="T5" fmla="*/ 0 h 7"/>
                  <a:gd name="T6" fmla="*/ 21 w 18"/>
                  <a:gd name="T7" fmla="*/ 3 h 7"/>
                  <a:gd name="T8" fmla="*/ 13 w 18"/>
                  <a:gd name="T9" fmla="*/ 8 h 7"/>
                  <a:gd name="T10" fmla="*/ 1 w 18"/>
                  <a:gd name="T11" fmla="*/ 5 h 7"/>
                  <a:gd name="T12" fmla="*/ 6 w 18"/>
                  <a:gd name="T13" fmla="*/ 1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8"/>
                  <a:gd name="T22" fmla="*/ 0 h 7"/>
                  <a:gd name="T23" fmla="*/ 18 w 18"/>
                  <a:gd name="T24" fmla="*/ 7 h 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8" h="7">
                    <a:moveTo>
                      <a:pt x="5" y="1"/>
                    </a:moveTo>
                    <a:cubicBezTo>
                      <a:pt x="6" y="1"/>
                      <a:pt x="8" y="3"/>
                      <a:pt x="9" y="3"/>
                    </a:cubicBezTo>
                    <a:cubicBezTo>
                      <a:pt x="11" y="3"/>
                      <a:pt x="12" y="0"/>
                      <a:pt x="14" y="0"/>
                    </a:cubicBezTo>
                    <a:cubicBezTo>
                      <a:pt x="15" y="0"/>
                      <a:pt x="18" y="2"/>
                      <a:pt x="17" y="3"/>
                    </a:cubicBezTo>
                    <a:cubicBezTo>
                      <a:pt x="16" y="5"/>
                      <a:pt x="14" y="7"/>
                      <a:pt x="11" y="7"/>
                    </a:cubicBezTo>
                    <a:cubicBezTo>
                      <a:pt x="8" y="7"/>
                      <a:pt x="4" y="6"/>
                      <a:pt x="1" y="4"/>
                    </a:cubicBezTo>
                    <a:cubicBezTo>
                      <a:pt x="0" y="3"/>
                      <a:pt x="3" y="1"/>
                      <a:pt x="5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37" name="Freeform 2663"/>
              <p:cNvSpPr>
                <a:spLocks noChangeAspect="1"/>
              </p:cNvSpPr>
              <p:nvPr/>
            </p:nvSpPr>
            <p:spPr bwMode="auto">
              <a:xfrm>
                <a:off x="5105174" y="3009288"/>
                <a:ext cx="7830" cy="12461"/>
              </a:xfrm>
              <a:custGeom>
                <a:avLst/>
                <a:gdLst>
                  <a:gd name="T0" fmla="*/ 2 w 6"/>
                  <a:gd name="T1" fmla="*/ 1 h 13"/>
                  <a:gd name="T2" fmla="*/ 7 w 6"/>
                  <a:gd name="T3" fmla="*/ 13 h 13"/>
                  <a:gd name="T4" fmla="*/ 1 w 6"/>
                  <a:gd name="T5" fmla="*/ 9 h 13"/>
                  <a:gd name="T6" fmla="*/ 2 w 6"/>
                  <a:gd name="T7" fmla="*/ 1 h 1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"/>
                  <a:gd name="T13" fmla="*/ 0 h 13"/>
                  <a:gd name="T14" fmla="*/ 6 w 6"/>
                  <a:gd name="T15" fmla="*/ 13 h 1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" h="13">
                    <a:moveTo>
                      <a:pt x="2" y="1"/>
                    </a:moveTo>
                    <a:cubicBezTo>
                      <a:pt x="5" y="3"/>
                      <a:pt x="6" y="8"/>
                      <a:pt x="6" y="11"/>
                    </a:cubicBezTo>
                    <a:cubicBezTo>
                      <a:pt x="5" y="13"/>
                      <a:pt x="2" y="10"/>
                      <a:pt x="1" y="8"/>
                    </a:cubicBezTo>
                    <a:cubicBezTo>
                      <a:pt x="0" y="6"/>
                      <a:pt x="0" y="0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38" name="Freeform 2664"/>
              <p:cNvSpPr>
                <a:spLocks noChangeAspect="1"/>
              </p:cNvSpPr>
              <p:nvPr/>
            </p:nvSpPr>
            <p:spPr bwMode="auto">
              <a:xfrm>
                <a:off x="4578366" y="2874721"/>
                <a:ext cx="12304" cy="10799"/>
              </a:xfrm>
              <a:custGeom>
                <a:avLst/>
                <a:gdLst>
                  <a:gd name="T0" fmla="*/ 10 w 9"/>
                  <a:gd name="T1" fmla="*/ 2 h 11"/>
                  <a:gd name="T2" fmla="*/ 7 w 9"/>
                  <a:gd name="T3" fmla="*/ 12 h 11"/>
                  <a:gd name="T4" fmla="*/ 1 w 9"/>
                  <a:gd name="T5" fmla="*/ 9 h 11"/>
                  <a:gd name="T6" fmla="*/ 6 w 9"/>
                  <a:gd name="T7" fmla="*/ 4 h 11"/>
                  <a:gd name="T8" fmla="*/ 10 w 9"/>
                  <a:gd name="T9" fmla="*/ 2 h 1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11"/>
                  <a:gd name="T17" fmla="*/ 9 w 9"/>
                  <a:gd name="T18" fmla="*/ 11 h 1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11">
                    <a:moveTo>
                      <a:pt x="8" y="2"/>
                    </a:moveTo>
                    <a:cubicBezTo>
                      <a:pt x="9" y="4"/>
                      <a:pt x="9" y="8"/>
                      <a:pt x="6" y="10"/>
                    </a:cubicBezTo>
                    <a:cubicBezTo>
                      <a:pt x="5" y="11"/>
                      <a:pt x="1" y="10"/>
                      <a:pt x="1" y="8"/>
                    </a:cubicBezTo>
                    <a:cubicBezTo>
                      <a:pt x="0" y="6"/>
                      <a:pt x="3" y="4"/>
                      <a:pt x="5" y="3"/>
                    </a:cubicBezTo>
                    <a:cubicBezTo>
                      <a:pt x="6" y="2"/>
                      <a:pt x="8" y="0"/>
                      <a:pt x="8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39" name="Freeform 2665"/>
              <p:cNvSpPr>
                <a:spLocks noChangeAspect="1"/>
              </p:cNvSpPr>
              <p:nvPr/>
            </p:nvSpPr>
            <p:spPr bwMode="auto">
              <a:xfrm>
                <a:off x="4551521" y="2921238"/>
                <a:ext cx="5593" cy="5815"/>
              </a:xfrm>
              <a:custGeom>
                <a:avLst/>
                <a:gdLst>
                  <a:gd name="T0" fmla="*/ 3 w 4"/>
                  <a:gd name="T1" fmla="*/ 0 h 6"/>
                  <a:gd name="T2" fmla="*/ 5 w 4"/>
                  <a:gd name="T3" fmla="*/ 2 h 6"/>
                  <a:gd name="T4" fmla="*/ 3 w 4"/>
                  <a:gd name="T5" fmla="*/ 7 h 6"/>
                  <a:gd name="T6" fmla="*/ 0 w 4"/>
                  <a:gd name="T7" fmla="*/ 6 h 6"/>
                  <a:gd name="T8" fmla="*/ 3 w 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6"/>
                  <a:gd name="T17" fmla="*/ 4 w 4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6">
                    <a:moveTo>
                      <a:pt x="2" y="0"/>
                    </a:moveTo>
                    <a:cubicBezTo>
                      <a:pt x="3" y="0"/>
                      <a:pt x="4" y="1"/>
                      <a:pt x="4" y="2"/>
                    </a:cubicBezTo>
                    <a:cubicBezTo>
                      <a:pt x="4" y="4"/>
                      <a:pt x="3" y="5"/>
                      <a:pt x="2" y="6"/>
                    </a:cubicBezTo>
                    <a:cubicBezTo>
                      <a:pt x="1" y="6"/>
                      <a:pt x="0" y="6"/>
                      <a:pt x="0" y="5"/>
                    </a:cubicBezTo>
                    <a:cubicBezTo>
                      <a:pt x="0" y="3"/>
                      <a:pt x="1" y="1"/>
                      <a:pt x="2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40" name="Oval 2666"/>
              <p:cNvSpPr>
                <a:spLocks noChangeAspect="1" noChangeArrowheads="1"/>
              </p:cNvSpPr>
              <p:nvPr/>
            </p:nvSpPr>
            <p:spPr bwMode="auto">
              <a:xfrm>
                <a:off x="4023593" y="2711909"/>
                <a:ext cx="6712" cy="4153"/>
              </a:xfrm>
              <a:prstGeom prst="ellipse">
                <a:avLst/>
              </a:pr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41" name="Freeform 2667"/>
              <p:cNvSpPr>
                <a:spLocks noChangeAspect="1"/>
              </p:cNvSpPr>
              <p:nvPr/>
            </p:nvSpPr>
            <p:spPr bwMode="auto">
              <a:xfrm>
                <a:off x="4039251" y="2708588"/>
                <a:ext cx="6712" cy="4153"/>
              </a:xfrm>
              <a:custGeom>
                <a:avLst/>
                <a:gdLst>
                  <a:gd name="T0" fmla="*/ 2 w 5"/>
                  <a:gd name="T1" fmla="*/ 0 h 4"/>
                  <a:gd name="T2" fmla="*/ 6 w 5"/>
                  <a:gd name="T3" fmla="*/ 3 h 4"/>
                  <a:gd name="T4" fmla="*/ 2 w 5"/>
                  <a:gd name="T5" fmla="*/ 5 h 4"/>
                  <a:gd name="T6" fmla="*/ 0 w 5"/>
                  <a:gd name="T7" fmla="*/ 3 h 4"/>
                  <a:gd name="T8" fmla="*/ 2 w 5"/>
                  <a:gd name="T9" fmla="*/ 0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4"/>
                  <a:gd name="T17" fmla="*/ 5 w 5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4">
                    <a:moveTo>
                      <a:pt x="2" y="0"/>
                    </a:moveTo>
                    <a:cubicBezTo>
                      <a:pt x="3" y="0"/>
                      <a:pt x="5" y="1"/>
                      <a:pt x="5" y="2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42" name="Oval 2668"/>
              <p:cNvSpPr>
                <a:spLocks noChangeAspect="1" noChangeArrowheads="1"/>
              </p:cNvSpPr>
              <p:nvPr/>
            </p:nvSpPr>
            <p:spPr bwMode="auto">
              <a:xfrm>
                <a:off x="4050437" y="2693635"/>
                <a:ext cx="6712" cy="3322"/>
              </a:xfrm>
              <a:prstGeom prst="ellipse">
                <a:avLst/>
              </a:pr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43" name="Freeform 2669"/>
              <p:cNvSpPr>
                <a:spLocks noChangeAspect="1"/>
              </p:cNvSpPr>
              <p:nvPr/>
            </p:nvSpPr>
            <p:spPr bwMode="auto">
              <a:xfrm>
                <a:off x="4028068" y="2687820"/>
                <a:ext cx="7830" cy="4153"/>
              </a:xfrm>
              <a:custGeom>
                <a:avLst/>
                <a:gdLst>
                  <a:gd name="T0" fmla="*/ 4 w 6"/>
                  <a:gd name="T1" fmla="*/ 0 h 4"/>
                  <a:gd name="T2" fmla="*/ 6 w 6"/>
                  <a:gd name="T3" fmla="*/ 3 h 4"/>
                  <a:gd name="T4" fmla="*/ 2 w 6"/>
                  <a:gd name="T5" fmla="*/ 4 h 4"/>
                  <a:gd name="T6" fmla="*/ 0 w 6"/>
                  <a:gd name="T7" fmla="*/ 1 h 4"/>
                  <a:gd name="T8" fmla="*/ 4 w 6"/>
                  <a:gd name="T9" fmla="*/ 0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4"/>
                  <a:gd name="T17" fmla="*/ 6 w 6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4">
                    <a:moveTo>
                      <a:pt x="3" y="0"/>
                    </a:moveTo>
                    <a:cubicBezTo>
                      <a:pt x="4" y="0"/>
                      <a:pt x="6" y="1"/>
                      <a:pt x="5" y="2"/>
                    </a:cubicBezTo>
                    <a:cubicBezTo>
                      <a:pt x="5" y="3"/>
                      <a:pt x="3" y="4"/>
                      <a:pt x="2" y="3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0"/>
                      <a:pt x="2" y="0"/>
                      <a:pt x="3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44" name="Freeform 2670"/>
              <p:cNvSpPr>
                <a:spLocks noChangeAspect="1"/>
              </p:cNvSpPr>
              <p:nvPr/>
            </p:nvSpPr>
            <p:spPr bwMode="auto">
              <a:xfrm>
                <a:off x="4050437" y="2686158"/>
                <a:ext cx="4474" cy="2493"/>
              </a:xfrm>
              <a:custGeom>
                <a:avLst/>
                <a:gdLst>
                  <a:gd name="T0" fmla="*/ 1 w 3"/>
                  <a:gd name="T1" fmla="*/ 0 h 3"/>
                  <a:gd name="T2" fmla="*/ 4 w 3"/>
                  <a:gd name="T3" fmla="*/ 1 h 3"/>
                  <a:gd name="T4" fmla="*/ 3 w 3"/>
                  <a:gd name="T5" fmla="*/ 3 h 3"/>
                  <a:gd name="T6" fmla="*/ 0 w 3"/>
                  <a:gd name="T7" fmla="*/ 1 h 3"/>
                  <a:gd name="T8" fmla="*/ 1 w 3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1" y="0"/>
                    </a:moveTo>
                    <a:cubicBezTo>
                      <a:pt x="2" y="0"/>
                      <a:pt x="3" y="0"/>
                      <a:pt x="3" y="1"/>
                    </a:cubicBezTo>
                    <a:cubicBezTo>
                      <a:pt x="3" y="2"/>
                      <a:pt x="2" y="2"/>
                      <a:pt x="2" y="3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45" name="Freeform 2671"/>
              <p:cNvSpPr>
                <a:spLocks noChangeAspect="1"/>
              </p:cNvSpPr>
              <p:nvPr/>
            </p:nvSpPr>
            <p:spPr bwMode="auto">
              <a:xfrm>
                <a:off x="4016882" y="2683666"/>
                <a:ext cx="4474" cy="3322"/>
              </a:xfrm>
              <a:custGeom>
                <a:avLst/>
                <a:gdLst>
                  <a:gd name="T0" fmla="*/ 1 w 3"/>
                  <a:gd name="T1" fmla="*/ 0 h 3"/>
                  <a:gd name="T2" fmla="*/ 4 w 3"/>
                  <a:gd name="T3" fmla="*/ 1 h 3"/>
                  <a:gd name="T4" fmla="*/ 3 w 3"/>
                  <a:gd name="T5" fmla="*/ 4 h 3"/>
                  <a:gd name="T6" fmla="*/ 0 w 3"/>
                  <a:gd name="T7" fmla="*/ 3 h 3"/>
                  <a:gd name="T8" fmla="*/ 1 w 3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1" y="0"/>
                    </a:moveTo>
                    <a:cubicBezTo>
                      <a:pt x="2" y="0"/>
                      <a:pt x="3" y="0"/>
                      <a:pt x="3" y="1"/>
                    </a:cubicBezTo>
                    <a:cubicBezTo>
                      <a:pt x="3" y="2"/>
                      <a:pt x="2" y="3"/>
                      <a:pt x="2" y="3"/>
                    </a:cubicBezTo>
                    <a:cubicBezTo>
                      <a:pt x="1" y="3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46" name="Freeform 2672"/>
              <p:cNvSpPr>
                <a:spLocks noChangeAspect="1"/>
              </p:cNvSpPr>
              <p:nvPr/>
            </p:nvSpPr>
            <p:spPr bwMode="auto">
              <a:xfrm>
                <a:off x="4043726" y="2707756"/>
                <a:ext cx="5593" cy="3322"/>
              </a:xfrm>
              <a:custGeom>
                <a:avLst/>
                <a:gdLst>
                  <a:gd name="T0" fmla="*/ 3 w 4"/>
                  <a:gd name="T1" fmla="*/ 0 h 3"/>
                  <a:gd name="T2" fmla="*/ 5 w 4"/>
                  <a:gd name="T3" fmla="*/ 1 h 3"/>
                  <a:gd name="T4" fmla="*/ 3 w 4"/>
                  <a:gd name="T5" fmla="*/ 3 h 3"/>
                  <a:gd name="T6" fmla="*/ 0 w 4"/>
                  <a:gd name="T7" fmla="*/ 1 h 3"/>
                  <a:gd name="T8" fmla="*/ 3 w 4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2" y="0"/>
                    </a:moveTo>
                    <a:cubicBezTo>
                      <a:pt x="2" y="0"/>
                      <a:pt x="4" y="0"/>
                      <a:pt x="4" y="1"/>
                    </a:cubicBezTo>
                    <a:cubicBezTo>
                      <a:pt x="4" y="2"/>
                      <a:pt x="3" y="2"/>
                      <a:pt x="2" y="2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1"/>
                      <a:pt x="1" y="0"/>
                      <a:pt x="2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47" name="Freeform 2673"/>
              <p:cNvSpPr>
                <a:spLocks noChangeAspect="1"/>
              </p:cNvSpPr>
              <p:nvPr/>
            </p:nvSpPr>
            <p:spPr bwMode="auto">
              <a:xfrm>
                <a:off x="4016882" y="2712740"/>
                <a:ext cx="4474" cy="2493"/>
              </a:xfrm>
              <a:custGeom>
                <a:avLst/>
                <a:gdLst>
                  <a:gd name="T0" fmla="*/ 1 w 3"/>
                  <a:gd name="T1" fmla="*/ 0 h 2"/>
                  <a:gd name="T2" fmla="*/ 4 w 3"/>
                  <a:gd name="T3" fmla="*/ 2 h 2"/>
                  <a:gd name="T4" fmla="*/ 3 w 3"/>
                  <a:gd name="T5" fmla="*/ 3 h 2"/>
                  <a:gd name="T6" fmla="*/ 0 w 3"/>
                  <a:gd name="T7" fmla="*/ 3 h 2"/>
                  <a:gd name="T8" fmla="*/ 1 w 3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1" y="0"/>
                    </a:moveTo>
                    <a:cubicBezTo>
                      <a:pt x="2" y="0"/>
                      <a:pt x="3" y="1"/>
                      <a:pt x="3" y="1"/>
                    </a:cubicBezTo>
                    <a:cubicBezTo>
                      <a:pt x="3" y="2"/>
                      <a:pt x="2" y="2"/>
                      <a:pt x="2" y="2"/>
                    </a:cubicBezTo>
                    <a:cubicBezTo>
                      <a:pt x="1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48" name="Freeform 2675"/>
              <p:cNvSpPr>
                <a:spLocks noChangeAspect="1"/>
              </p:cNvSpPr>
              <p:nvPr/>
            </p:nvSpPr>
            <p:spPr bwMode="auto">
              <a:xfrm>
                <a:off x="4193604" y="2506735"/>
                <a:ext cx="14540" cy="14122"/>
              </a:xfrm>
              <a:custGeom>
                <a:avLst/>
                <a:gdLst>
                  <a:gd name="T0" fmla="*/ 13 w 11"/>
                  <a:gd name="T1" fmla="*/ 1 h 14"/>
                  <a:gd name="T2" fmla="*/ 11 w 11"/>
                  <a:gd name="T3" fmla="*/ 11 h 14"/>
                  <a:gd name="T4" fmla="*/ 2 w 11"/>
                  <a:gd name="T5" fmla="*/ 15 h 14"/>
                  <a:gd name="T6" fmla="*/ 8 w 11"/>
                  <a:gd name="T7" fmla="*/ 6 h 14"/>
                  <a:gd name="T8" fmla="*/ 11 w 11"/>
                  <a:gd name="T9" fmla="*/ 0 h 14"/>
                  <a:gd name="T10" fmla="*/ 13 w 11"/>
                  <a:gd name="T11" fmla="*/ 1 h 1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"/>
                  <a:gd name="T19" fmla="*/ 0 h 14"/>
                  <a:gd name="T20" fmla="*/ 11 w 11"/>
                  <a:gd name="T21" fmla="*/ 14 h 1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" h="14">
                    <a:moveTo>
                      <a:pt x="11" y="1"/>
                    </a:moveTo>
                    <a:cubicBezTo>
                      <a:pt x="11" y="4"/>
                      <a:pt x="11" y="7"/>
                      <a:pt x="9" y="9"/>
                    </a:cubicBezTo>
                    <a:cubicBezTo>
                      <a:pt x="8" y="11"/>
                      <a:pt x="3" y="14"/>
                      <a:pt x="2" y="12"/>
                    </a:cubicBezTo>
                    <a:cubicBezTo>
                      <a:pt x="0" y="9"/>
                      <a:pt x="5" y="8"/>
                      <a:pt x="7" y="5"/>
                    </a:cubicBezTo>
                    <a:cubicBezTo>
                      <a:pt x="8" y="4"/>
                      <a:pt x="8" y="2"/>
                      <a:pt x="9" y="0"/>
                    </a:cubicBezTo>
                    <a:cubicBezTo>
                      <a:pt x="10" y="0"/>
                      <a:pt x="11" y="0"/>
                      <a:pt x="1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49" name="Freeform 2676"/>
              <p:cNvSpPr>
                <a:spLocks noChangeAspect="1"/>
              </p:cNvSpPr>
              <p:nvPr/>
            </p:nvSpPr>
            <p:spPr bwMode="auto">
              <a:xfrm>
                <a:off x="4208145" y="2497597"/>
                <a:ext cx="10067" cy="9138"/>
              </a:xfrm>
              <a:custGeom>
                <a:avLst/>
                <a:gdLst>
                  <a:gd name="T0" fmla="*/ 8 w 8"/>
                  <a:gd name="T1" fmla="*/ 2 h 9"/>
                  <a:gd name="T2" fmla="*/ 6 w 8"/>
                  <a:gd name="T3" fmla="*/ 7 h 9"/>
                  <a:gd name="T4" fmla="*/ 1 w 8"/>
                  <a:gd name="T5" fmla="*/ 10 h 9"/>
                  <a:gd name="T6" fmla="*/ 1 w 8"/>
                  <a:gd name="T7" fmla="*/ 5 h 9"/>
                  <a:gd name="T8" fmla="*/ 8 w 8"/>
                  <a:gd name="T9" fmla="*/ 2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9"/>
                  <a:gd name="T17" fmla="*/ 8 w 8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9">
                    <a:moveTo>
                      <a:pt x="7" y="2"/>
                    </a:moveTo>
                    <a:cubicBezTo>
                      <a:pt x="8" y="2"/>
                      <a:pt x="6" y="5"/>
                      <a:pt x="5" y="6"/>
                    </a:cubicBezTo>
                    <a:cubicBezTo>
                      <a:pt x="4" y="7"/>
                      <a:pt x="2" y="9"/>
                      <a:pt x="1" y="8"/>
                    </a:cubicBezTo>
                    <a:cubicBezTo>
                      <a:pt x="0" y="7"/>
                      <a:pt x="0" y="5"/>
                      <a:pt x="1" y="4"/>
                    </a:cubicBezTo>
                    <a:cubicBezTo>
                      <a:pt x="3" y="2"/>
                      <a:pt x="5" y="0"/>
                      <a:pt x="7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50" name="Freeform 2677"/>
              <p:cNvSpPr>
                <a:spLocks noChangeAspect="1"/>
              </p:cNvSpPr>
              <p:nvPr/>
            </p:nvSpPr>
            <p:spPr bwMode="auto">
              <a:xfrm>
                <a:off x="4174590" y="2513379"/>
                <a:ext cx="10067" cy="8307"/>
              </a:xfrm>
              <a:custGeom>
                <a:avLst/>
                <a:gdLst>
                  <a:gd name="T0" fmla="*/ 8 w 8"/>
                  <a:gd name="T1" fmla="*/ 1 h 8"/>
                  <a:gd name="T2" fmla="*/ 8 w 8"/>
                  <a:gd name="T3" fmla="*/ 6 h 8"/>
                  <a:gd name="T4" fmla="*/ 5 w 8"/>
                  <a:gd name="T5" fmla="*/ 10 h 8"/>
                  <a:gd name="T6" fmla="*/ 0 w 8"/>
                  <a:gd name="T7" fmla="*/ 7 h 8"/>
                  <a:gd name="T8" fmla="*/ 2 w 8"/>
                  <a:gd name="T9" fmla="*/ 1 h 8"/>
                  <a:gd name="T10" fmla="*/ 8 w 8"/>
                  <a:gd name="T11" fmla="*/ 1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8"/>
                  <a:gd name="T20" fmla="*/ 8 w 8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8">
                    <a:moveTo>
                      <a:pt x="7" y="1"/>
                    </a:moveTo>
                    <a:cubicBezTo>
                      <a:pt x="8" y="2"/>
                      <a:pt x="8" y="4"/>
                      <a:pt x="7" y="5"/>
                    </a:cubicBezTo>
                    <a:cubicBezTo>
                      <a:pt x="7" y="6"/>
                      <a:pt x="5" y="7"/>
                      <a:pt x="4" y="8"/>
                    </a:cubicBezTo>
                    <a:cubicBezTo>
                      <a:pt x="3" y="8"/>
                      <a:pt x="1" y="7"/>
                      <a:pt x="0" y="6"/>
                    </a:cubicBezTo>
                    <a:cubicBezTo>
                      <a:pt x="0" y="4"/>
                      <a:pt x="1" y="2"/>
                      <a:pt x="2" y="1"/>
                    </a:cubicBezTo>
                    <a:cubicBezTo>
                      <a:pt x="4" y="0"/>
                      <a:pt x="6" y="0"/>
                      <a:pt x="7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51" name="Freeform 2678"/>
              <p:cNvSpPr>
                <a:spLocks noChangeAspect="1"/>
              </p:cNvSpPr>
              <p:nvPr/>
            </p:nvSpPr>
            <p:spPr bwMode="auto">
              <a:xfrm>
                <a:off x="4156694" y="2508396"/>
                <a:ext cx="14540" cy="9968"/>
              </a:xfrm>
              <a:custGeom>
                <a:avLst/>
                <a:gdLst>
                  <a:gd name="T0" fmla="*/ 13 w 11"/>
                  <a:gd name="T1" fmla="*/ 2 h 10"/>
                  <a:gd name="T2" fmla="*/ 5 w 11"/>
                  <a:gd name="T3" fmla="*/ 12 h 10"/>
                  <a:gd name="T4" fmla="*/ 1 w 11"/>
                  <a:gd name="T5" fmla="*/ 8 h 10"/>
                  <a:gd name="T6" fmla="*/ 1 w 11"/>
                  <a:gd name="T7" fmla="*/ 5 h 10"/>
                  <a:gd name="T8" fmla="*/ 8 w 11"/>
                  <a:gd name="T9" fmla="*/ 1 h 10"/>
                  <a:gd name="T10" fmla="*/ 13 w 11"/>
                  <a:gd name="T11" fmla="*/ 2 h 1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"/>
                  <a:gd name="T19" fmla="*/ 0 h 10"/>
                  <a:gd name="T20" fmla="*/ 11 w 11"/>
                  <a:gd name="T21" fmla="*/ 10 h 1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" h="10">
                    <a:moveTo>
                      <a:pt x="11" y="2"/>
                    </a:moveTo>
                    <a:cubicBezTo>
                      <a:pt x="9" y="5"/>
                      <a:pt x="7" y="8"/>
                      <a:pt x="4" y="10"/>
                    </a:cubicBezTo>
                    <a:cubicBezTo>
                      <a:pt x="3" y="10"/>
                      <a:pt x="2" y="8"/>
                      <a:pt x="1" y="7"/>
                    </a:cubicBezTo>
                    <a:cubicBezTo>
                      <a:pt x="1" y="6"/>
                      <a:pt x="0" y="5"/>
                      <a:pt x="1" y="4"/>
                    </a:cubicBezTo>
                    <a:cubicBezTo>
                      <a:pt x="3" y="2"/>
                      <a:pt x="5" y="1"/>
                      <a:pt x="7" y="1"/>
                    </a:cubicBezTo>
                    <a:cubicBezTo>
                      <a:pt x="8" y="0"/>
                      <a:pt x="11" y="1"/>
                      <a:pt x="11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52" name="Freeform 2679"/>
              <p:cNvSpPr>
                <a:spLocks noChangeAspect="1"/>
              </p:cNvSpPr>
              <p:nvPr/>
            </p:nvSpPr>
            <p:spPr bwMode="auto">
              <a:xfrm>
                <a:off x="4148864" y="2514211"/>
                <a:ext cx="7830" cy="4984"/>
              </a:xfrm>
              <a:custGeom>
                <a:avLst/>
                <a:gdLst>
                  <a:gd name="T0" fmla="*/ 1 w 6"/>
                  <a:gd name="T1" fmla="*/ 1 h 5"/>
                  <a:gd name="T2" fmla="*/ 7 w 6"/>
                  <a:gd name="T3" fmla="*/ 4 h 5"/>
                  <a:gd name="T4" fmla="*/ 4 w 6"/>
                  <a:gd name="T5" fmla="*/ 5 h 5"/>
                  <a:gd name="T6" fmla="*/ 1 w 6"/>
                  <a:gd name="T7" fmla="*/ 1 h 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"/>
                  <a:gd name="T13" fmla="*/ 0 h 5"/>
                  <a:gd name="T14" fmla="*/ 6 w 6"/>
                  <a:gd name="T15" fmla="*/ 5 h 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" h="5">
                    <a:moveTo>
                      <a:pt x="1" y="1"/>
                    </a:moveTo>
                    <a:cubicBezTo>
                      <a:pt x="3" y="0"/>
                      <a:pt x="5" y="1"/>
                      <a:pt x="6" y="3"/>
                    </a:cubicBezTo>
                    <a:cubicBezTo>
                      <a:pt x="6" y="4"/>
                      <a:pt x="4" y="5"/>
                      <a:pt x="3" y="4"/>
                    </a:cubicBezTo>
                    <a:cubicBezTo>
                      <a:pt x="2" y="4"/>
                      <a:pt x="0" y="2"/>
                      <a:pt x="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53" name="Freeform 2680"/>
              <p:cNvSpPr>
                <a:spLocks noChangeAspect="1"/>
              </p:cNvSpPr>
              <p:nvPr/>
            </p:nvSpPr>
            <p:spPr bwMode="auto">
              <a:xfrm>
                <a:off x="4137679" y="2520856"/>
                <a:ext cx="6712" cy="5815"/>
              </a:xfrm>
              <a:custGeom>
                <a:avLst/>
                <a:gdLst>
                  <a:gd name="T0" fmla="*/ 5 w 5"/>
                  <a:gd name="T1" fmla="*/ 0 h 6"/>
                  <a:gd name="T2" fmla="*/ 4 w 5"/>
                  <a:gd name="T3" fmla="*/ 6 h 6"/>
                  <a:gd name="T4" fmla="*/ 1 w 5"/>
                  <a:gd name="T5" fmla="*/ 2 h 6"/>
                  <a:gd name="T6" fmla="*/ 5 w 5"/>
                  <a:gd name="T7" fmla="*/ 0 h 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"/>
                  <a:gd name="T13" fmla="*/ 0 h 6"/>
                  <a:gd name="T14" fmla="*/ 5 w 5"/>
                  <a:gd name="T15" fmla="*/ 6 h 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" h="6">
                    <a:moveTo>
                      <a:pt x="4" y="0"/>
                    </a:moveTo>
                    <a:cubicBezTo>
                      <a:pt x="5" y="2"/>
                      <a:pt x="4" y="4"/>
                      <a:pt x="3" y="5"/>
                    </a:cubicBezTo>
                    <a:cubicBezTo>
                      <a:pt x="2" y="6"/>
                      <a:pt x="0" y="3"/>
                      <a:pt x="1" y="2"/>
                    </a:cubicBezTo>
                    <a:cubicBezTo>
                      <a:pt x="1" y="1"/>
                      <a:pt x="3" y="0"/>
                      <a:pt x="4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54" name="Freeform 2681"/>
              <p:cNvSpPr>
                <a:spLocks noChangeAspect="1"/>
              </p:cNvSpPr>
              <p:nvPr/>
            </p:nvSpPr>
            <p:spPr bwMode="auto">
              <a:xfrm>
                <a:off x="4139916" y="2503412"/>
                <a:ext cx="4474" cy="7476"/>
              </a:xfrm>
              <a:custGeom>
                <a:avLst/>
                <a:gdLst>
                  <a:gd name="T0" fmla="*/ 4 w 4"/>
                  <a:gd name="T1" fmla="*/ 3 h 7"/>
                  <a:gd name="T2" fmla="*/ 3 w 4"/>
                  <a:gd name="T3" fmla="*/ 9 h 7"/>
                  <a:gd name="T4" fmla="*/ 1 w 4"/>
                  <a:gd name="T5" fmla="*/ 5 h 7"/>
                  <a:gd name="T6" fmla="*/ 1 w 4"/>
                  <a:gd name="T7" fmla="*/ 1 h 7"/>
                  <a:gd name="T8" fmla="*/ 4 w 4"/>
                  <a:gd name="T9" fmla="*/ 3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7"/>
                  <a:gd name="T17" fmla="*/ 4 w 4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7">
                    <a:moveTo>
                      <a:pt x="4" y="2"/>
                    </a:moveTo>
                    <a:cubicBezTo>
                      <a:pt x="4" y="4"/>
                      <a:pt x="4" y="6"/>
                      <a:pt x="3" y="7"/>
                    </a:cubicBezTo>
                    <a:cubicBezTo>
                      <a:pt x="2" y="7"/>
                      <a:pt x="1" y="5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4" y="1"/>
                      <a:pt x="4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55" name="Freeform 2682"/>
              <p:cNvSpPr>
                <a:spLocks noChangeAspect="1"/>
              </p:cNvSpPr>
              <p:nvPr/>
            </p:nvSpPr>
            <p:spPr bwMode="auto">
              <a:xfrm>
                <a:off x="4154457" y="2442773"/>
                <a:ext cx="10067" cy="4153"/>
              </a:xfrm>
              <a:custGeom>
                <a:avLst/>
                <a:gdLst>
                  <a:gd name="T0" fmla="*/ 3 w 8"/>
                  <a:gd name="T1" fmla="*/ 0 h 4"/>
                  <a:gd name="T2" fmla="*/ 9 w 8"/>
                  <a:gd name="T3" fmla="*/ 3 h 4"/>
                  <a:gd name="T4" fmla="*/ 5 w 8"/>
                  <a:gd name="T5" fmla="*/ 5 h 4"/>
                  <a:gd name="T6" fmla="*/ 0 w 8"/>
                  <a:gd name="T7" fmla="*/ 3 h 4"/>
                  <a:gd name="T8" fmla="*/ 3 w 8"/>
                  <a:gd name="T9" fmla="*/ 0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4"/>
                  <a:gd name="T17" fmla="*/ 8 w 8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4">
                    <a:moveTo>
                      <a:pt x="3" y="0"/>
                    </a:moveTo>
                    <a:cubicBezTo>
                      <a:pt x="5" y="0"/>
                      <a:pt x="7" y="0"/>
                      <a:pt x="8" y="2"/>
                    </a:cubicBezTo>
                    <a:cubicBezTo>
                      <a:pt x="8" y="4"/>
                      <a:pt x="5" y="4"/>
                      <a:pt x="4" y="4"/>
                    </a:cubicBezTo>
                    <a:cubicBezTo>
                      <a:pt x="2" y="4"/>
                      <a:pt x="0" y="4"/>
                      <a:pt x="0" y="2"/>
                    </a:cubicBezTo>
                    <a:cubicBezTo>
                      <a:pt x="0" y="1"/>
                      <a:pt x="2" y="0"/>
                      <a:pt x="3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56" name="Freeform 2683"/>
              <p:cNvSpPr>
                <a:spLocks noChangeAspect="1"/>
              </p:cNvSpPr>
              <p:nvPr/>
            </p:nvSpPr>
            <p:spPr bwMode="auto">
              <a:xfrm>
                <a:off x="5321042" y="2753442"/>
                <a:ext cx="6712" cy="2493"/>
              </a:xfrm>
              <a:custGeom>
                <a:avLst/>
                <a:gdLst>
                  <a:gd name="T0" fmla="*/ 4 w 5"/>
                  <a:gd name="T1" fmla="*/ 2 h 2"/>
                  <a:gd name="T2" fmla="*/ 5 w 5"/>
                  <a:gd name="T3" fmla="*/ 3 h 2"/>
                  <a:gd name="T4" fmla="*/ 2 w 5"/>
                  <a:gd name="T5" fmla="*/ 3 h 2"/>
                  <a:gd name="T6" fmla="*/ 0 w 5"/>
                  <a:gd name="T7" fmla="*/ 2 h 2"/>
                  <a:gd name="T8" fmla="*/ 4 w 5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2"/>
                  <a:gd name="T17" fmla="*/ 5 w 5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2">
                    <a:moveTo>
                      <a:pt x="3" y="1"/>
                    </a:moveTo>
                    <a:cubicBezTo>
                      <a:pt x="3" y="1"/>
                      <a:pt x="5" y="1"/>
                      <a:pt x="4" y="2"/>
                    </a:cubicBezTo>
                    <a:cubicBezTo>
                      <a:pt x="4" y="2"/>
                      <a:pt x="3" y="2"/>
                      <a:pt x="2" y="2"/>
                    </a:cubicBezTo>
                    <a:cubicBezTo>
                      <a:pt x="1" y="2"/>
                      <a:pt x="0" y="2"/>
                      <a:pt x="0" y="1"/>
                    </a:cubicBezTo>
                    <a:cubicBezTo>
                      <a:pt x="0" y="0"/>
                      <a:pt x="2" y="1"/>
                      <a:pt x="3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57" name="Freeform 2684"/>
              <p:cNvSpPr>
                <a:spLocks noChangeAspect="1"/>
              </p:cNvSpPr>
              <p:nvPr/>
            </p:nvSpPr>
            <p:spPr bwMode="auto">
              <a:xfrm>
                <a:off x="6131949" y="2833187"/>
                <a:ext cx="1119" cy="4153"/>
              </a:xfrm>
              <a:custGeom>
                <a:avLst/>
                <a:gdLst>
                  <a:gd name="T0" fmla="*/ 1 w 1"/>
                  <a:gd name="T1" fmla="*/ 4 h 4"/>
                  <a:gd name="T2" fmla="*/ 0 w 1"/>
                  <a:gd name="T3" fmla="*/ 5 h 4"/>
                  <a:gd name="T4" fmla="*/ 0 w 1"/>
                  <a:gd name="T5" fmla="*/ 3 h 4"/>
                  <a:gd name="T6" fmla="*/ 0 w 1"/>
                  <a:gd name="T7" fmla="*/ 0 h 4"/>
                  <a:gd name="T8" fmla="*/ 1 w 1"/>
                  <a:gd name="T9" fmla="*/ 4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4"/>
                  <a:gd name="T17" fmla="*/ 1 w 1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4">
                    <a:moveTo>
                      <a:pt x="1" y="3"/>
                    </a:moveTo>
                    <a:cubicBezTo>
                      <a:pt x="1" y="3"/>
                      <a:pt x="1" y="4"/>
                      <a:pt x="0" y="4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2"/>
                      <a:pt x="0" y="0"/>
                      <a:pt x="0" y="0"/>
                    </a:cubicBezTo>
                    <a:cubicBezTo>
                      <a:pt x="1" y="0"/>
                      <a:pt x="1" y="2"/>
                      <a:pt x="1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58" name="Freeform 2685"/>
              <p:cNvSpPr>
                <a:spLocks noChangeAspect="1"/>
              </p:cNvSpPr>
              <p:nvPr/>
            </p:nvSpPr>
            <p:spPr bwMode="auto">
              <a:xfrm>
                <a:off x="6100632" y="2740153"/>
                <a:ext cx="1119" cy="3322"/>
              </a:xfrm>
              <a:custGeom>
                <a:avLst/>
                <a:gdLst>
                  <a:gd name="T0" fmla="*/ 1 w 1"/>
                  <a:gd name="T1" fmla="*/ 3 h 4"/>
                  <a:gd name="T2" fmla="*/ 1 w 1"/>
                  <a:gd name="T3" fmla="*/ 4 h 4"/>
                  <a:gd name="T4" fmla="*/ 0 w 1"/>
                  <a:gd name="T5" fmla="*/ 2 h 4"/>
                  <a:gd name="T6" fmla="*/ 0 w 1"/>
                  <a:gd name="T7" fmla="*/ 0 h 4"/>
                  <a:gd name="T8" fmla="*/ 1 w 1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4"/>
                  <a:gd name="T17" fmla="*/ 1 w 1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4">
                    <a:moveTo>
                      <a:pt x="1" y="3"/>
                    </a:moveTo>
                    <a:cubicBezTo>
                      <a:pt x="1" y="3"/>
                      <a:pt x="1" y="4"/>
                      <a:pt x="1" y="4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1" y="0"/>
                      <a:pt x="1" y="2"/>
                      <a:pt x="1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59" name="Freeform 2686"/>
              <p:cNvSpPr>
                <a:spLocks noChangeAspect="1"/>
              </p:cNvSpPr>
              <p:nvPr/>
            </p:nvSpPr>
            <p:spPr bwMode="auto">
              <a:xfrm>
                <a:off x="6098395" y="2760088"/>
                <a:ext cx="2237" cy="4984"/>
              </a:xfrm>
              <a:custGeom>
                <a:avLst/>
                <a:gdLst>
                  <a:gd name="T0" fmla="*/ 2 w 2"/>
                  <a:gd name="T1" fmla="*/ 4 h 5"/>
                  <a:gd name="T2" fmla="*/ 1 w 2"/>
                  <a:gd name="T3" fmla="*/ 6 h 5"/>
                  <a:gd name="T4" fmla="*/ 0 w 2"/>
                  <a:gd name="T5" fmla="*/ 4 h 5"/>
                  <a:gd name="T6" fmla="*/ 1 w 2"/>
                  <a:gd name="T7" fmla="*/ 0 h 5"/>
                  <a:gd name="T8" fmla="*/ 2 w 2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5"/>
                  <a:gd name="T17" fmla="*/ 2 w 2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5">
                    <a:moveTo>
                      <a:pt x="2" y="3"/>
                    </a:moveTo>
                    <a:cubicBezTo>
                      <a:pt x="2" y="4"/>
                      <a:pt x="1" y="5"/>
                      <a:pt x="1" y="5"/>
                    </a:cubicBezTo>
                    <a:cubicBezTo>
                      <a:pt x="0" y="5"/>
                      <a:pt x="0" y="3"/>
                      <a:pt x="0" y="3"/>
                    </a:cubicBezTo>
                    <a:cubicBezTo>
                      <a:pt x="0" y="2"/>
                      <a:pt x="1" y="0"/>
                      <a:pt x="1" y="0"/>
                    </a:cubicBezTo>
                    <a:cubicBezTo>
                      <a:pt x="2" y="1"/>
                      <a:pt x="2" y="2"/>
                      <a:pt x="2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60" name="Freeform 2687"/>
              <p:cNvSpPr>
                <a:spLocks noChangeAspect="1"/>
              </p:cNvSpPr>
              <p:nvPr/>
            </p:nvSpPr>
            <p:spPr bwMode="auto">
              <a:xfrm>
                <a:off x="6100632" y="2772548"/>
                <a:ext cx="3356" cy="4984"/>
              </a:xfrm>
              <a:custGeom>
                <a:avLst/>
                <a:gdLst>
                  <a:gd name="T0" fmla="*/ 3 w 2"/>
                  <a:gd name="T1" fmla="*/ 4 h 5"/>
                  <a:gd name="T2" fmla="*/ 3 w 2"/>
                  <a:gd name="T3" fmla="*/ 6 h 5"/>
                  <a:gd name="T4" fmla="*/ 2 w 2"/>
                  <a:gd name="T5" fmla="*/ 4 h 5"/>
                  <a:gd name="T6" fmla="*/ 2 w 2"/>
                  <a:gd name="T7" fmla="*/ 0 h 5"/>
                  <a:gd name="T8" fmla="*/ 3 w 2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5"/>
                  <a:gd name="T17" fmla="*/ 2 w 2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5">
                    <a:moveTo>
                      <a:pt x="2" y="3"/>
                    </a:moveTo>
                    <a:cubicBezTo>
                      <a:pt x="2" y="3"/>
                      <a:pt x="2" y="5"/>
                      <a:pt x="2" y="5"/>
                    </a:cubicBezTo>
                    <a:cubicBezTo>
                      <a:pt x="1" y="4"/>
                      <a:pt x="1" y="3"/>
                      <a:pt x="1" y="3"/>
                    </a:cubicBezTo>
                    <a:cubicBezTo>
                      <a:pt x="1" y="2"/>
                      <a:pt x="0" y="0"/>
                      <a:pt x="1" y="0"/>
                    </a:cubicBezTo>
                    <a:cubicBezTo>
                      <a:pt x="2" y="0"/>
                      <a:pt x="2" y="2"/>
                      <a:pt x="2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61" name="Freeform 2688"/>
              <p:cNvSpPr>
                <a:spLocks noChangeAspect="1"/>
              </p:cNvSpPr>
              <p:nvPr/>
            </p:nvSpPr>
            <p:spPr bwMode="auto">
              <a:xfrm>
                <a:off x="6101750" y="2785008"/>
                <a:ext cx="4474" cy="4984"/>
              </a:xfrm>
              <a:custGeom>
                <a:avLst/>
                <a:gdLst>
                  <a:gd name="T0" fmla="*/ 3 w 3"/>
                  <a:gd name="T1" fmla="*/ 4 h 5"/>
                  <a:gd name="T2" fmla="*/ 0 w 3"/>
                  <a:gd name="T3" fmla="*/ 6 h 5"/>
                  <a:gd name="T4" fmla="*/ 0 w 3"/>
                  <a:gd name="T5" fmla="*/ 2 h 5"/>
                  <a:gd name="T6" fmla="*/ 3 w 3"/>
                  <a:gd name="T7" fmla="*/ 0 h 5"/>
                  <a:gd name="T8" fmla="*/ 3 w 3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5"/>
                  <a:gd name="T17" fmla="*/ 3 w 3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5">
                    <a:moveTo>
                      <a:pt x="2" y="3"/>
                    </a:moveTo>
                    <a:cubicBezTo>
                      <a:pt x="1" y="4"/>
                      <a:pt x="1" y="5"/>
                      <a:pt x="0" y="5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1" y="2"/>
                      <a:pt x="2" y="0"/>
                      <a:pt x="2" y="0"/>
                    </a:cubicBezTo>
                    <a:cubicBezTo>
                      <a:pt x="3" y="1"/>
                      <a:pt x="2" y="2"/>
                      <a:pt x="2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62" name="Freeform 2689"/>
              <p:cNvSpPr>
                <a:spLocks noChangeAspect="1"/>
              </p:cNvSpPr>
              <p:nvPr/>
            </p:nvSpPr>
            <p:spPr bwMode="auto">
              <a:xfrm>
                <a:off x="6101750" y="2746798"/>
                <a:ext cx="3356" cy="4984"/>
              </a:xfrm>
              <a:custGeom>
                <a:avLst/>
                <a:gdLst>
                  <a:gd name="T0" fmla="*/ 3 w 2"/>
                  <a:gd name="T1" fmla="*/ 4 h 5"/>
                  <a:gd name="T2" fmla="*/ 2 w 2"/>
                  <a:gd name="T3" fmla="*/ 6 h 5"/>
                  <a:gd name="T4" fmla="*/ 0 w 2"/>
                  <a:gd name="T5" fmla="*/ 4 h 5"/>
                  <a:gd name="T6" fmla="*/ 2 w 2"/>
                  <a:gd name="T7" fmla="*/ 1 h 5"/>
                  <a:gd name="T8" fmla="*/ 3 w 2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5"/>
                  <a:gd name="T17" fmla="*/ 2 w 2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5">
                    <a:moveTo>
                      <a:pt x="2" y="3"/>
                    </a:moveTo>
                    <a:cubicBezTo>
                      <a:pt x="2" y="4"/>
                      <a:pt x="2" y="5"/>
                      <a:pt x="1" y="5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2"/>
                      <a:pt x="0" y="0"/>
                      <a:pt x="1" y="1"/>
                    </a:cubicBezTo>
                    <a:cubicBezTo>
                      <a:pt x="2" y="1"/>
                      <a:pt x="2" y="2"/>
                      <a:pt x="2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63" name="Freeform 2690"/>
              <p:cNvSpPr>
                <a:spLocks noChangeAspect="1"/>
              </p:cNvSpPr>
              <p:nvPr/>
            </p:nvSpPr>
            <p:spPr bwMode="auto">
              <a:xfrm>
                <a:off x="6006678" y="2733506"/>
                <a:ext cx="5593" cy="9968"/>
              </a:xfrm>
              <a:custGeom>
                <a:avLst/>
                <a:gdLst>
                  <a:gd name="T0" fmla="*/ 4 w 4"/>
                  <a:gd name="T1" fmla="*/ 7 h 10"/>
                  <a:gd name="T2" fmla="*/ 1 w 4"/>
                  <a:gd name="T3" fmla="*/ 11 h 10"/>
                  <a:gd name="T4" fmla="*/ 1 w 4"/>
                  <a:gd name="T5" fmla="*/ 6 h 10"/>
                  <a:gd name="T6" fmla="*/ 4 w 4"/>
                  <a:gd name="T7" fmla="*/ 1 h 10"/>
                  <a:gd name="T8" fmla="*/ 4 w 4"/>
                  <a:gd name="T9" fmla="*/ 7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10"/>
                  <a:gd name="T17" fmla="*/ 4 w 4"/>
                  <a:gd name="T18" fmla="*/ 10 h 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10">
                    <a:moveTo>
                      <a:pt x="3" y="6"/>
                    </a:moveTo>
                    <a:cubicBezTo>
                      <a:pt x="3" y="8"/>
                      <a:pt x="2" y="10"/>
                      <a:pt x="1" y="9"/>
                    </a:cubicBezTo>
                    <a:cubicBezTo>
                      <a:pt x="0" y="8"/>
                      <a:pt x="0" y="6"/>
                      <a:pt x="1" y="5"/>
                    </a:cubicBezTo>
                    <a:cubicBezTo>
                      <a:pt x="1" y="3"/>
                      <a:pt x="2" y="0"/>
                      <a:pt x="3" y="1"/>
                    </a:cubicBezTo>
                    <a:cubicBezTo>
                      <a:pt x="4" y="2"/>
                      <a:pt x="3" y="5"/>
                      <a:pt x="3" y="6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64" name="Freeform 2691"/>
              <p:cNvSpPr>
                <a:spLocks noChangeAspect="1"/>
              </p:cNvSpPr>
              <p:nvPr/>
            </p:nvSpPr>
            <p:spPr bwMode="auto">
              <a:xfrm>
                <a:off x="6005559" y="2743474"/>
                <a:ext cx="5593" cy="11630"/>
              </a:xfrm>
              <a:custGeom>
                <a:avLst/>
                <a:gdLst>
                  <a:gd name="T0" fmla="*/ 4 w 4"/>
                  <a:gd name="T1" fmla="*/ 9 h 11"/>
                  <a:gd name="T2" fmla="*/ 1 w 4"/>
                  <a:gd name="T3" fmla="*/ 13 h 11"/>
                  <a:gd name="T4" fmla="*/ 1 w 4"/>
                  <a:gd name="T5" fmla="*/ 8 h 11"/>
                  <a:gd name="T6" fmla="*/ 4 w 4"/>
                  <a:gd name="T7" fmla="*/ 1 h 11"/>
                  <a:gd name="T8" fmla="*/ 4 w 4"/>
                  <a:gd name="T9" fmla="*/ 9 h 1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11"/>
                  <a:gd name="T17" fmla="*/ 4 w 4"/>
                  <a:gd name="T18" fmla="*/ 11 h 1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11">
                    <a:moveTo>
                      <a:pt x="3" y="7"/>
                    </a:moveTo>
                    <a:cubicBezTo>
                      <a:pt x="3" y="9"/>
                      <a:pt x="2" y="11"/>
                      <a:pt x="1" y="10"/>
                    </a:cubicBezTo>
                    <a:cubicBezTo>
                      <a:pt x="0" y="10"/>
                      <a:pt x="1" y="7"/>
                      <a:pt x="1" y="6"/>
                    </a:cubicBezTo>
                    <a:cubicBezTo>
                      <a:pt x="1" y="4"/>
                      <a:pt x="2" y="0"/>
                      <a:pt x="3" y="1"/>
                    </a:cubicBezTo>
                    <a:cubicBezTo>
                      <a:pt x="4" y="2"/>
                      <a:pt x="4" y="5"/>
                      <a:pt x="3" y="7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65" name="Freeform 2692"/>
              <p:cNvSpPr>
                <a:spLocks noChangeAspect="1"/>
              </p:cNvSpPr>
              <p:nvPr/>
            </p:nvSpPr>
            <p:spPr bwMode="auto">
              <a:xfrm>
                <a:off x="6005559" y="2756766"/>
                <a:ext cx="2237" cy="9968"/>
              </a:xfrm>
              <a:custGeom>
                <a:avLst/>
                <a:gdLst>
                  <a:gd name="T0" fmla="*/ 2 w 2"/>
                  <a:gd name="T1" fmla="*/ 8 h 10"/>
                  <a:gd name="T2" fmla="*/ 1 w 2"/>
                  <a:gd name="T3" fmla="*/ 12 h 10"/>
                  <a:gd name="T4" fmla="*/ 0 w 2"/>
                  <a:gd name="T5" fmla="*/ 6 h 10"/>
                  <a:gd name="T6" fmla="*/ 1 w 2"/>
                  <a:gd name="T7" fmla="*/ 1 h 10"/>
                  <a:gd name="T8" fmla="*/ 2 w 2"/>
                  <a:gd name="T9" fmla="*/ 8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10"/>
                  <a:gd name="T17" fmla="*/ 2 w 2"/>
                  <a:gd name="T18" fmla="*/ 10 h 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10">
                    <a:moveTo>
                      <a:pt x="2" y="7"/>
                    </a:moveTo>
                    <a:cubicBezTo>
                      <a:pt x="2" y="8"/>
                      <a:pt x="2" y="10"/>
                      <a:pt x="1" y="10"/>
                    </a:cubicBezTo>
                    <a:cubicBezTo>
                      <a:pt x="0" y="9"/>
                      <a:pt x="0" y="7"/>
                      <a:pt x="0" y="5"/>
                    </a:cubicBezTo>
                    <a:cubicBezTo>
                      <a:pt x="0" y="3"/>
                      <a:pt x="0" y="0"/>
                      <a:pt x="1" y="1"/>
                    </a:cubicBezTo>
                    <a:cubicBezTo>
                      <a:pt x="2" y="1"/>
                      <a:pt x="2" y="5"/>
                      <a:pt x="2" y="7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66" name="Freeform 2693"/>
              <p:cNvSpPr>
                <a:spLocks noChangeAspect="1"/>
              </p:cNvSpPr>
              <p:nvPr/>
            </p:nvSpPr>
            <p:spPr bwMode="auto">
              <a:xfrm>
                <a:off x="5152152" y="2705264"/>
                <a:ext cx="4474" cy="1661"/>
              </a:xfrm>
              <a:custGeom>
                <a:avLst/>
                <a:gdLst>
                  <a:gd name="T0" fmla="*/ 2 w 4"/>
                  <a:gd name="T1" fmla="*/ 0 h 2"/>
                  <a:gd name="T2" fmla="*/ 3 w 4"/>
                  <a:gd name="T3" fmla="*/ 1 h 2"/>
                  <a:gd name="T4" fmla="*/ 2 w 4"/>
                  <a:gd name="T5" fmla="*/ 2 h 2"/>
                  <a:gd name="T6" fmla="*/ 0 w 4"/>
                  <a:gd name="T7" fmla="*/ 1 h 2"/>
                  <a:gd name="T8" fmla="*/ 2 w 4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2"/>
                  <a:gd name="T17" fmla="*/ 4 w 4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2">
                    <a:moveTo>
                      <a:pt x="2" y="0"/>
                    </a:moveTo>
                    <a:cubicBezTo>
                      <a:pt x="3" y="0"/>
                      <a:pt x="4" y="0"/>
                      <a:pt x="3" y="1"/>
                    </a:cubicBezTo>
                    <a:cubicBezTo>
                      <a:pt x="3" y="2"/>
                      <a:pt x="3" y="2"/>
                      <a:pt x="2" y="2"/>
                    </a:cubicBezTo>
                    <a:cubicBezTo>
                      <a:pt x="1" y="2"/>
                      <a:pt x="0" y="2"/>
                      <a:pt x="0" y="1"/>
                    </a:cubicBezTo>
                    <a:cubicBezTo>
                      <a:pt x="1" y="0"/>
                      <a:pt x="2" y="0"/>
                      <a:pt x="2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67" name="Freeform 2694"/>
              <p:cNvSpPr>
                <a:spLocks noChangeAspect="1"/>
              </p:cNvSpPr>
              <p:nvPr/>
            </p:nvSpPr>
            <p:spPr bwMode="auto">
              <a:xfrm>
                <a:off x="5977597" y="2602262"/>
                <a:ext cx="2237" cy="3322"/>
              </a:xfrm>
              <a:custGeom>
                <a:avLst/>
                <a:gdLst>
                  <a:gd name="T0" fmla="*/ 2 w 2"/>
                  <a:gd name="T1" fmla="*/ 3 h 3"/>
                  <a:gd name="T2" fmla="*/ 1 w 2"/>
                  <a:gd name="T3" fmla="*/ 4 h 3"/>
                  <a:gd name="T4" fmla="*/ 0 w 2"/>
                  <a:gd name="T5" fmla="*/ 3 h 3"/>
                  <a:gd name="T6" fmla="*/ 1 w 2"/>
                  <a:gd name="T7" fmla="*/ 0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2" y="3"/>
                      <a:pt x="1" y="3"/>
                    </a:cubicBezTo>
                    <a:cubicBezTo>
                      <a:pt x="1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68" name="Freeform 2695"/>
              <p:cNvSpPr>
                <a:spLocks noChangeAspect="1"/>
              </p:cNvSpPr>
              <p:nvPr/>
            </p:nvSpPr>
            <p:spPr bwMode="auto">
              <a:xfrm>
                <a:off x="5969768" y="2598939"/>
                <a:ext cx="2237" cy="3322"/>
              </a:xfrm>
              <a:custGeom>
                <a:avLst/>
                <a:gdLst>
                  <a:gd name="T0" fmla="*/ 2 w 2"/>
                  <a:gd name="T1" fmla="*/ 3 h 3"/>
                  <a:gd name="T2" fmla="*/ 1 w 2"/>
                  <a:gd name="T3" fmla="*/ 4 h 3"/>
                  <a:gd name="T4" fmla="*/ 0 w 2"/>
                  <a:gd name="T5" fmla="*/ 3 h 3"/>
                  <a:gd name="T6" fmla="*/ 0 w 2"/>
                  <a:gd name="T7" fmla="*/ 0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2" y="3"/>
                      <a:pt x="1" y="3"/>
                    </a:cubicBezTo>
                    <a:cubicBezTo>
                      <a:pt x="0" y="3"/>
                      <a:pt x="0" y="3"/>
                      <a:pt x="0" y="2"/>
                    </a:cubicBezTo>
                    <a:cubicBezTo>
                      <a:pt x="0" y="2"/>
                      <a:pt x="0" y="0"/>
                      <a:pt x="0" y="0"/>
                    </a:cubicBezTo>
                    <a:cubicBezTo>
                      <a:pt x="1" y="0"/>
                      <a:pt x="2" y="1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69" name="Freeform 2696"/>
              <p:cNvSpPr>
                <a:spLocks noChangeAspect="1"/>
              </p:cNvSpPr>
              <p:nvPr/>
            </p:nvSpPr>
            <p:spPr bwMode="auto">
              <a:xfrm>
                <a:off x="5970887" y="2603923"/>
                <a:ext cx="2237" cy="3322"/>
              </a:xfrm>
              <a:custGeom>
                <a:avLst/>
                <a:gdLst>
                  <a:gd name="T0" fmla="*/ 2 w 2"/>
                  <a:gd name="T1" fmla="*/ 3 h 3"/>
                  <a:gd name="T2" fmla="*/ 1 w 2"/>
                  <a:gd name="T3" fmla="*/ 4 h 3"/>
                  <a:gd name="T4" fmla="*/ 0 w 2"/>
                  <a:gd name="T5" fmla="*/ 3 h 3"/>
                  <a:gd name="T6" fmla="*/ 1 w 2"/>
                  <a:gd name="T7" fmla="*/ 0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2" y="3"/>
                      <a:pt x="1" y="3"/>
                    </a:cubicBezTo>
                    <a:cubicBezTo>
                      <a:pt x="1" y="3"/>
                      <a:pt x="0" y="3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70" name="Freeform 2697"/>
              <p:cNvSpPr>
                <a:spLocks noChangeAspect="1"/>
              </p:cNvSpPr>
              <p:nvPr/>
            </p:nvSpPr>
            <p:spPr bwMode="auto">
              <a:xfrm>
                <a:off x="5963056" y="2598939"/>
                <a:ext cx="4474" cy="8307"/>
              </a:xfrm>
              <a:custGeom>
                <a:avLst/>
                <a:gdLst>
                  <a:gd name="T0" fmla="*/ 3 w 4"/>
                  <a:gd name="T1" fmla="*/ 5 h 8"/>
                  <a:gd name="T2" fmla="*/ 3 w 4"/>
                  <a:gd name="T3" fmla="*/ 10 h 8"/>
                  <a:gd name="T4" fmla="*/ 1 w 4"/>
                  <a:gd name="T5" fmla="*/ 6 h 8"/>
                  <a:gd name="T6" fmla="*/ 1 w 4"/>
                  <a:gd name="T7" fmla="*/ 0 h 8"/>
                  <a:gd name="T8" fmla="*/ 3 w 4"/>
                  <a:gd name="T9" fmla="*/ 5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8"/>
                  <a:gd name="T17" fmla="*/ 4 w 4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8">
                    <a:moveTo>
                      <a:pt x="3" y="4"/>
                    </a:moveTo>
                    <a:cubicBezTo>
                      <a:pt x="4" y="5"/>
                      <a:pt x="4" y="8"/>
                      <a:pt x="3" y="8"/>
                    </a:cubicBezTo>
                    <a:cubicBezTo>
                      <a:pt x="2" y="8"/>
                      <a:pt x="1" y="7"/>
                      <a:pt x="1" y="5"/>
                    </a:cubicBezTo>
                    <a:cubicBezTo>
                      <a:pt x="0" y="4"/>
                      <a:pt x="0" y="1"/>
                      <a:pt x="1" y="0"/>
                    </a:cubicBezTo>
                    <a:cubicBezTo>
                      <a:pt x="2" y="0"/>
                      <a:pt x="3" y="2"/>
                      <a:pt x="3" y="4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71" name="Oval 2698"/>
              <p:cNvSpPr>
                <a:spLocks noChangeAspect="1" noChangeArrowheads="1"/>
              </p:cNvSpPr>
              <p:nvPr/>
            </p:nvSpPr>
            <p:spPr bwMode="auto">
              <a:xfrm>
                <a:off x="5335583" y="2755105"/>
                <a:ext cx="4474" cy="1661"/>
              </a:xfrm>
              <a:prstGeom prst="ellipse">
                <a:avLst/>
              </a:pr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72" name="Oval 2699"/>
              <p:cNvSpPr>
                <a:spLocks noChangeAspect="1" noChangeArrowheads="1"/>
              </p:cNvSpPr>
              <p:nvPr/>
            </p:nvSpPr>
            <p:spPr bwMode="auto">
              <a:xfrm>
                <a:off x="6105106" y="2814912"/>
                <a:ext cx="2237" cy="2493"/>
              </a:xfrm>
              <a:prstGeom prst="ellipse">
                <a:avLst/>
              </a:pr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73" name="Freeform 2700"/>
              <p:cNvSpPr>
                <a:spLocks noChangeAspect="1"/>
              </p:cNvSpPr>
              <p:nvPr/>
            </p:nvSpPr>
            <p:spPr bwMode="auto">
              <a:xfrm>
                <a:off x="6095039" y="2751781"/>
                <a:ext cx="4474" cy="1661"/>
              </a:xfrm>
              <a:custGeom>
                <a:avLst/>
                <a:gdLst>
                  <a:gd name="T0" fmla="*/ 1 w 3"/>
                  <a:gd name="T1" fmla="*/ 2 h 2"/>
                  <a:gd name="T2" fmla="*/ 0 w 3"/>
                  <a:gd name="T3" fmla="*/ 1 h 2"/>
                  <a:gd name="T4" fmla="*/ 1 w 3"/>
                  <a:gd name="T5" fmla="*/ 0 h 2"/>
                  <a:gd name="T6" fmla="*/ 4 w 3"/>
                  <a:gd name="T7" fmla="*/ 1 h 2"/>
                  <a:gd name="T8" fmla="*/ 1 w 3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1" y="2"/>
                    </a:moveTo>
                    <a:cubicBezTo>
                      <a:pt x="1" y="2"/>
                      <a:pt x="0" y="2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3" y="1"/>
                      <a:pt x="2" y="2"/>
                      <a:pt x="1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74" name="Freeform 2701"/>
              <p:cNvSpPr>
                <a:spLocks noChangeAspect="1"/>
              </p:cNvSpPr>
              <p:nvPr/>
            </p:nvSpPr>
            <p:spPr bwMode="auto">
              <a:xfrm>
                <a:off x="6101750" y="2760918"/>
                <a:ext cx="3356" cy="2493"/>
              </a:xfrm>
              <a:custGeom>
                <a:avLst/>
                <a:gdLst>
                  <a:gd name="T0" fmla="*/ 3 w 2"/>
                  <a:gd name="T1" fmla="*/ 2 h 3"/>
                  <a:gd name="T2" fmla="*/ 2 w 2"/>
                  <a:gd name="T3" fmla="*/ 2 h 3"/>
                  <a:gd name="T4" fmla="*/ 0 w 2"/>
                  <a:gd name="T5" fmla="*/ 1 h 3"/>
                  <a:gd name="T6" fmla="*/ 2 w 2"/>
                  <a:gd name="T7" fmla="*/ 0 h 3"/>
                  <a:gd name="T8" fmla="*/ 3 w 2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2" y="3"/>
                      <a:pt x="1" y="2"/>
                    </a:cubicBezTo>
                    <a:cubicBezTo>
                      <a:pt x="1" y="2"/>
                      <a:pt x="0" y="2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2" y="1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75" name="Freeform 2702"/>
              <p:cNvSpPr>
                <a:spLocks noChangeAspect="1"/>
              </p:cNvSpPr>
              <p:nvPr/>
            </p:nvSpPr>
            <p:spPr bwMode="auto">
              <a:xfrm>
                <a:off x="6105106" y="2768395"/>
                <a:ext cx="2237" cy="3322"/>
              </a:xfrm>
              <a:custGeom>
                <a:avLst/>
                <a:gdLst>
                  <a:gd name="T0" fmla="*/ 1 w 2"/>
                  <a:gd name="T1" fmla="*/ 3 h 3"/>
                  <a:gd name="T2" fmla="*/ 1 w 2"/>
                  <a:gd name="T3" fmla="*/ 4 h 3"/>
                  <a:gd name="T4" fmla="*/ 0 w 2"/>
                  <a:gd name="T5" fmla="*/ 3 h 3"/>
                  <a:gd name="T6" fmla="*/ 1 w 2"/>
                  <a:gd name="T7" fmla="*/ 0 h 3"/>
                  <a:gd name="T8" fmla="*/ 1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2"/>
                    </a:moveTo>
                    <a:cubicBezTo>
                      <a:pt x="1" y="2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1" y="1"/>
                      <a:pt x="1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76" name="Freeform 2703"/>
              <p:cNvSpPr>
                <a:spLocks noChangeAspect="1"/>
              </p:cNvSpPr>
              <p:nvPr/>
            </p:nvSpPr>
            <p:spPr bwMode="auto">
              <a:xfrm>
                <a:off x="6098395" y="2755105"/>
                <a:ext cx="2237" cy="1661"/>
              </a:xfrm>
              <a:custGeom>
                <a:avLst/>
                <a:gdLst>
                  <a:gd name="T0" fmla="*/ 2 w 2"/>
                  <a:gd name="T1" fmla="*/ 1 h 2"/>
                  <a:gd name="T2" fmla="*/ 1 w 2"/>
                  <a:gd name="T3" fmla="*/ 2 h 2"/>
                  <a:gd name="T4" fmla="*/ 0 w 2"/>
                  <a:gd name="T5" fmla="*/ 1 h 2"/>
                  <a:gd name="T6" fmla="*/ 1 w 2"/>
                  <a:gd name="T7" fmla="*/ 0 h 2"/>
                  <a:gd name="T8" fmla="*/ 2 w 2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2" y="1"/>
                    </a:moveTo>
                    <a:cubicBezTo>
                      <a:pt x="2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77" name="Freeform 2704"/>
              <p:cNvSpPr>
                <a:spLocks noChangeAspect="1"/>
              </p:cNvSpPr>
              <p:nvPr/>
            </p:nvSpPr>
            <p:spPr bwMode="auto">
              <a:xfrm>
                <a:off x="6100632" y="2782516"/>
                <a:ext cx="3356" cy="2493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3 h 2"/>
                  <a:gd name="T4" fmla="*/ 0 w 2"/>
                  <a:gd name="T5" fmla="*/ 2 h 2"/>
                  <a:gd name="T6" fmla="*/ 2 w 2"/>
                  <a:gd name="T7" fmla="*/ 0 h 2"/>
                  <a:gd name="T8" fmla="*/ 2 w 2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1" y="1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1" y="1"/>
                      <a:pt x="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78" name="Freeform 2705"/>
              <p:cNvSpPr>
                <a:spLocks noChangeAspect="1"/>
              </p:cNvSpPr>
              <p:nvPr/>
            </p:nvSpPr>
            <p:spPr bwMode="auto">
              <a:xfrm>
                <a:off x="6023456" y="2814912"/>
                <a:ext cx="3356" cy="2493"/>
              </a:xfrm>
              <a:custGeom>
                <a:avLst/>
                <a:gdLst>
                  <a:gd name="T0" fmla="*/ 2 w 3"/>
                  <a:gd name="T1" fmla="*/ 2 h 3"/>
                  <a:gd name="T2" fmla="*/ 2 w 3"/>
                  <a:gd name="T3" fmla="*/ 3 h 3"/>
                  <a:gd name="T4" fmla="*/ 1 w 3"/>
                  <a:gd name="T5" fmla="*/ 2 h 3"/>
                  <a:gd name="T6" fmla="*/ 1 w 3"/>
                  <a:gd name="T7" fmla="*/ 0 h 3"/>
                  <a:gd name="T8" fmla="*/ 2 w 3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2"/>
                    </a:moveTo>
                    <a:cubicBezTo>
                      <a:pt x="3" y="2"/>
                      <a:pt x="2" y="3"/>
                      <a:pt x="2" y="3"/>
                    </a:cubicBezTo>
                    <a:cubicBezTo>
                      <a:pt x="1" y="3"/>
                      <a:pt x="1" y="2"/>
                      <a:pt x="1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79" name="Freeform 2706"/>
              <p:cNvSpPr>
                <a:spLocks noChangeAspect="1"/>
              </p:cNvSpPr>
              <p:nvPr/>
            </p:nvSpPr>
            <p:spPr bwMode="auto">
              <a:xfrm>
                <a:off x="6017862" y="2810758"/>
                <a:ext cx="2237" cy="1661"/>
              </a:xfrm>
              <a:custGeom>
                <a:avLst/>
                <a:gdLst>
                  <a:gd name="T0" fmla="*/ 2 w 2"/>
                  <a:gd name="T1" fmla="*/ 1 h 2"/>
                  <a:gd name="T2" fmla="*/ 1 w 2"/>
                  <a:gd name="T3" fmla="*/ 2 h 2"/>
                  <a:gd name="T4" fmla="*/ 0 w 2"/>
                  <a:gd name="T5" fmla="*/ 1 h 2"/>
                  <a:gd name="T6" fmla="*/ 1 w 2"/>
                  <a:gd name="T7" fmla="*/ 0 h 2"/>
                  <a:gd name="T8" fmla="*/ 2 w 2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2" y="1"/>
                    </a:moveTo>
                    <a:cubicBezTo>
                      <a:pt x="2" y="1"/>
                      <a:pt x="2" y="2"/>
                      <a:pt x="1" y="2"/>
                    </a:cubicBezTo>
                    <a:cubicBezTo>
                      <a:pt x="1" y="2"/>
                      <a:pt x="1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80" name="Freeform 2707"/>
              <p:cNvSpPr>
                <a:spLocks noChangeAspect="1"/>
              </p:cNvSpPr>
              <p:nvPr/>
            </p:nvSpPr>
            <p:spPr bwMode="auto">
              <a:xfrm>
                <a:off x="6025693" y="2823220"/>
                <a:ext cx="2237" cy="3322"/>
              </a:xfrm>
              <a:custGeom>
                <a:avLst/>
                <a:gdLst>
                  <a:gd name="T0" fmla="*/ 1 w 2"/>
                  <a:gd name="T1" fmla="*/ 3 h 3"/>
                  <a:gd name="T2" fmla="*/ 0 w 2"/>
                  <a:gd name="T3" fmla="*/ 4 h 3"/>
                  <a:gd name="T4" fmla="*/ 0 w 2"/>
                  <a:gd name="T5" fmla="*/ 1 h 3"/>
                  <a:gd name="T6" fmla="*/ 1 w 2"/>
                  <a:gd name="T7" fmla="*/ 1 h 3"/>
                  <a:gd name="T8" fmla="*/ 1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2"/>
                    </a:moveTo>
                    <a:cubicBezTo>
                      <a:pt x="1" y="2"/>
                      <a:pt x="0" y="3"/>
                      <a:pt x="0" y="3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1" y="0"/>
                      <a:pt x="1" y="1"/>
                    </a:cubicBezTo>
                    <a:cubicBezTo>
                      <a:pt x="2" y="1"/>
                      <a:pt x="1" y="2"/>
                      <a:pt x="1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81" name="Freeform 2708"/>
              <p:cNvSpPr>
                <a:spLocks noChangeAspect="1"/>
              </p:cNvSpPr>
              <p:nvPr/>
            </p:nvSpPr>
            <p:spPr bwMode="auto">
              <a:xfrm>
                <a:off x="6010034" y="2796638"/>
                <a:ext cx="1119" cy="1661"/>
              </a:xfrm>
              <a:custGeom>
                <a:avLst/>
                <a:gdLst>
                  <a:gd name="T0" fmla="*/ 1 w 1"/>
                  <a:gd name="T1" fmla="*/ 1 h 2"/>
                  <a:gd name="T2" fmla="*/ 1 w 1"/>
                  <a:gd name="T3" fmla="*/ 2 h 2"/>
                  <a:gd name="T4" fmla="*/ 0 w 1"/>
                  <a:gd name="T5" fmla="*/ 1 h 2"/>
                  <a:gd name="T6" fmla="*/ 0 w 1"/>
                  <a:gd name="T7" fmla="*/ 0 h 2"/>
                  <a:gd name="T8" fmla="*/ 1 w 1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2"/>
                  <a:gd name="T17" fmla="*/ 1 w 1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2">
                    <a:moveTo>
                      <a:pt x="1" y="1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1" y="0"/>
                      <a:pt x="1" y="1"/>
                      <a:pt x="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82" name="Freeform 2709"/>
              <p:cNvSpPr>
                <a:spLocks noChangeAspect="1"/>
              </p:cNvSpPr>
              <p:nvPr/>
            </p:nvSpPr>
            <p:spPr bwMode="auto">
              <a:xfrm>
                <a:off x="6026811" y="2810758"/>
                <a:ext cx="4474" cy="5815"/>
              </a:xfrm>
              <a:custGeom>
                <a:avLst/>
                <a:gdLst>
                  <a:gd name="T0" fmla="*/ 3 w 3"/>
                  <a:gd name="T1" fmla="*/ 4 h 6"/>
                  <a:gd name="T2" fmla="*/ 3 w 3"/>
                  <a:gd name="T3" fmla="*/ 6 h 6"/>
                  <a:gd name="T4" fmla="*/ 1 w 3"/>
                  <a:gd name="T5" fmla="*/ 5 h 6"/>
                  <a:gd name="T6" fmla="*/ 1 w 3"/>
                  <a:gd name="T7" fmla="*/ 1 h 6"/>
                  <a:gd name="T8" fmla="*/ 3 w 3"/>
                  <a:gd name="T9" fmla="*/ 4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6"/>
                  <a:gd name="T17" fmla="*/ 3 w 3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6">
                    <a:moveTo>
                      <a:pt x="2" y="3"/>
                    </a:moveTo>
                    <a:cubicBezTo>
                      <a:pt x="3" y="4"/>
                      <a:pt x="3" y="5"/>
                      <a:pt x="2" y="5"/>
                    </a:cubicBezTo>
                    <a:cubicBezTo>
                      <a:pt x="2" y="6"/>
                      <a:pt x="1" y="4"/>
                      <a:pt x="1" y="4"/>
                    </a:cubicBezTo>
                    <a:cubicBezTo>
                      <a:pt x="1" y="3"/>
                      <a:pt x="0" y="1"/>
                      <a:pt x="1" y="1"/>
                    </a:cubicBezTo>
                    <a:cubicBezTo>
                      <a:pt x="1" y="0"/>
                      <a:pt x="2" y="2"/>
                      <a:pt x="2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83" name="Freeform 2710"/>
              <p:cNvSpPr>
                <a:spLocks noChangeAspect="1"/>
              </p:cNvSpPr>
              <p:nvPr/>
            </p:nvSpPr>
            <p:spPr bwMode="auto">
              <a:xfrm>
                <a:off x="6005559" y="2773379"/>
                <a:ext cx="2237" cy="4153"/>
              </a:xfrm>
              <a:custGeom>
                <a:avLst/>
                <a:gdLst>
                  <a:gd name="T0" fmla="*/ 2 w 2"/>
                  <a:gd name="T1" fmla="*/ 3 h 4"/>
                  <a:gd name="T2" fmla="*/ 1 w 2"/>
                  <a:gd name="T3" fmla="*/ 5 h 4"/>
                  <a:gd name="T4" fmla="*/ 0 w 2"/>
                  <a:gd name="T5" fmla="*/ 3 h 4"/>
                  <a:gd name="T6" fmla="*/ 1 w 2"/>
                  <a:gd name="T7" fmla="*/ 0 h 4"/>
                  <a:gd name="T8" fmla="*/ 2 w 2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4"/>
                  <a:gd name="T17" fmla="*/ 2 w 2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4">
                    <a:moveTo>
                      <a:pt x="2" y="2"/>
                    </a:moveTo>
                    <a:cubicBezTo>
                      <a:pt x="2" y="3"/>
                      <a:pt x="1" y="4"/>
                      <a:pt x="1" y="4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2"/>
                      <a:pt x="0" y="0"/>
                      <a:pt x="1" y="0"/>
                    </a:cubicBezTo>
                    <a:cubicBezTo>
                      <a:pt x="2" y="1"/>
                      <a:pt x="2" y="2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84" name="Freeform 2711"/>
              <p:cNvSpPr>
                <a:spLocks noChangeAspect="1"/>
              </p:cNvSpPr>
              <p:nvPr/>
            </p:nvSpPr>
            <p:spPr bwMode="auto">
              <a:xfrm>
                <a:off x="6012270" y="2755934"/>
                <a:ext cx="5593" cy="4153"/>
              </a:xfrm>
              <a:custGeom>
                <a:avLst/>
                <a:gdLst>
                  <a:gd name="T0" fmla="*/ 4 w 4"/>
                  <a:gd name="T1" fmla="*/ 3 h 4"/>
                  <a:gd name="T2" fmla="*/ 4 w 4"/>
                  <a:gd name="T3" fmla="*/ 4 h 4"/>
                  <a:gd name="T4" fmla="*/ 1 w 4"/>
                  <a:gd name="T5" fmla="*/ 4 h 4"/>
                  <a:gd name="T6" fmla="*/ 1 w 4"/>
                  <a:gd name="T7" fmla="*/ 1 h 4"/>
                  <a:gd name="T8" fmla="*/ 4 w 4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3" y="2"/>
                    </a:moveTo>
                    <a:cubicBezTo>
                      <a:pt x="3" y="2"/>
                      <a:pt x="4" y="3"/>
                      <a:pt x="3" y="3"/>
                    </a:cubicBezTo>
                    <a:cubicBezTo>
                      <a:pt x="3" y="4"/>
                      <a:pt x="2" y="3"/>
                      <a:pt x="1" y="3"/>
                    </a:cubicBezTo>
                    <a:cubicBezTo>
                      <a:pt x="1" y="3"/>
                      <a:pt x="0" y="2"/>
                      <a:pt x="1" y="1"/>
                    </a:cubicBezTo>
                    <a:cubicBezTo>
                      <a:pt x="1" y="0"/>
                      <a:pt x="2" y="1"/>
                      <a:pt x="3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85" name="Freeform 2712"/>
              <p:cNvSpPr>
                <a:spLocks noChangeAspect="1"/>
              </p:cNvSpPr>
              <p:nvPr/>
            </p:nvSpPr>
            <p:spPr bwMode="auto">
              <a:xfrm>
                <a:off x="5306502" y="2777532"/>
                <a:ext cx="4474" cy="3322"/>
              </a:xfrm>
              <a:custGeom>
                <a:avLst/>
                <a:gdLst>
                  <a:gd name="T0" fmla="*/ 3 w 4"/>
                  <a:gd name="T1" fmla="*/ 0 h 3"/>
                  <a:gd name="T2" fmla="*/ 4 w 4"/>
                  <a:gd name="T3" fmla="*/ 1 h 3"/>
                  <a:gd name="T4" fmla="*/ 2 w 4"/>
                  <a:gd name="T5" fmla="*/ 4 h 3"/>
                  <a:gd name="T6" fmla="*/ 0 w 4"/>
                  <a:gd name="T7" fmla="*/ 1 h 3"/>
                  <a:gd name="T8" fmla="*/ 3 w 4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3" y="0"/>
                    </a:moveTo>
                    <a:cubicBezTo>
                      <a:pt x="3" y="0"/>
                      <a:pt x="4" y="1"/>
                      <a:pt x="4" y="1"/>
                    </a:cubicBezTo>
                    <a:cubicBezTo>
                      <a:pt x="4" y="2"/>
                      <a:pt x="3" y="3"/>
                      <a:pt x="2" y="3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0"/>
                      <a:pt x="2" y="0"/>
                      <a:pt x="3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86" name="Freeform 2713"/>
              <p:cNvSpPr>
                <a:spLocks noChangeAspect="1"/>
              </p:cNvSpPr>
              <p:nvPr/>
            </p:nvSpPr>
            <p:spPr bwMode="auto">
              <a:xfrm>
                <a:off x="5167811" y="3103153"/>
                <a:ext cx="127508" cy="202682"/>
              </a:xfrm>
              <a:custGeom>
                <a:avLst/>
                <a:gdLst>
                  <a:gd name="T0" fmla="*/ 102 w 95"/>
                  <a:gd name="T1" fmla="*/ 16 h 204"/>
                  <a:gd name="T2" fmla="*/ 112 w 95"/>
                  <a:gd name="T3" fmla="*/ 50 h 204"/>
                  <a:gd name="T4" fmla="*/ 110 w 95"/>
                  <a:gd name="T5" fmla="*/ 72 h 204"/>
                  <a:gd name="T6" fmla="*/ 100 w 95"/>
                  <a:gd name="T7" fmla="*/ 67 h 204"/>
                  <a:gd name="T8" fmla="*/ 97 w 95"/>
                  <a:gd name="T9" fmla="*/ 99 h 204"/>
                  <a:gd name="T10" fmla="*/ 91 w 95"/>
                  <a:gd name="T11" fmla="*/ 128 h 204"/>
                  <a:gd name="T12" fmla="*/ 78 w 95"/>
                  <a:gd name="T13" fmla="*/ 163 h 204"/>
                  <a:gd name="T14" fmla="*/ 65 w 95"/>
                  <a:gd name="T15" fmla="*/ 209 h 204"/>
                  <a:gd name="T16" fmla="*/ 50 w 95"/>
                  <a:gd name="T17" fmla="*/ 236 h 204"/>
                  <a:gd name="T18" fmla="*/ 36 w 95"/>
                  <a:gd name="T19" fmla="*/ 243 h 204"/>
                  <a:gd name="T20" fmla="*/ 5 w 95"/>
                  <a:gd name="T21" fmla="*/ 222 h 204"/>
                  <a:gd name="T22" fmla="*/ 7 w 95"/>
                  <a:gd name="T23" fmla="*/ 205 h 204"/>
                  <a:gd name="T24" fmla="*/ 0 w 95"/>
                  <a:gd name="T25" fmla="*/ 179 h 204"/>
                  <a:gd name="T26" fmla="*/ 10 w 95"/>
                  <a:gd name="T27" fmla="*/ 164 h 204"/>
                  <a:gd name="T28" fmla="*/ 18 w 95"/>
                  <a:gd name="T29" fmla="*/ 146 h 204"/>
                  <a:gd name="T30" fmla="*/ 16 w 95"/>
                  <a:gd name="T31" fmla="*/ 126 h 204"/>
                  <a:gd name="T32" fmla="*/ 13 w 95"/>
                  <a:gd name="T33" fmla="*/ 108 h 204"/>
                  <a:gd name="T34" fmla="*/ 13 w 95"/>
                  <a:gd name="T35" fmla="*/ 98 h 204"/>
                  <a:gd name="T36" fmla="*/ 23 w 95"/>
                  <a:gd name="T37" fmla="*/ 74 h 204"/>
                  <a:gd name="T38" fmla="*/ 36 w 95"/>
                  <a:gd name="T39" fmla="*/ 72 h 204"/>
                  <a:gd name="T40" fmla="*/ 48 w 95"/>
                  <a:gd name="T41" fmla="*/ 69 h 204"/>
                  <a:gd name="T42" fmla="*/ 52 w 95"/>
                  <a:gd name="T43" fmla="*/ 63 h 204"/>
                  <a:gd name="T44" fmla="*/ 62 w 95"/>
                  <a:gd name="T45" fmla="*/ 60 h 204"/>
                  <a:gd name="T46" fmla="*/ 67 w 95"/>
                  <a:gd name="T47" fmla="*/ 57 h 204"/>
                  <a:gd name="T48" fmla="*/ 76 w 95"/>
                  <a:gd name="T49" fmla="*/ 53 h 204"/>
                  <a:gd name="T50" fmla="*/ 72 w 95"/>
                  <a:gd name="T51" fmla="*/ 44 h 204"/>
                  <a:gd name="T52" fmla="*/ 77 w 95"/>
                  <a:gd name="T53" fmla="*/ 41 h 204"/>
                  <a:gd name="T54" fmla="*/ 74 w 95"/>
                  <a:gd name="T55" fmla="*/ 28 h 204"/>
                  <a:gd name="T56" fmla="*/ 82 w 95"/>
                  <a:gd name="T57" fmla="*/ 29 h 204"/>
                  <a:gd name="T58" fmla="*/ 89 w 95"/>
                  <a:gd name="T59" fmla="*/ 20 h 204"/>
                  <a:gd name="T60" fmla="*/ 86 w 95"/>
                  <a:gd name="T61" fmla="*/ 10 h 204"/>
                  <a:gd name="T62" fmla="*/ 97 w 95"/>
                  <a:gd name="T63" fmla="*/ 1 h 204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95"/>
                  <a:gd name="T97" fmla="*/ 0 h 204"/>
                  <a:gd name="T98" fmla="*/ 95 w 95"/>
                  <a:gd name="T99" fmla="*/ 204 h 204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95" h="204">
                    <a:moveTo>
                      <a:pt x="81" y="1"/>
                    </a:moveTo>
                    <a:cubicBezTo>
                      <a:pt x="85" y="3"/>
                      <a:pt x="84" y="9"/>
                      <a:pt x="85" y="13"/>
                    </a:cubicBezTo>
                    <a:cubicBezTo>
                      <a:pt x="86" y="17"/>
                      <a:pt x="88" y="22"/>
                      <a:pt x="90" y="26"/>
                    </a:cubicBezTo>
                    <a:cubicBezTo>
                      <a:pt x="91" y="31"/>
                      <a:pt x="92" y="37"/>
                      <a:pt x="93" y="42"/>
                    </a:cubicBezTo>
                    <a:cubicBezTo>
                      <a:pt x="94" y="45"/>
                      <a:pt x="94" y="48"/>
                      <a:pt x="94" y="51"/>
                    </a:cubicBezTo>
                    <a:cubicBezTo>
                      <a:pt x="94" y="54"/>
                      <a:pt x="95" y="61"/>
                      <a:pt x="92" y="60"/>
                    </a:cubicBezTo>
                    <a:cubicBezTo>
                      <a:pt x="87" y="59"/>
                      <a:pt x="87" y="51"/>
                      <a:pt x="83" y="49"/>
                    </a:cubicBezTo>
                    <a:cubicBezTo>
                      <a:pt x="81" y="48"/>
                      <a:pt x="83" y="54"/>
                      <a:pt x="83" y="56"/>
                    </a:cubicBezTo>
                    <a:cubicBezTo>
                      <a:pt x="83" y="61"/>
                      <a:pt x="86" y="65"/>
                      <a:pt x="85" y="70"/>
                    </a:cubicBezTo>
                    <a:cubicBezTo>
                      <a:pt x="85" y="75"/>
                      <a:pt x="82" y="79"/>
                      <a:pt x="81" y="83"/>
                    </a:cubicBezTo>
                    <a:cubicBezTo>
                      <a:pt x="80" y="85"/>
                      <a:pt x="81" y="87"/>
                      <a:pt x="81" y="89"/>
                    </a:cubicBezTo>
                    <a:cubicBezTo>
                      <a:pt x="80" y="95"/>
                      <a:pt x="79" y="101"/>
                      <a:pt x="76" y="107"/>
                    </a:cubicBezTo>
                    <a:cubicBezTo>
                      <a:pt x="74" y="111"/>
                      <a:pt x="69" y="112"/>
                      <a:pt x="67" y="117"/>
                    </a:cubicBezTo>
                    <a:cubicBezTo>
                      <a:pt x="65" y="123"/>
                      <a:pt x="67" y="130"/>
                      <a:pt x="65" y="136"/>
                    </a:cubicBezTo>
                    <a:cubicBezTo>
                      <a:pt x="63" y="145"/>
                      <a:pt x="60" y="153"/>
                      <a:pt x="58" y="161"/>
                    </a:cubicBezTo>
                    <a:cubicBezTo>
                      <a:pt x="56" y="166"/>
                      <a:pt x="55" y="170"/>
                      <a:pt x="54" y="175"/>
                    </a:cubicBezTo>
                    <a:cubicBezTo>
                      <a:pt x="52" y="181"/>
                      <a:pt x="52" y="187"/>
                      <a:pt x="49" y="192"/>
                    </a:cubicBezTo>
                    <a:cubicBezTo>
                      <a:pt x="48" y="195"/>
                      <a:pt x="45" y="196"/>
                      <a:pt x="42" y="197"/>
                    </a:cubicBezTo>
                    <a:cubicBezTo>
                      <a:pt x="39" y="199"/>
                      <a:pt x="35" y="197"/>
                      <a:pt x="32" y="198"/>
                    </a:cubicBezTo>
                    <a:cubicBezTo>
                      <a:pt x="31" y="199"/>
                      <a:pt x="32" y="204"/>
                      <a:pt x="30" y="203"/>
                    </a:cubicBezTo>
                    <a:cubicBezTo>
                      <a:pt x="23" y="203"/>
                      <a:pt x="16" y="200"/>
                      <a:pt x="10" y="197"/>
                    </a:cubicBezTo>
                    <a:cubicBezTo>
                      <a:pt x="7" y="194"/>
                      <a:pt x="5" y="190"/>
                      <a:pt x="4" y="186"/>
                    </a:cubicBezTo>
                    <a:cubicBezTo>
                      <a:pt x="3" y="183"/>
                      <a:pt x="4" y="180"/>
                      <a:pt x="4" y="176"/>
                    </a:cubicBezTo>
                    <a:cubicBezTo>
                      <a:pt x="4" y="174"/>
                      <a:pt x="6" y="173"/>
                      <a:pt x="6" y="171"/>
                    </a:cubicBezTo>
                    <a:cubicBezTo>
                      <a:pt x="5" y="168"/>
                      <a:pt x="2" y="165"/>
                      <a:pt x="1" y="162"/>
                    </a:cubicBezTo>
                    <a:cubicBezTo>
                      <a:pt x="0" y="158"/>
                      <a:pt x="0" y="154"/>
                      <a:pt x="0" y="150"/>
                    </a:cubicBezTo>
                    <a:cubicBezTo>
                      <a:pt x="0" y="147"/>
                      <a:pt x="1" y="144"/>
                      <a:pt x="3" y="141"/>
                    </a:cubicBezTo>
                    <a:cubicBezTo>
                      <a:pt x="4" y="139"/>
                      <a:pt x="7" y="139"/>
                      <a:pt x="8" y="137"/>
                    </a:cubicBezTo>
                    <a:cubicBezTo>
                      <a:pt x="9" y="135"/>
                      <a:pt x="9" y="132"/>
                      <a:pt x="10" y="130"/>
                    </a:cubicBezTo>
                    <a:cubicBezTo>
                      <a:pt x="11" y="127"/>
                      <a:pt x="13" y="124"/>
                      <a:pt x="15" y="122"/>
                    </a:cubicBezTo>
                    <a:cubicBezTo>
                      <a:pt x="16" y="119"/>
                      <a:pt x="17" y="117"/>
                      <a:pt x="17" y="115"/>
                    </a:cubicBezTo>
                    <a:cubicBezTo>
                      <a:pt x="17" y="111"/>
                      <a:pt x="14" y="108"/>
                      <a:pt x="13" y="105"/>
                    </a:cubicBezTo>
                    <a:cubicBezTo>
                      <a:pt x="13" y="103"/>
                      <a:pt x="13" y="101"/>
                      <a:pt x="13" y="99"/>
                    </a:cubicBezTo>
                    <a:cubicBezTo>
                      <a:pt x="13" y="96"/>
                      <a:pt x="11" y="93"/>
                      <a:pt x="11" y="90"/>
                    </a:cubicBezTo>
                    <a:cubicBezTo>
                      <a:pt x="11" y="89"/>
                      <a:pt x="12" y="88"/>
                      <a:pt x="12" y="87"/>
                    </a:cubicBezTo>
                    <a:cubicBezTo>
                      <a:pt x="12" y="85"/>
                      <a:pt x="10" y="84"/>
                      <a:pt x="11" y="82"/>
                    </a:cubicBezTo>
                    <a:cubicBezTo>
                      <a:pt x="12" y="77"/>
                      <a:pt x="16" y="74"/>
                      <a:pt x="18" y="70"/>
                    </a:cubicBezTo>
                    <a:cubicBezTo>
                      <a:pt x="19" y="67"/>
                      <a:pt x="17" y="64"/>
                      <a:pt x="19" y="62"/>
                    </a:cubicBezTo>
                    <a:cubicBezTo>
                      <a:pt x="20" y="61"/>
                      <a:pt x="23" y="62"/>
                      <a:pt x="25" y="62"/>
                    </a:cubicBezTo>
                    <a:cubicBezTo>
                      <a:pt x="27" y="62"/>
                      <a:pt x="28" y="61"/>
                      <a:pt x="30" y="60"/>
                    </a:cubicBezTo>
                    <a:cubicBezTo>
                      <a:pt x="32" y="59"/>
                      <a:pt x="34" y="57"/>
                      <a:pt x="37" y="56"/>
                    </a:cubicBezTo>
                    <a:cubicBezTo>
                      <a:pt x="38" y="56"/>
                      <a:pt x="39" y="57"/>
                      <a:pt x="40" y="58"/>
                    </a:cubicBezTo>
                    <a:cubicBezTo>
                      <a:pt x="42" y="59"/>
                      <a:pt x="45" y="64"/>
                      <a:pt x="47" y="62"/>
                    </a:cubicBezTo>
                    <a:cubicBezTo>
                      <a:pt x="48" y="59"/>
                      <a:pt x="42" y="56"/>
                      <a:pt x="43" y="53"/>
                    </a:cubicBezTo>
                    <a:cubicBezTo>
                      <a:pt x="43" y="51"/>
                      <a:pt x="46" y="51"/>
                      <a:pt x="49" y="50"/>
                    </a:cubicBezTo>
                    <a:cubicBezTo>
                      <a:pt x="50" y="50"/>
                      <a:pt x="51" y="50"/>
                      <a:pt x="52" y="50"/>
                    </a:cubicBezTo>
                    <a:cubicBezTo>
                      <a:pt x="54" y="48"/>
                      <a:pt x="52" y="43"/>
                      <a:pt x="55" y="42"/>
                    </a:cubicBezTo>
                    <a:cubicBezTo>
                      <a:pt x="56" y="42"/>
                      <a:pt x="54" y="49"/>
                      <a:pt x="56" y="48"/>
                    </a:cubicBezTo>
                    <a:cubicBezTo>
                      <a:pt x="58" y="47"/>
                      <a:pt x="58" y="42"/>
                      <a:pt x="60" y="41"/>
                    </a:cubicBezTo>
                    <a:cubicBezTo>
                      <a:pt x="61" y="40"/>
                      <a:pt x="62" y="45"/>
                      <a:pt x="63" y="44"/>
                    </a:cubicBezTo>
                    <a:cubicBezTo>
                      <a:pt x="65" y="43"/>
                      <a:pt x="64" y="40"/>
                      <a:pt x="63" y="39"/>
                    </a:cubicBezTo>
                    <a:cubicBezTo>
                      <a:pt x="63" y="38"/>
                      <a:pt x="61" y="38"/>
                      <a:pt x="60" y="37"/>
                    </a:cubicBezTo>
                    <a:cubicBezTo>
                      <a:pt x="59" y="36"/>
                      <a:pt x="59" y="34"/>
                      <a:pt x="60" y="34"/>
                    </a:cubicBezTo>
                    <a:cubicBezTo>
                      <a:pt x="61" y="33"/>
                      <a:pt x="64" y="35"/>
                      <a:pt x="64" y="34"/>
                    </a:cubicBezTo>
                    <a:cubicBezTo>
                      <a:pt x="65" y="32"/>
                      <a:pt x="62" y="31"/>
                      <a:pt x="62" y="29"/>
                    </a:cubicBezTo>
                    <a:cubicBezTo>
                      <a:pt x="62" y="27"/>
                      <a:pt x="61" y="24"/>
                      <a:pt x="62" y="23"/>
                    </a:cubicBezTo>
                    <a:cubicBezTo>
                      <a:pt x="64" y="23"/>
                      <a:pt x="64" y="27"/>
                      <a:pt x="66" y="27"/>
                    </a:cubicBezTo>
                    <a:cubicBezTo>
                      <a:pt x="67" y="27"/>
                      <a:pt x="67" y="25"/>
                      <a:pt x="68" y="24"/>
                    </a:cubicBezTo>
                    <a:cubicBezTo>
                      <a:pt x="69" y="23"/>
                      <a:pt x="71" y="22"/>
                      <a:pt x="72" y="21"/>
                    </a:cubicBezTo>
                    <a:cubicBezTo>
                      <a:pt x="73" y="20"/>
                      <a:pt x="73" y="18"/>
                      <a:pt x="74" y="17"/>
                    </a:cubicBezTo>
                    <a:cubicBezTo>
                      <a:pt x="74" y="15"/>
                      <a:pt x="74" y="13"/>
                      <a:pt x="74" y="12"/>
                    </a:cubicBezTo>
                    <a:cubicBezTo>
                      <a:pt x="73" y="10"/>
                      <a:pt x="71" y="9"/>
                      <a:pt x="72" y="8"/>
                    </a:cubicBezTo>
                    <a:cubicBezTo>
                      <a:pt x="72" y="6"/>
                      <a:pt x="74" y="8"/>
                      <a:pt x="75" y="8"/>
                    </a:cubicBezTo>
                    <a:cubicBezTo>
                      <a:pt x="77" y="6"/>
                      <a:pt x="79" y="0"/>
                      <a:pt x="8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87" name="Freeform 2714"/>
              <p:cNvSpPr>
                <a:spLocks noChangeAspect="1"/>
              </p:cNvSpPr>
              <p:nvPr/>
            </p:nvSpPr>
            <p:spPr bwMode="auto">
              <a:xfrm>
                <a:off x="5172284" y="3095678"/>
                <a:ext cx="3356" cy="5815"/>
              </a:xfrm>
              <a:custGeom>
                <a:avLst/>
                <a:gdLst>
                  <a:gd name="T0" fmla="*/ 1 w 3"/>
                  <a:gd name="T1" fmla="*/ 0 h 6"/>
                  <a:gd name="T2" fmla="*/ 0 w 3"/>
                  <a:gd name="T3" fmla="*/ 4 h 6"/>
                  <a:gd name="T4" fmla="*/ 1 w 3"/>
                  <a:gd name="T5" fmla="*/ 7 h 6"/>
                  <a:gd name="T6" fmla="*/ 2 w 3"/>
                  <a:gd name="T7" fmla="*/ 4 h 6"/>
                  <a:gd name="T8" fmla="*/ 1 w 3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6"/>
                  <a:gd name="T17" fmla="*/ 3 w 3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6">
                    <a:moveTo>
                      <a:pt x="1" y="0"/>
                    </a:moveTo>
                    <a:cubicBezTo>
                      <a:pt x="0" y="0"/>
                      <a:pt x="0" y="2"/>
                      <a:pt x="0" y="3"/>
                    </a:cubicBezTo>
                    <a:cubicBezTo>
                      <a:pt x="0" y="4"/>
                      <a:pt x="0" y="6"/>
                      <a:pt x="1" y="6"/>
                    </a:cubicBezTo>
                    <a:cubicBezTo>
                      <a:pt x="3" y="6"/>
                      <a:pt x="2" y="4"/>
                      <a:pt x="2" y="3"/>
                    </a:cubicBezTo>
                    <a:cubicBezTo>
                      <a:pt x="2" y="2"/>
                      <a:pt x="2" y="0"/>
                      <a:pt x="1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88" name="Freeform 2715"/>
              <p:cNvSpPr>
                <a:spLocks noChangeAspect="1"/>
              </p:cNvSpPr>
              <p:nvPr/>
            </p:nvSpPr>
            <p:spPr bwMode="auto">
              <a:xfrm>
                <a:off x="5189061" y="3103984"/>
                <a:ext cx="6712" cy="5815"/>
              </a:xfrm>
              <a:custGeom>
                <a:avLst/>
                <a:gdLst>
                  <a:gd name="T0" fmla="*/ 1 w 5"/>
                  <a:gd name="T1" fmla="*/ 1 h 6"/>
                  <a:gd name="T2" fmla="*/ 1 w 5"/>
                  <a:gd name="T3" fmla="*/ 4 h 6"/>
                  <a:gd name="T4" fmla="*/ 4 w 5"/>
                  <a:gd name="T5" fmla="*/ 7 h 6"/>
                  <a:gd name="T6" fmla="*/ 4 w 5"/>
                  <a:gd name="T7" fmla="*/ 2 h 6"/>
                  <a:gd name="T8" fmla="*/ 1 w 5"/>
                  <a:gd name="T9" fmla="*/ 1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6"/>
                  <a:gd name="T17" fmla="*/ 5 w 5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6">
                    <a:moveTo>
                      <a:pt x="1" y="1"/>
                    </a:moveTo>
                    <a:cubicBezTo>
                      <a:pt x="0" y="1"/>
                      <a:pt x="0" y="2"/>
                      <a:pt x="1" y="3"/>
                    </a:cubicBezTo>
                    <a:cubicBezTo>
                      <a:pt x="1" y="4"/>
                      <a:pt x="2" y="6"/>
                      <a:pt x="3" y="6"/>
                    </a:cubicBezTo>
                    <a:cubicBezTo>
                      <a:pt x="5" y="5"/>
                      <a:pt x="4" y="3"/>
                      <a:pt x="3" y="2"/>
                    </a:cubicBezTo>
                    <a:cubicBezTo>
                      <a:pt x="3" y="1"/>
                      <a:pt x="2" y="0"/>
                      <a:pt x="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89" name="Freeform 2716"/>
              <p:cNvSpPr>
                <a:spLocks noChangeAspect="1"/>
              </p:cNvSpPr>
              <p:nvPr/>
            </p:nvSpPr>
            <p:spPr bwMode="auto">
              <a:xfrm>
                <a:off x="5202482" y="3113121"/>
                <a:ext cx="6712" cy="5815"/>
              </a:xfrm>
              <a:custGeom>
                <a:avLst/>
                <a:gdLst>
                  <a:gd name="T0" fmla="*/ 1 w 5"/>
                  <a:gd name="T1" fmla="*/ 0 h 6"/>
                  <a:gd name="T2" fmla="*/ 1 w 5"/>
                  <a:gd name="T3" fmla="*/ 4 h 6"/>
                  <a:gd name="T4" fmla="*/ 4 w 5"/>
                  <a:gd name="T5" fmla="*/ 7 h 6"/>
                  <a:gd name="T6" fmla="*/ 4 w 5"/>
                  <a:gd name="T7" fmla="*/ 2 h 6"/>
                  <a:gd name="T8" fmla="*/ 1 w 5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6"/>
                  <a:gd name="T17" fmla="*/ 5 w 5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6">
                    <a:moveTo>
                      <a:pt x="1" y="0"/>
                    </a:moveTo>
                    <a:cubicBezTo>
                      <a:pt x="0" y="1"/>
                      <a:pt x="0" y="2"/>
                      <a:pt x="1" y="3"/>
                    </a:cubicBezTo>
                    <a:cubicBezTo>
                      <a:pt x="1" y="4"/>
                      <a:pt x="2" y="6"/>
                      <a:pt x="3" y="6"/>
                    </a:cubicBezTo>
                    <a:cubicBezTo>
                      <a:pt x="5" y="5"/>
                      <a:pt x="4" y="3"/>
                      <a:pt x="3" y="2"/>
                    </a:cubicBezTo>
                    <a:cubicBezTo>
                      <a:pt x="3" y="1"/>
                      <a:pt x="2" y="0"/>
                      <a:pt x="1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90" name="Freeform 2717"/>
              <p:cNvSpPr>
                <a:spLocks noChangeAspect="1"/>
              </p:cNvSpPr>
              <p:nvPr/>
            </p:nvSpPr>
            <p:spPr bwMode="auto">
              <a:xfrm>
                <a:off x="5255052" y="3118937"/>
                <a:ext cx="5593" cy="6645"/>
              </a:xfrm>
              <a:custGeom>
                <a:avLst/>
                <a:gdLst>
                  <a:gd name="T0" fmla="*/ 0 w 4"/>
                  <a:gd name="T1" fmla="*/ 1 h 7"/>
                  <a:gd name="T2" fmla="*/ 0 w 4"/>
                  <a:gd name="T3" fmla="*/ 3 h 7"/>
                  <a:gd name="T4" fmla="*/ 4 w 4"/>
                  <a:gd name="T5" fmla="*/ 7 h 7"/>
                  <a:gd name="T6" fmla="*/ 4 w 4"/>
                  <a:gd name="T7" fmla="*/ 2 h 7"/>
                  <a:gd name="T8" fmla="*/ 0 w 4"/>
                  <a:gd name="T9" fmla="*/ 1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7"/>
                  <a:gd name="T17" fmla="*/ 4 w 4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7">
                    <a:moveTo>
                      <a:pt x="0" y="1"/>
                    </a:moveTo>
                    <a:cubicBezTo>
                      <a:pt x="0" y="1"/>
                      <a:pt x="0" y="3"/>
                      <a:pt x="0" y="3"/>
                    </a:cubicBezTo>
                    <a:cubicBezTo>
                      <a:pt x="1" y="5"/>
                      <a:pt x="2" y="7"/>
                      <a:pt x="3" y="6"/>
                    </a:cubicBezTo>
                    <a:cubicBezTo>
                      <a:pt x="4" y="5"/>
                      <a:pt x="3" y="3"/>
                      <a:pt x="3" y="2"/>
                    </a:cubicBezTo>
                    <a:cubicBezTo>
                      <a:pt x="2" y="1"/>
                      <a:pt x="1" y="0"/>
                      <a:pt x="0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91" name="Freeform 2718"/>
              <p:cNvSpPr>
                <a:spLocks noChangeAspect="1"/>
              </p:cNvSpPr>
              <p:nvPr/>
            </p:nvSpPr>
            <p:spPr bwMode="auto">
              <a:xfrm>
                <a:off x="5406048" y="3219447"/>
                <a:ext cx="7830" cy="11630"/>
              </a:xfrm>
              <a:custGeom>
                <a:avLst/>
                <a:gdLst>
                  <a:gd name="T0" fmla="*/ 4 w 6"/>
                  <a:gd name="T1" fmla="*/ 1 h 12"/>
                  <a:gd name="T2" fmla="*/ 7 w 6"/>
                  <a:gd name="T3" fmla="*/ 8 h 12"/>
                  <a:gd name="T4" fmla="*/ 4 w 6"/>
                  <a:gd name="T5" fmla="*/ 13 h 12"/>
                  <a:gd name="T6" fmla="*/ 0 w 6"/>
                  <a:gd name="T7" fmla="*/ 7 h 12"/>
                  <a:gd name="T8" fmla="*/ 4 w 6"/>
                  <a:gd name="T9" fmla="*/ 1 h 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2"/>
                  <a:gd name="T17" fmla="*/ 6 w 6"/>
                  <a:gd name="T18" fmla="*/ 12 h 1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2">
                    <a:moveTo>
                      <a:pt x="3" y="1"/>
                    </a:moveTo>
                    <a:cubicBezTo>
                      <a:pt x="6" y="1"/>
                      <a:pt x="6" y="5"/>
                      <a:pt x="6" y="7"/>
                    </a:cubicBezTo>
                    <a:cubicBezTo>
                      <a:pt x="6" y="9"/>
                      <a:pt x="5" y="12"/>
                      <a:pt x="3" y="11"/>
                    </a:cubicBezTo>
                    <a:cubicBezTo>
                      <a:pt x="1" y="11"/>
                      <a:pt x="0" y="8"/>
                      <a:pt x="0" y="6"/>
                    </a:cubicBezTo>
                    <a:cubicBezTo>
                      <a:pt x="0" y="4"/>
                      <a:pt x="1" y="0"/>
                      <a:pt x="3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92" name="Freeform 2719"/>
              <p:cNvSpPr>
                <a:spLocks noChangeAspect="1"/>
              </p:cNvSpPr>
              <p:nvPr/>
            </p:nvSpPr>
            <p:spPr bwMode="auto">
              <a:xfrm>
                <a:off x="5370256" y="3234399"/>
                <a:ext cx="10067" cy="8307"/>
              </a:xfrm>
              <a:custGeom>
                <a:avLst/>
                <a:gdLst>
                  <a:gd name="T0" fmla="*/ 3 w 7"/>
                  <a:gd name="T1" fmla="*/ 0 h 8"/>
                  <a:gd name="T2" fmla="*/ 9 w 7"/>
                  <a:gd name="T3" fmla="*/ 6 h 8"/>
                  <a:gd name="T4" fmla="*/ 8 w 7"/>
                  <a:gd name="T5" fmla="*/ 10 h 8"/>
                  <a:gd name="T6" fmla="*/ 1 w 7"/>
                  <a:gd name="T7" fmla="*/ 7 h 8"/>
                  <a:gd name="T8" fmla="*/ 3 w 7"/>
                  <a:gd name="T9" fmla="*/ 0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8"/>
                  <a:gd name="T17" fmla="*/ 7 w 7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8">
                    <a:moveTo>
                      <a:pt x="2" y="0"/>
                    </a:moveTo>
                    <a:cubicBezTo>
                      <a:pt x="4" y="0"/>
                      <a:pt x="6" y="3"/>
                      <a:pt x="7" y="5"/>
                    </a:cubicBezTo>
                    <a:cubicBezTo>
                      <a:pt x="7" y="6"/>
                      <a:pt x="7" y="7"/>
                      <a:pt x="6" y="8"/>
                    </a:cubicBezTo>
                    <a:cubicBezTo>
                      <a:pt x="4" y="8"/>
                      <a:pt x="2" y="8"/>
                      <a:pt x="1" y="6"/>
                    </a:cubicBezTo>
                    <a:cubicBezTo>
                      <a:pt x="0" y="4"/>
                      <a:pt x="0" y="1"/>
                      <a:pt x="2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93" name="Freeform 2720"/>
              <p:cNvSpPr>
                <a:spLocks noChangeAspect="1"/>
              </p:cNvSpPr>
              <p:nvPr/>
            </p:nvSpPr>
            <p:spPr bwMode="auto">
              <a:xfrm>
                <a:off x="5374730" y="2991844"/>
                <a:ext cx="7830" cy="5815"/>
              </a:xfrm>
              <a:custGeom>
                <a:avLst/>
                <a:gdLst>
                  <a:gd name="T0" fmla="*/ 1 w 6"/>
                  <a:gd name="T1" fmla="*/ 1 h 6"/>
                  <a:gd name="T2" fmla="*/ 6 w 6"/>
                  <a:gd name="T3" fmla="*/ 4 h 6"/>
                  <a:gd name="T4" fmla="*/ 6 w 6"/>
                  <a:gd name="T5" fmla="*/ 7 h 6"/>
                  <a:gd name="T6" fmla="*/ 1 w 6"/>
                  <a:gd name="T7" fmla="*/ 5 h 6"/>
                  <a:gd name="T8" fmla="*/ 1 w 6"/>
                  <a:gd name="T9" fmla="*/ 1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6"/>
                  <a:gd name="T17" fmla="*/ 6 w 6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6">
                    <a:moveTo>
                      <a:pt x="1" y="1"/>
                    </a:moveTo>
                    <a:cubicBezTo>
                      <a:pt x="3" y="0"/>
                      <a:pt x="4" y="2"/>
                      <a:pt x="5" y="3"/>
                    </a:cubicBezTo>
                    <a:cubicBezTo>
                      <a:pt x="6" y="4"/>
                      <a:pt x="6" y="5"/>
                      <a:pt x="5" y="6"/>
                    </a:cubicBezTo>
                    <a:cubicBezTo>
                      <a:pt x="4" y="6"/>
                      <a:pt x="2" y="5"/>
                      <a:pt x="1" y="4"/>
                    </a:cubicBezTo>
                    <a:cubicBezTo>
                      <a:pt x="1" y="3"/>
                      <a:pt x="0" y="1"/>
                      <a:pt x="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94" name="Freeform 2727"/>
              <p:cNvSpPr>
                <a:spLocks noChangeAspect="1"/>
              </p:cNvSpPr>
              <p:nvPr/>
            </p:nvSpPr>
            <p:spPr bwMode="auto">
              <a:xfrm>
                <a:off x="4772981" y="2348078"/>
                <a:ext cx="5593" cy="2493"/>
              </a:xfrm>
              <a:custGeom>
                <a:avLst/>
                <a:gdLst>
                  <a:gd name="T0" fmla="*/ 3 w 4"/>
                  <a:gd name="T1" fmla="*/ 0 h 3"/>
                  <a:gd name="T2" fmla="*/ 5 w 4"/>
                  <a:gd name="T3" fmla="*/ 2 h 3"/>
                  <a:gd name="T4" fmla="*/ 1 w 4"/>
                  <a:gd name="T5" fmla="*/ 2 h 3"/>
                  <a:gd name="T6" fmla="*/ 3 w 4"/>
                  <a:gd name="T7" fmla="*/ 0 h 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"/>
                  <a:gd name="T13" fmla="*/ 0 h 3"/>
                  <a:gd name="T14" fmla="*/ 4 w 4"/>
                  <a:gd name="T15" fmla="*/ 3 h 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" h="3">
                    <a:moveTo>
                      <a:pt x="2" y="0"/>
                    </a:moveTo>
                    <a:cubicBezTo>
                      <a:pt x="3" y="0"/>
                      <a:pt x="4" y="2"/>
                      <a:pt x="4" y="2"/>
                    </a:cubicBezTo>
                    <a:cubicBezTo>
                      <a:pt x="3" y="3"/>
                      <a:pt x="1" y="3"/>
                      <a:pt x="1" y="2"/>
                    </a:cubicBezTo>
                    <a:cubicBezTo>
                      <a:pt x="0" y="2"/>
                      <a:pt x="1" y="0"/>
                      <a:pt x="2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95" name="Freeform 2728"/>
              <p:cNvSpPr>
                <a:spLocks noChangeAspect="1"/>
              </p:cNvSpPr>
              <p:nvPr/>
            </p:nvSpPr>
            <p:spPr bwMode="auto">
              <a:xfrm>
                <a:off x="4776339" y="2362199"/>
                <a:ext cx="4474" cy="4153"/>
              </a:xfrm>
              <a:custGeom>
                <a:avLst/>
                <a:gdLst>
                  <a:gd name="T0" fmla="*/ 2 w 4"/>
                  <a:gd name="T1" fmla="*/ 0 h 4"/>
                  <a:gd name="T2" fmla="*/ 4 w 4"/>
                  <a:gd name="T3" fmla="*/ 4 h 4"/>
                  <a:gd name="T4" fmla="*/ 0 w 4"/>
                  <a:gd name="T5" fmla="*/ 4 h 4"/>
                  <a:gd name="T6" fmla="*/ 2 w 4"/>
                  <a:gd name="T7" fmla="*/ 0 h 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"/>
                  <a:gd name="T13" fmla="*/ 0 h 4"/>
                  <a:gd name="T14" fmla="*/ 4 w 4"/>
                  <a:gd name="T15" fmla="*/ 4 h 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" h="4">
                    <a:moveTo>
                      <a:pt x="2" y="0"/>
                    </a:moveTo>
                    <a:cubicBezTo>
                      <a:pt x="3" y="0"/>
                      <a:pt x="4" y="2"/>
                      <a:pt x="4" y="3"/>
                    </a:cubicBezTo>
                    <a:cubicBezTo>
                      <a:pt x="3" y="4"/>
                      <a:pt x="1" y="4"/>
                      <a:pt x="0" y="3"/>
                    </a:cubicBezTo>
                    <a:cubicBezTo>
                      <a:pt x="0" y="2"/>
                      <a:pt x="1" y="0"/>
                      <a:pt x="2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96" name="Freeform 2729"/>
              <p:cNvSpPr>
                <a:spLocks noChangeAspect="1"/>
              </p:cNvSpPr>
              <p:nvPr/>
            </p:nvSpPr>
            <p:spPr bwMode="auto">
              <a:xfrm>
                <a:off x="4837854" y="2315681"/>
                <a:ext cx="6712" cy="4153"/>
              </a:xfrm>
              <a:custGeom>
                <a:avLst/>
                <a:gdLst>
                  <a:gd name="T0" fmla="*/ 2 w 5"/>
                  <a:gd name="T1" fmla="*/ 0 h 4"/>
                  <a:gd name="T2" fmla="*/ 5 w 5"/>
                  <a:gd name="T3" fmla="*/ 4 h 4"/>
                  <a:gd name="T4" fmla="*/ 1 w 5"/>
                  <a:gd name="T5" fmla="*/ 4 h 4"/>
                  <a:gd name="T6" fmla="*/ 2 w 5"/>
                  <a:gd name="T7" fmla="*/ 0 h 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"/>
                  <a:gd name="T13" fmla="*/ 0 h 4"/>
                  <a:gd name="T14" fmla="*/ 5 w 5"/>
                  <a:gd name="T15" fmla="*/ 4 h 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" h="4">
                    <a:moveTo>
                      <a:pt x="2" y="0"/>
                    </a:moveTo>
                    <a:cubicBezTo>
                      <a:pt x="3" y="0"/>
                      <a:pt x="5" y="2"/>
                      <a:pt x="4" y="3"/>
                    </a:cubicBezTo>
                    <a:cubicBezTo>
                      <a:pt x="4" y="4"/>
                      <a:pt x="1" y="4"/>
                      <a:pt x="1" y="3"/>
                    </a:cubicBezTo>
                    <a:cubicBezTo>
                      <a:pt x="0" y="2"/>
                      <a:pt x="1" y="0"/>
                      <a:pt x="2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97" name="Freeform 2730"/>
              <p:cNvSpPr>
                <a:spLocks noChangeAspect="1"/>
              </p:cNvSpPr>
              <p:nvPr/>
            </p:nvSpPr>
            <p:spPr bwMode="auto">
              <a:xfrm>
                <a:off x="4853512" y="2319004"/>
                <a:ext cx="5593" cy="3322"/>
              </a:xfrm>
              <a:custGeom>
                <a:avLst/>
                <a:gdLst>
                  <a:gd name="T0" fmla="*/ 3 w 4"/>
                  <a:gd name="T1" fmla="*/ 0 h 3"/>
                  <a:gd name="T2" fmla="*/ 5 w 4"/>
                  <a:gd name="T3" fmla="*/ 3 h 3"/>
                  <a:gd name="T4" fmla="*/ 1 w 4"/>
                  <a:gd name="T5" fmla="*/ 3 h 3"/>
                  <a:gd name="T6" fmla="*/ 3 w 4"/>
                  <a:gd name="T7" fmla="*/ 0 h 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"/>
                  <a:gd name="T13" fmla="*/ 0 h 3"/>
                  <a:gd name="T14" fmla="*/ 4 w 4"/>
                  <a:gd name="T15" fmla="*/ 3 h 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" h="3">
                    <a:moveTo>
                      <a:pt x="2" y="0"/>
                    </a:moveTo>
                    <a:cubicBezTo>
                      <a:pt x="3" y="0"/>
                      <a:pt x="4" y="1"/>
                      <a:pt x="4" y="2"/>
                    </a:cubicBezTo>
                    <a:cubicBezTo>
                      <a:pt x="3" y="3"/>
                      <a:pt x="1" y="3"/>
                      <a:pt x="1" y="2"/>
                    </a:cubicBezTo>
                    <a:cubicBezTo>
                      <a:pt x="0" y="2"/>
                      <a:pt x="1" y="0"/>
                      <a:pt x="2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98" name="Freeform 2731"/>
              <p:cNvSpPr>
                <a:spLocks noChangeAspect="1"/>
              </p:cNvSpPr>
              <p:nvPr/>
            </p:nvSpPr>
            <p:spPr bwMode="auto">
              <a:xfrm>
                <a:off x="4847921" y="2328142"/>
                <a:ext cx="5593" cy="2493"/>
              </a:xfrm>
              <a:custGeom>
                <a:avLst/>
                <a:gdLst>
                  <a:gd name="T0" fmla="*/ 3 w 4"/>
                  <a:gd name="T1" fmla="*/ 0 h 3"/>
                  <a:gd name="T2" fmla="*/ 5 w 4"/>
                  <a:gd name="T3" fmla="*/ 2 h 3"/>
                  <a:gd name="T4" fmla="*/ 1 w 4"/>
                  <a:gd name="T5" fmla="*/ 2 h 3"/>
                  <a:gd name="T6" fmla="*/ 3 w 4"/>
                  <a:gd name="T7" fmla="*/ 0 h 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"/>
                  <a:gd name="T13" fmla="*/ 0 h 3"/>
                  <a:gd name="T14" fmla="*/ 4 w 4"/>
                  <a:gd name="T15" fmla="*/ 3 h 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" h="3">
                    <a:moveTo>
                      <a:pt x="2" y="0"/>
                    </a:moveTo>
                    <a:cubicBezTo>
                      <a:pt x="3" y="0"/>
                      <a:pt x="4" y="1"/>
                      <a:pt x="4" y="2"/>
                    </a:cubicBezTo>
                    <a:cubicBezTo>
                      <a:pt x="3" y="3"/>
                      <a:pt x="1" y="3"/>
                      <a:pt x="1" y="2"/>
                    </a:cubicBezTo>
                    <a:cubicBezTo>
                      <a:pt x="0" y="2"/>
                      <a:pt x="1" y="0"/>
                      <a:pt x="2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499" name="Freeform 2732"/>
              <p:cNvSpPr>
                <a:spLocks noChangeAspect="1"/>
              </p:cNvSpPr>
              <p:nvPr/>
            </p:nvSpPr>
            <p:spPr bwMode="auto">
              <a:xfrm>
                <a:off x="4838974" y="2344755"/>
                <a:ext cx="5593" cy="3322"/>
              </a:xfrm>
              <a:custGeom>
                <a:avLst/>
                <a:gdLst>
                  <a:gd name="T0" fmla="*/ 1 w 4"/>
                  <a:gd name="T1" fmla="*/ 0 h 3"/>
                  <a:gd name="T2" fmla="*/ 4 w 4"/>
                  <a:gd name="T3" fmla="*/ 4 h 3"/>
                  <a:gd name="T4" fmla="*/ 0 w 4"/>
                  <a:gd name="T5" fmla="*/ 4 h 3"/>
                  <a:gd name="T6" fmla="*/ 1 w 4"/>
                  <a:gd name="T7" fmla="*/ 0 h 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"/>
                  <a:gd name="T13" fmla="*/ 0 h 3"/>
                  <a:gd name="T14" fmla="*/ 4 w 4"/>
                  <a:gd name="T15" fmla="*/ 3 h 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" h="3">
                    <a:moveTo>
                      <a:pt x="1" y="0"/>
                    </a:moveTo>
                    <a:cubicBezTo>
                      <a:pt x="2" y="0"/>
                      <a:pt x="4" y="2"/>
                      <a:pt x="3" y="3"/>
                    </a:cubicBezTo>
                    <a:cubicBezTo>
                      <a:pt x="3" y="3"/>
                      <a:pt x="1" y="3"/>
                      <a:pt x="0" y="3"/>
                    </a:cubicBezTo>
                    <a:cubicBezTo>
                      <a:pt x="0" y="2"/>
                      <a:pt x="1" y="0"/>
                      <a:pt x="1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00" name="Freeform 2733"/>
              <p:cNvSpPr>
                <a:spLocks noChangeAspect="1"/>
              </p:cNvSpPr>
              <p:nvPr/>
            </p:nvSpPr>
            <p:spPr bwMode="auto">
              <a:xfrm>
                <a:off x="4843447" y="2361369"/>
                <a:ext cx="6712" cy="3322"/>
              </a:xfrm>
              <a:custGeom>
                <a:avLst/>
                <a:gdLst>
                  <a:gd name="T0" fmla="*/ 4 w 5"/>
                  <a:gd name="T1" fmla="*/ 1 h 4"/>
                  <a:gd name="T2" fmla="*/ 5 w 5"/>
                  <a:gd name="T3" fmla="*/ 4 h 4"/>
                  <a:gd name="T4" fmla="*/ 0 w 5"/>
                  <a:gd name="T5" fmla="*/ 1 h 4"/>
                  <a:gd name="T6" fmla="*/ 4 w 5"/>
                  <a:gd name="T7" fmla="*/ 1 h 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"/>
                  <a:gd name="T13" fmla="*/ 0 h 4"/>
                  <a:gd name="T14" fmla="*/ 5 w 5"/>
                  <a:gd name="T15" fmla="*/ 4 h 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" h="4">
                    <a:moveTo>
                      <a:pt x="3" y="1"/>
                    </a:moveTo>
                    <a:cubicBezTo>
                      <a:pt x="4" y="2"/>
                      <a:pt x="5" y="3"/>
                      <a:pt x="4" y="4"/>
                    </a:cubicBezTo>
                    <a:cubicBezTo>
                      <a:pt x="4" y="4"/>
                      <a:pt x="1" y="2"/>
                      <a:pt x="0" y="1"/>
                    </a:cubicBezTo>
                    <a:cubicBezTo>
                      <a:pt x="0" y="0"/>
                      <a:pt x="1" y="0"/>
                      <a:pt x="3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01" name="Freeform 2734"/>
              <p:cNvSpPr>
                <a:spLocks noChangeAspect="1"/>
              </p:cNvSpPr>
              <p:nvPr/>
            </p:nvSpPr>
            <p:spPr bwMode="auto">
              <a:xfrm>
                <a:off x="4874765" y="2363860"/>
                <a:ext cx="6712" cy="3322"/>
              </a:xfrm>
              <a:custGeom>
                <a:avLst/>
                <a:gdLst>
                  <a:gd name="T0" fmla="*/ 4 w 5"/>
                  <a:gd name="T1" fmla="*/ 1 h 3"/>
                  <a:gd name="T2" fmla="*/ 5 w 5"/>
                  <a:gd name="T3" fmla="*/ 4 h 3"/>
                  <a:gd name="T4" fmla="*/ 0 w 5"/>
                  <a:gd name="T5" fmla="*/ 1 h 3"/>
                  <a:gd name="T6" fmla="*/ 4 w 5"/>
                  <a:gd name="T7" fmla="*/ 1 h 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"/>
                  <a:gd name="T13" fmla="*/ 0 h 3"/>
                  <a:gd name="T14" fmla="*/ 5 w 5"/>
                  <a:gd name="T15" fmla="*/ 3 h 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" h="3">
                    <a:moveTo>
                      <a:pt x="3" y="1"/>
                    </a:moveTo>
                    <a:cubicBezTo>
                      <a:pt x="4" y="1"/>
                      <a:pt x="5" y="3"/>
                      <a:pt x="4" y="3"/>
                    </a:cubicBezTo>
                    <a:cubicBezTo>
                      <a:pt x="4" y="3"/>
                      <a:pt x="1" y="2"/>
                      <a:pt x="0" y="1"/>
                    </a:cubicBezTo>
                    <a:cubicBezTo>
                      <a:pt x="0" y="0"/>
                      <a:pt x="1" y="0"/>
                      <a:pt x="3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02" name="Freeform 2735"/>
              <p:cNvSpPr>
                <a:spLocks noChangeAspect="1"/>
              </p:cNvSpPr>
              <p:nvPr/>
            </p:nvSpPr>
            <p:spPr bwMode="auto">
              <a:xfrm>
                <a:off x="4838974" y="2379643"/>
                <a:ext cx="4474" cy="4153"/>
              </a:xfrm>
              <a:custGeom>
                <a:avLst/>
                <a:gdLst>
                  <a:gd name="T0" fmla="*/ 1 w 3"/>
                  <a:gd name="T1" fmla="*/ 3 h 4"/>
                  <a:gd name="T2" fmla="*/ 4 w 3"/>
                  <a:gd name="T3" fmla="*/ 1 h 4"/>
                  <a:gd name="T4" fmla="*/ 1 w 3"/>
                  <a:gd name="T5" fmla="*/ 5 h 4"/>
                  <a:gd name="T6" fmla="*/ 1 w 3"/>
                  <a:gd name="T7" fmla="*/ 3 h 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"/>
                  <a:gd name="T13" fmla="*/ 0 h 4"/>
                  <a:gd name="T14" fmla="*/ 3 w 3"/>
                  <a:gd name="T15" fmla="*/ 4 h 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" h="4">
                    <a:moveTo>
                      <a:pt x="1" y="2"/>
                    </a:moveTo>
                    <a:cubicBezTo>
                      <a:pt x="2" y="1"/>
                      <a:pt x="3" y="0"/>
                      <a:pt x="3" y="1"/>
                    </a:cubicBezTo>
                    <a:cubicBezTo>
                      <a:pt x="3" y="2"/>
                      <a:pt x="2" y="3"/>
                      <a:pt x="1" y="4"/>
                    </a:cubicBezTo>
                    <a:cubicBezTo>
                      <a:pt x="0" y="4"/>
                      <a:pt x="0" y="3"/>
                      <a:pt x="1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03" name="Freeform 2736"/>
              <p:cNvSpPr>
                <a:spLocks noChangeAspect="1"/>
              </p:cNvSpPr>
              <p:nvPr/>
            </p:nvSpPr>
            <p:spPr bwMode="auto">
              <a:xfrm>
                <a:off x="4864698" y="2366352"/>
                <a:ext cx="5593" cy="2493"/>
              </a:xfrm>
              <a:custGeom>
                <a:avLst/>
                <a:gdLst>
                  <a:gd name="T0" fmla="*/ 1 w 4"/>
                  <a:gd name="T1" fmla="*/ 1 h 3"/>
                  <a:gd name="T2" fmla="*/ 5 w 4"/>
                  <a:gd name="T3" fmla="*/ 1 h 3"/>
                  <a:gd name="T4" fmla="*/ 1 w 4"/>
                  <a:gd name="T5" fmla="*/ 3 h 3"/>
                  <a:gd name="T6" fmla="*/ 1 w 4"/>
                  <a:gd name="T7" fmla="*/ 1 h 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"/>
                  <a:gd name="T13" fmla="*/ 0 h 3"/>
                  <a:gd name="T14" fmla="*/ 4 w 4"/>
                  <a:gd name="T15" fmla="*/ 3 h 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" h="3">
                    <a:moveTo>
                      <a:pt x="1" y="1"/>
                    </a:moveTo>
                    <a:cubicBezTo>
                      <a:pt x="2" y="1"/>
                      <a:pt x="4" y="0"/>
                      <a:pt x="4" y="1"/>
                    </a:cubicBezTo>
                    <a:cubicBezTo>
                      <a:pt x="4" y="1"/>
                      <a:pt x="2" y="3"/>
                      <a:pt x="1" y="3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04" name="Freeform 2737"/>
              <p:cNvSpPr>
                <a:spLocks noChangeAspect="1"/>
              </p:cNvSpPr>
              <p:nvPr/>
            </p:nvSpPr>
            <p:spPr bwMode="auto">
              <a:xfrm>
                <a:off x="4863580" y="2377982"/>
                <a:ext cx="3356" cy="3322"/>
              </a:xfrm>
              <a:custGeom>
                <a:avLst/>
                <a:gdLst>
                  <a:gd name="T0" fmla="*/ 1 w 3"/>
                  <a:gd name="T1" fmla="*/ 1 h 3"/>
                  <a:gd name="T2" fmla="*/ 3 w 3"/>
                  <a:gd name="T3" fmla="*/ 0 h 3"/>
                  <a:gd name="T4" fmla="*/ 1 w 3"/>
                  <a:gd name="T5" fmla="*/ 4 h 3"/>
                  <a:gd name="T6" fmla="*/ 1 w 3"/>
                  <a:gd name="T7" fmla="*/ 1 h 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"/>
                  <a:gd name="T13" fmla="*/ 0 h 3"/>
                  <a:gd name="T14" fmla="*/ 3 w 3"/>
                  <a:gd name="T15" fmla="*/ 3 h 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" h="3">
                    <a:moveTo>
                      <a:pt x="1" y="1"/>
                    </a:moveTo>
                    <a:cubicBezTo>
                      <a:pt x="2" y="1"/>
                      <a:pt x="3" y="0"/>
                      <a:pt x="3" y="0"/>
                    </a:cubicBezTo>
                    <a:cubicBezTo>
                      <a:pt x="3" y="1"/>
                      <a:pt x="1" y="3"/>
                      <a:pt x="1" y="3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05" name="Freeform 2738"/>
              <p:cNvSpPr>
                <a:spLocks noChangeAspect="1"/>
              </p:cNvSpPr>
              <p:nvPr/>
            </p:nvSpPr>
            <p:spPr bwMode="auto">
              <a:xfrm>
                <a:off x="4827789" y="2338110"/>
                <a:ext cx="5593" cy="4153"/>
              </a:xfrm>
              <a:custGeom>
                <a:avLst/>
                <a:gdLst>
                  <a:gd name="T0" fmla="*/ 1 w 4"/>
                  <a:gd name="T1" fmla="*/ 3 h 4"/>
                  <a:gd name="T2" fmla="*/ 4 w 4"/>
                  <a:gd name="T3" fmla="*/ 1 h 4"/>
                  <a:gd name="T4" fmla="*/ 1 w 4"/>
                  <a:gd name="T5" fmla="*/ 5 h 4"/>
                  <a:gd name="T6" fmla="*/ 1 w 4"/>
                  <a:gd name="T7" fmla="*/ 3 h 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"/>
                  <a:gd name="T13" fmla="*/ 0 h 4"/>
                  <a:gd name="T14" fmla="*/ 4 w 4"/>
                  <a:gd name="T15" fmla="*/ 4 h 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" h="4">
                    <a:moveTo>
                      <a:pt x="1" y="2"/>
                    </a:moveTo>
                    <a:cubicBezTo>
                      <a:pt x="2" y="1"/>
                      <a:pt x="4" y="0"/>
                      <a:pt x="3" y="1"/>
                    </a:cubicBezTo>
                    <a:cubicBezTo>
                      <a:pt x="3" y="2"/>
                      <a:pt x="2" y="3"/>
                      <a:pt x="1" y="4"/>
                    </a:cubicBezTo>
                    <a:cubicBezTo>
                      <a:pt x="0" y="4"/>
                      <a:pt x="0" y="3"/>
                      <a:pt x="1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06" name="Freeform 2739"/>
              <p:cNvSpPr>
                <a:spLocks noChangeAspect="1"/>
              </p:cNvSpPr>
              <p:nvPr/>
            </p:nvSpPr>
            <p:spPr bwMode="auto">
              <a:xfrm>
                <a:off x="4823314" y="2340602"/>
                <a:ext cx="3356" cy="3322"/>
              </a:xfrm>
              <a:custGeom>
                <a:avLst/>
                <a:gdLst>
                  <a:gd name="T0" fmla="*/ 2 w 3"/>
                  <a:gd name="T1" fmla="*/ 1 h 3"/>
                  <a:gd name="T2" fmla="*/ 3 w 3"/>
                  <a:gd name="T3" fmla="*/ 4 h 3"/>
                  <a:gd name="T4" fmla="*/ 0 w 3"/>
                  <a:gd name="T5" fmla="*/ 1 h 3"/>
                  <a:gd name="T6" fmla="*/ 2 w 3"/>
                  <a:gd name="T7" fmla="*/ 1 h 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"/>
                  <a:gd name="T13" fmla="*/ 0 h 3"/>
                  <a:gd name="T14" fmla="*/ 3 w 3"/>
                  <a:gd name="T15" fmla="*/ 3 h 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" h="3">
                    <a:moveTo>
                      <a:pt x="2" y="1"/>
                    </a:moveTo>
                    <a:cubicBezTo>
                      <a:pt x="3" y="1"/>
                      <a:pt x="3" y="3"/>
                      <a:pt x="3" y="3"/>
                    </a:cubicBezTo>
                    <a:cubicBezTo>
                      <a:pt x="2" y="3"/>
                      <a:pt x="0" y="1"/>
                      <a:pt x="0" y="1"/>
                    </a:cubicBezTo>
                    <a:cubicBezTo>
                      <a:pt x="0" y="0"/>
                      <a:pt x="1" y="0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07" name="Freeform 2740"/>
              <p:cNvSpPr>
                <a:spLocks noChangeAspect="1"/>
              </p:cNvSpPr>
              <p:nvPr/>
            </p:nvSpPr>
            <p:spPr bwMode="auto">
              <a:xfrm>
                <a:off x="4383747" y="2203542"/>
                <a:ext cx="4474" cy="2493"/>
              </a:xfrm>
              <a:custGeom>
                <a:avLst/>
                <a:gdLst>
                  <a:gd name="T0" fmla="*/ 3 w 3"/>
                  <a:gd name="T1" fmla="*/ 2 h 3"/>
                  <a:gd name="T2" fmla="*/ 3 w 3"/>
                  <a:gd name="T3" fmla="*/ 3 h 3"/>
                  <a:gd name="T4" fmla="*/ 0 w 3"/>
                  <a:gd name="T5" fmla="*/ 2 h 3"/>
                  <a:gd name="T6" fmla="*/ 1 w 3"/>
                  <a:gd name="T7" fmla="*/ 0 h 3"/>
                  <a:gd name="T8" fmla="*/ 3 w 3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2"/>
                    </a:moveTo>
                    <a:cubicBezTo>
                      <a:pt x="2" y="2"/>
                      <a:pt x="3" y="3"/>
                      <a:pt x="2" y="3"/>
                    </a:cubicBezTo>
                    <a:cubicBezTo>
                      <a:pt x="1" y="3"/>
                      <a:pt x="1" y="3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2" y="1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08" name="Freeform 2741"/>
              <p:cNvSpPr>
                <a:spLocks noChangeAspect="1"/>
              </p:cNvSpPr>
              <p:nvPr/>
            </p:nvSpPr>
            <p:spPr bwMode="auto">
              <a:xfrm>
                <a:off x="4398288" y="2209356"/>
                <a:ext cx="4474" cy="3322"/>
              </a:xfrm>
              <a:custGeom>
                <a:avLst/>
                <a:gdLst>
                  <a:gd name="T0" fmla="*/ 3 w 3"/>
                  <a:gd name="T1" fmla="*/ 1 h 3"/>
                  <a:gd name="T2" fmla="*/ 4 w 3"/>
                  <a:gd name="T3" fmla="*/ 3 h 3"/>
                  <a:gd name="T4" fmla="*/ 1 w 3"/>
                  <a:gd name="T5" fmla="*/ 3 h 3"/>
                  <a:gd name="T6" fmla="*/ 1 w 3"/>
                  <a:gd name="T7" fmla="*/ 1 h 3"/>
                  <a:gd name="T8" fmla="*/ 3 w 3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1"/>
                    </a:moveTo>
                    <a:cubicBezTo>
                      <a:pt x="2" y="2"/>
                      <a:pt x="3" y="2"/>
                      <a:pt x="3" y="2"/>
                    </a:cubicBezTo>
                    <a:cubicBezTo>
                      <a:pt x="2" y="3"/>
                      <a:pt x="1" y="2"/>
                      <a:pt x="1" y="2"/>
                    </a:cubicBezTo>
                    <a:cubicBezTo>
                      <a:pt x="1" y="2"/>
                      <a:pt x="0" y="1"/>
                      <a:pt x="1" y="1"/>
                    </a:cubicBezTo>
                    <a:cubicBezTo>
                      <a:pt x="1" y="0"/>
                      <a:pt x="2" y="1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09" name="Freeform 2742"/>
              <p:cNvSpPr>
                <a:spLocks noChangeAspect="1"/>
              </p:cNvSpPr>
              <p:nvPr/>
            </p:nvSpPr>
            <p:spPr bwMode="auto">
              <a:xfrm>
                <a:off x="4412828" y="2225970"/>
                <a:ext cx="4474" cy="3322"/>
              </a:xfrm>
              <a:custGeom>
                <a:avLst/>
                <a:gdLst>
                  <a:gd name="T0" fmla="*/ 3 w 3"/>
                  <a:gd name="T1" fmla="*/ 3 h 3"/>
                  <a:gd name="T2" fmla="*/ 4 w 3"/>
                  <a:gd name="T3" fmla="*/ 4 h 3"/>
                  <a:gd name="T4" fmla="*/ 0 w 3"/>
                  <a:gd name="T5" fmla="*/ 4 h 3"/>
                  <a:gd name="T6" fmla="*/ 0 w 3"/>
                  <a:gd name="T7" fmla="*/ 1 h 3"/>
                  <a:gd name="T8" fmla="*/ 3 w 3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2"/>
                    </a:moveTo>
                    <a:cubicBezTo>
                      <a:pt x="2" y="2"/>
                      <a:pt x="3" y="3"/>
                      <a:pt x="3" y="3"/>
                    </a:cubicBezTo>
                    <a:cubicBezTo>
                      <a:pt x="2" y="3"/>
                      <a:pt x="1" y="3"/>
                      <a:pt x="0" y="3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1" y="0"/>
                      <a:pt x="1" y="1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10" name="Freeform 2743"/>
              <p:cNvSpPr>
                <a:spLocks noChangeAspect="1"/>
              </p:cNvSpPr>
              <p:nvPr/>
            </p:nvSpPr>
            <p:spPr bwMode="auto">
              <a:xfrm>
                <a:off x="4672318" y="2243414"/>
                <a:ext cx="4474" cy="2493"/>
              </a:xfrm>
              <a:custGeom>
                <a:avLst/>
                <a:gdLst>
                  <a:gd name="T0" fmla="*/ 3 w 3"/>
                  <a:gd name="T1" fmla="*/ 1 h 3"/>
                  <a:gd name="T2" fmla="*/ 3 w 3"/>
                  <a:gd name="T3" fmla="*/ 2 h 3"/>
                  <a:gd name="T4" fmla="*/ 1 w 3"/>
                  <a:gd name="T5" fmla="*/ 2 h 3"/>
                  <a:gd name="T6" fmla="*/ 1 w 3"/>
                  <a:gd name="T7" fmla="*/ 0 h 3"/>
                  <a:gd name="T8" fmla="*/ 3 w 3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1"/>
                    </a:moveTo>
                    <a:cubicBezTo>
                      <a:pt x="2" y="1"/>
                      <a:pt x="3" y="2"/>
                      <a:pt x="2" y="2"/>
                    </a:cubicBezTo>
                    <a:cubicBezTo>
                      <a:pt x="2" y="3"/>
                      <a:pt x="1" y="2"/>
                      <a:pt x="1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11" name="Freeform 2744"/>
              <p:cNvSpPr>
                <a:spLocks noChangeAspect="1"/>
              </p:cNvSpPr>
              <p:nvPr/>
            </p:nvSpPr>
            <p:spPr bwMode="auto">
              <a:xfrm>
                <a:off x="4494477" y="2129612"/>
                <a:ext cx="7830" cy="3322"/>
              </a:xfrm>
              <a:custGeom>
                <a:avLst/>
                <a:gdLst>
                  <a:gd name="T0" fmla="*/ 0 w 6"/>
                  <a:gd name="T1" fmla="*/ 1 h 3"/>
                  <a:gd name="T2" fmla="*/ 4 w 6"/>
                  <a:gd name="T3" fmla="*/ 1 h 3"/>
                  <a:gd name="T4" fmla="*/ 7 w 6"/>
                  <a:gd name="T5" fmla="*/ 3 h 3"/>
                  <a:gd name="T6" fmla="*/ 4 w 6"/>
                  <a:gd name="T7" fmla="*/ 3 h 3"/>
                  <a:gd name="T8" fmla="*/ 0 w 6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3"/>
                  <a:gd name="T17" fmla="*/ 6 w 6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3">
                    <a:moveTo>
                      <a:pt x="0" y="1"/>
                    </a:moveTo>
                    <a:cubicBezTo>
                      <a:pt x="1" y="0"/>
                      <a:pt x="2" y="1"/>
                      <a:pt x="3" y="1"/>
                    </a:cubicBezTo>
                    <a:cubicBezTo>
                      <a:pt x="4" y="1"/>
                      <a:pt x="6" y="2"/>
                      <a:pt x="6" y="2"/>
                    </a:cubicBezTo>
                    <a:cubicBezTo>
                      <a:pt x="5" y="3"/>
                      <a:pt x="4" y="2"/>
                      <a:pt x="3" y="2"/>
                    </a:cubicBezTo>
                    <a:cubicBezTo>
                      <a:pt x="2" y="2"/>
                      <a:pt x="0" y="2"/>
                      <a:pt x="0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12" name="Freeform 2745"/>
              <p:cNvSpPr>
                <a:spLocks noChangeAspect="1"/>
              </p:cNvSpPr>
              <p:nvPr/>
            </p:nvSpPr>
            <p:spPr bwMode="auto">
              <a:xfrm>
                <a:off x="4510138" y="2100538"/>
                <a:ext cx="5593" cy="5815"/>
              </a:xfrm>
              <a:custGeom>
                <a:avLst/>
                <a:gdLst>
                  <a:gd name="T0" fmla="*/ 1 w 4"/>
                  <a:gd name="T1" fmla="*/ 6 h 6"/>
                  <a:gd name="T2" fmla="*/ 3 w 4"/>
                  <a:gd name="T3" fmla="*/ 2 h 6"/>
                  <a:gd name="T4" fmla="*/ 5 w 4"/>
                  <a:gd name="T5" fmla="*/ 1 h 6"/>
                  <a:gd name="T6" fmla="*/ 4 w 4"/>
                  <a:gd name="T7" fmla="*/ 5 h 6"/>
                  <a:gd name="T8" fmla="*/ 1 w 4"/>
                  <a:gd name="T9" fmla="*/ 6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6"/>
                  <a:gd name="T17" fmla="*/ 4 w 4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6">
                    <a:moveTo>
                      <a:pt x="1" y="5"/>
                    </a:moveTo>
                    <a:cubicBezTo>
                      <a:pt x="0" y="4"/>
                      <a:pt x="2" y="3"/>
                      <a:pt x="2" y="2"/>
                    </a:cubicBezTo>
                    <a:cubicBezTo>
                      <a:pt x="3" y="2"/>
                      <a:pt x="4" y="0"/>
                      <a:pt x="4" y="1"/>
                    </a:cubicBezTo>
                    <a:cubicBezTo>
                      <a:pt x="4" y="2"/>
                      <a:pt x="3" y="3"/>
                      <a:pt x="3" y="4"/>
                    </a:cubicBezTo>
                    <a:cubicBezTo>
                      <a:pt x="2" y="4"/>
                      <a:pt x="1" y="6"/>
                      <a:pt x="1" y="5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13" name="Freeform 2746"/>
              <p:cNvSpPr>
                <a:spLocks noChangeAspect="1"/>
              </p:cNvSpPr>
              <p:nvPr/>
            </p:nvSpPr>
            <p:spPr bwMode="auto">
              <a:xfrm>
                <a:off x="4516847" y="2096386"/>
                <a:ext cx="4474" cy="4153"/>
              </a:xfrm>
              <a:custGeom>
                <a:avLst/>
                <a:gdLst>
                  <a:gd name="T0" fmla="*/ 0 w 3"/>
                  <a:gd name="T1" fmla="*/ 5 h 4"/>
                  <a:gd name="T2" fmla="*/ 3 w 3"/>
                  <a:gd name="T3" fmla="*/ 3 h 4"/>
                  <a:gd name="T4" fmla="*/ 4 w 3"/>
                  <a:gd name="T5" fmla="*/ 1 h 4"/>
                  <a:gd name="T6" fmla="*/ 3 w 3"/>
                  <a:gd name="T7" fmla="*/ 4 h 4"/>
                  <a:gd name="T8" fmla="*/ 0 w 3"/>
                  <a:gd name="T9" fmla="*/ 5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4"/>
                  <a:gd name="T17" fmla="*/ 3 w 3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4">
                    <a:moveTo>
                      <a:pt x="0" y="4"/>
                    </a:moveTo>
                    <a:cubicBezTo>
                      <a:pt x="0" y="3"/>
                      <a:pt x="1" y="2"/>
                      <a:pt x="2" y="2"/>
                    </a:cubicBezTo>
                    <a:cubicBezTo>
                      <a:pt x="2" y="2"/>
                      <a:pt x="3" y="0"/>
                      <a:pt x="3" y="1"/>
                    </a:cubicBezTo>
                    <a:cubicBezTo>
                      <a:pt x="3" y="2"/>
                      <a:pt x="3" y="2"/>
                      <a:pt x="2" y="3"/>
                    </a:cubicBezTo>
                    <a:cubicBezTo>
                      <a:pt x="1" y="3"/>
                      <a:pt x="0" y="4"/>
                      <a:pt x="0" y="4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14" name="Freeform 2747"/>
              <p:cNvSpPr>
                <a:spLocks noChangeAspect="1"/>
              </p:cNvSpPr>
              <p:nvPr/>
            </p:nvSpPr>
            <p:spPr bwMode="auto">
              <a:xfrm>
                <a:off x="4495596" y="2127951"/>
                <a:ext cx="6712" cy="2493"/>
              </a:xfrm>
              <a:custGeom>
                <a:avLst/>
                <a:gdLst>
                  <a:gd name="T0" fmla="*/ 2 w 5"/>
                  <a:gd name="T1" fmla="*/ 1 h 3"/>
                  <a:gd name="T2" fmla="*/ 6 w 5"/>
                  <a:gd name="T3" fmla="*/ 2 h 3"/>
                  <a:gd name="T4" fmla="*/ 2 w 5"/>
                  <a:gd name="T5" fmla="*/ 2 h 3"/>
                  <a:gd name="T6" fmla="*/ 0 w 5"/>
                  <a:gd name="T7" fmla="*/ 1 h 3"/>
                  <a:gd name="T8" fmla="*/ 2 w 5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3"/>
                  <a:gd name="T17" fmla="*/ 5 w 5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3">
                    <a:moveTo>
                      <a:pt x="2" y="1"/>
                    </a:moveTo>
                    <a:cubicBezTo>
                      <a:pt x="3" y="1"/>
                      <a:pt x="5" y="1"/>
                      <a:pt x="5" y="2"/>
                    </a:cubicBezTo>
                    <a:cubicBezTo>
                      <a:pt x="5" y="3"/>
                      <a:pt x="3" y="2"/>
                      <a:pt x="2" y="2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0" y="0"/>
                      <a:pt x="2" y="0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15" name="Freeform 2748"/>
              <p:cNvSpPr>
                <a:spLocks noChangeAspect="1"/>
              </p:cNvSpPr>
              <p:nvPr/>
            </p:nvSpPr>
            <p:spPr bwMode="auto">
              <a:xfrm>
                <a:off x="4497833" y="2125459"/>
                <a:ext cx="5593" cy="2493"/>
              </a:xfrm>
              <a:custGeom>
                <a:avLst/>
                <a:gdLst>
                  <a:gd name="T0" fmla="*/ 1 w 4"/>
                  <a:gd name="T1" fmla="*/ 2 h 2"/>
                  <a:gd name="T2" fmla="*/ 5 w 4"/>
                  <a:gd name="T3" fmla="*/ 3 h 2"/>
                  <a:gd name="T4" fmla="*/ 1 w 4"/>
                  <a:gd name="T5" fmla="*/ 3 h 2"/>
                  <a:gd name="T6" fmla="*/ 0 w 4"/>
                  <a:gd name="T7" fmla="*/ 2 h 2"/>
                  <a:gd name="T8" fmla="*/ 1 w 4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2"/>
                  <a:gd name="T17" fmla="*/ 4 w 4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2">
                    <a:moveTo>
                      <a:pt x="1" y="1"/>
                    </a:moveTo>
                    <a:cubicBezTo>
                      <a:pt x="2" y="1"/>
                      <a:pt x="4" y="1"/>
                      <a:pt x="4" y="2"/>
                    </a:cubicBezTo>
                    <a:cubicBezTo>
                      <a:pt x="4" y="2"/>
                      <a:pt x="2" y="2"/>
                      <a:pt x="1" y="2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0" y="0"/>
                      <a:pt x="1" y="1"/>
                      <a:pt x="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16" name="Freeform 2749"/>
              <p:cNvSpPr>
                <a:spLocks noChangeAspect="1"/>
              </p:cNvSpPr>
              <p:nvPr/>
            </p:nvSpPr>
            <p:spPr bwMode="auto">
              <a:xfrm>
                <a:off x="4392695" y="2165332"/>
                <a:ext cx="3356" cy="3322"/>
              </a:xfrm>
              <a:custGeom>
                <a:avLst/>
                <a:gdLst>
                  <a:gd name="T0" fmla="*/ 2 w 2"/>
                  <a:gd name="T1" fmla="*/ 0 h 3"/>
                  <a:gd name="T2" fmla="*/ 0 w 2"/>
                  <a:gd name="T3" fmla="*/ 3 h 3"/>
                  <a:gd name="T4" fmla="*/ 2 w 2"/>
                  <a:gd name="T5" fmla="*/ 4 h 3"/>
                  <a:gd name="T6" fmla="*/ 3 w 2"/>
                  <a:gd name="T7" fmla="*/ 4 h 3"/>
                  <a:gd name="T8" fmla="*/ 2 w 2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0"/>
                    </a:moveTo>
                    <a:cubicBezTo>
                      <a:pt x="1" y="0"/>
                      <a:pt x="0" y="1"/>
                      <a:pt x="0" y="2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1" y="3"/>
                      <a:pt x="1" y="3"/>
                      <a:pt x="2" y="3"/>
                    </a:cubicBezTo>
                    <a:cubicBezTo>
                      <a:pt x="2" y="2"/>
                      <a:pt x="2" y="1"/>
                      <a:pt x="1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17" name="Freeform 2750"/>
              <p:cNvSpPr>
                <a:spLocks noChangeAspect="1"/>
              </p:cNvSpPr>
              <p:nvPr/>
            </p:nvSpPr>
            <p:spPr bwMode="auto">
              <a:xfrm>
                <a:off x="4576127" y="2277471"/>
                <a:ext cx="16779" cy="28243"/>
              </a:xfrm>
              <a:custGeom>
                <a:avLst/>
                <a:gdLst>
                  <a:gd name="T0" fmla="*/ 10 w 13"/>
                  <a:gd name="T1" fmla="*/ 34 h 29"/>
                  <a:gd name="T2" fmla="*/ 3 w 13"/>
                  <a:gd name="T3" fmla="*/ 30 h 29"/>
                  <a:gd name="T4" fmla="*/ 6 w 13"/>
                  <a:gd name="T5" fmla="*/ 28 h 29"/>
                  <a:gd name="T6" fmla="*/ 5 w 13"/>
                  <a:gd name="T7" fmla="*/ 25 h 29"/>
                  <a:gd name="T8" fmla="*/ 2 w 13"/>
                  <a:gd name="T9" fmla="*/ 22 h 29"/>
                  <a:gd name="T10" fmla="*/ 3 w 13"/>
                  <a:gd name="T11" fmla="*/ 20 h 29"/>
                  <a:gd name="T12" fmla="*/ 0 w 13"/>
                  <a:gd name="T13" fmla="*/ 18 h 29"/>
                  <a:gd name="T14" fmla="*/ 2 w 13"/>
                  <a:gd name="T15" fmla="*/ 15 h 29"/>
                  <a:gd name="T16" fmla="*/ 2 w 13"/>
                  <a:gd name="T17" fmla="*/ 11 h 29"/>
                  <a:gd name="T18" fmla="*/ 8 w 13"/>
                  <a:gd name="T19" fmla="*/ 7 h 29"/>
                  <a:gd name="T20" fmla="*/ 10 w 13"/>
                  <a:gd name="T21" fmla="*/ 8 h 29"/>
                  <a:gd name="T22" fmla="*/ 12 w 13"/>
                  <a:gd name="T23" fmla="*/ 1 h 29"/>
                  <a:gd name="T24" fmla="*/ 14 w 13"/>
                  <a:gd name="T25" fmla="*/ 4 h 29"/>
                  <a:gd name="T26" fmla="*/ 15 w 13"/>
                  <a:gd name="T27" fmla="*/ 11 h 29"/>
                  <a:gd name="T28" fmla="*/ 15 w 13"/>
                  <a:gd name="T29" fmla="*/ 20 h 29"/>
                  <a:gd name="T30" fmla="*/ 13 w 13"/>
                  <a:gd name="T31" fmla="*/ 25 h 29"/>
                  <a:gd name="T32" fmla="*/ 10 w 13"/>
                  <a:gd name="T33" fmla="*/ 30 h 29"/>
                  <a:gd name="T34" fmla="*/ 10 w 13"/>
                  <a:gd name="T35" fmla="*/ 34 h 29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13"/>
                  <a:gd name="T55" fmla="*/ 0 h 29"/>
                  <a:gd name="T56" fmla="*/ 13 w 13"/>
                  <a:gd name="T57" fmla="*/ 29 h 29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13" h="29">
                    <a:moveTo>
                      <a:pt x="9" y="29"/>
                    </a:moveTo>
                    <a:cubicBezTo>
                      <a:pt x="7" y="28"/>
                      <a:pt x="5" y="27"/>
                      <a:pt x="3" y="26"/>
                    </a:cubicBezTo>
                    <a:cubicBezTo>
                      <a:pt x="3" y="25"/>
                      <a:pt x="5" y="24"/>
                      <a:pt x="5" y="24"/>
                    </a:cubicBezTo>
                    <a:cubicBezTo>
                      <a:pt x="5" y="23"/>
                      <a:pt x="5" y="22"/>
                      <a:pt x="4" y="21"/>
                    </a:cubicBezTo>
                    <a:cubicBezTo>
                      <a:pt x="4" y="20"/>
                      <a:pt x="2" y="20"/>
                      <a:pt x="2" y="19"/>
                    </a:cubicBezTo>
                    <a:cubicBezTo>
                      <a:pt x="2" y="18"/>
                      <a:pt x="3" y="17"/>
                      <a:pt x="3" y="17"/>
                    </a:cubicBezTo>
                    <a:cubicBezTo>
                      <a:pt x="3" y="16"/>
                      <a:pt x="1" y="16"/>
                      <a:pt x="0" y="15"/>
                    </a:cubicBezTo>
                    <a:cubicBezTo>
                      <a:pt x="0" y="15"/>
                      <a:pt x="2" y="14"/>
                      <a:pt x="2" y="13"/>
                    </a:cubicBezTo>
                    <a:cubicBezTo>
                      <a:pt x="3" y="12"/>
                      <a:pt x="1" y="10"/>
                      <a:pt x="2" y="9"/>
                    </a:cubicBezTo>
                    <a:cubicBezTo>
                      <a:pt x="3" y="7"/>
                      <a:pt x="6" y="7"/>
                      <a:pt x="7" y="6"/>
                    </a:cubicBezTo>
                    <a:cubicBezTo>
                      <a:pt x="8" y="6"/>
                      <a:pt x="9" y="7"/>
                      <a:pt x="9" y="7"/>
                    </a:cubicBezTo>
                    <a:cubicBezTo>
                      <a:pt x="10" y="5"/>
                      <a:pt x="9" y="3"/>
                      <a:pt x="10" y="1"/>
                    </a:cubicBezTo>
                    <a:cubicBezTo>
                      <a:pt x="10" y="0"/>
                      <a:pt x="11" y="2"/>
                      <a:pt x="12" y="3"/>
                    </a:cubicBezTo>
                    <a:cubicBezTo>
                      <a:pt x="12" y="5"/>
                      <a:pt x="12" y="7"/>
                      <a:pt x="13" y="9"/>
                    </a:cubicBezTo>
                    <a:cubicBezTo>
                      <a:pt x="13" y="12"/>
                      <a:pt x="13" y="14"/>
                      <a:pt x="13" y="17"/>
                    </a:cubicBezTo>
                    <a:cubicBezTo>
                      <a:pt x="12" y="18"/>
                      <a:pt x="11" y="20"/>
                      <a:pt x="11" y="21"/>
                    </a:cubicBezTo>
                    <a:cubicBezTo>
                      <a:pt x="10" y="23"/>
                      <a:pt x="10" y="25"/>
                      <a:pt x="9" y="26"/>
                    </a:cubicBezTo>
                    <a:cubicBezTo>
                      <a:pt x="9" y="27"/>
                      <a:pt x="10" y="29"/>
                      <a:pt x="9" y="29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18" name="Freeform 2753"/>
              <p:cNvSpPr>
                <a:spLocks noChangeAspect="1"/>
              </p:cNvSpPr>
              <p:nvPr/>
            </p:nvSpPr>
            <p:spPr bwMode="auto">
              <a:xfrm>
                <a:off x="4566061" y="2019964"/>
                <a:ext cx="36911" cy="19106"/>
              </a:xfrm>
              <a:custGeom>
                <a:avLst/>
                <a:gdLst>
                  <a:gd name="T0" fmla="*/ 32 w 27"/>
                  <a:gd name="T1" fmla="*/ 1 h 19"/>
                  <a:gd name="T2" fmla="*/ 29 w 27"/>
                  <a:gd name="T3" fmla="*/ 1 h 19"/>
                  <a:gd name="T4" fmla="*/ 23 w 27"/>
                  <a:gd name="T5" fmla="*/ 5 h 19"/>
                  <a:gd name="T6" fmla="*/ 17 w 27"/>
                  <a:gd name="T7" fmla="*/ 12 h 19"/>
                  <a:gd name="T8" fmla="*/ 6 w 27"/>
                  <a:gd name="T9" fmla="*/ 15 h 19"/>
                  <a:gd name="T10" fmla="*/ 0 w 27"/>
                  <a:gd name="T11" fmla="*/ 22 h 19"/>
                  <a:gd name="T12" fmla="*/ 4 w 27"/>
                  <a:gd name="T13" fmla="*/ 21 h 19"/>
                  <a:gd name="T14" fmla="*/ 7 w 27"/>
                  <a:gd name="T15" fmla="*/ 17 h 19"/>
                  <a:gd name="T16" fmla="*/ 11 w 27"/>
                  <a:gd name="T17" fmla="*/ 16 h 19"/>
                  <a:gd name="T18" fmla="*/ 23 w 27"/>
                  <a:gd name="T19" fmla="*/ 15 h 19"/>
                  <a:gd name="T20" fmla="*/ 26 w 27"/>
                  <a:gd name="T21" fmla="*/ 15 h 19"/>
                  <a:gd name="T22" fmla="*/ 29 w 27"/>
                  <a:gd name="T23" fmla="*/ 17 h 19"/>
                  <a:gd name="T24" fmla="*/ 33 w 27"/>
                  <a:gd name="T25" fmla="*/ 10 h 19"/>
                  <a:gd name="T26" fmla="*/ 31 w 27"/>
                  <a:gd name="T27" fmla="*/ 5 h 19"/>
                  <a:gd name="T28" fmla="*/ 32 w 27"/>
                  <a:gd name="T29" fmla="*/ 1 h 1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27"/>
                  <a:gd name="T46" fmla="*/ 0 h 19"/>
                  <a:gd name="T47" fmla="*/ 27 w 27"/>
                  <a:gd name="T48" fmla="*/ 19 h 19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27" h="19">
                    <a:moveTo>
                      <a:pt x="26" y="1"/>
                    </a:moveTo>
                    <a:cubicBezTo>
                      <a:pt x="26" y="0"/>
                      <a:pt x="24" y="1"/>
                      <a:pt x="24" y="1"/>
                    </a:cubicBezTo>
                    <a:cubicBezTo>
                      <a:pt x="22" y="2"/>
                      <a:pt x="21" y="2"/>
                      <a:pt x="19" y="4"/>
                    </a:cubicBezTo>
                    <a:cubicBezTo>
                      <a:pt x="17" y="5"/>
                      <a:pt x="16" y="9"/>
                      <a:pt x="14" y="10"/>
                    </a:cubicBezTo>
                    <a:cubicBezTo>
                      <a:pt x="11" y="12"/>
                      <a:pt x="7" y="10"/>
                      <a:pt x="5" y="12"/>
                    </a:cubicBezTo>
                    <a:cubicBezTo>
                      <a:pt x="3" y="13"/>
                      <a:pt x="1" y="15"/>
                      <a:pt x="0" y="18"/>
                    </a:cubicBezTo>
                    <a:cubicBezTo>
                      <a:pt x="0" y="19"/>
                      <a:pt x="2" y="18"/>
                      <a:pt x="3" y="17"/>
                    </a:cubicBezTo>
                    <a:cubicBezTo>
                      <a:pt x="4" y="17"/>
                      <a:pt x="5" y="15"/>
                      <a:pt x="6" y="14"/>
                    </a:cubicBezTo>
                    <a:cubicBezTo>
                      <a:pt x="7" y="13"/>
                      <a:pt x="8" y="13"/>
                      <a:pt x="9" y="13"/>
                    </a:cubicBezTo>
                    <a:cubicBezTo>
                      <a:pt x="12" y="12"/>
                      <a:pt x="15" y="12"/>
                      <a:pt x="19" y="12"/>
                    </a:cubicBezTo>
                    <a:cubicBezTo>
                      <a:pt x="20" y="12"/>
                      <a:pt x="20" y="12"/>
                      <a:pt x="21" y="12"/>
                    </a:cubicBezTo>
                    <a:cubicBezTo>
                      <a:pt x="22" y="13"/>
                      <a:pt x="23" y="14"/>
                      <a:pt x="24" y="14"/>
                    </a:cubicBezTo>
                    <a:cubicBezTo>
                      <a:pt x="26" y="12"/>
                      <a:pt x="26" y="10"/>
                      <a:pt x="27" y="8"/>
                    </a:cubicBezTo>
                    <a:cubicBezTo>
                      <a:pt x="27" y="7"/>
                      <a:pt x="25" y="5"/>
                      <a:pt x="25" y="4"/>
                    </a:cubicBezTo>
                    <a:cubicBezTo>
                      <a:pt x="25" y="3"/>
                      <a:pt x="26" y="2"/>
                      <a:pt x="26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19" name="Freeform 2754"/>
              <p:cNvSpPr>
                <a:spLocks noChangeAspect="1"/>
              </p:cNvSpPr>
              <p:nvPr/>
            </p:nvSpPr>
            <p:spPr bwMode="auto">
              <a:xfrm>
                <a:off x="4563825" y="2033255"/>
                <a:ext cx="45858" cy="40702"/>
              </a:xfrm>
              <a:custGeom>
                <a:avLst/>
                <a:gdLst>
                  <a:gd name="T0" fmla="*/ 18 w 34"/>
                  <a:gd name="T1" fmla="*/ 49 h 41"/>
                  <a:gd name="T2" fmla="*/ 24 w 34"/>
                  <a:gd name="T3" fmla="*/ 48 h 41"/>
                  <a:gd name="T4" fmla="*/ 22 w 34"/>
                  <a:gd name="T5" fmla="*/ 44 h 41"/>
                  <a:gd name="T6" fmla="*/ 23 w 34"/>
                  <a:gd name="T7" fmla="*/ 42 h 41"/>
                  <a:gd name="T8" fmla="*/ 22 w 34"/>
                  <a:gd name="T9" fmla="*/ 35 h 41"/>
                  <a:gd name="T10" fmla="*/ 25 w 34"/>
                  <a:gd name="T11" fmla="*/ 35 h 41"/>
                  <a:gd name="T12" fmla="*/ 24 w 34"/>
                  <a:gd name="T13" fmla="*/ 31 h 41"/>
                  <a:gd name="T14" fmla="*/ 28 w 34"/>
                  <a:gd name="T15" fmla="*/ 27 h 41"/>
                  <a:gd name="T16" fmla="*/ 31 w 34"/>
                  <a:gd name="T17" fmla="*/ 20 h 41"/>
                  <a:gd name="T18" fmla="*/ 37 w 34"/>
                  <a:gd name="T19" fmla="*/ 19 h 41"/>
                  <a:gd name="T20" fmla="*/ 41 w 34"/>
                  <a:gd name="T21" fmla="*/ 13 h 41"/>
                  <a:gd name="T22" fmla="*/ 34 w 34"/>
                  <a:gd name="T23" fmla="*/ 12 h 41"/>
                  <a:gd name="T24" fmla="*/ 30 w 34"/>
                  <a:gd name="T25" fmla="*/ 8 h 41"/>
                  <a:gd name="T26" fmla="*/ 30 w 34"/>
                  <a:gd name="T27" fmla="*/ 2 h 41"/>
                  <a:gd name="T28" fmla="*/ 25 w 34"/>
                  <a:gd name="T29" fmla="*/ 0 h 41"/>
                  <a:gd name="T30" fmla="*/ 18 w 34"/>
                  <a:gd name="T31" fmla="*/ 2 h 41"/>
                  <a:gd name="T32" fmla="*/ 17 w 34"/>
                  <a:gd name="T33" fmla="*/ 4 h 41"/>
                  <a:gd name="T34" fmla="*/ 17 w 34"/>
                  <a:gd name="T35" fmla="*/ 11 h 41"/>
                  <a:gd name="T36" fmla="*/ 13 w 34"/>
                  <a:gd name="T37" fmla="*/ 11 h 41"/>
                  <a:gd name="T38" fmla="*/ 13 w 34"/>
                  <a:gd name="T39" fmla="*/ 6 h 41"/>
                  <a:gd name="T40" fmla="*/ 11 w 34"/>
                  <a:gd name="T41" fmla="*/ 7 h 41"/>
                  <a:gd name="T42" fmla="*/ 10 w 34"/>
                  <a:gd name="T43" fmla="*/ 10 h 41"/>
                  <a:gd name="T44" fmla="*/ 10 w 34"/>
                  <a:gd name="T45" fmla="*/ 10 h 41"/>
                  <a:gd name="T46" fmla="*/ 10 w 34"/>
                  <a:gd name="T47" fmla="*/ 13 h 41"/>
                  <a:gd name="T48" fmla="*/ 7 w 34"/>
                  <a:gd name="T49" fmla="*/ 11 h 41"/>
                  <a:gd name="T50" fmla="*/ 1 w 34"/>
                  <a:gd name="T51" fmla="*/ 8 h 41"/>
                  <a:gd name="T52" fmla="*/ 2 w 34"/>
                  <a:gd name="T53" fmla="*/ 14 h 41"/>
                  <a:gd name="T54" fmla="*/ 1 w 34"/>
                  <a:gd name="T55" fmla="*/ 18 h 41"/>
                  <a:gd name="T56" fmla="*/ 2 w 34"/>
                  <a:gd name="T57" fmla="*/ 22 h 41"/>
                  <a:gd name="T58" fmla="*/ 1 w 34"/>
                  <a:gd name="T59" fmla="*/ 27 h 41"/>
                  <a:gd name="T60" fmla="*/ 0 w 34"/>
                  <a:gd name="T61" fmla="*/ 32 h 41"/>
                  <a:gd name="T62" fmla="*/ 4 w 34"/>
                  <a:gd name="T63" fmla="*/ 32 h 41"/>
                  <a:gd name="T64" fmla="*/ 7 w 34"/>
                  <a:gd name="T65" fmla="*/ 36 h 41"/>
                  <a:gd name="T66" fmla="*/ 10 w 34"/>
                  <a:gd name="T67" fmla="*/ 41 h 41"/>
                  <a:gd name="T68" fmla="*/ 10 w 34"/>
                  <a:gd name="T69" fmla="*/ 47 h 41"/>
                  <a:gd name="T70" fmla="*/ 14 w 34"/>
                  <a:gd name="T71" fmla="*/ 48 h 41"/>
                  <a:gd name="T72" fmla="*/ 18 w 34"/>
                  <a:gd name="T73" fmla="*/ 49 h 41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34"/>
                  <a:gd name="T112" fmla="*/ 0 h 41"/>
                  <a:gd name="T113" fmla="*/ 34 w 34"/>
                  <a:gd name="T114" fmla="*/ 41 h 41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34" h="41">
                    <a:moveTo>
                      <a:pt x="15" y="41"/>
                    </a:moveTo>
                    <a:cubicBezTo>
                      <a:pt x="17" y="41"/>
                      <a:pt x="19" y="41"/>
                      <a:pt x="20" y="40"/>
                    </a:cubicBezTo>
                    <a:cubicBezTo>
                      <a:pt x="20" y="39"/>
                      <a:pt x="18" y="38"/>
                      <a:pt x="18" y="37"/>
                    </a:cubicBezTo>
                    <a:cubicBezTo>
                      <a:pt x="18" y="36"/>
                      <a:pt x="19" y="36"/>
                      <a:pt x="19" y="35"/>
                    </a:cubicBezTo>
                    <a:cubicBezTo>
                      <a:pt x="19" y="33"/>
                      <a:pt x="17" y="31"/>
                      <a:pt x="18" y="29"/>
                    </a:cubicBezTo>
                    <a:cubicBezTo>
                      <a:pt x="18" y="28"/>
                      <a:pt x="20" y="30"/>
                      <a:pt x="21" y="29"/>
                    </a:cubicBezTo>
                    <a:cubicBezTo>
                      <a:pt x="21" y="28"/>
                      <a:pt x="19" y="27"/>
                      <a:pt x="20" y="26"/>
                    </a:cubicBezTo>
                    <a:cubicBezTo>
                      <a:pt x="20" y="24"/>
                      <a:pt x="22" y="24"/>
                      <a:pt x="23" y="23"/>
                    </a:cubicBezTo>
                    <a:cubicBezTo>
                      <a:pt x="25" y="21"/>
                      <a:pt x="25" y="19"/>
                      <a:pt x="26" y="17"/>
                    </a:cubicBezTo>
                    <a:cubicBezTo>
                      <a:pt x="27" y="14"/>
                      <a:pt x="29" y="17"/>
                      <a:pt x="31" y="16"/>
                    </a:cubicBezTo>
                    <a:cubicBezTo>
                      <a:pt x="32" y="15"/>
                      <a:pt x="34" y="13"/>
                      <a:pt x="34" y="11"/>
                    </a:cubicBezTo>
                    <a:cubicBezTo>
                      <a:pt x="33" y="9"/>
                      <a:pt x="29" y="11"/>
                      <a:pt x="28" y="10"/>
                    </a:cubicBezTo>
                    <a:cubicBezTo>
                      <a:pt x="27" y="9"/>
                      <a:pt x="26" y="8"/>
                      <a:pt x="25" y="7"/>
                    </a:cubicBezTo>
                    <a:cubicBezTo>
                      <a:pt x="25" y="5"/>
                      <a:pt x="27" y="3"/>
                      <a:pt x="25" y="2"/>
                    </a:cubicBezTo>
                    <a:cubicBezTo>
                      <a:pt x="24" y="1"/>
                      <a:pt x="22" y="0"/>
                      <a:pt x="21" y="0"/>
                    </a:cubicBezTo>
                    <a:cubicBezTo>
                      <a:pt x="19" y="0"/>
                      <a:pt x="17" y="1"/>
                      <a:pt x="15" y="2"/>
                    </a:cubicBezTo>
                    <a:cubicBezTo>
                      <a:pt x="14" y="2"/>
                      <a:pt x="14" y="3"/>
                      <a:pt x="14" y="3"/>
                    </a:cubicBezTo>
                    <a:cubicBezTo>
                      <a:pt x="13" y="5"/>
                      <a:pt x="15" y="7"/>
                      <a:pt x="14" y="9"/>
                    </a:cubicBezTo>
                    <a:cubicBezTo>
                      <a:pt x="14" y="10"/>
                      <a:pt x="12" y="10"/>
                      <a:pt x="11" y="9"/>
                    </a:cubicBezTo>
                    <a:cubicBezTo>
                      <a:pt x="11" y="8"/>
                      <a:pt x="12" y="6"/>
                      <a:pt x="11" y="5"/>
                    </a:cubicBezTo>
                    <a:cubicBezTo>
                      <a:pt x="11" y="5"/>
                      <a:pt x="10" y="6"/>
                      <a:pt x="9" y="6"/>
                    </a:cubicBezTo>
                    <a:cubicBezTo>
                      <a:pt x="8" y="7"/>
                      <a:pt x="8" y="7"/>
                      <a:pt x="8" y="8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8" y="9"/>
                      <a:pt x="9" y="10"/>
                      <a:pt x="8" y="11"/>
                    </a:cubicBezTo>
                    <a:cubicBezTo>
                      <a:pt x="7" y="11"/>
                      <a:pt x="6" y="10"/>
                      <a:pt x="6" y="9"/>
                    </a:cubicBezTo>
                    <a:cubicBezTo>
                      <a:pt x="4" y="8"/>
                      <a:pt x="3" y="8"/>
                      <a:pt x="1" y="7"/>
                    </a:cubicBezTo>
                    <a:cubicBezTo>
                      <a:pt x="0" y="8"/>
                      <a:pt x="2" y="11"/>
                      <a:pt x="2" y="12"/>
                    </a:cubicBezTo>
                    <a:cubicBezTo>
                      <a:pt x="2" y="13"/>
                      <a:pt x="1" y="14"/>
                      <a:pt x="1" y="15"/>
                    </a:cubicBezTo>
                    <a:cubicBezTo>
                      <a:pt x="1" y="16"/>
                      <a:pt x="2" y="16"/>
                      <a:pt x="2" y="18"/>
                    </a:cubicBezTo>
                    <a:cubicBezTo>
                      <a:pt x="2" y="19"/>
                      <a:pt x="2" y="21"/>
                      <a:pt x="1" y="23"/>
                    </a:cubicBezTo>
                    <a:cubicBezTo>
                      <a:pt x="1" y="24"/>
                      <a:pt x="0" y="26"/>
                      <a:pt x="0" y="27"/>
                    </a:cubicBezTo>
                    <a:cubicBezTo>
                      <a:pt x="1" y="28"/>
                      <a:pt x="2" y="27"/>
                      <a:pt x="3" y="27"/>
                    </a:cubicBezTo>
                    <a:cubicBezTo>
                      <a:pt x="4" y="28"/>
                      <a:pt x="5" y="29"/>
                      <a:pt x="6" y="30"/>
                    </a:cubicBezTo>
                    <a:cubicBezTo>
                      <a:pt x="7" y="31"/>
                      <a:pt x="7" y="33"/>
                      <a:pt x="8" y="34"/>
                    </a:cubicBezTo>
                    <a:cubicBezTo>
                      <a:pt x="8" y="36"/>
                      <a:pt x="8" y="38"/>
                      <a:pt x="8" y="39"/>
                    </a:cubicBezTo>
                    <a:cubicBezTo>
                      <a:pt x="9" y="40"/>
                      <a:pt x="10" y="40"/>
                      <a:pt x="12" y="40"/>
                    </a:cubicBezTo>
                    <a:cubicBezTo>
                      <a:pt x="13" y="40"/>
                      <a:pt x="14" y="41"/>
                      <a:pt x="15" y="4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20" name="Freeform 2755"/>
              <p:cNvSpPr>
                <a:spLocks noChangeAspect="1"/>
              </p:cNvSpPr>
              <p:nvPr/>
            </p:nvSpPr>
            <p:spPr bwMode="auto">
              <a:xfrm>
                <a:off x="4412828" y="2143734"/>
                <a:ext cx="6712" cy="2493"/>
              </a:xfrm>
              <a:custGeom>
                <a:avLst/>
                <a:gdLst>
                  <a:gd name="T0" fmla="*/ 5 w 5"/>
                  <a:gd name="T1" fmla="*/ 2 h 3"/>
                  <a:gd name="T2" fmla="*/ 2 w 5"/>
                  <a:gd name="T3" fmla="*/ 0 h 3"/>
                  <a:gd name="T4" fmla="*/ 0 w 5"/>
                  <a:gd name="T5" fmla="*/ 2 h 3"/>
                  <a:gd name="T6" fmla="*/ 2 w 5"/>
                  <a:gd name="T7" fmla="*/ 3 h 3"/>
                  <a:gd name="T8" fmla="*/ 5 w 5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3"/>
                  <a:gd name="T17" fmla="*/ 5 w 5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3">
                    <a:moveTo>
                      <a:pt x="4" y="2"/>
                    </a:moveTo>
                    <a:cubicBezTo>
                      <a:pt x="5" y="1"/>
                      <a:pt x="3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2"/>
                      <a:pt x="1" y="3"/>
                      <a:pt x="2" y="3"/>
                    </a:cubicBezTo>
                    <a:cubicBezTo>
                      <a:pt x="3" y="3"/>
                      <a:pt x="4" y="3"/>
                      <a:pt x="4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21" name="Freeform 2756"/>
              <p:cNvSpPr>
                <a:spLocks noChangeAspect="1"/>
              </p:cNvSpPr>
              <p:nvPr/>
            </p:nvSpPr>
            <p:spPr bwMode="auto">
              <a:xfrm>
                <a:off x="4361377" y="2079772"/>
                <a:ext cx="7830" cy="4984"/>
              </a:xfrm>
              <a:custGeom>
                <a:avLst/>
                <a:gdLst>
                  <a:gd name="T0" fmla="*/ 6 w 6"/>
                  <a:gd name="T1" fmla="*/ 1 h 5"/>
                  <a:gd name="T2" fmla="*/ 4 w 6"/>
                  <a:gd name="T3" fmla="*/ 1 h 5"/>
                  <a:gd name="T4" fmla="*/ 1 w 6"/>
                  <a:gd name="T5" fmla="*/ 5 h 5"/>
                  <a:gd name="T6" fmla="*/ 5 w 6"/>
                  <a:gd name="T7" fmla="*/ 5 h 5"/>
                  <a:gd name="T8" fmla="*/ 6 w 6"/>
                  <a:gd name="T9" fmla="*/ 1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5"/>
                  <a:gd name="T17" fmla="*/ 6 w 6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5">
                    <a:moveTo>
                      <a:pt x="5" y="1"/>
                    </a:moveTo>
                    <a:cubicBezTo>
                      <a:pt x="5" y="0"/>
                      <a:pt x="3" y="0"/>
                      <a:pt x="3" y="1"/>
                    </a:cubicBezTo>
                    <a:cubicBezTo>
                      <a:pt x="2" y="2"/>
                      <a:pt x="0" y="3"/>
                      <a:pt x="1" y="4"/>
                    </a:cubicBezTo>
                    <a:cubicBezTo>
                      <a:pt x="1" y="5"/>
                      <a:pt x="3" y="4"/>
                      <a:pt x="4" y="4"/>
                    </a:cubicBezTo>
                    <a:cubicBezTo>
                      <a:pt x="5" y="3"/>
                      <a:pt x="6" y="2"/>
                      <a:pt x="5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22" name="Freeform 2757"/>
              <p:cNvSpPr>
                <a:spLocks noChangeAspect="1"/>
              </p:cNvSpPr>
              <p:nvPr/>
            </p:nvSpPr>
            <p:spPr bwMode="auto">
              <a:xfrm>
                <a:off x="4352429" y="2055683"/>
                <a:ext cx="4474" cy="4153"/>
              </a:xfrm>
              <a:custGeom>
                <a:avLst/>
                <a:gdLst>
                  <a:gd name="T0" fmla="*/ 3 w 3"/>
                  <a:gd name="T1" fmla="*/ 5 h 4"/>
                  <a:gd name="T2" fmla="*/ 4 w 3"/>
                  <a:gd name="T3" fmla="*/ 3 h 4"/>
                  <a:gd name="T4" fmla="*/ 1 w 3"/>
                  <a:gd name="T5" fmla="*/ 0 h 4"/>
                  <a:gd name="T6" fmla="*/ 0 w 3"/>
                  <a:gd name="T7" fmla="*/ 3 h 4"/>
                  <a:gd name="T8" fmla="*/ 3 w 3"/>
                  <a:gd name="T9" fmla="*/ 5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4"/>
                  <a:gd name="T17" fmla="*/ 3 w 3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4">
                    <a:moveTo>
                      <a:pt x="2" y="4"/>
                    </a:moveTo>
                    <a:cubicBezTo>
                      <a:pt x="3" y="4"/>
                      <a:pt x="3" y="3"/>
                      <a:pt x="3" y="2"/>
                    </a:cubicBezTo>
                    <a:cubicBezTo>
                      <a:pt x="3" y="1"/>
                      <a:pt x="2" y="0"/>
                      <a:pt x="1" y="0"/>
                    </a:cubicBezTo>
                    <a:cubicBezTo>
                      <a:pt x="0" y="0"/>
                      <a:pt x="0" y="1"/>
                      <a:pt x="0" y="2"/>
                    </a:cubicBezTo>
                    <a:cubicBezTo>
                      <a:pt x="1" y="3"/>
                      <a:pt x="1" y="4"/>
                      <a:pt x="2" y="4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23" name="Freeform 2758"/>
              <p:cNvSpPr>
                <a:spLocks noChangeAspect="1"/>
              </p:cNvSpPr>
              <p:nvPr/>
            </p:nvSpPr>
            <p:spPr bwMode="auto">
              <a:xfrm>
                <a:off x="4347955" y="2074788"/>
                <a:ext cx="3356" cy="4153"/>
              </a:xfrm>
              <a:custGeom>
                <a:avLst/>
                <a:gdLst>
                  <a:gd name="T0" fmla="*/ 2 w 3"/>
                  <a:gd name="T1" fmla="*/ 5 h 4"/>
                  <a:gd name="T2" fmla="*/ 3 w 3"/>
                  <a:gd name="T3" fmla="*/ 3 h 4"/>
                  <a:gd name="T4" fmla="*/ 1 w 3"/>
                  <a:gd name="T5" fmla="*/ 0 h 4"/>
                  <a:gd name="T6" fmla="*/ 0 w 3"/>
                  <a:gd name="T7" fmla="*/ 3 h 4"/>
                  <a:gd name="T8" fmla="*/ 2 w 3"/>
                  <a:gd name="T9" fmla="*/ 5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4"/>
                  <a:gd name="T17" fmla="*/ 3 w 3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4">
                    <a:moveTo>
                      <a:pt x="2" y="4"/>
                    </a:moveTo>
                    <a:cubicBezTo>
                      <a:pt x="3" y="4"/>
                      <a:pt x="3" y="3"/>
                      <a:pt x="3" y="2"/>
                    </a:cubicBezTo>
                    <a:cubicBezTo>
                      <a:pt x="2" y="1"/>
                      <a:pt x="1" y="0"/>
                      <a:pt x="1" y="0"/>
                    </a:cubicBezTo>
                    <a:cubicBezTo>
                      <a:pt x="0" y="0"/>
                      <a:pt x="0" y="2"/>
                      <a:pt x="0" y="2"/>
                    </a:cubicBezTo>
                    <a:cubicBezTo>
                      <a:pt x="0" y="3"/>
                      <a:pt x="1" y="4"/>
                      <a:pt x="2" y="4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24" name="Freeform 2759"/>
              <p:cNvSpPr>
                <a:spLocks noChangeAspect="1"/>
              </p:cNvSpPr>
              <p:nvPr/>
            </p:nvSpPr>
            <p:spPr bwMode="auto">
              <a:xfrm>
                <a:off x="4363615" y="2098047"/>
                <a:ext cx="6712" cy="2493"/>
              </a:xfrm>
              <a:custGeom>
                <a:avLst/>
                <a:gdLst>
                  <a:gd name="T0" fmla="*/ 6 w 5"/>
                  <a:gd name="T1" fmla="*/ 1 h 3"/>
                  <a:gd name="T2" fmla="*/ 4 w 5"/>
                  <a:gd name="T3" fmla="*/ 0 h 3"/>
                  <a:gd name="T4" fmla="*/ 0 w 5"/>
                  <a:gd name="T5" fmla="*/ 1 h 3"/>
                  <a:gd name="T6" fmla="*/ 2 w 5"/>
                  <a:gd name="T7" fmla="*/ 3 h 3"/>
                  <a:gd name="T8" fmla="*/ 6 w 5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3"/>
                  <a:gd name="T17" fmla="*/ 5 w 5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3">
                    <a:moveTo>
                      <a:pt x="5" y="1"/>
                    </a:moveTo>
                    <a:cubicBezTo>
                      <a:pt x="5" y="0"/>
                      <a:pt x="4" y="0"/>
                      <a:pt x="3" y="0"/>
                    </a:cubicBezTo>
                    <a:cubicBezTo>
                      <a:pt x="2" y="0"/>
                      <a:pt x="1" y="0"/>
                      <a:pt x="0" y="1"/>
                    </a:cubicBezTo>
                    <a:cubicBezTo>
                      <a:pt x="0" y="3"/>
                      <a:pt x="2" y="3"/>
                      <a:pt x="2" y="3"/>
                    </a:cubicBezTo>
                    <a:cubicBezTo>
                      <a:pt x="3" y="3"/>
                      <a:pt x="4" y="3"/>
                      <a:pt x="5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25" name="Freeform 2760"/>
              <p:cNvSpPr>
                <a:spLocks noChangeAspect="1"/>
              </p:cNvSpPr>
              <p:nvPr/>
            </p:nvSpPr>
            <p:spPr bwMode="auto">
              <a:xfrm>
                <a:off x="4606327" y="2028271"/>
                <a:ext cx="4474" cy="2493"/>
              </a:xfrm>
              <a:custGeom>
                <a:avLst/>
                <a:gdLst>
                  <a:gd name="T0" fmla="*/ 4 w 3"/>
                  <a:gd name="T1" fmla="*/ 0 h 3"/>
                  <a:gd name="T2" fmla="*/ 1 w 3"/>
                  <a:gd name="T3" fmla="*/ 0 h 3"/>
                  <a:gd name="T4" fmla="*/ 0 w 3"/>
                  <a:gd name="T5" fmla="*/ 2 h 3"/>
                  <a:gd name="T6" fmla="*/ 3 w 3"/>
                  <a:gd name="T7" fmla="*/ 2 h 3"/>
                  <a:gd name="T8" fmla="*/ 4 w 3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3" y="0"/>
                    </a:moveTo>
                    <a:cubicBezTo>
                      <a:pt x="3" y="0"/>
                      <a:pt x="2" y="0"/>
                      <a:pt x="1" y="0"/>
                    </a:cubicBezTo>
                    <a:cubicBezTo>
                      <a:pt x="1" y="1"/>
                      <a:pt x="0" y="2"/>
                      <a:pt x="0" y="2"/>
                    </a:cubicBezTo>
                    <a:cubicBezTo>
                      <a:pt x="1" y="3"/>
                      <a:pt x="2" y="2"/>
                      <a:pt x="2" y="2"/>
                    </a:cubicBezTo>
                    <a:cubicBezTo>
                      <a:pt x="3" y="2"/>
                      <a:pt x="3" y="1"/>
                      <a:pt x="3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26" name="Freeform 2761"/>
              <p:cNvSpPr>
                <a:spLocks noChangeAspect="1"/>
              </p:cNvSpPr>
              <p:nvPr/>
            </p:nvSpPr>
            <p:spPr bwMode="auto">
              <a:xfrm>
                <a:off x="4590669" y="2069804"/>
                <a:ext cx="4474" cy="3322"/>
              </a:xfrm>
              <a:custGeom>
                <a:avLst/>
                <a:gdLst>
                  <a:gd name="T0" fmla="*/ 4 w 3"/>
                  <a:gd name="T1" fmla="*/ 4 h 3"/>
                  <a:gd name="T2" fmla="*/ 3 w 3"/>
                  <a:gd name="T3" fmla="*/ 1 h 3"/>
                  <a:gd name="T4" fmla="*/ 0 w 3"/>
                  <a:gd name="T5" fmla="*/ 1 h 3"/>
                  <a:gd name="T6" fmla="*/ 1 w 3"/>
                  <a:gd name="T7" fmla="*/ 3 h 3"/>
                  <a:gd name="T8" fmla="*/ 4 w 3"/>
                  <a:gd name="T9" fmla="*/ 4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3" y="3"/>
                    </a:moveTo>
                    <a:cubicBezTo>
                      <a:pt x="3" y="2"/>
                      <a:pt x="3" y="1"/>
                      <a:pt x="2" y="1"/>
                    </a:cubicBezTo>
                    <a:cubicBezTo>
                      <a:pt x="2" y="1"/>
                      <a:pt x="1" y="0"/>
                      <a:pt x="0" y="1"/>
                    </a:cubicBezTo>
                    <a:cubicBezTo>
                      <a:pt x="0" y="1"/>
                      <a:pt x="1" y="2"/>
                      <a:pt x="1" y="2"/>
                    </a:cubicBezTo>
                    <a:cubicBezTo>
                      <a:pt x="2" y="3"/>
                      <a:pt x="3" y="3"/>
                      <a:pt x="3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27" name="Freeform 2762"/>
              <p:cNvSpPr>
                <a:spLocks noChangeAspect="1"/>
              </p:cNvSpPr>
              <p:nvPr/>
            </p:nvSpPr>
            <p:spPr bwMode="auto">
              <a:xfrm>
                <a:off x="4598497" y="2071465"/>
                <a:ext cx="4474" cy="3322"/>
              </a:xfrm>
              <a:custGeom>
                <a:avLst/>
                <a:gdLst>
                  <a:gd name="T0" fmla="*/ 4 w 3"/>
                  <a:gd name="T1" fmla="*/ 3 h 3"/>
                  <a:gd name="T2" fmla="*/ 3 w 3"/>
                  <a:gd name="T3" fmla="*/ 1 h 3"/>
                  <a:gd name="T4" fmla="*/ 0 w 3"/>
                  <a:gd name="T5" fmla="*/ 0 h 3"/>
                  <a:gd name="T6" fmla="*/ 1 w 3"/>
                  <a:gd name="T7" fmla="*/ 3 h 3"/>
                  <a:gd name="T8" fmla="*/ 4 w 3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3" y="2"/>
                    </a:moveTo>
                    <a:cubicBezTo>
                      <a:pt x="3" y="2"/>
                      <a:pt x="3" y="1"/>
                      <a:pt x="2" y="1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1" y="2"/>
                      <a:pt x="2" y="3"/>
                      <a:pt x="3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28" name="Freeform 2763"/>
              <p:cNvSpPr>
                <a:spLocks noChangeAspect="1"/>
              </p:cNvSpPr>
              <p:nvPr/>
            </p:nvSpPr>
            <p:spPr bwMode="auto">
              <a:xfrm>
                <a:off x="4568299" y="2069804"/>
                <a:ext cx="1119" cy="4153"/>
              </a:xfrm>
              <a:custGeom>
                <a:avLst/>
                <a:gdLst>
                  <a:gd name="T0" fmla="*/ 1 w 1"/>
                  <a:gd name="T1" fmla="*/ 5 h 4"/>
                  <a:gd name="T2" fmla="*/ 1 w 1"/>
                  <a:gd name="T3" fmla="*/ 3 h 4"/>
                  <a:gd name="T4" fmla="*/ 1 w 1"/>
                  <a:gd name="T5" fmla="*/ 0 h 4"/>
                  <a:gd name="T6" fmla="*/ 0 w 1"/>
                  <a:gd name="T7" fmla="*/ 3 h 4"/>
                  <a:gd name="T8" fmla="*/ 1 w 1"/>
                  <a:gd name="T9" fmla="*/ 5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4"/>
                  <a:gd name="T17" fmla="*/ 1 w 1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4">
                    <a:moveTo>
                      <a:pt x="1" y="4"/>
                    </a:moveTo>
                    <a:cubicBezTo>
                      <a:pt x="1" y="4"/>
                      <a:pt x="1" y="3"/>
                      <a:pt x="1" y="2"/>
                    </a:cubicBezTo>
                    <a:cubicBezTo>
                      <a:pt x="1" y="2"/>
                      <a:pt x="1" y="1"/>
                      <a:pt x="1" y="0"/>
                    </a:cubicBezTo>
                    <a:cubicBezTo>
                      <a:pt x="0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1" y="4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29" name="Freeform 2764"/>
              <p:cNvSpPr>
                <a:spLocks noChangeAspect="1"/>
              </p:cNvSpPr>
              <p:nvPr/>
            </p:nvSpPr>
            <p:spPr bwMode="auto">
              <a:xfrm>
                <a:off x="4568299" y="2063159"/>
                <a:ext cx="2237" cy="1661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0 h 2"/>
                  <a:gd name="T4" fmla="*/ 0 w 2"/>
                  <a:gd name="T5" fmla="*/ 0 h 2"/>
                  <a:gd name="T6" fmla="*/ 1 w 2"/>
                  <a:gd name="T7" fmla="*/ 1 h 2"/>
                  <a:gd name="T8" fmla="*/ 2 w 2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2" y="2"/>
                    </a:moveTo>
                    <a:cubicBezTo>
                      <a:pt x="2" y="1"/>
                      <a:pt x="2" y="1"/>
                      <a:pt x="2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2"/>
                      <a:pt x="2" y="2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30" name="Freeform 2765"/>
              <p:cNvSpPr>
                <a:spLocks noChangeAspect="1"/>
              </p:cNvSpPr>
              <p:nvPr/>
            </p:nvSpPr>
            <p:spPr bwMode="auto">
              <a:xfrm>
                <a:off x="4569416" y="2074788"/>
                <a:ext cx="2237" cy="1661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1 h 2"/>
                  <a:gd name="T4" fmla="*/ 1 w 2"/>
                  <a:gd name="T5" fmla="*/ 0 h 2"/>
                  <a:gd name="T6" fmla="*/ 1 w 2"/>
                  <a:gd name="T7" fmla="*/ 1 h 2"/>
                  <a:gd name="T8" fmla="*/ 2 w 2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2" y="2"/>
                    </a:moveTo>
                    <a:cubicBezTo>
                      <a:pt x="2" y="2"/>
                      <a:pt x="2" y="1"/>
                      <a:pt x="2" y="1"/>
                    </a:cubicBezTo>
                    <a:cubicBezTo>
                      <a:pt x="2" y="0"/>
                      <a:pt x="1" y="0"/>
                      <a:pt x="1" y="0"/>
                    </a:cubicBezTo>
                    <a:cubicBezTo>
                      <a:pt x="0" y="0"/>
                      <a:pt x="1" y="1"/>
                      <a:pt x="1" y="1"/>
                    </a:cubicBezTo>
                    <a:cubicBezTo>
                      <a:pt x="1" y="1"/>
                      <a:pt x="1" y="2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31" name="Freeform 2766"/>
              <p:cNvSpPr>
                <a:spLocks noChangeAspect="1"/>
              </p:cNvSpPr>
              <p:nvPr/>
            </p:nvSpPr>
            <p:spPr bwMode="auto">
              <a:xfrm>
                <a:off x="4570535" y="2078942"/>
                <a:ext cx="4474" cy="831"/>
              </a:xfrm>
              <a:custGeom>
                <a:avLst/>
                <a:gdLst>
                  <a:gd name="T0" fmla="*/ 4 w 3"/>
                  <a:gd name="T1" fmla="*/ 1 h 1"/>
                  <a:gd name="T2" fmla="*/ 3 w 3"/>
                  <a:gd name="T3" fmla="*/ 0 h 1"/>
                  <a:gd name="T4" fmla="*/ 0 w 3"/>
                  <a:gd name="T5" fmla="*/ 1 h 1"/>
                  <a:gd name="T6" fmla="*/ 3 w 3"/>
                  <a:gd name="T7" fmla="*/ 1 h 1"/>
                  <a:gd name="T8" fmla="*/ 4 w 3"/>
                  <a:gd name="T9" fmla="*/ 1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1"/>
                  <a:gd name="T17" fmla="*/ 3 w 3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1">
                    <a:moveTo>
                      <a:pt x="3" y="1"/>
                    </a:moveTo>
                    <a:cubicBezTo>
                      <a:pt x="3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1"/>
                      <a:pt x="1" y="1"/>
                      <a:pt x="2" y="1"/>
                    </a:cubicBezTo>
                    <a:cubicBezTo>
                      <a:pt x="2" y="1"/>
                      <a:pt x="3" y="1"/>
                      <a:pt x="3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32" name="Freeform 2767"/>
              <p:cNvSpPr>
                <a:spLocks noChangeAspect="1"/>
              </p:cNvSpPr>
              <p:nvPr/>
            </p:nvSpPr>
            <p:spPr bwMode="auto">
              <a:xfrm>
                <a:off x="4629815" y="2070635"/>
                <a:ext cx="3356" cy="2493"/>
              </a:xfrm>
              <a:custGeom>
                <a:avLst/>
                <a:gdLst>
                  <a:gd name="T0" fmla="*/ 3 w 3"/>
                  <a:gd name="T1" fmla="*/ 2 h 2"/>
                  <a:gd name="T2" fmla="*/ 2 w 3"/>
                  <a:gd name="T3" fmla="*/ 0 h 2"/>
                  <a:gd name="T4" fmla="*/ 0 w 3"/>
                  <a:gd name="T5" fmla="*/ 2 h 2"/>
                  <a:gd name="T6" fmla="*/ 2 w 3"/>
                  <a:gd name="T7" fmla="*/ 3 h 2"/>
                  <a:gd name="T8" fmla="*/ 3 w 3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3" y="1"/>
                    </a:moveTo>
                    <a:cubicBezTo>
                      <a:pt x="3" y="0"/>
                      <a:pt x="2" y="0"/>
                      <a:pt x="2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0" y="2"/>
                      <a:pt x="1" y="2"/>
                      <a:pt x="2" y="2"/>
                    </a:cubicBezTo>
                    <a:cubicBezTo>
                      <a:pt x="2" y="2"/>
                      <a:pt x="3" y="1"/>
                      <a:pt x="3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33" name="Oval 2768"/>
              <p:cNvSpPr>
                <a:spLocks noChangeAspect="1" noChangeArrowheads="1"/>
              </p:cNvSpPr>
              <p:nvPr/>
            </p:nvSpPr>
            <p:spPr bwMode="auto">
              <a:xfrm>
                <a:off x="4602971" y="2053190"/>
                <a:ext cx="2237" cy="3322"/>
              </a:xfrm>
              <a:prstGeom prst="ellipse">
                <a:avLst/>
              </a:pr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34" name="Freeform 2769"/>
              <p:cNvSpPr>
                <a:spLocks noChangeAspect="1"/>
              </p:cNvSpPr>
              <p:nvPr/>
            </p:nvSpPr>
            <p:spPr bwMode="auto">
              <a:xfrm>
                <a:off x="4671200" y="2066482"/>
                <a:ext cx="5593" cy="4153"/>
              </a:xfrm>
              <a:custGeom>
                <a:avLst/>
                <a:gdLst>
                  <a:gd name="T0" fmla="*/ 0 w 4"/>
                  <a:gd name="T1" fmla="*/ 1 h 4"/>
                  <a:gd name="T2" fmla="*/ 1 w 4"/>
                  <a:gd name="T3" fmla="*/ 4 h 4"/>
                  <a:gd name="T4" fmla="*/ 4 w 4"/>
                  <a:gd name="T5" fmla="*/ 5 h 4"/>
                  <a:gd name="T6" fmla="*/ 4 w 4"/>
                  <a:gd name="T7" fmla="*/ 3 h 4"/>
                  <a:gd name="T8" fmla="*/ 0 w 4"/>
                  <a:gd name="T9" fmla="*/ 1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0" y="1"/>
                    </a:moveTo>
                    <a:cubicBezTo>
                      <a:pt x="0" y="1"/>
                      <a:pt x="0" y="2"/>
                      <a:pt x="1" y="3"/>
                    </a:cubicBezTo>
                    <a:cubicBezTo>
                      <a:pt x="1" y="4"/>
                      <a:pt x="2" y="4"/>
                      <a:pt x="3" y="4"/>
                    </a:cubicBezTo>
                    <a:cubicBezTo>
                      <a:pt x="4" y="4"/>
                      <a:pt x="3" y="3"/>
                      <a:pt x="3" y="2"/>
                    </a:cubicBezTo>
                    <a:cubicBezTo>
                      <a:pt x="2" y="1"/>
                      <a:pt x="1" y="0"/>
                      <a:pt x="0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35" name="Freeform 2770"/>
              <p:cNvSpPr>
                <a:spLocks noChangeAspect="1"/>
              </p:cNvSpPr>
              <p:nvPr/>
            </p:nvSpPr>
            <p:spPr bwMode="auto">
              <a:xfrm>
                <a:off x="4571654" y="2035747"/>
                <a:ext cx="4474" cy="4153"/>
              </a:xfrm>
              <a:custGeom>
                <a:avLst/>
                <a:gdLst>
                  <a:gd name="T0" fmla="*/ 3 w 3"/>
                  <a:gd name="T1" fmla="*/ 0 h 4"/>
                  <a:gd name="T2" fmla="*/ 1 w 3"/>
                  <a:gd name="T3" fmla="*/ 1 h 4"/>
                  <a:gd name="T4" fmla="*/ 0 w 3"/>
                  <a:gd name="T5" fmla="*/ 4 h 4"/>
                  <a:gd name="T6" fmla="*/ 3 w 3"/>
                  <a:gd name="T7" fmla="*/ 3 h 4"/>
                  <a:gd name="T8" fmla="*/ 3 w 3"/>
                  <a:gd name="T9" fmla="*/ 0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4"/>
                  <a:gd name="T17" fmla="*/ 3 w 3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4">
                    <a:moveTo>
                      <a:pt x="2" y="0"/>
                    </a:moveTo>
                    <a:cubicBezTo>
                      <a:pt x="2" y="0"/>
                      <a:pt x="1" y="1"/>
                      <a:pt x="1" y="1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1" y="4"/>
                      <a:pt x="2" y="3"/>
                      <a:pt x="2" y="2"/>
                    </a:cubicBezTo>
                    <a:cubicBezTo>
                      <a:pt x="2" y="2"/>
                      <a:pt x="3" y="1"/>
                      <a:pt x="2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36" name="Freeform 2771"/>
              <p:cNvSpPr>
                <a:spLocks noChangeAspect="1"/>
              </p:cNvSpPr>
              <p:nvPr/>
            </p:nvSpPr>
            <p:spPr bwMode="auto">
              <a:xfrm>
                <a:off x="4591787" y="2059836"/>
                <a:ext cx="14540" cy="10799"/>
              </a:xfrm>
              <a:custGeom>
                <a:avLst/>
                <a:gdLst>
                  <a:gd name="T0" fmla="*/ 6 w 11"/>
                  <a:gd name="T1" fmla="*/ 0 h 11"/>
                  <a:gd name="T2" fmla="*/ 11 w 11"/>
                  <a:gd name="T3" fmla="*/ 2 h 11"/>
                  <a:gd name="T4" fmla="*/ 13 w 11"/>
                  <a:gd name="T5" fmla="*/ 8 h 11"/>
                  <a:gd name="T6" fmla="*/ 11 w 11"/>
                  <a:gd name="T7" fmla="*/ 13 h 11"/>
                  <a:gd name="T8" fmla="*/ 4 w 11"/>
                  <a:gd name="T9" fmla="*/ 9 h 11"/>
                  <a:gd name="T10" fmla="*/ 0 w 11"/>
                  <a:gd name="T11" fmla="*/ 6 h 11"/>
                  <a:gd name="T12" fmla="*/ 2 w 11"/>
                  <a:gd name="T13" fmla="*/ 1 h 11"/>
                  <a:gd name="T14" fmla="*/ 6 w 11"/>
                  <a:gd name="T15" fmla="*/ 0 h 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1"/>
                  <a:gd name="T25" fmla="*/ 0 h 11"/>
                  <a:gd name="T26" fmla="*/ 11 w 11"/>
                  <a:gd name="T27" fmla="*/ 11 h 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1" h="11">
                    <a:moveTo>
                      <a:pt x="5" y="0"/>
                    </a:moveTo>
                    <a:cubicBezTo>
                      <a:pt x="7" y="0"/>
                      <a:pt x="8" y="1"/>
                      <a:pt x="9" y="2"/>
                    </a:cubicBezTo>
                    <a:cubicBezTo>
                      <a:pt x="10" y="3"/>
                      <a:pt x="11" y="5"/>
                      <a:pt x="11" y="7"/>
                    </a:cubicBezTo>
                    <a:cubicBezTo>
                      <a:pt x="11" y="9"/>
                      <a:pt x="10" y="10"/>
                      <a:pt x="9" y="11"/>
                    </a:cubicBezTo>
                    <a:cubicBezTo>
                      <a:pt x="7" y="11"/>
                      <a:pt x="5" y="9"/>
                      <a:pt x="3" y="8"/>
                    </a:cubicBezTo>
                    <a:cubicBezTo>
                      <a:pt x="2" y="7"/>
                      <a:pt x="1" y="6"/>
                      <a:pt x="0" y="5"/>
                    </a:cubicBezTo>
                    <a:cubicBezTo>
                      <a:pt x="0" y="3"/>
                      <a:pt x="1" y="2"/>
                      <a:pt x="2" y="1"/>
                    </a:cubicBezTo>
                    <a:cubicBezTo>
                      <a:pt x="3" y="0"/>
                      <a:pt x="4" y="0"/>
                      <a:pt x="5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37" name="Freeform 2772"/>
              <p:cNvSpPr>
                <a:spLocks noChangeAspect="1"/>
              </p:cNvSpPr>
              <p:nvPr/>
            </p:nvSpPr>
            <p:spPr bwMode="auto">
              <a:xfrm>
                <a:off x="4608564" y="2049869"/>
                <a:ext cx="26844" cy="23258"/>
              </a:xfrm>
              <a:custGeom>
                <a:avLst/>
                <a:gdLst>
                  <a:gd name="T0" fmla="*/ 14 w 20"/>
                  <a:gd name="T1" fmla="*/ 4 h 23"/>
                  <a:gd name="T2" fmla="*/ 20 w 20"/>
                  <a:gd name="T3" fmla="*/ 0 h 23"/>
                  <a:gd name="T4" fmla="*/ 24 w 20"/>
                  <a:gd name="T5" fmla="*/ 4 h 23"/>
                  <a:gd name="T6" fmla="*/ 22 w 20"/>
                  <a:gd name="T7" fmla="*/ 13 h 23"/>
                  <a:gd name="T8" fmla="*/ 19 w 20"/>
                  <a:gd name="T9" fmla="*/ 16 h 23"/>
                  <a:gd name="T10" fmla="*/ 22 w 20"/>
                  <a:gd name="T11" fmla="*/ 19 h 23"/>
                  <a:gd name="T12" fmla="*/ 18 w 20"/>
                  <a:gd name="T13" fmla="*/ 21 h 23"/>
                  <a:gd name="T14" fmla="*/ 18 w 20"/>
                  <a:gd name="T15" fmla="*/ 27 h 23"/>
                  <a:gd name="T16" fmla="*/ 12 w 20"/>
                  <a:gd name="T17" fmla="*/ 23 h 23"/>
                  <a:gd name="T18" fmla="*/ 8 w 20"/>
                  <a:gd name="T19" fmla="*/ 22 h 23"/>
                  <a:gd name="T20" fmla="*/ 4 w 20"/>
                  <a:gd name="T21" fmla="*/ 18 h 23"/>
                  <a:gd name="T22" fmla="*/ 4 w 20"/>
                  <a:gd name="T23" fmla="*/ 13 h 23"/>
                  <a:gd name="T24" fmla="*/ 1 w 20"/>
                  <a:gd name="T25" fmla="*/ 10 h 23"/>
                  <a:gd name="T26" fmla="*/ 7 w 20"/>
                  <a:gd name="T27" fmla="*/ 9 h 23"/>
                  <a:gd name="T28" fmla="*/ 8 w 20"/>
                  <a:gd name="T29" fmla="*/ 5 h 23"/>
                  <a:gd name="T30" fmla="*/ 12 w 20"/>
                  <a:gd name="T31" fmla="*/ 7 h 23"/>
                  <a:gd name="T32" fmla="*/ 12 w 20"/>
                  <a:gd name="T33" fmla="*/ 10 h 23"/>
                  <a:gd name="T34" fmla="*/ 17 w 20"/>
                  <a:gd name="T35" fmla="*/ 11 h 23"/>
                  <a:gd name="T36" fmla="*/ 17 w 20"/>
                  <a:gd name="T37" fmla="*/ 6 h 23"/>
                  <a:gd name="T38" fmla="*/ 14 w 20"/>
                  <a:gd name="T39" fmla="*/ 4 h 2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20"/>
                  <a:gd name="T61" fmla="*/ 0 h 23"/>
                  <a:gd name="T62" fmla="*/ 20 w 20"/>
                  <a:gd name="T63" fmla="*/ 23 h 23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20" h="23">
                    <a:moveTo>
                      <a:pt x="12" y="3"/>
                    </a:moveTo>
                    <a:cubicBezTo>
                      <a:pt x="13" y="1"/>
                      <a:pt x="15" y="0"/>
                      <a:pt x="17" y="0"/>
                    </a:cubicBezTo>
                    <a:cubicBezTo>
                      <a:pt x="18" y="0"/>
                      <a:pt x="20" y="2"/>
                      <a:pt x="20" y="3"/>
                    </a:cubicBezTo>
                    <a:cubicBezTo>
                      <a:pt x="20" y="6"/>
                      <a:pt x="19" y="8"/>
                      <a:pt x="18" y="11"/>
                    </a:cubicBezTo>
                    <a:cubicBezTo>
                      <a:pt x="18" y="12"/>
                      <a:pt x="16" y="12"/>
                      <a:pt x="16" y="13"/>
                    </a:cubicBezTo>
                    <a:cubicBezTo>
                      <a:pt x="16" y="14"/>
                      <a:pt x="19" y="15"/>
                      <a:pt x="18" y="16"/>
                    </a:cubicBezTo>
                    <a:cubicBezTo>
                      <a:pt x="18" y="18"/>
                      <a:pt x="15" y="16"/>
                      <a:pt x="15" y="17"/>
                    </a:cubicBezTo>
                    <a:cubicBezTo>
                      <a:pt x="14" y="19"/>
                      <a:pt x="16" y="22"/>
                      <a:pt x="15" y="22"/>
                    </a:cubicBezTo>
                    <a:cubicBezTo>
                      <a:pt x="13" y="23"/>
                      <a:pt x="12" y="20"/>
                      <a:pt x="10" y="19"/>
                    </a:cubicBezTo>
                    <a:cubicBezTo>
                      <a:pt x="9" y="19"/>
                      <a:pt x="8" y="18"/>
                      <a:pt x="7" y="18"/>
                    </a:cubicBezTo>
                    <a:cubicBezTo>
                      <a:pt x="6" y="17"/>
                      <a:pt x="4" y="16"/>
                      <a:pt x="3" y="15"/>
                    </a:cubicBezTo>
                    <a:cubicBezTo>
                      <a:pt x="2" y="13"/>
                      <a:pt x="3" y="12"/>
                      <a:pt x="3" y="11"/>
                    </a:cubicBezTo>
                    <a:cubicBezTo>
                      <a:pt x="3" y="10"/>
                      <a:pt x="0" y="9"/>
                      <a:pt x="1" y="8"/>
                    </a:cubicBezTo>
                    <a:cubicBezTo>
                      <a:pt x="2" y="6"/>
                      <a:pt x="4" y="8"/>
                      <a:pt x="6" y="7"/>
                    </a:cubicBezTo>
                    <a:cubicBezTo>
                      <a:pt x="7" y="7"/>
                      <a:pt x="6" y="4"/>
                      <a:pt x="7" y="4"/>
                    </a:cubicBezTo>
                    <a:cubicBezTo>
                      <a:pt x="8" y="4"/>
                      <a:pt x="9" y="5"/>
                      <a:pt x="10" y="6"/>
                    </a:cubicBezTo>
                    <a:cubicBezTo>
                      <a:pt x="10" y="6"/>
                      <a:pt x="10" y="8"/>
                      <a:pt x="10" y="8"/>
                    </a:cubicBezTo>
                    <a:cubicBezTo>
                      <a:pt x="11" y="9"/>
                      <a:pt x="13" y="10"/>
                      <a:pt x="14" y="9"/>
                    </a:cubicBezTo>
                    <a:cubicBezTo>
                      <a:pt x="15" y="8"/>
                      <a:pt x="14" y="6"/>
                      <a:pt x="14" y="5"/>
                    </a:cubicBezTo>
                    <a:cubicBezTo>
                      <a:pt x="14" y="4"/>
                      <a:pt x="12" y="3"/>
                      <a:pt x="12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38" name="Freeform 2773"/>
              <p:cNvSpPr>
                <a:spLocks noChangeAspect="1"/>
              </p:cNvSpPr>
              <p:nvPr/>
            </p:nvSpPr>
            <p:spPr bwMode="auto">
              <a:xfrm>
                <a:off x="4621986" y="2073127"/>
                <a:ext cx="6712" cy="5815"/>
              </a:xfrm>
              <a:custGeom>
                <a:avLst/>
                <a:gdLst>
                  <a:gd name="T0" fmla="*/ 6 w 5"/>
                  <a:gd name="T1" fmla="*/ 1 h 6"/>
                  <a:gd name="T2" fmla="*/ 1 w 5"/>
                  <a:gd name="T3" fmla="*/ 0 h 6"/>
                  <a:gd name="T4" fmla="*/ 2 w 5"/>
                  <a:gd name="T5" fmla="*/ 4 h 6"/>
                  <a:gd name="T6" fmla="*/ 4 w 5"/>
                  <a:gd name="T7" fmla="*/ 7 h 6"/>
                  <a:gd name="T8" fmla="*/ 6 w 5"/>
                  <a:gd name="T9" fmla="*/ 1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6"/>
                  <a:gd name="T17" fmla="*/ 5 w 5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6">
                    <a:moveTo>
                      <a:pt x="5" y="1"/>
                    </a:moveTo>
                    <a:cubicBezTo>
                      <a:pt x="4" y="1"/>
                      <a:pt x="1" y="0"/>
                      <a:pt x="1" y="0"/>
                    </a:cubicBezTo>
                    <a:cubicBezTo>
                      <a:pt x="0" y="0"/>
                      <a:pt x="2" y="2"/>
                      <a:pt x="2" y="3"/>
                    </a:cubicBezTo>
                    <a:cubicBezTo>
                      <a:pt x="2" y="4"/>
                      <a:pt x="2" y="6"/>
                      <a:pt x="3" y="6"/>
                    </a:cubicBezTo>
                    <a:cubicBezTo>
                      <a:pt x="4" y="5"/>
                      <a:pt x="4" y="2"/>
                      <a:pt x="5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39" name="Freeform 2774"/>
              <p:cNvSpPr>
                <a:spLocks noChangeAspect="1"/>
              </p:cNvSpPr>
              <p:nvPr/>
            </p:nvSpPr>
            <p:spPr bwMode="auto">
              <a:xfrm>
                <a:off x="4610802" y="2071465"/>
                <a:ext cx="12304" cy="6645"/>
              </a:xfrm>
              <a:custGeom>
                <a:avLst/>
                <a:gdLst>
                  <a:gd name="T0" fmla="*/ 2 w 9"/>
                  <a:gd name="T1" fmla="*/ 0 h 6"/>
                  <a:gd name="T2" fmla="*/ 9 w 9"/>
                  <a:gd name="T3" fmla="*/ 4 h 6"/>
                  <a:gd name="T4" fmla="*/ 11 w 9"/>
                  <a:gd name="T5" fmla="*/ 8 h 6"/>
                  <a:gd name="T6" fmla="*/ 4 w 9"/>
                  <a:gd name="T7" fmla="*/ 7 h 6"/>
                  <a:gd name="T8" fmla="*/ 0 w 9"/>
                  <a:gd name="T9" fmla="*/ 4 h 6"/>
                  <a:gd name="T10" fmla="*/ 0 w 9"/>
                  <a:gd name="T11" fmla="*/ 1 h 6"/>
                  <a:gd name="T12" fmla="*/ 2 w 9"/>
                  <a:gd name="T13" fmla="*/ 0 h 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9"/>
                  <a:gd name="T22" fmla="*/ 0 h 6"/>
                  <a:gd name="T23" fmla="*/ 9 w 9"/>
                  <a:gd name="T24" fmla="*/ 6 h 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9" h="6">
                    <a:moveTo>
                      <a:pt x="2" y="0"/>
                    </a:moveTo>
                    <a:cubicBezTo>
                      <a:pt x="4" y="0"/>
                      <a:pt x="5" y="2"/>
                      <a:pt x="7" y="3"/>
                    </a:cubicBezTo>
                    <a:cubicBezTo>
                      <a:pt x="8" y="4"/>
                      <a:pt x="9" y="5"/>
                      <a:pt x="9" y="6"/>
                    </a:cubicBezTo>
                    <a:cubicBezTo>
                      <a:pt x="7" y="6"/>
                      <a:pt x="5" y="5"/>
                      <a:pt x="3" y="5"/>
                    </a:cubicBezTo>
                    <a:cubicBezTo>
                      <a:pt x="2" y="4"/>
                      <a:pt x="1" y="4"/>
                      <a:pt x="0" y="3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1" y="1"/>
                      <a:pt x="1" y="0"/>
                      <a:pt x="2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40" name="Freeform 2775"/>
              <p:cNvSpPr>
                <a:spLocks noChangeAspect="1"/>
              </p:cNvSpPr>
              <p:nvPr/>
            </p:nvSpPr>
            <p:spPr bwMode="auto">
              <a:xfrm>
                <a:off x="4605209" y="2069804"/>
                <a:ext cx="3356" cy="6645"/>
              </a:xfrm>
              <a:custGeom>
                <a:avLst/>
                <a:gdLst>
                  <a:gd name="T0" fmla="*/ 3 w 2"/>
                  <a:gd name="T1" fmla="*/ 0 h 7"/>
                  <a:gd name="T2" fmla="*/ 0 w 2"/>
                  <a:gd name="T3" fmla="*/ 8 h 7"/>
                  <a:gd name="T4" fmla="*/ 0 w 2"/>
                  <a:gd name="T5" fmla="*/ 3 h 7"/>
                  <a:gd name="T6" fmla="*/ 3 w 2"/>
                  <a:gd name="T7" fmla="*/ 0 h 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"/>
                  <a:gd name="T13" fmla="*/ 0 h 7"/>
                  <a:gd name="T14" fmla="*/ 2 w 2"/>
                  <a:gd name="T15" fmla="*/ 7 h 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" h="7">
                    <a:moveTo>
                      <a:pt x="2" y="0"/>
                    </a:moveTo>
                    <a:cubicBezTo>
                      <a:pt x="2" y="3"/>
                      <a:pt x="2" y="5"/>
                      <a:pt x="0" y="7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1" y="2"/>
                      <a:pt x="2" y="0"/>
                      <a:pt x="2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41" name="Freeform 2776"/>
              <p:cNvSpPr>
                <a:spLocks noChangeAspect="1"/>
              </p:cNvSpPr>
              <p:nvPr/>
            </p:nvSpPr>
            <p:spPr bwMode="auto">
              <a:xfrm>
                <a:off x="4644356" y="2076450"/>
                <a:ext cx="8948" cy="8307"/>
              </a:xfrm>
              <a:custGeom>
                <a:avLst/>
                <a:gdLst>
                  <a:gd name="T0" fmla="*/ 3 w 7"/>
                  <a:gd name="T1" fmla="*/ 1 h 8"/>
                  <a:gd name="T2" fmla="*/ 7 w 7"/>
                  <a:gd name="T3" fmla="*/ 4 h 8"/>
                  <a:gd name="T4" fmla="*/ 6 w 7"/>
                  <a:gd name="T5" fmla="*/ 9 h 8"/>
                  <a:gd name="T6" fmla="*/ 1 w 7"/>
                  <a:gd name="T7" fmla="*/ 6 h 8"/>
                  <a:gd name="T8" fmla="*/ 1 w 7"/>
                  <a:gd name="T9" fmla="*/ 3 h 8"/>
                  <a:gd name="T10" fmla="*/ 3 w 7"/>
                  <a:gd name="T11" fmla="*/ 1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8"/>
                  <a:gd name="T20" fmla="*/ 7 w 7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8">
                    <a:moveTo>
                      <a:pt x="3" y="1"/>
                    </a:moveTo>
                    <a:cubicBezTo>
                      <a:pt x="4" y="1"/>
                      <a:pt x="6" y="1"/>
                      <a:pt x="6" y="3"/>
                    </a:cubicBezTo>
                    <a:cubicBezTo>
                      <a:pt x="7" y="4"/>
                      <a:pt x="7" y="7"/>
                      <a:pt x="5" y="7"/>
                    </a:cubicBezTo>
                    <a:cubicBezTo>
                      <a:pt x="4" y="8"/>
                      <a:pt x="2" y="6"/>
                      <a:pt x="1" y="5"/>
                    </a:cubicBezTo>
                    <a:cubicBezTo>
                      <a:pt x="0" y="4"/>
                      <a:pt x="0" y="3"/>
                      <a:pt x="1" y="2"/>
                    </a:cubicBezTo>
                    <a:cubicBezTo>
                      <a:pt x="1" y="1"/>
                      <a:pt x="2" y="0"/>
                      <a:pt x="3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42" name="Freeform 2777"/>
              <p:cNvSpPr>
                <a:spLocks noChangeAspect="1"/>
              </p:cNvSpPr>
              <p:nvPr/>
            </p:nvSpPr>
            <p:spPr bwMode="auto">
              <a:xfrm>
                <a:off x="4343482" y="2001689"/>
                <a:ext cx="120797" cy="157827"/>
              </a:xfrm>
              <a:custGeom>
                <a:avLst/>
                <a:gdLst>
                  <a:gd name="T0" fmla="*/ 106 w 90"/>
                  <a:gd name="T1" fmla="*/ 160 h 158"/>
                  <a:gd name="T2" fmla="*/ 79 w 90"/>
                  <a:gd name="T3" fmla="*/ 170 h 158"/>
                  <a:gd name="T4" fmla="*/ 55 w 90"/>
                  <a:gd name="T5" fmla="*/ 172 h 158"/>
                  <a:gd name="T6" fmla="*/ 35 w 90"/>
                  <a:gd name="T7" fmla="*/ 174 h 158"/>
                  <a:gd name="T8" fmla="*/ 13 w 90"/>
                  <a:gd name="T9" fmla="*/ 184 h 158"/>
                  <a:gd name="T10" fmla="*/ 0 w 90"/>
                  <a:gd name="T11" fmla="*/ 188 h 158"/>
                  <a:gd name="T12" fmla="*/ 19 w 90"/>
                  <a:gd name="T13" fmla="*/ 166 h 158"/>
                  <a:gd name="T14" fmla="*/ 40 w 90"/>
                  <a:gd name="T15" fmla="*/ 161 h 158"/>
                  <a:gd name="T16" fmla="*/ 36 w 90"/>
                  <a:gd name="T17" fmla="*/ 159 h 158"/>
                  <a:gd name="T18" fmla="*/ 22 w 90"/>
                  <a:gd name="T19" fmla="*/ 152 h 158"/>
                  <a:gd name="T20" fmla="*/ 19 w 90"/>
                  <a:gd name="T21" fmla="*/ 142 h 158"/>
                  <a:gd name="T22" fmla="*/ 18 w 90"/>
                  <a:gd name="T23" fmla="*/ 127 h 158"/>
                  <a:gd name="T24" fmla="*/ 36 w 90"/>
                  <a:gd name="T25" fmla="*/ 117 h 158"/>
                  <a:gd name="T26" fmla="*/ 43 w 90"/>
                  <a:gd name="T27" fmla="*/ 107 h 158"/>
                  <a:gd name="T28" fmla="*/ 40 w 90"/>
                  <a:gd name="T29" fmla="*/ 100 h 158"/>
                  <a:gd name="T30" fmla="*/ 38 w 90"/>
                  <a:gd name="T31" fmla="*/ 82 h 158"/>
                  <a:gd name="T32" fmla="*/ 19 w 90"/>
                  <a:gd name="T33" fmla="*/ 84 h 158"/>
                  <a:gd name="T34" fmla="*/ 17 w 90"/>
                  <a:gd name="T35" fmla="*/ 72 h 158"/>
                  <a:gd name="T36" fmla="*/ 14 w 90"/>
                  <a:gd name="T37" fmla="*/ 61 h 158"/>
                  <a:gd name="T38" fmla="*/ 7 w 90"/>
                  <a:gd name="T39" fmla="*/ 63 h 158"/>
                  <a:gd name="T40" fmla="*/ 8 w 90"/>
                  <a:gd name="T41" fmla="*/ 49 h 158"/>
                  <a:gd name="T42" fmla="*/ 0 w 90"/>
                  <a:gd name="T43" fmla="*/ 44 h 158"/>
                  <a:gd name="T44" fmla="*/ 6 w 90"/>
                  <a:gd name="T45" fmla="*/ 37 h 158"/>
                  <a:gd name="T46" fmla="*/ 5 w 90"/>
                  <a:gd name="T47" fmla="*/ 31 h 158"/>
                  <a:gd name="T48" fmla="*/ 4 w 90"/>
                  <a:gd name="T49" fmla="*/ 22 h 158"/>
                  <a:gd name="T50" fmla="*/ 8 w 90"/>
                  <a:gd name="T51" fmla="*/ 13 h 158"/>
                  <a:gd name="T52" fmla="*/ 14 w 90"/>
                  <a:gd name="T53" fmla="*/ 8 h 158"/>
                  <a:gd name="T54" fmla="*/ 23 w 90"/>
                  <a:gd name="T55" fmla="*/ 4 h 158"/>
                  <a:gd name="T56" fmla="*/ 41 w 90"/>
                  <a:gd name="T57" fmla="*/ 5 h 158"/>
                  <a:gd name="T58" fmla="*/ 25 w 90"/>
                  <a:gd name="T59" fmla="*/ 19 h 158"/>
                  <a:gd name="T60" fmla="*/ 24 w 90"/>
                  <a:gd name="T61" fmla="*/ 28 h 158"/>
                  <a:gd name="T62" fmla="*/ 48 w 90"/>
                  <a:gd name="T63" fmla="*/ 22 h 158"/>
                  <a:gd name="T64" fmla="*/ 58 w 90"/>
                  <a:gd name="T65" fmla="*/ 31 h 158"/>
                  <a:gd name="T66" fmla="*/ 43 w 90"/>
                  <a:gd name="T67" fmla="*/ 49 h 158"/>
                  <a:gd name="T68" fmla="*/ 37 w 90"/>
                  <a:gd name="T69" fmla="*/ 60 h 158"/>
                  <a:gd name="T70" fmla="*/ 55 w 90"/>
                  <a:gd name="T71" fmla="*/ 63 h 158"/>
                  <a:gd name="T72" fmla="*/ 67 w 90"/>
                  <a:gd name="T73" fmla="*/ 88 h 158"/>
                  <a:gd name="T74" fmla="*/ 85 w 90"/>
                  <a:gd name="T75" fmla="*/ 112 h 158"/>
                  <a:gd name="T76" fmla="*/ 90 w 90"/>
                  <a:gd name="T77" fmla="*/ 120 h 158"/>
                  <a:gd name="T78" fmla="*/ 90 w 90"/>
                  <a:gd name="T79" fmla="*/ 129 h 158"/>
                  <a:gd name="T80" fmla="*/ 108 w 90"/>
                  <a:gd name="T81" fmla="*/ 136 h 158"/>
                  <a:gd name="T82" fmla="*/ 101 w 90"/>
                  <a:gd name="T83" fmla="*/ 150 h 158"/>
                  <a:gd name="T84" fmla="*/ 92 w 90"/>
                  <a:gd name="T85" fmla="*/ 156 h 15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90"/>
                  <a:gd name="T130" fmla="*/ 0 h 158"/>
                  <a:gd name="T131" fmla="*/ 90 w 90"/>
                  <a:gd name="T132" fmla="*/ 158 h 158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90" h="158">
                    <a:moveTo>
                      <a:pt x="76" y="131"/>
                    </a:moveTo>
                    <a:cubicBezTo>
                      <a:pt x="77" y="132"/>
                      <a:pt x="79" y="133"/>
                      <a:pt x="80" y="133"/>
                    </a:cubicBezTo>
                    <a:cubicBezTo>
                      <a:pt x="83" y="133"/>
                      <a:pt x="87" y="131"/>
                      <a:pt x="88" y="133"/>
                    </a:cubicBezTo>
                    <a:cubicBezTo>
                      <a:pt x="88" y="135"/>
                      <a:pt x="84" y="137"/>
                      <a:pt x="82" y="138"/>
                    </a:cubicBezTo>
                    <a:cubicBezTo>
                      <a:pt x="79" y="140"/>
                      <a:pt x="76" y="142"/>
                      <a:pt x="73" y="142"/>
                    </a:cubicBezTo>
                    <a:cubicBezTo>
                      <a:pt x="70" y="143"/>
                      <a:pt x="68" y="141"/>
                      <a:pt x="66" y="141"/>
                    </a:cubicBezTo>
                    <a:cubicBezTo>
                      <a:pt x="64" y="141"/>
                      <a:pt x="62" y="142"/>
                      <a:pt x="60" y="142"/>
                    </a:cubicBezTo>
                    <a:cubicBezTo>
                      <a:pt x="58" y="142"/>
                      <a:pt x="56" y="141"/>
                      <a:pt x="54" y="141"/>
                    </a:cubicBezTo>
                    <a:cubicBezTo>
                      <a:pt x="51" y="141"/>
                      <a:pt x="49" y="142"/>
                      <a:pt x="46" y="143"/>
                    </a:cubicBezTo>
                    <a:cubicBezTo>
                      <a:pt x="44" y="143"/>
                      <a:pt x="43" y="146"/>
                      <a:pt x="41" y="146"/>
                    </a:cubicBezTo>
                    <a:cubicBezTo>
                      <a:pt x="38" y="146"/>
                      <a:pt x="37" y="143"/>
                      <a:pt x="35" y="143"/>
                    </a:cubicBezTo>
                    <a:cubicBezTo>
                      <a:pt x="33" y="143"/>
                      <a:pt x="30" y="144"/>
                      <a:pt x="29" y="145"/>
                    </a:cubicBezTo>
                    <a:cubicBezTo>
                      <a:pt x="27" y="147"/>
                      <a:pt x="28" y="151"/>
                      <a:pt x="26" y="152"/>
                    </a:cubicBezTo>
                    <a:cubicBezTo>
                      <a:pt x="23" y="153"/>
                      <a:pt x="21" y="151"/>
                      <a:pt x="18" y="151"/>
                    </a:cubicBezTo>
                    <a:cubicBezTo>
                      <a:pt x="16" y="151"/>
                      <a:pt x="13" y="152"/>
                      <a:pt x="11" y="153"/>
                    </a:cubicBezTo>
                    <a:cubicBezTo>
                      <a:pt x="10" y="154"/>
                      <a:pt x="9" y="157"/>
                      <a:pt x="8" y="157"/>
                    </a:cubicBezTo>
                    <a:cubicBezTo>
                      <a:pt x="6" y="158"/>
                      <a:pt x="5" y="156"/>
                      <a:pt x="3" y="156"/>
                    </a:cubicBezTo>
                    <a:cubicBezTo>
                      <a:pt x="2" y="156"/>
                      <a:pt x="0" y="157"/>
                      <a:pt x="0" y="156"/>
                    </a:cubicBezTo>
                    <a:cubicBezTo>
                      <a:pt x="2" y="154"/>
                      <a:pt x="5" y="153"/>
                      <a:pt x="8" y="151"/>
                    </a:cubicBezTo>
                    <a:cubicBezTo>
                      <a:pt x="10" y="149"/>
                      <a:pt x="12" y="146"/>
                      <a:pt x="14" y="144"/>
                    </a:cubicBezTo>
                    <a:cubicBezTo>
                      <a:pt x="15" y="142"/>
                      <a:pt x="15" y="140"/>
                      <a:pt x="16" y="138"/>
                    </a:cubicBezTo>
                    <a:cubicBezTo>
                      <a:pt x="17" y="137"/>
                      <a:pt x="18" y="138"/>
                      <a:pt x="19" y="135"/>
                    </a:cubicBezTo>
                    <a:cubicBezTo>
                      <a:pt x="23" y="134"/>
                      <a:pt x="26" y="135"/>
                      <a:pt x="30" y="135"/>
                    </a:cubicBezTo>
                    <a:cubicBezTo>
                      <a:pt x="31" y="135"/>
                      <a:pt x="32" y="135"/>
                      <a:pt x="33" y="134"/>
                    </a:cubicBezTo>
                    <a:cubicBezTo>
                      <a:pt x="36" y="132"/>
                      <a:pt x="39" y="130"/>
                      <a:pt x="41" y="127"/>
                    </a:cubicBezTo>
                    <a:cubicBezTo>
                      <a:pt x="41" y="126"/>
                      <a:pt x="40" y="127"/>
                      <a:pt x="39" y="127"/>
                    </a:cubicBezTo>
                    <a:cubicBezTo>
                      <a:pt x="36" y="128"/>
                      <a:pt x="33" y="132"/>
                      <a:pt x="30" y="132"/>
                    </a:cubicBezTo>
                    <a:cubicBezTo>
                      <a:pt x="27" y="132"/>
                      <a:pt x="26" y="128"/>
                      <a:pt x="23" y="127"/>
                    </a:cubicBezTo>
                    <a:cubicBezTo>
                      <a:pt x="22" y="127"/>
                      <a:pt x="21" y="130"/>
                      <a:pt x="20" y="129"/>
                    </a:cubicBezTo>
                    <a:cubicBezTo>
                      <a:pt x="18" y="129"/>
                      <a:pt x="19" y="126"/>
                      <a:pt x="18" y="126"/>
                    </a:cubicBezTo>
                    <a:cubicBezTo>
                      <a:pt x="15" y="125"/>
                      <a:pt x="13" y="129"/>
                      <a:pt x="10" y="128"/>
                    </a:cubicBezTo>
                    <a:cubicBezTo>
                      <a:pt x="9" y="123"/>
                      <a:pt x="5" y="124"/>
                      <a:pt x="7" y="122"/>
                    </a:cubicBezTo>
                    <a:cubicBezTo>
                      <a:pt x="8" y="119"/>
                      <a:pt x="13" y="120"/>
                      <a:pt x="16" y="118"/>
                    </a:cubicBezTo>
                    <a:cubicBezTo>
                      <a:pt x="18" y="117"/>
                      <a:pt x="21" y="114"/>
                      <a:pt x="22" y="112"/>
                    </a:cubicBezTo>
                    <a:cubicBezTo>
                      <a:pt x="23" y="110"/>
                      <a:pt x="23" y="106"/>
                      <a:pt x="21" y="105"/>
                    </a:cubicBezTo>
                    <a:cubicBezTo>
                      <a:pt x="20" y="104"/>
                      <a:pt x="15" y="108"/>
                      <a:pt x="15" y="106"/>
                    </a:cubicBezTo>
                    <a:cubicBezTo>
                      <a:pt x="15" y="103"/>
                      <a:pt x="19" y="102"/>
                      <a:pt x="21" y="100"/>
                    </a:cubicBezTo>
                    <a:cubicBezTo>
                      <a:pt x="22" y="99"/>
                      <a:pt x="24" y="98"/>
                      <a:pt x="26" y="97"/>
                    </a:cubicBezTo>
                    <a:cubicBezTo>
                      <a:pt x="27" y="97"/>
                      <a:pt x="29" y="97"/>
                      <a:pt x="30" y="97"/>
                    </a:cubicBezTo>
                    <a:cubicBezTo>
                      <a:pt x="32" y="98"/>
                      <a:pt x="34" y="99"/>
                      <a:pt x="34" y="98"/>
                    </a:cubicBezTo>
                    <a:cubicBezTo>
                      <a:pt x="35" y="96"/>
                      <a:pt x="33" y="94"/>
                      <a:pt x="33" y="93"/>
                    </a:cubicBezTo>
                    <a:cubicBezTo>
                      <a:pt x="34" y="91"/>
                      <a:pt x="36" y="91"/>
                      <a:pt x="36" y="89"/>
                    </a:cubicBezTo>
                    <a:cubicBezTo>
                      <a:pt x="36" y="88"/>
                      <a:pt x="33" y="88"/>
                      <a:pt x="34" y="87"/>
                    </a:cubicBezTo>
                    <a:cubicBezTo>
                      <a:pt x="34" y="85"/>
                      <a:pt x="38" y="84"/>
                      <a:pt x="37" y="83"/>
                    </a:cubicBezTo>
                    <a:cubicBezTo>
                      <a:pt x="37" y="81"/>
                      <a:pt x="34" y="83"/>
                      <a:pt x="33" y="83"/>
                    </a:cubicBezTo>
                    <a:cubicBezTo>
                      <a:pt x="31" y="81"/>
                      <a:pt x="29" y="78"/>
                      <a:pt x="28" y="75"/>
                    </a:cubicBezTo>
                    <a:cubicBezTo>
                      <a:pt x="27" y="74"/>
                      <a:pt x="28" y="72"/>
                      <a:pt x="29" y="71"/>
                    </a:cubicBezTo>
                    <a:cubicBezTo>
                      <a:pt x="30" y="70"/>
                      <a:pt x="32" y="69"/>
                      <a:pt x="32" y="68"/>
                    </a:cubicBezTo>
                    <a:cubicBezTo>
                      <a:pt x="31" y="67"/>
                      <a:pt x="29" y="68"/>
                      <a:pt x="28" y="68"/>
                    </a:cubicBezTo>
                    <a:cubicBezTo>
                      <a:pt x="26" y="69"/>
                      <a:pt x="25" y="71"/>
                      <a:pt x="22" y="71"/>
                    </a:cubicBezTo>
                    <a:cubicBezTo>
                      <a:pt x="20" y="72"/>
                      <a:pt x="18" y="71"/>
                      <a:pt x="16" y="70"/>
                    </a:cubicBezTo>
                    <a:cubicBezTo>
                      <a:pt x="15" y="70"/>
                      <a:pt x="13" y="70"/>
                      <a:pt x="12" y="69"/>
                    </a:cubicBezTo>
                    <a:cubicBezTo>
                      <a:pt x="11" y="67"/>
                      <a:pt x="12" y="66"/>
                      <a:pt x="12" y="64"/>
                    </a:cubicBezTo>
                    <a:cubicBezTo>
                      <a:pt x="12" y="63"/>
                      <a:pt x="13" y="62"/>
                      <a:pt x="14" y="60"/>
                    </a:cubicBezTo>
                    <a:cubicBezTo>
                      <a:pt x="14" y="59"/>
                      <a:pt x="15" y="57"/>
                      <a:pt x="15" y="56"/>
                    </a:cubicBezTo>
                    <a:cubicBezTo>
                      <a:pt x="14" y="55"/>
                      <a:pt x="12" y="56"/>
                      <a:pt x="12" y="55"/>
                    </a:cubicBezTo>
                    <a:cubicBezTo>
                      <a:pt x="11" y="54"/>
                      <a:pt x="13" y="52"/>
                      <a:pt x="12" y="51"/>
                    </a:cubicBezTo>
                    <a:cubicBezTo>
                      <a:pt x="12" y="50"/>
                      <a:pt x="10" y="51"/>
                      <a:pt x="9" y="51"/>
                    </a:cubicBezTo>
                    <a:cubicBezTo>
                      <a:pt x="8" y="50"/>
                      <a:pt x="8" y="48"/>
                      <a:pt x="7" y="48"/>
                    </a:cubicBezTo>
                    <a:cubicBezTo>
                      <a:pt x="6" y="49"/>
                      <a:pt x="7" y="51"/>
                      <a:pt x="6" y="52"/>
                    </a:cubicBezTo>
                    <a:cubicBezTo>
                      <a:pt x="5" y="53"/>
                      <a:pt x="4" y="51"/>
                      <a:pt x="4" y="50"/>
                    </a:cubicBezTo>
                    <a:cubicBezTo>
                      <a:pt x="4" y="48"/>
                      <a:pt x="4" y="45"/>
                      <a:pt x="5" y="43"/>
                    </a:cubicBezTo>
                    <a:cubicBezTo>
                      <a:pt x="5" y="42"/>
                      <a:pt x="6" y="42"/>
                      <a:pt x="7" y="41"/>
                    </a:cubicBezTo>
                    <a:cubicBezTo>
                      <a:pt x="7" y="40"/>
                      <a:pt x="9" y="37"/>
                      <a:pt x="7" y="37"/>
                    </a:cubicBezTo>
                    <a:cubicBezTo>
                      <a:pt x="6" y="36"/>
                      <a:pt x="5" y="39"/>
                      <a:pt x="4" y="39"/>
                    </a:cubicBezTo>
                    <a:cubicBezTo>
                      <a:pt x="3" y="39"/>
                      <a:pt x="1" y="39"/>
                      <a:pt x="0" y="37"/>
                    </a:cubicBezTo>
                    <a:cubicBezTo>
                      <a:pt x="0" y="37"/>
                      <a:pt x="2" y="36"/>
                      <a:pt x="2" y="36"/>
                    </a:cubicBezTo>
                    <a:cubicBezTo>
                      <a:pt x="2" y="34"/>
                      <a:pt x="1" y="33"/>
                      <a:pt x="1" y="32"/>
                    </a:cubicBezTo>
                    <a:cubicBezTo>
                      <a:pt x="2" y="31"/>
                      <a:pt x="4" y="32"/>
                      <a:pt x="5" y="31"/>
                    </a:cubicBezTo>
                    <a:cubicBezTo>
                      <a:pt x="5" y="30"/>
                      <a:pt x="3" y="30"/>
                      <a:pt x="3" y="29"/>
                    </a:cubicBezTo>
                    <a:cubicBezTo>
                      <a:pt x="3" y="28"/>
                      <a:pt x="5" y="29"/>
                      <a:pt x="6" y="28"/>
                    </a:cubicBezTo>
                    <a:cubicBezTo>
                      <a:pt x="6" y="27"/>
                      <a:pt x="4" y="27"/>
                      <a:pt x="4" y="26"/>
                    </a:cubicBezTo>
                    <a:cubicBezTo>
                      <a:pt x="4" y="25"/>
                      <a:pt x="7" y="25"/>
                      <a:pt x="6" y="24"/>
                    </a:cubicBezTo>
                    <a:cubicBezTo>
                      <a:pt x="5" y="22"/>
                      <a:pt x="2" y="23"/>
                      <a:pt x="2" y="22"/>
                    </a:cubicBezTo>
                    <a:cubicBezTo>
                      <a:pt x="1" y="21"/>
                      <a:pt x="3" y="19"/>
                      <a:pt x="3" y="18"/>
                    </a:cubicBezTo>
                    <a:cubicBezTo>
                      <a:pt x="3" y="17"/>
                      <a:pt x="2" y="16"/>
                      <a:pt x="3" y="15"/>
                    </a:cubicBezTo>
                    <a:cubicBezTo>
                      <a:pt x="5" y="14"/>
                      <a:pt x="8" y="15"/>
                      <a:pt x="10" y="14"/>
                    </a:cubicBezTo>
                    <a:cubicBezTo>
                      <a:pt x="11" y="13"/>
                      <a:pt x="7" y="12"/>
                      <a:pt x="7" y="11"/>
                    </a:cubicBezTo>
                    <a:cubicBezTo>
                      <a:pt x="7" y="10"/>
                      <a:pt x="8" y="10"/>
                      <a:pt x="8" y="9"/>
                    </a:cubicBezTo>
                    <a:cubicBezTo>
                      <a:pt x="8" y="8"/>
                      <a:pt x="7" y="8"/>
                      <a:pt x="7" y="7"/>
                    </a:cubicBezTo>
                    <a:cubicBezTo>
                      <a:pt x="9" y="7"/>
                      <a:pt x="11" y="8"/>
                      <a:pt x="12" y="7"/>
                    </a:cubicBezTo>
                    <a:cubicBezTo>
                      <a:pt x="13" y="5"/>
                      <a:pt x="10" y="3"/>
                      <a:pt x="11" y="1"/>
                    </a:cubicBezTo>
                    <a:cubicBezTo>
                      <a:pt x="12" y="0"/>
                      <a:pt x="14" y="1"/>
                      <a:pt x="16" y="2"/>
                    </a:cubicBezTo>
                    <a:cubicBezTo>
                      <a:pt x="17" y="2"/>
                      <a:pt x="18" y="3"/>
                      <a:pt x="19" y="3"/>
                    </a:cubicBezTo>
                    <a:cubicBezTo>
                      <a:pt x="22" y="2"/>
                      <a:pt x="25" y="1"/>
                      <a:pt x="29" y="0"/>
                    </a:cubicBezTo>
                    <a:cubicBezTo>
                      <a:pt x="30" y="0"/>
                      <a:pt x="32" y="0"/>
                      <a:pt x="34" y="1"/>
                    </a:cubicBezTo>
                    <a:cubicBezTo>
                      <a:pt x="35" y="1"/>
                      <a:pt x="34" y="3"/>
                      <a:pt x="34" y="4"/>
                    </a:cubicBezTo>
                    <a:cubicBezTo>
                      <a:pt x="33" y="5"/>
                      <a:pt x="31" y="7"/>
                      <a:pt x="29" y="8"/>
                    </a:cubicBezTo>
                    <a:cubicBezTo>
                      <a:pt x="26" y="11"/>
                      <a:pt x="23" y="12"/>
                      <a:pt x="20" y="14"/>
                    </a:cubicBezTo>
                    <a:cubicBezTo>
                      <a:pt x="19" y="15"/>
                      <a:pt x="20" y="16"/>
                      <a:pt x="21" y="16"/>
                    </a:cubicBezTo>
                    <a:cubicBezTo>
                      <a:pt x="22" y="16"/>
                      <a:pt x="25" y="15"/>
                      <a:pt x="25" y="16"/>
                    </a:cubicBezTo>
                    <a:cubicBezTo>
                      <a:pt x="24" y="18"/>
                      <a:pt x="21" y="19"/>
                      <a:pt x="19" y="21"/>
                    </a:cubicBezTo>
                    <a:cubicBezTo>
                      <a:pt x="19" y="22"/>
                      <a:pt x="19" y="24"/>
                      <a:pt x="20" y="23"/>
                    </a:cubicBezTo>
                    <a:cubicBezTo>
                      <a:pt x="23" y="22"/>
                      <a:pt x="24" y="20"/>
                      <a:pt x="27" y="19"/>
                    </a:cubicBezTo>
                    <a:cubicBezTo>
                      <a:pt x="29" y="18"/>
                      <a:pt x="32" y="19"/>
                      <a:pt x="34" y="18"/>
                    </a:cubicBezTo>
                    <a:cubicBezTo>
                      <a:pt x="36" y="18"/>
                      <a:pt x="38" y="19"/>
                      <a:pt x="40" y="18"/>
                    </a:cubicBezTo>
                    <a:cubicBezTo>
                      <a:pt x="43" y="18"/>
                      <a:pt x="45" y="18"/>
                      <a:pt x="47" y="18"/>
                    </a:cubicBezTo>
                    <a:cubicBezTo>
                      <a:pt x="48" y="18"/>
                      <a:pt x="49" y="19"/>
                      <a:pt x="49" y="20"/>
                    </a:cubicBezTo>
                    <a:cubicBezTo>
                      <a:pt x="49" y="22"/>
                      <a:pt x="49" y="24"/>
                      <a:pt x="48" y="26"/>
                    </a:cubicBezTo>
                    <a:cubicBezTo>
                      <a:pt x="47" y="27"/>
                      <a:pt x="46" y="29"/>
                      <a:pt x="45" y="31"/>
                    </a:cubicBezTo>
                    <a:cubicBezTo>
                      <a:pt x="43" y="33"/>
                      <a:pt x="42" y="36"/>
                      <a:pt x="40" y="39"/>
                    </a:cubicBezTo>
                    <a:cubicBezTo>
                      <a:pt x="39" y="40"/>
                      <a:pt x="37" y="39"/>
                      <a:pt x="36" y="41"/>
                    </a:cubicBezTo>
                    <a:cubicBezTo>
                      <a:pt x="36" y="42"/>
                      <a:pt x="39" y="44"/>
                      <a:pt x="38" y="46"/>
                    </a:cubicBezTo>
                    <a:cubicBezTo>
                      <a:pt x="37" y="47"/>
                      <a:pt x="35" y="45"/>
                      <a:pt x="34" y="46"/>
                    </a:cubicBezTo>
                    <a:cubicBezTo>
                      <a:pt x="33" y="47"/>
                      <a:pt x="30" y="48"/>
                      <a:pt x="31" y="50"/>
                    </a:cubicBezTo>
                    <a:cubicBezTo>
                      <a:pt x="31" y="51"/>
                      <a:pt x="34" y="50"/>
                      <a:pt x="35" y="49"/>
                    </a:cubicBezTo>
                    <a:cubicBezTo>
                      <a:pt x="36" y="49"/>
                      <a:pt x="38" y="48"/>
                      <a:pt x="39" y="48"/>
                    </a:cubicBezTo>
                    <a:cubicBezTo>
                      <a:pt x="41" y="49"/>
                      <a:pt x="44" y="50"/>
                      <a:pt x="46" y="52"/>
                    </a:cubicBezTo>
                    <a:cubicBezTo>
                      <a:pt x="48" y="54"/>
                      <a:pt x="50" y="56"/>
                      <a:pt x="51" y="59"/>
                    </a:cubicBezTo>
                    <a:cubicBezTo>
                      <a:pt x="52" y="61"/>
                      <a:pt x="51" y="63"/>
                      <a:pt x="52" y="65"/>
                    </a:cubicBezTo>
                    <a:cubicBezTo>
                      <a:pt x="53" y="68"/>
                      <a:pt x="54" y="71"/>
                      <a:pt x="56" y="73"/>
                    </a:cubicBezTo>
                    <a:cubicBezTo>
                      <a:pt x="58" y="76"/>
                      <a:pt x="61" y="76"/>
                      <a:pt x="63" y="79"/>
                    </a:cubicBezTo>
                    <a:cubicBezTo>
                      <a:pt x="66" y="82"/>
                      <a:pt x="67" y="86"/>
                      <a:pt x="69" y="90"/>
                    </a:cubicBezTo>
                    <a:cubicBezTo>
                      <a:pt x="69" y="91"/>
                      <a:pt x="71" y="92"/>
                      <a:pt x="71" y="93"/>
                    </a:cubicBezTo>
                    <a:cubicBezTo>
                      <a:pt x="70" y="94"/>
                      <a:pt x="68" y="91"/>
                      <a:pt x="67" y="92"/>
                    </a:cubicBezTo>
                    <a:cubicBezTo>
                      <a:pt x="66" y="93"/>
                      <a:pt x="68" y="93"/>
                      <a:pt x="69" y="94"/>
                    </a:cubicBezTo>
                    <a:cubicBezTo>
                      <a:pt x="71" y="96"/>
                      <a:pt x="74" y="98"/>
                      <a:pt x="75" y="100"/>
                    </a:cubicBezTo>
                    <a:cubicBezTo>
                      <a:pt x="75" y="102"/>
                      <a:pt x="72" y="103"/>
                      <a:pt x="71" y="105"/>
                    </a:cubicBezTo>
                    <a:cubicBezTo>
                      <a:pt x="71" y="105"/>
                      <a:pt x="71" y="107"/>
                      <a:pt x="72" y="107"/>
                    </a:cubicBezTo>
                    <a:cubicBezTo>
                      <a:pt x="73" y="107"/>
                      <a:pt x="74" y="107"/>
                      <a:pt x="75" y="107"/>
                    </a:cubicBezTo>
                    <a:cubicBezTo>
                      <a:pt x="77" y="106"/>
                      <a:pt x="77" y="104"/>
                      <a:pt x="78" y="104"/>
                    </a:cubicBezTo>
                    <a:cubicBezTo>
                      <a:pt x="82" y="104"/>
                      <a:pt x="86" y="105"/>
                      <a:pt x="89" y="107"/>
                    </a:cubicBezTo>
                    <a:cubicBezTo>
                      <a:pt x="90" y="108"/>
                      <a:pt x="90" y="111"/>
                      <a:pt x="90" y="113"/>
                    </a:cubicBezTo>
                    <a:cubicBezTo>
                      <a:pt x="89" y="115"/>
                      <a:pt x="89" y="118"/>
                      <a:pt x="87" y="120"/>
                    </a:cubicBezTo>
                    <a:cubicBezTo>
                      <a:pt x="86" y="121"/>
                      <a:pt x="84" y="121"/>
                      <a:pt x="83" y="122"/>
                    </a:cubicBezTo>
                    <a:cubicBezTo>
                      <a:pt x="82" y="123"/>
                      <a:pt x="85" y="125"/>
                      <a:pt x="84" y="125"/>
                    </a:cubicBezTo>
                    <a:cubicBezTo>
                      <a:pt x="82" y="126"/>
                      <a:pt x="80" y="124"/>
                      <a:pt x="78" y="125"/>
                    </a:cubicBezTo>
                    <a:cubicBezTo>
                      <a:pt x="77" y="126"/>
                      <a:pt x="81" y="127"/>
                      <a:pt x="80" y="128"/>
                    </a:cubicBezTo>
                    <a:cubicBezTo>
                      <a:pt x="80" y="129"/>
                      <a:pt x="78" y="129"/>
                      <a:pt x="77" y="130"/>
                    </a:cubicBezTo>
                    <a:cubicBezTo>
                      <a:pt x="77" y="130"/>
                      <a:pt x="75" y="130"/>
                      <a:pt x="76" y="13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43" name="Freeform 2778"/>
              <p:cNvSpPr>
                <a:spLocks noChangeAspect="1"/>
              </p:cNvSpPr>
              <p:nvPr/>
            </p:nvSpPr>
            <p:spPr bwMode="auto">
              <a:xfrm>
                <a:off x="4345719" y="2056514"/>
                <a:ext cx="5593" cy="6645"/>
              </a:xfrm>
              <a:custGeom>
                <a:avLst/>
                <a:gdLst>
                  <a:gd name="T0" fmla="*/ 1 w 4"/>
                  <a:gd name="T1" fmla="*/ 7 h 6"/>
                  <a:gd name="T2" fmla="*/ 3 w 4"/>
                  <a:gd name="T3" fmla="*/ 0 h 6"/>
                  <a:gd name="T4" fmla="*/ 4 w 4"/>
                  <a:gd name="T5" fmla="*/ 0 h 6"/>
                  <a:gd name="T6" fmla="*/ 4 w 4"/>
                  <a:gd name="T7" fmla="*/ 7 h 6"/>
                  <a:gd name="T8" fmla="*/ 1 w 4"/>
                  <a:gd name="T9" fmla="*/ 7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6"/>
                  <a:gd name="T17" fmla="*/ 4 w 4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6">
                    <a:moveTo>
                      <a:pt x="1" y="5"/>
                    </a:moveTo>
                    <a:cubicBezTo>
                      <a:pt x="0" y="3"/>
                      <a:pt x="1" y="2"/>
                      <a:pt x="2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3" y="2"/>
                      <a:pt x="4" y="4"/>
                      <a:pt x="3" y="5"/>
                    </a:cubicBezTo>
                    <a:cubicBezTo>
                      <a:pt x="2" y="6"/>
                      <a:pt x="1" y="6"/>
                      <a:pt x="1" y="5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44" name="Freeform 2779"/>
              <p:cNvSpPr>
                <a:spLocks noChangeAspect="1"/>
              </p:cNvSpPr>
              <p:nvPr/>
            </p:nvSpPr>
            <p:spPr bwMode="auto">
              <a:xfrm>
                <a:off x="4325585" y="2004181"/>
                <a:ext cx="15658" cy="15783"/>
              </a:xfrm>
              <a:custGeom>
                <a:avLst/>
                <a:gdLst>
                  <a:gd name="T0" fmla="*/ 14 w 11"/>
                  <a:gd name="T1" fmla="*/ 1 h 16"/>
                  <a:gd name="T2" fmla="*/ 10 w 11"/>
                  <a:gd name="T3" fmla="*/ 13 h 16"/>
                  <a:gd name="T4" fmla="*/ 1 w 11"/>
                  <a:gd name="T5" fmla="*/ 18 h 16"/>
                  <a:gd name="T6" fmla="*/ 3 w 11"/>
                  <a:gd name="T7" fmla="*/ 13 h 16"/>
                  <a:gd name="T8" fmla="*/ 1 w 11"/>
                  <a:gd name="T9" fmla="*/ 7 h 16"/>
                  <a:gd name="T10" fmla="*/ 5 w 11"/>
                  <a:gd name="T11" fmla="*/ 7 h 16"/>
                  <a:gd name="T12" fmla="*/ 9 w 11"/>
                  <a:gd name="T13" fmla="*/ 2 h 16"/>
                  <a:gd name="T14" fmla="*/ 14 w 11"/>
                  <a:gd name="T15" fmla="*/ 1 h 1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1"/>
                  <a:gd name="T25" fmla="*/ 0 h 16"/>
                  <a:gd name="T26" fmla="*/ 11 w 11"/>
                  <a:gd name="T27" fmla="*/ 16 h 1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1" h="16">
                    <a:moveTo>
                      <a:pt x="11" y="1"/>
                    </a:moveTo>
                    <a:cubicBezTo>
                      <a:pt x="11" y="5"/>
                      <a:pt x="10" y="8"/>
                      <a:pt x="8" y="11"/>
                    </a:cubicBezTo>
                    <a:cubicBezTo>
                      <a:pt x="6" y="10"/>
                      <a:pt x="3" y="13"/>
                      <a:pt x="1" y="15"/>
                    </a:cubicBezTo>
                    <a:cubicBezTo>
                      <a:pt x="0" y="16"/>
                      <a:pt x="2" y="12"/>
                      <a:pt x="2" y="11"/>
                    </a:cubicBezTo>
                    <a:cubicBezTo>
                      <a:pt x="2" y="9"/>
                      <a:pt x="0" y="7"/>
                      <a:pt x="1" y="6"/>
                    </a:cubicBezTo>
                    <a:cubicBezTo>
                      <a:pt x="1" y="5"/>
                      <a:pt x="3" y="7"/>
                      <a:pt x="4" y="6"/>
                    </a:cubicBezTo>
                    <a:cubicBezTo>
                      <a:pt x="6" y="5"/>
                      <a:pt x="6" y="3"/>
                      <a:pt x="7" y="2"/>
                    </a:cubicBezTo>
                    <a:cubicBezTo>
                      <a:pt x="8" y="2"/>
                      <a:pt x="11" y="0"/>
                      <a:pt x="1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45" name="Freeform 2780"/>
              <p:cNvSpPr>
                <a:spLocks noChangeAspect="1"/>
              </p:cNvSpPr>
              <p:nvPr/>
            </p:nvSpPr>
            <p:spPr bwMode="auto">
              <a:xfrm>
                <a:off x="4330060" y="2019964"/>
                <a:ext cx="17895" cy="9968"/>
              </a:xfrm>
              <a:custGeom>
                <a:avLst/>
                <a:gdLst>
                  <a:gd name="T0" fmla="*/ 10 w 13"/>
                  <a:gd name="T1" fmla="*/ 0 h 10"/>
                  <a:gd name="T2" fmla="*/ 11 w 13"/>
                  <a:gd name="T3" fmla="*/ 7 h 10"/>
                  <a:gd name="T4" fmla="*/ 15 w 13"/>
                  <a:gd name="T5" fmla="*/ 10 h 10"/>
                  <a:gd name="T6" fmla="*/ 10 w 13"/>
                  <a:gd name="T7" fmla="*/ 11 h 10"/>
                  <a:gd name="T8" fmla="*/ 5 w 13"/>
                  <a:gd name="T9" fmla="*/ 7 h 10"/>
                  <a:gd name="T10" fmla="*/ 1 w 13"/>
                  <a:gd name="T11" fmla="*/ 4 h 10"/>
                  <a:gd name="T12" fmla="*/ 7 w 13"/>
                  <a:gd name="T13" fmla="*/ 4 h 10"/>
                  <a:gd name="T14" fmla="*/ 10 w 13"/>
                  <a:gd name="T15" fmla="*/ 0 h 1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3"/>
                  <a:gd name="T25" fmla="*/ 0 h 10"/>
                  <a:gd name="T26" fmla="*/ 13 w 13"/>
                  <a:gd name="T27" fmla="*/ 10 h 1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3" h="10">
                    <a:moveTo>
                      <a:pt x="8" y="0"/>
                    </a:moveTo>
                    <a:cubicBezTo>
                      <a:pt x="9" y="2"/>
                      <a:pt x="8" y="5"/>
                      <a:pt x="9" y="6"/>
                    </a:cubicBezTo>
                    <a:cubicBezTo>
                      <a:pt x="10" y="7"/>
                      <a:pt x="13" y="7"/>
                      <a:pt x="12" y="8"/>
                    </a:cubicBezTo>
                    <a:cubicBezTo>
                      <a:pt x="12" y="10"/>
                      <a:pt x="9" y="10"/>
                      <a:pt x="8" y="9"/>
                    </a:cubicBezTo>
                    <a:cubicBezTo>
                      <a:pt x="6" y="9"/>
                      <a:pt x="5" y="8"/>
                      <a:pt x="4" y="6"/>
                    </a:cubicBezTo>
                    <a:cubicBezTo>
                      <a:pt x="3" y="5"/>
                      <a:pt x="0" y="4"/>
                      <a:pt x="1" y="3"/>
                    </a:cubicBezTo>
                    <a:cubicBezTo>
                      <a:pt x="2" y="1"/>
                      <a:pt x="5" y="4"/>
                      <a:pt x="6" y="3"/>
                    </a:cubicBezTo>
                    <a:cubicBezTo>
                      <a:pt x="7" y="3"/>
                      <a:pt x="7" y="0"/>
                      <a:pt x="8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46" name="Freeform 2781"/>
              <p:cNvSpPr>
                <a:spLocks noChangeAspect="1"/>
              </p:cNvSpPr>
              <p:nvPr/>
            </p:nvSpPr>
            <p:spPr bwMode="auto">
              <a:xfrm>
                <a:off x="4334533" y="2051529"/>
                <a:ext cx="8948" cy="6645"/>
              </a:xfrm>
              <a:custGeom>
                <a:avLst/>
                <a:gdLst>
                  <a:gd name="T0" fmla="*/ 0 w 7"/>
                  <a:gd name="T1" fmla="*/ 5 h 6"/>
                  <a:gd name="T2" fmla="*/ 5 w 7"/>
                  <a:gd name="T3" fmla="*/ 0 h 6"/>
                  <a:gd name="T4" fmla="*/ 8 w 7"/>
                  <a:gd name="T5" fmla="*/ 7 h 6"/>
                  <a:gd name="T6" fmla="*/ 6 w 7"/>
                  <a:gd name="T7" fmla="*/ 8 h 6"/>
                  <a:gd name="T8" fmla="*/ 3 w 7"/>
                  <a:gd name="T9" fmla="*/ 7 h 6"/>
                  <a:gd name="T10" fmla="*/ 0 w 7"/>
                  <a:gd name="T11" fmla="*/ 5 h 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6"/>
                  <a:gd name="T20" fmla="*/ 7 w 7"/>
                  <a:gd name="T21" fmla="*/ 6 h 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6">
                    <a:moveTo>
                      <a:pt x="0" y="4"/>
                    </a:moveTo>
                    <a:cubicBezTo>
                      <a:pt x="1" y="2"/>
                      <a:pt x="2" y="0"/>
                      <a:pt x="4" y="0"/>
                    </a:cubicBezTo>
                    <a:cubicBezTo>
                      <a:pt x="6" y="0"/>
                      <a:pt x="7" y="3"/>
                      <a:pt x="7" y="5"/>
                    </a:cubicBezTo>
                    <a:cubicBezTo>
                      <a:pt x="7" y="5"/>
                      <a:pt x="6" y="6"/>
                      <a:pt x="5" y="6"/>
                    </a:cubicBezTo>
                    <a:cubicBezTo>
                      <a:pt x="4" y="6"/>
                      <a:pt x="4" y="5"/>
                      <a:pt x="3" y="5"/>
                    </a:cubicBezTo>
                    <a:cubicBezTo>
                      <a:pt x="2" y="4"/>
                      <a:pt x="0" y="5"/>
                      <a:pt x="0" y="4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47" name="Freeform 2782"/>
              <p:cNvSpPr>
                <a:spLocks noChangeAspect="1"/>
              </p:cNvSpPr>
              <p:nvPr/>
            </p:nvSpPr>
            <p:spPr bwMode="auto">
              <a:xfrm>
                <a:off x="4384866" y="1990060"/>
                <a:ext cx="14540" cy="9138"/>
              </a:xfrm>
              <a:custGeom>
                <a:avLst/>
                <a:gdLst>
                  <a:gd name="T0" fmla="*/ 1 w 11"/>
                  <a:gd name="T1" fmla="*/ 2 h 9"/>
                  <a:gd name="T2" fmla="*/ 2 w 11"/>
                  <a:gd name="T3" fmla="*/ 9 h 9"/>
                  <a:gd name="T4" fmla="*/ 9 w 11"/>
                  <a:gd name="T5" fmla="*/ 10 h 9"/>
                  <a:gd name="T6" fmla="*/ 6 w 11"/>
                  <a:gd name="T7" fmla="*/ 4 h 9"/>
                  <a:gd name="T8" fmla="*/ 12 w 11"/>
                  <a:gd name="T9" fmla="*/ 4 h 9"/>
                  <a:gd name="T10" fmla="*/ 9 w 11"/>
                  <a:gd name="T11" fmla="*/ 1 h 9"/>
                  <a:gd name="T12" fmla="*/ 5 w 11"/>
                  <a:gd name="T13" fmla="*/ 1 h 9"/>
                  <a:gd name="T14" fmla="*/ 6 w 11"/>
                  <a:gd name="T15" fmla="*/ 4 h 9"/>
                  <a:gd name="T16" fmla="*/ 1 w 11"/>
                  <a:gd name="T17" fmla="*/ 2 h 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"/>
                  <a:gd name="T28" fmla="*/ 0 h 9"/>
                  <a:gd name="T29" fmla="*/ 11 w 11"/>
                  <a:gd name="T30" fmla="*/ 9 h 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" h="9">
                    <a:moveTo>
                      <a:pt x="1" y="2"/>
                    </a:moveTo>
                    <a:cubicBezTo>
                      <a:pt x="0" y="4"/>
                      <a:pt x="1" y="6"/>
                      <a:pt x="2" y="7"/>
                    </a:cubicBezTo>
                    <a:cubicBezTo>
                      <a:pt x="3" y="8"/>
                      <a:pt x="6" y="9"/>
                      <a:pt x="8" y="8"/>
                    </a:cubicBezTo>
                    <a:cubicBezTo>
                      <a:pt x="9" y="7"/>
                      <a:pt x="5" y="5"/>
                      <a:pt x="5" y="3"/>
                    </a:cubicBezTo>
                    <a:cubicBezTo>
                      <a:pt x="6" y="2"/>
                      <a:pt x="9" y="4"/>
                      <a:pt x="10" y="3"/>
                    </a:cubicBezTo>
                    <a:cubicBezTo>
                      <a:pt x="11" y="2"/>
                      <a:pt x="9" y="1"/>
                      <a:pt x="8" y="1"/>
                    </a:cubicBezTo>
                    <a:cubicBezTo>
                      <a:pt x="6" y="0"/>
                      <a:pt x="5" y="0"/>
                      <a:pt x="4" y="1"/>
                    </a:cubicBezTo>
                    <a:cubicBezTo>
                      <a:pt x="3" y="1"/>
                      <a:pt x="5" y="2"/>
                      <a:pt x="5" y="3"/>
                    </a:cubicBezTo>
                    <a:cubicBezTo>
                      <a:pt x="3" y="3"/>
                      <a:pt x="1" y="1"/>
                      <a:pt x="1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48" name="Freeform 2783"/>
              <p:cNvSpPr>
                <a:spLocks noChangeAspect="1"/>
              </p:cNvSpPr>
              <p:nvPr/>
            </p:nvSpPr>
            <p:spPr bwMode="auto">
              <a:xfrm>
                <a:off x="4335652" y="2031594"/>
                <a:ext cx="5593" cy="3322"/>
              </a:xfrm>
              <a:custGeom>
                <a:avLst/>
                <a:gdLst>
                  <a:gd name="T0" fmla="*/ 3 w 4"/>
                  <a:gd name="T1" fmla="*/ 0 h 3"/>
                  <a:gd name="T2" fmla="*/ 5 w 4"/>
                  <a:gd name="T3" fmla="*/ 3 h 3"/>
                  <a:gd name="T4" fmla="*/ 3 w 4"/>
                  <a:gd name="T5" fmla="*/ 4 h 3"/>
                  <a:gd name="T6" fmla="*/ 0 w 4"/>
                  <a:gd name="T7" fmla="*/ 1 h 3"/>
                  <a:gd name="T8" fmla="*/ 3 w 4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2" y="0"/>
                    </a:moveTo>
                    <a:cubicBezTo>
                      <a:pt x="3" y="0"/>
                      <a:pt x="4" y="1"/>
                      <a:pt x="4" y="2"/>
                    </a:cubicBezTo>
                    <a:cubicBezTo>
                      <a:pt x="4" y="2"/>
                      <a:pt x="3" y="3"/>
                      <a:pt x="2" y="3"/>
                    </a:cubicBezTo>
                    <a:cubicBezTo>
                      <a:pt x="1" y="2"/>
                      <a:pt x="0" y="2"/>
                      <a:pt x="0" y="1"/>
                    </a:cubicBezTo>
                    <a:cubicBezTo>
                      <a:pt x="0" y="0"/>
                      <a:pt x="1" y="0"/>
                      <a:pt x="2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49" name="Freeform 2784"/>
              <p:cNvSpPr>
                <a:spLocks noChangeAspect="1"/>
              </p:cNvSpPr>
              <p:nvPr/>
            </p:nvSpPr>
            <p:spPr bwMode="auto">
              <a:xfrm>
                <a:off x="4321113" y="2019964"/>
                <a:ext cx="3356" cy="1661"/>
              </a:xfrm>
              <a:custGeom>
                <a:avLst/>
                <a:gdLst>
                  <a:gd name="T0" fmla="*/ 1 w 3"/>
                  <a:gd name="T1" fmla="*/ 0 h 2"/>
                  <a:gd name="T2" fmla="*/ 3 w 3"/>
                  <a:gd name="T3" fmla="*/ 1 h 2"/>
                  <a:gd name="T4" fmla="*/ 1 w 3"/>
                  <a:gd name="T5" fmla="*/ 2 h 2"/>
                  <a:gd name="T6" fmla="*/ 0 w 3"/>
                  <a:gd name="T7" fmla="*/ 1 h 2"/>
                  <a:gd name="T8" fmla="*/ 1 w 3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1" y="0"/>
                    </a:moveTo>
                    <a:cubicBezTo>
                      <a:pt x="2" y="0"/>
                      <a:pt x="3" y="0"/>
                      <a:pt x="3" y="1"/>
                    </a:cubicBezTo>
                    <a:cubicBezTo>
                      <a:pt x="3" y="2"/>
                      <a:pt x="2" y="2"/>
                      <a:pt x="1" y="2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50" name="Freeform 2785"/>
              <p:cNvSpPr>
                <a:spLocks noChangeAspect="1"/>
              </p:cNvSpPr>
              <p:nvPr/>
            </p:nvSpPr>
            <p:spPr bwMode="auto">
              <a:xfrm>
                <a:off x="4321113" y="2023287"/>
                <a:ext cx="3356" cy="1661"/>
              </a:xfrm>
              <a:custGeom>
                <a:avLst/>
                <a:gdLst>
                  <a:gd name="T0" fmla="*/ 1 w 3"/>
                  <a:gd name="T1" fmla="*/ 0 h 2"/>
                  <a:gd name="T2" fmla="*/ 3 w 3"/>
                  <a:gd name="T3" fmla="*/ 1 h 2"/>
                  <a:gd name="T4" fmla="*/ 2 w 3"/>
                  <a:gd name="T5" fmla="*/ 2 h 2"/>
                  <a:gd name="T6" fmla="*/ 0 w 3"/>
                  <a:gd name="T7" fmla="*/ 1 h 2"/>
                  <a:gd name="T8" fmla="*/ 1 w 3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1" y="0"/>
                    </a:moveTo>
                    <a:cubicBezTo>
                      <a:pt x="2" y="0"/>
                      <a:pt x="3" y="1"/>
                      <a:pt x="3" y="1"/>
                    </a:cubicBezTo>
                    <a:cubicBezTo>
                      <a:pt x="3" y="2"/>
                      <a:pt x="2" y="2"/>
                      <a:pt x="2" y="2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51" name="Freeform 2786"/>
              <p:cNvSpPr>
                <a:spLocks noChangeAspect="1"/>
              </p:cNvSpPr>
              <p:nvPr/>
            </p:nvSpPr>
            <p:spPr bwMode="auto">
              <a:xfrm>
                <a:off x="4321113" y="2025780"/>
                <a:ext cx="3356" cy="2493"/>
              </a:xfrm>
              <a:custGeom>
                <a:avLst/>
                <a:gdLst>
                  <a:gd name="T0" fmla="*/ 1 w 3"/>
                  <a:gd name="T1" fmla="*/ 2 h 2"/>
                  <a:gd name="T2" fmla="*/ 3 w 3"/>
                  <a:gd name="T3" fmla="*/ 3 h 2"/>
                  <a:gd name="T4" fmla="*/ 1 w 3"/>
                  <a:gd name="T5" fmla="*/ 3 h 2"/>
                  <a:gd name="T6" fmla="*/ 0 w 3"/>
                  <a:gd name="T7" fmla="*/ 2 h 2"/>
                  <a:gd name="T8" fmla="*/ 1 w 3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1" y="1"/>
                    </a:moveTo>
                    <a:cubicBezTo>
                      <a:pt x="2" y="1"/>
                      <a:pt x="3" y="1"/>
                      <a:pt x="3" y="2"/>
                    </a:cubicBezTo>
                    <a:cubicBezTo>
                      <a:pt x="3" y="2"/>
                      <a:pt x="2" y="2"/>
                      <a:pt x="1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52" name="Freeform 2787"/>
              <p:cNvSpPr>
                <a:spLocks noChangeAspect="1"/>
              </p:cNvSpPr>
              <p:nvPr/>
            </p:nvSpPr>
            <p:spPr bwMode="auto">
              <a:xfrm>
                <a:off x="4318875" y="2029102"/>
                <a:ext cx="4474" cy="1661"/>
              </a:xfrm>
              <a:custGeom>
                <a:avLst/>
                <a:gdLst>
                  <a:gd name="T0" fmla="*/ 3 w 3"/>
                  <a:gd name="T1" fmla="*/ 1 h 2"/>
                  <a:gd name="T2" fmla="*/ 4 w 3"/>
                  <a:gd name="T3" fmla="*/ 2 h 2"/>
                  <a:gd name="T4" fmla="*/ 3 w 3"/>
                  <a:gd name="T5" fmla="*/ 2 h 2"/>
                  <a:gd name="T6" fmla="*/ 0 w 3"/>
                  <a:gd name="T7" fmla="*/ 1 h 2"/>
                  <a:gd name="T8" fmla="*/ 3 w 3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1"/>
                    </a:moveTo>
                    <a:cubicBezTo>
                      <a:pt x="2" y="1"/>
                      <a:pt x="3" y="1"/>
                      <a:pt x="3" y="2"/>
                    </a:cubicBezTo>
                    <a:cubicBezTo>
                      <a:pt x="3" y="2"/>
                      <a:pt x="2" y="2"/>
                      <a:pt x="2" y="2"/>
                    </a:cubicBezTo>
                    <a:cubicBezTo>
                      <a:pt x="1" y="2"/>
                      <a:pt x="0" y="2"/>
                      <a:pt x="0" y="1"/>
                    </a:cubicBezTo>
                    <a:cubicBezTo>
                      <a:pt x="0" y="1"/>
                      <a:pt x="1" y="0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53" name="Oval 2788"/>
              <p:cNvSpPr>
                <a:spLocks noChangeAspect="1" noChangeArrowheads="1"/>
              </p:cNvSpPr>
              <p:nvPr/>
            </p:nvSpPr>
            <p:spPr bwMode="auto">
              <a:xfrm>
                <a:off x="4318875" y="2033255"/>
                <a:ext cx="3356" cy="831"/>
              </a:xfrm>
              <a:prstGeom prst="ellipse">
                <a:avLst/>
              </a:pr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54" name="Freeform 2789"/>
              <p:cNvSpPr>
                <a:spLocks noChangeAspect="1"/>
              </p:cNvSpPr>
              <p:nvPr/>
            </p:nvSpPr>
            <p:spPr bwMode="auto">
              <a:xfrm>
                <a:off x="4335652" y="2039900"/>
                <a:ext cx="12304" cy="6645"/>
              </a:xfrm>
              <a:custGeom>
                <a:avLst/>
                <a:gdLst>
                  <a:gd name="T0" fmla="*/ 5 w 9"/>
                  <a:gd name="T1" fmla="*/ 0 h 7"/>
                  <a:gd name="T2" fmla="*/ 11 w 9"/>
                  <a:gd name="T3" fmla="*/ 3 h 7"/>
                  <a:gd name="T4" fmla="*/ 9 w 9"/>
                  <a:gd name="T5" fmla="*/ 7 h 7"/>
                  <a:gd name="T6" fmla="*/ 1 w 9"/>
                  <a:gd name="T7" fmla="*/ 7 h 7"/>
                  <a:gd name="T8" fmla="*/ 5 w 9"/>
                  <a:gd name="T9" fmla="*/ 3 h 7"/>
                  <a:gd name="T10" fmla="*/ 4 w 9"/>
                  <a:gd name="T11" fmla="*/ 0 h 7"/>
                  <a:gd name="T12" fmla="*/ 5 w 9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9"/>
                  <a:gd name="T22" fmla="*/ 0 h 7"/>
                  <a:gd name="T23" fmla="*/ 9 w 9"/>
                  <a:gd name="T24" fmla="*/ 7 h 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9" h="7">
                    <a:moveTo>
                      <a:pt x="4" y="0"/>
                    </a:moveTo>
                    <a:cubicBezTo>
                      <a:pt x="6" y="1"/>
                      <a:pt x="8" y="2"/>
                      <a:pt x="9" y="3"/>
                    </a:cubicBezTo>
                    <a:cubicBezTo>
                      <a:pt x="9" y="4"/>
                      <a:pt x="8" y="6"/>
                      <a:pt x="7" y="6"/>
                    </a:cubicBezTo>
                    <a:cubicBezTo>
                      <a:pt x="5" y="7"/>
                      <a:pt x="3" y="7"/>
                      <a:pt x="1" y="6"/>
                    </a:cubicBezTo>
                    <a:cubicBezTo>
                      <a:pt x="0" y="5"/>
                      <a:pt x="4" y="4"/>
                      <a:pt x="4" y="3"/>
                    </a:cubicBezTo>
                    <a:cubicBezTo>
                      <a:pt x="4" y="2"/>
                      <a:pt x="2" y="1"/>
                      <a:pt x="3" y="0"/>
                    </a:cubicBezTo>
                    <a:cubicBezTo>
                      <a:pt x="3" y="0"/>
                      <a:pt x="4" y="0"/>
                      <a:pt x="4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55" name="Freeform 2790"/>
              <p:cNvSpPr>
                <a:spLocks noChangeAspect="1"/>
              </p:cNvSpPr>
              <p:nvPr/>
            </p:nvSpPr>
            <p:spPr bwMode="auto">
              <a:xfrm>
                <a:off x="4327823" y="2038239"/>
                <a:ext cx="7830" cy="6645"/>
              </a:xfrm>
              <a:custGeom>
                <a:avLst/>
                <a:gdLst>
                  <a:gd name="T0" fmla="*/ 7 w 6"/>
                  <a:gd name="T1" fmla="*/ 1 h 7"/>
                  <a:gd name="T2" fmla="*/ 1 w 6"/>
                  <a:gd name="T3" fmla="*/ 8 h 7"/>
                  <a:gd name="T4" fmla="*/ 1 w 6"/>
                  <a:gd name="T5" fmla="*/ 3 h 7"/>
                  <a:gd name="T6" fmla="*/ 7 w 6"/>
                  <a:gd name="T7" fmla="*/ 1 h 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"/>
                  <a:gd name="T13" fmla="*/ 0 h 7"/>
                  <a:gd name="T14" fmla="*/ 6 w 6"/>
                  <a:gd name="T15" fmla="*/ 7 h 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" h="7">
                    <a:moveTo>
                      <a:pt x="6" y="1"/>
                    </a:moveTo>
                    <a:cubicBezTo>
                      <a:pt x="6" y="4"/>
                      <a:pt x="3" y="6"/>
                      <a:pt x="1" y="7"/>
                    </a:cubicBezTo>
                    <a:cubicBezTo>
                      <a:pt x="0" y="7"/>
                      <a:pt x="0" y="4"/>
                      <a:pt x="1" y="3"/>
                    </a:cubicBezTo>
                    <a:cubicBezTo>
                      <a:pt x="2" y="2"/>
                      <a:pt x="6" y="0"/>
                      <a:pt x="6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56" name="Freeform 2791"/>
              <p:cNvSpPr>
                <a:spLocks noChangeAspect="1"/>
              </p:cNvSpPr>
              <p:nvPr/>
            </p:nvSpPr>
            <p:spPr bwMode="auto">
              <a:xfrm>
                <a:off x="4409472" y="1969294"/>
                <a:ext cx="12304" cy="10799"/>
              </a:xfrm>
              <a:custGeom>
                <a:avLst/>
                <a:gdLst>
                  <a:gd name="T0" fmla="*/ 1 w 9"/>
                  <a:gd name="T1" fmla="*/ 1 h 11"/>
                  <a:gd name="T2" fmla="*/ 7 w 9"/>
                  <a:gd name="T3" fmla="*/ 0 h 11"/>
                  <a:gd name="T4" fmla="*/ 11 w 9"/>
                  <a:gd name="T5" fmla="*/ 2 h 11"/>
                  <a:gd name="T6" fmla="*/ 7 w 9"/>
                  <a:gd name="T7" fmla="*/ 13 h 11"/>
                  <a:gd name="T8" fmla="*/ 7 w 9"/>
                  <a:gd name="T9" fmla="*/ 7 h 11"/>
                  <a:gd name="T10" fmla="*/ 2 w 9"/>
                  <a:gd name="T11" fmla="*/ 5 h 11"/>
                  <a:gd name="T12" fmla="*/ 1 w 9"/>
                  <a:gd name="T13" fmla="*/ 1 h 1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9"/>
                  <a:gd name="T22" fmla="*/ 0 h 11"/>
                  <a:gd name="T23" fmla="*/ 9 w 9"/>
                  <a:gd name="T24" fmla="*/ 11 h 1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9" h="11">
                    <a:moveTo>
                      <a:pt x="1" y="1"/>
                    </a:moveTo>
                    <a:cubicBezTo>
                      <a:pt x="2" y="0"/>
                      <a:pt x="4" y="0"/>
                      <a:pt x="6" y="0"/>
                    </a:cubicBezTo>
                    <a:cubicBezTo>
                      <a:pt x="7" y="1"/>
                      <a:pt x="9" y="1"/>
                      <a:pt x="9" y="2"/>
                    </a:cubicBezTo>
                    <a:cubicBezTo>
                      <a:pt x="9" y="5"/>
                      <a:pt x="8" y="11"/>
                      <a:pt x="6" y="11"/>
                    </a:cubicBezTo>
                    <a:cubicBezTo>
                      <a:pt x="4" y="10"/>
                      <a:pt x="6" y="6"/>
                      <a:pt x="6" y="6"/>
                    </a:cubicBezTo>
                    <a:cubicBezTo>
                      <a:pt x="5" y="4"/>
                      <a:pt x="3" y="5"/>
                      <a:pt x="2" y="4"/>
                    </a:cubicBezTo>
                    <a:cubicBezTo>
                      <a:pt x="1" y="4"/>
                      <a:pt x="0" y="2"/>
                      <a:pt x="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57" name="Freeform 2792"/>
              <p:cNvSpPr>
                <a:spLocks noChangeAspect="1"/>
              </p:cNvSpPr>
              <p:nvPr/>
            </p:nvSpPr>
            <p:spPr bwMode="auto">
              <a:xfrm>
                <a:off x="4424013" y="1960157"/>
                <a:ext cx="4474" cy="4153"/>
              </a:xfrm>
              <a:custGeom>
                <a:avLst/>
                <a:gdLst>
                  <a:gd name="T0" fmla="*/ 3 w 3"/>
                  <a:gd name="T1" fmla="*/ 0 h 4"/>
                  <a:gd name="T2" fmla="*/ 4 w 3"/>
                  <a:gd name="T3" fmla="*/ 3 h 4"/>
                  <a:gd name="T4" fmla="*/ 1 w 3"/>
                  <a:gd name="T5" fmla="*/ 5 h 4"/>
                  <a:gd name="T6" fmla="*/ 0 w 3"/>
                  <a:gd name="T7" fmla="*/ 1 h 4"/>
                  <a:gd name="T8" fmla="*/ 3 w 3"/>
                  <a:gd name="T9" fmla="*/ 0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4"/>
                  <a:gd name="T17" fmla="*/ 3 w 3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4">
                    <a:moveTo>
                      <a:pt x="2" y="0"/>
                    </a:moveTo>
                    <a:cubicBezTo>
                      <a:pt x="2" y="0"/>
                      <a:pt x="3" y="1"/>
                      <a:pt x="3" y="2"/>
                    </a:cubicBezTo>
                    <a:cubicBezTo>
                      <a:pt x="2" y="3"/>
                      <a:pt x="2" y="4"/>
                      <a:pt x="1" y="4"/>
                    </a:cubicBezTo>
                    <a:cubicBezTo>
                      <a:pt x="0" y="4"/>
                      <a:pt x="0" y="3"/>
                      <a:pt x="0" y="1"/>
                    </a:cubicBezTo>
                    <a:cubicBezTo>
                      <a:pt x="0" y="0"/>
                      <a:pt x="1" y="0"/>
                      <a:pt x="2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58" name="Freeform 2793"/>
              <p:cNvSpPr>
                <a:spLocks noChangeAspect="1"/>
              </p:cNvSpPr>
              <p:nvPr/>
            </p:nvSpPr>
            <p:spPr bwMode="auto">
              <a:xfrm>
                <a:off x="4418421" y="1961818"/>
                <a:ext cx="4474" cy="4984"/>
              </a:xfrm>
              <a:custGeom>
                <a:avLst/>
                <a:gdLst>
                  <a:gd name="T0" fmla="*/ 3 w 3"/>
                  <a:gd name="T1" fmla="*/ 0 h 5"/>
                  <a:gd name="T2" fmla="*/ 4 w 3"/>
                  <a:gd name="T3" fmla="*/ 4 h 5"/>
                  <a:gd name="T4" fmla="*/ 3 w 3"/>
                  <a:gd name="T5" fmla="*/ 6 h 5"/>
                  <a:gd name="T6" fmla="*/ 0 w 3"/>
                  <a:gd name="T7" fmla="*/ 2 h 5"/>
                  <a:gd name="T8" fmla="*/ 3 w 3"/>
                  <a:gd name="T9" fmla="*/ 0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5"/>
                  <a:gd name="T17" fmla="*/ 3 w 3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5">
                    <a:moveTo>
                      <a:pt x="2" y="0"/>
                    </a:moveTo>
                    <a:cubicBezTo>
                      <a:pt x="3" y="0"/>
                      <a:pt x="3" y="2"/>
                      <a:pt x="3" y="3"/>
                    </a:cubicBezTo>
                    <a:cubicBezTo>
                      <a:pt x="3" y="3"/>
                      <a:pt x="2" y="5"/>
                      <a:pt x="2" y="5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59" name="Freeform 2794"/>
              <p:cNvSpPr>
                <a:spLocks noChangeAspect="1"/>
              </p:cNvSpPr>
              <p:nvPr/>
            </p:nvSpPr>
            <p:spPr bwMode="auto">
              <a:xfrm>
                <a:off x="4517966" y="1975939"/>
                <a:ext cx="4474" cy="4984"/>
              </a:xfrm>
              <a:custGeom>
                <a:avLst/>
                <a:gdLst>
                  <a:gd name="T0" fmla="*/ 3 w 3"/>
                  <a:gd name="T1" fmla="*/ 1 h 5"/>
                  <a:gd name="T2" fmla="*/ 4 w 3"/>
                  <a:gd name="T3" fmla="*/ 4 h 5"/>
                  <a:gd name="T4" fmla="*/ 3 w 3"/>
                  <a:gd name="T5" fmla="*/ 6 h 5"/>
                  <a:gd name="T6" fmla="*/ 0 w 3"/>
                  <a:gd name="T7" fmla="*/ 2 h 5"/>
                  <a:gd name="T8" fmla="*/ 3 w 3"/>
                  <a:gd name="T9" fmla="*/ 1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5"/>
                  <a:gd name="T17" fmla="*/ 3 w 3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5">
                    <a:moveTo>
                      <a:pt x="2" y="1"/>
                    </a:moveTo>
                    <a:cubicBezTo>
                      <a:pt x="3" y="1"/>
                      <a:pt x="3" y="2"/>
                      <a:pt x="3" y="3"/>
                    </a:cubicBezTo>
                    <a:cubicBezTo>
                      <a:pt x="3" y="4"/>
                      <a:pt x="3" y="5"/>
                      <a:pt x="2" y="5"/>
                    </a:cubicBezTo>
                    <a:cubicBezTo>
                      <a:pt x="1" y="5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60" name="Freeform 2795"/>
              <p:cNvSpPr>
                <a:spLocks noChangeAspect="1"/>
              </p:cNvSpPr>
              <p:nvPr/>
            </p:nvSpPr>
            <p:spPr bwMode="auto">
              <a:xfrm>
                <a:off x="4525796" y="1990891"/>
                <a:ext cx="6712" cy="3322"/>
              </a:xfrm>
              <a:custGeom>
                <a:avLst/>
                <a:gdLst>
                  <a:gd name="T0" fmla="*/ 5 w 5"/>
                  <a:gd name="T1" fmla="*/ 3 h 3"/>
                  <a:gd name="T2" fmla="*/ 2 w 5"/>
                  <a:gd name="T3" fmla="*/ 4 h 3"/>
                  <a:gd name="T4" fmla="*/ 0 w 5"/>
                  <a:gd name="T5" fmla="*/ 3 h 3"/>
                  <a:gd name="T6" fmla="*/ 4 w 5"/>
                  <a:gd name="T7" fmla="*/ 0 h 3"/>
                  <a:gd name="T8" fmla="*/ 5 w 5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3"/>
                  <a:gd name="T17" fmla="*/ 5 w 5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3">
                    <a:moveTo>
                      <a:pt x="4" y="2"/>
                    </a:moveTo>
                    <a:cubicBezTo>
                      <a:pt x="4" y="2"/>
                      <a:pt x="3" y="3"/>
                      <a:pt x="2" y="3"/>
                    </a:cubicBezTo>
                    <a:cubicBezTo>
                      <a:pt x="1" y="3"/>
                      <a:pt x="0" y="2"/>
                      <a:pt x="0" y="2"/>
                    </a:cubicBezTo>
                    <a:cubicBezTo>
                      <a:pt x="0" y="1"/>
                      <a:pt x="2" y="0"/>
                      <a:pt x="3" y="0"/>
                    </a:cubicBezTo>
                    <a:cubicBezTo>
                      <a:pt x="4" y="0"/>
                      <a:pt x="5" y="1"/>
                      <a:pt x="4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61" name="Freeform 2796"/>
              <p:cNvSpPr>
                <a:spLocks noChangeAspect="1"/>
              </p:cNvSpPr>
              <p:nvPr/>
            </p:nvSpPr>
            <p:spPr bwMode="auto">
              <a:xfrm>
                <a:off x="4521321" y="1931083"/>
                <a:ext cx="6712" cy="3322"/>
              </a:xfrm>
              <a:custGeom>
                <a:avLst/>
                <a:gdLst>
                  <a:gd name="T0" fmla="*/ 6 w 5"/>
                  <a:gd name="T1" fmla="*/ 3 h 3"/>
                  <a:gd name="T2" fmla="*/ 4 w 5"/>
                  <a:gd name="T3" fmla="*/ 4 h 3"/>
                  <a:gd name="T4" fmla="*/ 1 w 5"/>
                  <a:gd name="T5" fmla="*/ 1 h 3"/>
                  <a:gd name="T6" fmla="*/ 4 w 5"/>
                  <a:gd name="T7" fmla="*/ 0 h 3"/>
                  <a:gd name="T8" fmla="*/ 6 w 5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3"/>
                  <a:gd name="T17" fmla="*/ 5 w 5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3">
                    <a:moveTo>
                      <a:pt x="5" y="2"/>
                    </a:moveTo>
                    <a:cubicBezTo>
                      <a:pt x="5" y="2"/>
                      <a:pt x="3" y="3"/>
                      <a:pt x="3" y="3"/>
                    </a:cubicBezTo>
                    <a:cubicBezTo>
                      <a:pt x="2" y="3"/>
                      <a:pt x="0" y="2"/>
                      <a:pt x="1" y="1"/>
                    </a:cubicBezTo>
                    <a:cubicBezTo>
                      <a:pt x="1" y="1"/>
                      <a:pt x="2" y="0"/>
                      <a:pt x="3" y="0"/>
                    </a:cubicBezTo>
                    <a:cubicBezTo>
                      <a:pt x="4" y="0"/>
                      <a:pt x="5" y="1"/>
                      <a:pt x="5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62" name="Freeform 2797"/>
              <p:cNvSpPr>
                <a:spLocks noChangeAspect="1"/>
              </p:cNvSpPr>
              <p:nvPr/>
            </p:nvSpPr>
            <p:spPr bwMode="auto">
              <a:xfrm>
                <a:off x="4550403" y="1916131"/>
                <a:ext cx="5593" cy="2493"/>
              </a:xfrm>
              <a:custGeom>
                <a:avLst/>
                <a:gdLst>
                  <a:gd name="T0" fmla="*/ 5 w 4"/>
                  <a:gd name="T1" fmla="*/ 2 h 2"/>
                  <a:gd name="T2" fmla="*/ 3 w 4"/>
                  <a:gd name="T3" fmla="*/ 3 h 2"/>
                  <a:gd name="T4" fmla="*/ 0 w 4"/>
                  <a:gd name="T5" fmla="*/ 2 h 2"/>
                  <a:gd name="T6" fmla="*/ 3 w 4"/>
                  <a:gd name="T7" fmla="*/ 0 h 2"/>
                  <a:gd name="T8" fmla="*/ 5 w 4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2"/>
                  <a:gd name="T17" fmla="*/ 4 w 4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2">
                    <a:moveTo>
                      <a:pt x="4" y="1"/>
                    </a:moveTo>
                    <a:cubicBezTo>
                      <a:pt x="4" y="2"/>
                      <a:pt x="3" y="2"/>
                      <a:pt x="2" y="2"/>
                    </a:cubicBezTo>
                    <a:cubicBezTo>
                      <a:pt x="1" y="2"/>
                      <a:pt x="0" y="2"/>
                      <a:pt x="0" y="1"/>
                    </a:cubicBezTo>
                    <a:cubicBezTo>
                      <a:pt x="0" y="0"/>
                      <a:pt x="1" y="0"/>
                      <a:pt x="2" y="0"/>
                    </a:cubicBezTo>
                    <a:cubicBezTo>
                      <a:pt x="3" y="0"/>
                      <a:pt x="4" y="1"/>
                      <a:pt x="4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63" name="Freeform 2798"/>
              <p:cNvSpPr>
                <a:spLocks noChangeAspect="1"/>
              </p:cNvSpPr>
              <p:nvPr/>
            </p:nvSpPr>
            <p:spPr bwMode="auto">
              <a:xfrm>
                <a:off x="4555995" y="1910316"/>
                <a:ext cx="6712" cy="3322"/>
              </a:xfrm>
              <a:custGeom>
                <a:avLst/>
                <a:gdLst>
                  <a:gd name="T0" fmla="*/ 6 w 5"/>
                  <a:gd name="T1" fmla="*/ 3 h 3"/>
                  <a:gd name="T2" fmla="*/ 2 w 5"/>
                  <a:gd name="T3" fmla="*/ 4 h 3"/>
                  <a:gd name="T4" fmla="*/ 0 w 5"/>
                  <a:gd name="T5" fmla="*/ 1 h 3"/>
                  <a:gd name="T6" fmla="*/ 4 w 5"/>
                  <a:gd name="T7" fmla="*/ 0 h 3"/>
                  <a:gd name="T8" fmla="*/ 6 w 5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3"/>
                  <a:gd name="T17" fmla="*/ 5 w 5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3">
                    <a:moveTo>
                      <a:pt x="5" y="2"/>
                    </a:moveTo>
                    <a:cubicBezTo>
                      <a:pt x="4" y="2"/>
                      <a:pt x="3" y="3"/>
                      <a:pt x="2" y="3"/>
                    </a:cubicBezTo>
                    <a:cubicBezTo>
                      <a:pt x="1" y="2"/>
                      <a:pt x="0" y="2"/>
                      <a:pt x="0" y="1"/>
                    </a:cubicBezTo>
                    <a:cubicBezTo>
                      <a:pt x="1" y="1"/>
                      <a:pt x="2" y="0"/>
                      <a:pt x="3" y="0"/>
                    </a:cubicBezTo>
                    <a:cubicBezTo>
                      <a:pt x="4" y="0"/>
                      <a:pt x="5" y="1"/>
                      <a:pt x="5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64" name="Freeform 2799"/>
              <p:cNvSpPr>
                <a:spLocks noChangeAspect="1"/>
              </p:cNvSpPr>
              <p:nvPr/>
            </p:nvSpPr>
            <p:spPr bwMode="auto">
              <a:xfrm>
                <a:off x="4611919" y="1864630"/>
                <a:ext cx="6712" cy="2493"/>
              </a:xfrm>
              <a:custGeom>
                <a:avLst/>
                <a:gdLst>
                  <a:gd name="T0" fmla="*/ 6 w 5"/>
                  <a:gd name="T1" fmla="*/ 2 h 3"/>
                  <a:gd name="T2" fmla="*/ 4 w 5"/>
                  <a:gd name="T3" fmla="*/ 3 h 3"/>
                  <a:gd name="T4" fmla="*/ 1 w 5"/>
                  <a:gd name="T5" fmla="*/ 2 h 3"/>
                  <a:gd name="T6" fmla="*/ 4 w 5"/>
                  <a:gd name="T7" fmla="*/ 0 h 3"/>
                  <a:gd name="T8" fmla="*/ 6 w 5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3"/>
                  <a:gd name="T17" fmla="*/ 5 w 5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3">
                    <a:moveTo>
                      <a:pt x="5" y="2"/>
                    </a:moveTo>
                    <a:cubicBezTo>
                      <a:pt x="5" y="3"/>
                      <a:pt x="3" y="3"/>
                      <a:pt x="3" y="3"/>
                    </a:cubicBezTo>
                    <a:cubicBezTo>
                      <a:pt x="2" y="3"/>
                      <a:pt x="0" y="3"/>
                      <a:pt x="1" y="2"/>
                    </a:cubicBezTo>
                    <a:cubicBezTo>
                      <a:pt x="1" y="1"/>
                      <a:pt x="2" y="0"/>
                      <a:pt x="3" y="0"/>
                    </a:cubicBezTo>
                    <a:cubicBezTo>
                      <a:pt x="4" y="0"/>
                      <a:pt x="5" y="1"/>
                      <a:pt x="5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65" name="Freeform 2800"/>
              <p:cNvSpPr>
                <a:spLocks noChangeAspect="1"/>
              </p:cNvSpPr>
              <p:nvPr/>
            </p:nvSpPr>
            <p:spPr bwMode="auto">
              <a:xfrm>
                <a:off x="4665607" y="1812297"/>
                <a:ext cx="6712" cy="3322"/>
              </a:xfrm>
              <a:custGeom>
                <a:avLst/>
                <a:gdLst>
                  <a:gd name="T0" fmla="*/ 6 w 5"/>
                  <a:gd name="T1" fmla="*/ 3 h 3"/>
                  <a:gd name="T2" fmla="*/ 2 w 5"/>
                  <a:gd name="T3" fmla="*/ 4 h 3"/>
                  <a:gd name="T4" fmla="*/ 0 w 5"/>
                  <a:gd name="T5" fmla="*/ 3 h 3"/>
                  <a:gd name="T6" fmla="*/ 4 w 5"/>
                  <a:gd name="T7" fmla="*/ 0 h 3"/>
                  <a:gd name="T8" fmla="*/ 6 w 5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3"/>
                  <a:gd name="T17" fmla="*/ 5 w 5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3">
                    <a:moveTo>
                      <a:pt x="5" y="2"/>
                    </a:moveTo>
                    <a:cubicBezTo>
                      <a:pt x="4" y="3"/>
                      <a:pt x="3" y="3"/>
                      <a:pt x="2" y="3"/>
                    </a:cubicBezTo>
                    <a:cubicBezTo>
                      <a:pt x="1" y="3"/>
                      <a:pt x="0" y="2"/>
                      <a:pt x="0" y="2"/>
                    </a:cubicBezTo>
                    <a:cubicBezTo>
                      <a:pt x="0" y="1"/>
                      <a:pt x="2" y="0"/>
                      <a:pt x="3" y="0"/>
                    </a:cubicBezTo>
                    <a:cubicBezTo>
                      <a:pt x="4" y="0"/>
                      <a:pt x="5" y="1"/>
                      <a:pt x="5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66" name="Freeform 2801"/>
              <p:cNvSpPr>
                <a:spLocks noChangeAspect="1"/>
              </p:cNvSpPr>
              <p:nvPr/>
            </p:nvSpPr>
            <p:spPr bwMode="auto">
              <a:xfrm>
                <a:off x="4712584" y="1770764"/>
                <a:ext cx="5593" cy="3322"/>
              </a:xfrm>
              <a:custGeom>
                <a:avLst/>
                <a:gdLst>
                  <a:gd name="T0" fmla="*/ 5 w 4"/>
                  <a:gd name="T1" fmla="*/ 3 h 3"/>
                  <a:gd name="T2" fmla="*/ 3 w 4"/>
                  <a:gd name="T3" fmla="*/ 4 h 3"/>
                  <a:gd name="T4" fmla="*/ 0 w 4"/>
                  <a:gd name="T5" fmla="*/ 3 h 3"/>
                  <a:gd name="T6" fmla="*/ 4 w 4"/>
                  <a:gd name="T7" fmla="*/ 0 h 3"/>
                  <a:gd name="T8" fmla="*/ 5 w 4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4" y="2"/>
                    </a:moveTo>
                    <a:cubicBezTo>
                      <a:pt x="4" y="2"/>
                      <a:pt x="3" y="3"/>
                      <a:pt x="2" y="3"/>
                    </a:cubicBezTo>
                    <a:cubicBezTo>
                      <a:pt x="1" y="2"/>
                      <a:pt x="0" y="2"/>
                      <a:pt x="0" y="2"/>
                    </a:cubicBezTo>
                    <a:cubicBezTo>
                      <a:pt x="1" y="1"/>
                      <a:pt x="2" y="0"/>
                      <a:pt x="3" y="0"/>
                    </a:cubicBezTo>
                    <a:cubicBezTo>
                      <a:pt x="3" y="0"/>
                      <a:pt x="4" y="1"/>
                      <a:pt x="4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67" name="Freeform 2802"/>
              <p:cNvSpPr>
                <a:spLocks noChangeAspect="1"/>
              </p:cNvSpPr>
              <p:nvPr/>
            </p:nvSpPr>
            <p:spPr bwMode="auto">
              <a:xfrm>
                <a:off x="4718176" y="1767442"/>
                <a:ext cx="4474" cy="3322"/>
              </a:xfrm>
              <a:custGeom>
                <a:avLst/>
                <a:gdLst>
                  <a:gd name="T0" fmla="*/ 4 w 3"/>
                  <a:gd name="T1" fmla="*/ 3 h 3"/>
                  <a:gd name="T2" fmla="*/ 1 w 3"/>
                  <a:gd name="T3" fmla="*/ 4 h 3"/>
                  <a:gd name="T4" fmla="*/ 0 w 3"/>
                  <a:gd name="T5" fmla="*/ 3 h 3"/>
                  <a:gd name="T6" fmla="*/ 3 w 3"/>
                  <a:gd name="T7" fmla="*/ 0 h 3"/>
                  <a:gd name="T8" fmla="*/ 4 w 3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3" y="2"/>
                    </a:moveTo>
                    <a:cubicBezTo>
                      <a:pt x="3" y="2"/>
                      <a:pt x="2" y="3"/>
                      <a:pt x="1" y="3"/>
                    </a:cubicBezTo>
                    <a:cubicBezTo>
                      <a:pt x="1" y="3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3" y="0"/>
                      <a:pt x="3" y="1"/>
                      <a:pt x="3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68" name="Freeform 2803"/>
              <p:cNvSpPr>
                <a:spLocks noChangeAspect="1"/>
              </p:cNvSpPr>
              <p:nvPr/>
            </p:nvSpPr>
            <p:spPr bwMode="auto">
              <a:xfrm>
                <a:off x="4729361" y="1774918"/>
                <a:ext cx="3356" cy="2493"/>
              </a:xfrm>
              <a:custGeom>
                <a:avLst/>
                <a:gdLst>
                  <a:gd name="T0" fmla="*/ 3 w 3"/>
                  <a:gd name="T1" fmla="*/ 0 h 3"/>
                  <a:gd name="T2" fmla="*/ 2 w 3"/>
                  <a:gd name="T3" fmla="*/ 2 h 3"/>
                  <a:gd name="T4" fmla="*/ 0 w 3"/>
                  <a:gd name="T5" fmla="*/ 3 h 3"/>
                  <a:gd name="T6" fmla="*/ 1 w 3"/>
                  <a:gd name="T7" fmla="*/ 0 h 3"/>
                  <a:gd name="T8" fmla="*/ 3 w 3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3" y="0"/>
                    </a:moveTo>
                    <a:cubicBezTo>
                      <a:pt x="3" y="1"/>
                      <a:pt x="2" y="2"/>
                      <a:pt x="2" y="2"/>
                    </a:cubicBezTo>
                    <a:cubicBezTo>
                      <a:pt x="1" y="3"/>
                      <a:pt x="0" y="3"/>
                      <a:pt x="0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69" name="Freeform 2804"/>
              <p:cNvSpPr>
                <a:spLocks noChangeAspect="1"/>
              </p:cNvSpPr>
              <p:nvPr/>
            </p:nvSpPr>
            <p:spPr bwMode="auto">
              <a:xfrm>
                <a:off x="4740546" y="1767442"/>
                <a:ext cx="4474" cy="3322"/>
              </a:xfrm>
              <a:custGeom>
                <a:avLst/>
                <a:gdLst>
                  <a:gd name="T0" fmla="*/ 4 w 3"/>
                  <a:gd name="T1" fmla="*/ 0 h 3"/>
                  <a:gd name="T2" fmla="*/ 3 w 3"/>
                  <a:gd name="T3" fmla="*/ 3 h 3"/>
                  <a:gd name="T4" fmla="*/ 0 w 3"/>
                  <a:gd name="T5" fmla="*/ 4 h 3"/>
                  <a:gd name="T6" fmla="*/ 1 w 3"/>
                  <a:gd name="T7" fmla="*/ 0 h 3"/>
                  <a:gd name="T8" fmla="*/ 4 w 3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3" y="0"/>
                    </a:moveTo>
                    <a:cubicBezTo>
                      <a:pt x="3" y="1"/>
                      <a:pt x="2" y="2"/>
                      <a:pt x="2" y="2"/>
                    </a:cubicBezTo>
                    <a:cubicBezTo>
                      <a:pt x="1" y="3"/>
                      <a:pt x="0" y="3"/>
                      <a:pt x="0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70" name="Freeform 2805"/>
              <p:cNvSpPr>
                <a:spLocks noChangeAspect="1"/>
              </p:cNvSpPr>
              <p:nvPr/>
            </p:nvSpPr>
            <p:spPr bwMode="auto">
              <a:xfrm>
                <a:off x="4769627" y="1765781"/>
                <a:ext cx="4474" cy="1661"/>
              </a:xfrm>
              <a:custGeom>
                <a:avLst/>
                <a:gdLst>
                  <a:gd name="T0" fmla="*/ 4 w 4"/>
                  <a:gd name="T1" fmla="*/ 2 h 2"/>
                  <a:gd name="T2" fmla="*/ 2 w 4"/>
                  <a:gd name="T3" fmla="*/ 2 h 2"/>
                  <a:gd name="T4" fmla="*/ 0 w 4"/>
                  <a:gd name="T5" fmla="*/ 1 h 2"/>
                  <a:gd name="T6" fmla="*/ 3 w 4"/>
                  <a:gd name="T7" fmla="*/ 0 h 2"/>
                  <a:gd name="T8" fmla="*/ 4 w 4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2"/>
                  <a:gd name="T17" fmla="*/ 4 w 4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2">
                    <a:moveTo>
                      <a:pt x="4" y="2"/>
                    </a:moveTo>
                    <a:cubicBezTo>
                      <a:pt x="4" y="2"/>
                      <a:pt x="3" y="2"/>
                      <a:pt x="2" y="2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4" y="0"/>
                      <a:pt x="4" y="1"/>
                      <a:pt x="4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71" name="Freeform 2806"/>
              <p:cNvSpPr>
                <a:spLocks noChangeAspect="1"/>
              </p:cNvSpPr>
              <p:nvPr/>
            </p:nvSpPr>
            <p:spPr bwMode="auto">
              <a:xfrm>
                <a:off x="4789760" y="1751659"/>
                <a:ext cx="4474" cy="2493"/>
              </a:xfrm>
              <a:custGeom>
                <a:avLst/>
                <a:gdLst>
                  <a:gd name="T0" fmla="*/ 4 w 4"/>
                  <a:gd name="T1" fmla="*/ 3 h 2"/>
                  <a:gd name="T2" fmla="*/ 2 w 4"/>
                  <a:gd name="T3" fmla="*/ 3 h 2"/>
                  <a:gd name="T4" fmla="*/ 0 w 4"/>
                  <a:gd name="T5" fmla="*/ 2 h 2"/>
                  <a:gd name="T6" fmla="*/ 3 w 4"/>
                  <a:gd name="T7" fmla="*/ 0 h 2"/>
                  <a:gd name="T8" fmla="*/ 4 w 4"/>
                  <a:gd name="T9" fmla="*/ 3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2"/>
                  <a:gd name="T17" fmla="*/ 4 w 4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2">
                    <a:moveTo>
                      <a:pt x="4" y="2"/>
                    </a:moveTo>
                    <a:cubicBezTo>
                      <a:pt x="4" y="2"/>
                      <a:pt x="2" y="2"/>
                      <a:pt x="2" y="2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3" y="0"/>
                      <a:pt x="4" y="1"/>
                      <a:pt x="4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72" name="Freeform 2807"/>
              <p:cNvSpPr>
                <a:spLocks noChangeAspect="1"/>
              </p:cNvSpPr>
              <p:nvPr/>
            </p:nvSpPr>
            <p:spPr bwMode="auto">
              <a:xfrm>
                <a:off x="4793116" y="1755812"/>
                <a:ext cx="5593" cy="1661"/>
              </a:xfrm>
              <a:custGeom>
                <a:avLst/>
                <a:gdLst>
                  <a:gd name="T0" fmla="*/ 5 w 4"/>
                  <a:gd name="T1" fmla="*/ 1 h 2"/>
                  <a:gd name="T2" fmla="*/ 3 w 4"/>
                  <a:gd name="T3" fmla="*/ 2 h 2"/>
                  <a:gd name="T4" fmla="*/ 0 w 4"/>
                  <a:gd name="T5" fmla="*/ 1 h 2"/>
                  <a:gd name="T6" fmla="*/ 4 w 4"/>
                  <a:gd name="T7" fmla="*/ 0 h 2"/>
                  <a:gd name="T8" fmla="*/ 5 w 4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2"/>
                  <a:gd name="T17" fmla="*/ 4 w 4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2">
                    <a:moveTo>
                      <a:pt x="4" y="1"/>
                    </a:moveTo>
                    <a:cubicBezTo>
                      <a:pt x="4" y="2"/>
                      <a:pt x="2" y="2"/>
                      <a:pt x="2" y="2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3" y="0"/>
                      <a:pt x="4" y="1"/>
                      <a:pt x="4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73" name="Freeform 2808"/>
              <p:cNvSpPr>
                <a:spLocks noChangeAspect="1"/>
              </p:cNvSpPr>
              <p:nvPr/>
            </p:nvSpPr>
            <p:spPr bwMode="auto">
              <a:xfrm>
                <a:off x="4811010" y="1749167"/>
                <a:ext cx="7830" cy="3322"/>
              </a:xfrm>
              <a:custGeom>
                <a:avLst/>
                <a:gdLst>
                  <a:gd name="T0" fmla="*/ 7 w 6"/>
                  <a:gd name="T1" fmla="*/ 3 h 4"/>
                  <a:gd name="T2" fmla="*/ 4 w 6"/>
                  <a:gd name="T3" fmla="*/ 4 h 4"/>
                  <a:gd name="T4" fmla="*/ 1 w 6"/>
                  <a:gd name="T5" fmla="*/ 2 h 4"/>
                  <a:gd name="T6" fmla="*/ 5 w 6"/>
                  <a:gd name="T7" fmla="*/ 0 h 4"/>
                  <a:gd name="T8" fmla="*/ 7 w 6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4"/>
                  <a:gd name="T17" fmla="*/ 6 w 6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4">
                    <a:moveTo>
                      <a:pt x="6" y="3"/>
                    </a:moveTo>
                    <a:cubicBezTo>
                      <a:pt x="6" y="4"/>
                      <a:pt x="4" y="4"/>
                      <a:pt x="3" y="4"/>
                    </a:cubicBezTo>
                    <a:cubicBezTo>
                      <a:pt x="2" y="3"/>
                      <a:pt x="0" y="3"/>
                      <a:pt x="1" y="2"/>
                    </a:cubicBezTo>
                    <a:cubicBezTo>
                      <a:pt x="1" y="1"/>
                      <a:pt x="3" y="0"/>
                      <a:pt x="4" y="0"/>
                    </a:cubicBezTo>
                    <a:cubicBezTo>
                      <a:pt x="5" y="1"/>
                      <a:pt x="6" y="2"/>
                      <a:pt x="6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74" name="Freeform 2809"/>
              <p:cNvSpPr>
                <a:spLocks noChangeAspect="1"/>
              </p:cNvSpPr>
              <p:nvPr/>
            </p:nvSpPr>
            <p:spPr bwMode="auto">
              <a:xfrm>
                <a:off x="4619749" y="1867122"/>
                <a:ext cx="6712" cy="8307"/>
              </a:xfrm>
              <a:custGeom>
                <a:avLst/>
                <a:gdLst>
                  <a:gd name="T0" fmla="*/ 6 w 5"/>
                  <a:gd name="T1" fmla="*/ 1 h 8"/>
                  <a:gd name="T2" fmla="*/ 5 w 5"/>
                  <a:gd name="T3" fmla="*/ 7 h 8"/>
                  <a:gd name="T4" fmla="*/ 1 w 5"/>
                  <a:gd name="T5" fmla="*/ 9 h 8"/>
                  <a:gd name="T6" fmla="*/ 1 w 5"/>
                  <a:gd name="T7" fmla="*/ 3 h 8"/>
                  <a:gd name="T8" fmla="*/ 6 w 5"/>
                  <a:gd name="T9" fmla="*/ 1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8"/>
                  <a:gd name="T17" fmla="*/ 5 w 5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8">
                    <a:moveTo>
                      <a:pt x="5" y="1"/>
                    </a:moveTo>
                    <a:cubicBezTo>
                      <a:pt x="5" y="2"/>
                      <a:pt x="5" y="4"/>
                      <a:pt x="4" y="6"/>
                    </a:cubicBezTo>
                    <a:cubicBezTo>
                      <a:pt x="3" y="7"/>
                      <a:pt x="1" y="8"/>
                      <a:pt x="1" y="7"/>
                    </a:cubicBezTo>
                    <a:cubicBezTo>
                      <a:pt x="0" y="6"/>
                      <a:pt x="0" y="3"/>
                      <a:pt x="1" y="2"/>
                    </a:cubicBezTo>
                    <a:cubicBezTo>
                      <a:pt x="2" y="0"/>
                      <a:pt x="4" y="0"/>
                      <a:pt x="5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75" name="Freeform 2810"/>
              <p:cNvSpPr>
                <a:spLocks noChangeAspect="1"/>
              </p:cNvSpPr>
              <p:nvPr/>
            </p:nvSpPr>
            <p:spPr bwMode="auto">
              <a:xfrm>
                <a:off x="4331178" y="1941051"/>
                <a:ext cx="5593" cy="3322"/>
              </a:xfrm>
              <a:custGeom>
                <a:avLst/>
                <a:gdLst>
                  <a:gd name="T0" fmla="*/ 0 w 4"/>
                  <a:gd name="T1" fmla="*/ 0 h 3"/>
                  <a:gd name="T2" fmla="*/ 4 w 4"/>
                  <a:gd name="T3" fmla="*/ 1 h 3"/>
                  <a:gd name="T4" fmla="*/ 4 w 4"/>
                  <a:gd name="T5" fmla="*/ 3 h 3"/>
                  <a:gd name="T6" fmla="*/ 0 w 4"/>
                  <a:gd name="T7" fmla="*/ 3 h 3"/>
                  <a:gd name="T8" fmla="*/ 0 w 4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0" y="0"/>
                    </a:moveTo>
                    <a:cubicBezTo>
                      <a:pt x="1" y="0"/>
                      <a:pt x="2" y="0"/>
                      <a:pt x="3" y="1"/>
                    </a:cubicBezTo>
                    <a:cubicBezTo>
                      <a:pt x="3" y="1"/>
                      <a:pt x="4" y="2"/>
                      <a:pt x="3" y="2"/>
                    </a:cubicBezTo>
                    <a:cubicBezTo>
                      <a:pt x="3" y="3"/>
                      <a:pt x="1" y="2"/>
                      <a:pt x="0" y="2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76" name="Freeform 2811"/>
              <p:cNvSpPr>
                <a:spLocks noChangeAspect="1"/>
              </p:cNvSpPr>
              <p:nvPr/>
            </p:nvSpPr>
            <p:spPr bwMode="auto">
              <a:xfrm>
                <a:off x="4330060" y="1945204"/>
                <a:ext cx="5593" cy="4153"/>
              </a:xfrm>
              <a:custGeom>
                <a:avLst/>
                <a:gdLst>
                  <a:gd name="T0" fmla="*/ 1 w 4"/>
                  <a:gd name="T1" fmla="*/ 1 h 4"/>
                  <a:gd name="T2" fmla="*/ 4 w 4"/>
                  <a:gd name="T3" fmla="*/ 3 h 4"/>
                  <a:gd name="T4" fmla="*/ 4 w 4"/>
                  <a:gd name="T5" fmla="*/ 5 h 4"/>
                  <a:gd name="T6" fmla="*/ 1 w 4"/>
                  <a:gd name="T7" fmla="*/ 3 h 4"/>
                  <a:gd name="T8" fmla="*/ 1 w 4"/>
                  <a:gd name="T9" fmla="*/ 1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1" y="1"/>
                    </a:moveTo>
                    <a:cubicBezTo>
                      <a:pt x="2" y="1"/>
                      <a:pt x="3" y="1"/>
                      <a:pt x="3" y="2"/>
                    </a:cubicBezTo>
                    <a:cubicBezTo>
                      <a:pt x="4" y="3"/>
                      <a:pt x="4" y="4"/>
                      <a:pt x="3" y="4"/>
                    </a:cubicBezTo>
                    <a:cubicBezTo>
                      <a:pt x="2" y="4"/>
                      <a:pt x="1" y="3"/>
                      <a:pt x="1" y="2"/>
                    </a:cubicBezTo>
                    <a:cubicBezTo>
                      <a:pt x="0" y="1"/>
                      <a:pt x="1" y="0"/>
                      <a:pt x="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77" name="Freeform 2812"/>
              <p:cNvSpPr>
                <a:spLocks noChangeAspect="1"/>
              </p:cNvSpPr>
              <p:nvPr/>
            </p:nvSpPr>
            <p:spPr bwMode="auto">
              <a:xfrm>
                <a:off x="4335652" y="1931083"/>
                <a:ext cx="5593" cy="3322"/>
              </a:xfrm>
              <a:custGeom>
                <a:avLst/>
                <a:gdLst>
                  <a:gd name="T0" fmla="*/ 1 w 4"/>
                  <a:gd name="T1" fmla="*/ 0 h 3"/>
                  <a:gd name="T2" fmla="*/ 4 w 4"/>
                  <a:gd name="T3" fmla="*/ 1 h 3"/>
                  <a:gd name="T4" fmla="*/ 4 w 4"/>
                  <a:gd name="T5" fmla="*/ 4 h 3"/>
                  <a:gd name="T6" fmla="*/ 1 w 4"/>
                  <a:gd name="T7" fmla="*/ 1 h 3"/>
                  <a:gd name="T8" fmla="*/ 1 w 4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1" y="0"/>
                    </a:moveTo>
                    <a:cubicBezTo>
                      <a:pt x="2" y="0"/>
                      <a:pt x="3" y="1"/>
                      <a:pt x="3" y="1"/>
                    </a:cubicBezTo>
                    <a:cubicBezTo>
                      <a:pt x="3" y="2"/>
                      <a:pt x="4" y="3"/>
                      <a:pt x="3" y="3"/>
                    </a:cubicBezTo>
                    <a:cubicBezTo>
                      <a:pt x="2" y="3"/>
                      <a:pt x="1" y="2"/>
                      <a:pt x="1" y="1"/>
                    </a:cubicBezTo>
                    <a:cubicBezTo>
                      <a:pt x="0" y="0"/>
                      <a:pt x="1" y="0"/>
                      <a:pt x="1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78" name="Freeform 2813"/>
              <p:cNvSpPr>
                <a:spLocks noChangeAspect="1"/>
              </p:cNvSpPr>
              <p:nvPr/>
            </p:nvSpPr>
            <p:spPr bwMode="auto">
              <a:xfrm>
                <a:off x="4323348" y="1934406"/>
                <a:ext cx="5593" cy="2493"/>
              </a:xfrm>
              <a:custGeom>
                <a:avLst/>
                <a:gdLst>
                  <a:gd name="T0" fmla="*/ 1 w 4"/>
                  <a:gd name="T1" fmla="*/ 0 h 3"/>
                  <a:gd name="T2" fmla="*/ 4 w 4"/>
                  <a:gd name="T3" fmla="*/ 1 h 3"/>
                  <a:gd name="T4" fmla="*/ 4 w 4"/>
                  <a:gd name="T5" fmla="*/ 3 h 3"/>
                  <a:gd name="T6" fmla="*/ 0 w 4"/>
                  <a:gd name="T7" fmla="*/ 2 h 3"/>
                  <a:gd name="T8" fmla="*/ 1 w 4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1" y="0"/>
                    </a:moveTo>
                    <a:cubicBezTo>
                      <a:pt x="1" y="0"/>
                      <a:pt x="2" y="1"/>
                      <a:pt x="3" y="1"/>
                    </a:cubicBezTo>
                    <a:cubicBezTo>
                      <a:pt x="3" y="2"/>
                      <a:pt x="4" y="2"/>
                      <a:pt x="3" y="3"/>
                    </a:cubicBezTo>
                    <a:cubicBezTo>
                      <a:pt x="2" y="3"/>
                      <a:pt x="1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79" name="Freeform 2814"/>
              <p:cNvSpPr>
                <a:spLocks noChangeAspect="1"/>
              </p:cNvSpPr>
              <p:nvPr/>
            </p:nvSpPr>
            <p:spPr bwMode="auto">
              <a:xfrm>
                <a:off x="4412828" y="1964310"/>
                <a:ext cx="4474" cy="4984"/>
              </a:xfrm>
              <a:custGeom>
                <a:avLst/>
                <a:gdLst>
                  <a:gd name="T0" fmla="*/ 3 w 3"/>
                  <a:gd name="T1" fmla="*/ 1 h 5"/>
                  <a:gd name="T2" fmla="*/ 4 w 3"/>
                  <a:gd name="T3" fmla="*/ 4 h 5"/>
                  <a:gd name="T4" fmla="*/ 1 w 3"/>
                  <a:gd name="T5" fmla="*/ 6 h 5"/>
                  <a:gd name="T6" fmla="*/ 0 w 3"/>
                  <a:gd name="T7" fmla="*/ 2 h 5"/>
                  <a:gd name="T8" fmla="*/ 3 w 3"/>
                  <a:gd name="T9" fmla="*/ 1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5"/>
                  <a:gd name="T17" fmla="*/ 3 w 3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5">
                    <a:moveTo>
                      <a:pt x="2" y="1"/>
                    </a:moveTo>
                    <a:cubicBezTo>
                      <a:pt x="2" y="1"/>
                      <a:pt x="3" y="2"/>
                      <a:pt x="3" y="3"/>
                    </a:cubicBezTo>
                    <a:cubicBezTo>
                      <a:pt x="3" y="4"/>
                      <a:pt x="2" y="5"/>
                      <a:pt x="1" y="5"/>
                    </a:cubicBezTo>
                    <a:cubicBezTo>
                      <a:pt x="1" y="5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80" name="Freeform 2815"/>
              <p:cNvSpPr>
                <a:spLocks noChangeAspect="1"/>
              </p:cNvSpPr>
              <p:nvPr/>
            </p:nvSpPr>
            <p:spPr bwMode="auto">
              <a:xfrm>
                <a:off x="4325585" y="1931914"/>
                <a:ext cx="10067" cy="7476"/>
              </a:xfrm>
              <a:custGeom>
                <a:avLst/>
                <a:gdLst>
                  <a:gd name="T0" fmla="*/ 0 w 7"/>
                  <a:gd name="T1" fmla="*/ 1 h 7"/>
                  <a:gd name="T2" fmla="*/ 6 w 7"/>
                  <a:gd name="T3" fmla="*/ 5 h 7"/>
                  <a:gd name="T4" fmla="*/ 8 w 7"/>
                  <a:gd name="T5" fmla="*/ 9 h 7"/>
                  <a:gd name="T6" fmla="*/ 4 w 7"/>
                  <a:gd name="T7" fmla="*/ 6 h 7"/>
                  <a:gd name="T8" fmla="*/ 0 w 7"/>
                  <a:gd name="T9" fmla="*/ 1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7"/>
                  <a:gd name="T17" fmla="*/ 7 w 7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7">
                    <a:moveTo>
                      <a:pt x="0" y="1"/>
                    </a:moveTo>
                    <a:cubicBezTo>
                      <a:pt x="2" y="0"/>
                      <a:pt x="3" y="2"/>
                      <a:pt x="5" y="4"/>
                    </a:cubicBezTo>
                    <a:cubicBezTo>
                      <a:pt x="5" y="5"/>
                      <a:pt x="7" y="6"/>
                      <a:pt x="6" y="7"/>
                    </a:cubicBezTo>
                    <a:cubicBezTo>
                      <a:pt x="5" y="7"/>
                      <a:pt x="4" y="6"/>
                      <a:pt x="3" y="5"/>
                    </a:cubicBezTo>
                    <a:cubicBezTo>
                      <a:pt x="2" y="4"/>
                      <a:pt x="0" y="2"/>
                      <a:pt x="0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81" name="Freeform 2816"/>
              <p:cNvSpPr>
                <a:spLocks noChangeAspect="1"/>
              </p:cNvSpPr>
              <p:nvPr/>
            </p:nvSpPr>
            <p:spPr bwMode="auto">
              <a:xfrm>
                <a:off x="4555995" y="1915300"/>
                <a:ext cx="8948" cy="6645"/>
              </a:xfrm>
              <a:custGeom>
                <a:avLst/>
                <a:gdLst>
                  <a:gd name="T0" fmla="*/ 1 w 7"/>
                  <a:gd name="T1" fmla="*/ 1 h 7"/>
                  <a:gd name="T2" fmla="*/ 6 w 7"/>
                  <a:gd name="T3" fmla="*/ 5 h 7"/>
                  <a:gd name="T4" fmla="*/ 8 w 7"/>
                  <a:gd name="T5" fmla="*/ 8 h 7"/>
                  <a:gd name="T6" fmla="*/ 3 w 7"/>
                  <a:gd name="T7" fmla="*/ 5 h 7"/>
                  <a:gd name="T8" fmla="*/ 1 w 7"/>
                  <a:gd name="T9" fmla="*/ 1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7"/>
                  <a:gd name="T17" fmla="*/ 7 w 7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7">
                    <a:moveTo>
                      <a:pt x="1" y="1"/>
                    </a:moveTo>
                    <a:cubicBezTo>
                      <a:pt x="3" y="0"/>
                      <a:pt x="4" y="2"/>
                      <a:pt x="5" y="4"/>
                    </a:cubicBezTo>
                    <a:cubicBezTo>
                      <a:pt x="6" y="5"/>
                      <a:pt x="7" y="6"/>
                      <a:pt x="7" y="7"/>
                    </a:cubicBezTo>
                    <a:cubicBezTo>
                      <a:pt x="5" y="7"/>
                      <a:pt x="4" y="5"/>
                      <a:pt x="3" y="4"/>
                    </a:cubicBezTo>
                    <a:cubicBezTo>
                      <a:pt x="2" y="3"/>
                      <a:pt x="0" y="1"/>
                      <a:pt x="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82" name="Freeform 2817"/>
              <p:cNvSpPr>
                <a:spLocks noChangeAspect="1"/>
              </p:cNvSpPr>
              <p:nvPr/>
            </p:nvSpPr>
            <p:spPr bwMode="auto">
              <a:xfrm>
                <a:off x="4564942" y="1901180"/>
                <a:ext cx="7830" cy="3322"/>
              </a:xfrm>
              <a:custGeom>
                <a:avLst/>
                <a:gdLst>
                  <a:gd name="T0" fmla="*/ 0 w 6"/>
                  <a:gd name="T1" fmla="*/ 3 h 3"/>
                  <a:gd name="T2" fmla="*/ 4 w 6"/>
                  <a:gd name="T3" fmla="*/ 0 h 3"/>
                  <a:gd name="T4" fmla="*/ 7 w 6"/>
                  <a:gd name="T5" fmla="*/ 1 h 3"/>
                  <a:gd name="T6" fmla="*/ 4 w 6"/>
                  <a:gd name="T7" fmla="*/ 3 h 3"/>
                  <a:gd name="T8" fmla="*/ 0 w 6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3"/>
                  <a:gd name="T17" fmla="*/ 6 w 6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3">
                    <a:moveTo>
                      <a:pt x="0" y="2"/>
                    </a:moveTo>
                    <a:cubicBezTo>
                      <a:pt x="0" y="1"/>
                      <a:pt x="2" y="0"/>
                      <a:pt x="3" y="0"/>
                    </a:cubicBezTo>
                    <a:cubicBezTo>
                      <a:pt x="4" y="0"/>
                      <a:pt x="6" y="0"/>
                      <a:pt x="6" y="1"/>
                    </a:cubicBezTo>
                    <a:cubicBezTo>
                      <a:pt x="5" y="2"/>
                      <a:pt x="4" y="2"/>
                      <a:pt x="3" y="2"/>
                    </a:cubicBezTo>
                    <a:cubicBezTo>
                      <a:pt x="2" y="3"/>
                      <a:pt x="0" y="3"/>
                      <a:pt x="0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83" name="Freeform 2818"/>
              <p:cNvSpPr>
                <a:spLocks noChangeAspect="1"/>
              </p:cNvSpPr>
              <p:nvPr/>
            </p:nvSpPr>
            <p:spPr bwMode="auto">
              <a:xfrm>
                <a:off x="4624222" y="1854661"/>
                <a:ext cx="5593" cy="5815"/>
              </a:xfrm>
              <a:custGeom>
                <a:avLst/>
                <a:gdLst>
                  <a:gd name="T0" fmla="*/ 1 w 4"/>
                  <a:gd name="T1" fmla="*/ 6 h 6"/>
                  <a:gd name="T2" fmla="*/ 3 w 4"/>
                  <a:gd name="T3" fmla="*/ 2 h 6"/>
                  <a:gd name="T4" fmla="*/ 5 w 4"/>
                  <a:gd name="T5" fmla="*/ 1 h 6"/>
                  <a:gd name="T6" fmla="*/ 4 w 4"/>
                  <a:gd name="T7" fmla="*/ 5 h 6"/>
                  <a:gd name="T8" fmla="*/ 1 w 4"/>
                  <a:gd name="T9" fmla="*/ 6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6"/>
                  <a:gd name="T17" fmla="*/ 4 w 4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6">
                    <a:moveTo>
                      <a:pt x="1" y="5"/>
                    </a:moveTo>
                    <a:cubicBezTo>
                      <a:pt x="0" y="4"/>
                      <a:pt x="1" y="3"/>
                      <a:pt x="2" y="2"/>
                    </a:cubicBezTo>
                    <a:cubicBezTo>
                      <a:pt x="2" y="1"/>
                      <a:pt x="3" y="0"/>
                      <a:pt x="4" y="1"/>
                    </a:cubicBezTo>
                    <a:cubicBezTo>
                      <a:pt x="4" y="2"/>
                      <a:pt x="3" y="3"/>
                      <a:pt x="3" y="4"/>
                    </a:cubicBezTo>
                    <a:cubicBezTo>
                      <a:pt x="2" y="4"/>
                      <a:pt x="1" y="6"/>
                      <a:pt x="1" y="5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84" name="Freeform 2819"/>
              <p:cNvSpPr>
                <a:spLocks noChangeAspect="1"/>
              </p:cNvSpPr>
              <p:nvPr/>
            </p:nvSpPr>
            <p:spPr bwMode="auto">
              <a:xfrm>
                <a:off x="4726005" y="1769103"/>
                <a:ext cx="7830" cy="4984"/>
              </a:xfrm>
              <a:custGeom>
                <a:avLst/>
                <a:gdLst>
                  <a:gd name="T0" fmla="*/ 1 w 6"/>
                  <a:gd name="T1" fmla="*/ 1 h 5"/>
                  <a:gd name="T2" fmla="*/ 5 w 6"/>
                  <a:gd name="T3" fmla="*/ 2 h 5"/>
                  <a:gd name="T4" fmla="*/ 6 w 6"/>
                  <a:gd name="T5" fmla="*/ 6 h 5"/>
                  <a:gd name="T6" fmla="*/ 2 w 6"/>
                  <a:gd name="T7" fmla="*/ 4 h 5"/>
                  <a:gd name="T8" fmla="*/ 1 w 6"/>
                  <a:gd name="T9" fmla="*/ 1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5"/>
                  <a:gd name="T17" fmla="*/ 6 w 6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5">
                    <a:moveTo>
                      <a:pt x="1" y="1"/>
                    </a:moveTo>
                    <a:cubicBezTo>
                      <a:pt x="2" y="0"/>
                      <a:pt x="3" y="1"/>
                      <a:pt x="4" y="2"/>
                    </a:cubicBezTo>
                    <a:cubicBezTo>
                      <a:pt x="5" y="3"/>
                      <a:pt x="6" y="4"/>
                      <a:pt x="5" y="5"/>
                    </a:cubicBezTo>
                    <a:cubicBezTo>
                      <a:pt x="4" y="5"/>
                      <a:pt x="3" y="4"/>
                      <a:pt x="2" y="3"/>
                    </a:cubicBezTo>
                    <a:cubicBezTo>
                      <a:pt x="2" y="3"/>
                      <a:pt x="0" y="2"/>
                      <a:pt x="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85" name="Freeform 2820"/>
              <p:cNvSpPr>
                <a:spLocks noChangeAspect="1"/>
              </p:cNvSpPr>
              <p:nvPr/>
            </p:nvSpPr>
            <p:spPr bwMode="auto">
              <a:xfrm>
                <a:off x="4563825" y="1904501"/>
                <a:ext cx="7830" cy="4984"/>
              </a:xfrm>
              <a:custGeom>
                <a:avLst/>
                <a:gdLst>
                  <a:gd name="T0" fmla="*/ 1 w 6"/>
                  <a:gd name="T1" fmla="*/ 5 h 5"/>
                  <a:gd name="T2" fmla="*/ 4 w 6"/>
                  <a:gd name="T3" fmla="*/ 1 h 5"/>
                  <a:gd name="T4" fmla="*/ 7 w 6"/>
                  <a:gd name="T5" fmla="*/ 1 h 5"/>
                  <a:gd name="T6" fmla="*/ 5 w 6"/>
                  <a:gd name="T7" fmla="*/ 5 h 5"/>
                  <a:gd name="T8" fmla="*/ 1 w 6"/>
                  <a:gd name="T9" fmla="*/ 5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5"/>
                  <a:gd name="T17" fmla="*/ 6 w 6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5">
                    <a:moveTo>
                      <a:pt x="1" y="4"/>
                    </a:moveTo>
                    <a:cubicBezTo>
                      <a:pt x="0" y="3"/>
                      <a:pt x="2" y="2"/>
                      <a:pt x="3" y="1"/>
                    </a:cubicBezTo>
                    <a:cubicBezTo>
                      <a:pt x="4" y="1"/>
                      <a:pt x="6" y="0"/>
                      <a:pt x="6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4"/>
                      <a:pt x="1" y="5"/>
                      <a:pt x="1" y="4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86" name="Freeform 2821"/>
              <p:cNvSpPr>
                <a:spLocks noChangeAspect="1"/>
              </p:cNvSpPr>
              <p:nvPr/>
            </p:nvSpPr>
            <p:spPr bwMode="auto">
              <a:xfrm>
                <a:off x="4330060" y="1931914"/>
                <a:ext cx="6712" cy="4984"/>
              </a:xfrm>
              <a:custGeom>
                <a:avLst/>
                <a:gdLst>
                  <a:gd name="T0" fmla="*/ 0 w 5"/>
                  <a:gd name="T1" fmla="*/ 0 h 5"/>
                  <a:gd name="T2" fmla="*/ 5 w 5"/>
                  <a:gd name="T3" fmla="*/ 2 h 5"/>
                  <a:gd name="T4" fmla="*/ 6 w 5"/>
                  <a:gd name="T5" fmla="*/ 6 h 5"/>
                  <a:gd name="T6" fmla="*/ 4 w 5"/>
                  <a:gd name="T7" fmla="*/ 4 h 5"/>
                  <a:gd name="T8" fmla="*/ 0 w 5"/>
                  <a:gd name="T9" fmla="*/ 0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5"/>
                  <a:gd name="T17" fmla="*/ 5 w 5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5">
                    <a:moveTo>
                      <a:pt x="0" y="0"/>
                    </a:moveTo>
                    <a:cubicBezTo>
                      <a:pt x="1" y="0"/>
                      <a:pt x="3" y="2"/>
                      <a:pt x="4" y="2"/>
                    </a:cubicBezTo>
                    <a:cubicBezTo>
                      <a:pt x="5" y="3"/>
                      <a:pt x="5" y="4"/>
                      <a:pt x="5" y="5"/>
                    </a:cubicBezTo>
                    <a:cubicBezTo>
                      <a:pt x="4" y="5"/>
                      <a:pt x="4" y="4"/>
                      <a:pt x="3" y="3"/>
                    </a:cubicBezTo>
                    <a:cubicBezTo>
                      <a:pt x="2" y="2"/>
                      <a:pt x="0" y="1"/>
                      <a:pt x="0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87" name="Freeform 2822"/>
              <p:cNvSpPr>
                <a:spLocks noChangeAspect="1"/>
              </p:cNvSpPr>
              <p:nvPr/>
            </p:nvSpPr>
            <p:spPr bwMode="auto">
              <a:xfrm>
                <a:off x="4693570" y="2025780"/>
                <a:ext cx="12304" cy="24090"/>
              </a:xfrm>
              <a:custGeom>
                <a:avLst/>
                <a:gdLst>
                  <a:gd name="T0" fmla="*/ 11 w 9"/>
                  <a:gd name="T1" fmla="*/ 1 h 24"/>
                  <a:gd name="T2" fmla="*/ 6 w 9"/>
                  <a:gd name="T3" fmla="*/ 19 h 24"/>
                  <a:gd name="T4" fmla="*/ 1 w 9"/>
                  <a:gd name="T5" fmla="*/ 28 h 24"/>
                  <a:gd name="T6" fmla="*/ 1 w 9"/>
                  <a:gd name="T7" fmla="*/ 23 h 24"/>
                  <a:gd name="T8" fmla="*/ 6 w 9"/>
                  <a:gd name="T9" fmla="*/ 6 h 24"/>
                  <a:gd name="T10" fmla="*/ 9 w 9"/>
                  <a:gd name="T11" fmla="*/ 1 h 24"/>
                  <a:gd name="T12" fmla="*/ 11 w 9"/>
                  <a:gd name="T13" fmla="*/ 1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9"/>
                  <a:gd name="T22" fmla="*/ 0 h 24"/>
                  <a:gd name="T23" fmla="*/ 9 w 9"/>
                  <a:gd name="T24" fmla="*/ 24 h 2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9" h="24">
                    <a:moveTo>
                      <a:pt x="9" y="1"/>
                    </a:moveTo>
                    <a:cubicBezTo>
                      <a:pt x="8" y="6"/>
                      <a:pt x="7" y="11"/>
                      <a:pt x="5" y="16"/>
                    </a:cubicBezTo>
                    <a:cubicBezTo>
                      <a:pt x="4" y="18"/>
                      <a:pt x="3" y="21"/>
                      <a:pt x="1" y="23"/>
                    </a:cubicBezTo>
                    <a:cubicBezTo>
                      <a:pt x="0" y="24"/>
                      <a:pt x="1" y="20"/>
                      <a:pt x="1" y="19"/>
                    </a:cubicBezTo>
                    <a:cubicBezTo>
                      <a:pt x="2" y="14"/>
                      <a:pt x="4" y="10"/>
                      <a:pt x="5" y="5"/>
                    </a:cubicBezTo>
                    <a:cubicBezTo>
                      <a:pt x="6" y="4"/>
                      <a:pt x="6" y="2"/>
                      <a:pt x="7" y="1"/>
                    </a:cubicBezTo>
                    <a:cubicBezTo>
                      <a:pt x="7" y="1"/>
                      <a:pt x="9" y="0"/>
                      <a:pt x="9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88" name="Freeform 2823"/>
              <p:cNvSpPr>
                <a:spLocks noChangeAspect="1"/>
              </p:cNvSpPr>
              <p:nvPr/>
            </p:nvSpPr>
            <p:spPr bwMode="auto">
              <a:xfrm>
                <a:off x="4719293" y="2015812"/>
                <a:ext cx="20133" cy="20766"/>
              </a:xfrm>
              <a:custGeom>
                <a:avLst/>
                <a:gdLst>
                  <a:gd name="T0" fmla="*/ 18 w 15"/>
                  <a:gd name="T1" fmla="*/ 1 h 21"/>
                  <a:gd name="T2" fmla="*/ 10 w 15"/>
                  <a:gd name="T3" fmla="*/ 7 h 21"/>
                  <a:gd name="T4" fmla="*/ 10 w 15"/>
                  <a:gd name="T5" fmla="*/ 18 h 21"/>
                  <a:gd name="T6" fmla="*/ 5 w 15"/>
                  <a:gd name="T7" fmla="*/ 25 h 21"/>
                  <a:gd name="T8" fmla="*/ 5 w 15"/>
                  <a:gd name="T9" fmla="*/ 18 h 21"/>
                  <a:gd name="T10" fmla="*/ 2 w 15"/>
                  <a:gd name="T11" fmla="*/ 10 h 21"/>
                  <a:gd name="T12" fmla="*/ 13 w 15"/>
                  <a:gd name="T13" fmla="*/ 0 h 21"/>
                  <a:gd name="T14" fmla="*/ 18 w 15"/>
                  <a:gd name="T15" fmla="*/ 1 h 2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5"/>
                  <a:gd name="T25" fmla="*/ 0 h 21"/>
                  <a:gd name="T26" fmla="*/ 15 w 15"/>
                  <a:gd name="T27" fmla="*/ 21 h 2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5" h="21">
                    <a:moveTo>
                      <a:pt x="15" y="1"/>
                    </a:moveTo>
                    <a:cubicBezTo>
                      <a:pt x="13" y="3"/>
                      <a:pt x="9" y="3"/>
                      <a:pt x="8" y="6"/>
                    </a:cubicBezTo>
                    <a:cubicBezTo>
                      <a:pt x="7" y="9"/>
                      <a:pt x="9" y="12"/>
                      <a:pt x="8" y="15"/>
                    </a:cubicBezTo>
                    <a:cubicBezTo>
                      <a:pt x="7" y="17"/>
                      <a:pt x="6" y="21"/>
                      <a:pt x="4" y="21"/>
                    </a:cubicBezTo>
                    <a:cubicBezTo>
                      <a:pt x="3" y="21"/>
                      <a:pt x="4" y="17"/>
                      <a:pt x="4" y="15"/>
                    </a:cubicBezTo>
                    <a:cubicBezTo>
                      <a:pt x="3" y="13"/>
                      <a:pt x="0" y="10"/>
                      <a:pt x="2" y="8"/>
                    </a:cubicBezTo>
                    <a:cubicBezTo>
                      <a:pt x="3" y="4"/>
                      <a:pt x="8" y="2"/>
                      <a:pt x="11" y="0"/>
                    </a:cubicBezTo>
                    <a:cubicBezTo>
                      <a:pt x="12" y="0"/>
                      <a:pt x="15" y="0"/>
                      <a:pt x="15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89" name="Freeform 2824"/>
              <p:cNvSpPr>
                <a:spLocks noChangeAspect="1"/>
              </p:cNvSpPr>
              <p:nvPr/>
            </p:nvSpPr>
            <p:spPr bwMode="auto">
              <a:xfrm>
                <a:off x="4739428" y="1969294"/>
                <a:ext cx="14540" cy="7476"/>
              </a:xfrm>
              <a:custGeom>
                <a:avLst/>
                <a:gdLst>
                  <a:gd name="T0" fmla="*/ 1 w 11"/>
                  <a:gd name="T1" fmla="*/ 3 h 8"/>
                  <a:gd name="T2" fmla="*/ 6 w 11"/>
                  <a:gd name="T3" fmla="*/ 6 h 8"/>
                  <a:gd name="T4" fmla="*/ 9 w 11"/>
                  <a:gd name="T5" fmla="*/ 1 h 8"/>
                  <a:gd name="T6" fmla="*/ 13 w 11"/>
                  <a:gd name="T7" fmla="*/ 7 h 8"/>
                  <a:gd name="T8" fmla="*/ 8 w 11"/>
                  <a:gd name="T9" fmla="*/ 8 h 8"/>
                  <a:gd name="T10" fmla="*/ 5 w 11"/>
                  <a:gd name="T11" fmla="*/ 7 h 8"/>
                  <a:gd name="T12" fmla="*/ 2 w 11"/>
                  <a:gd name="T13" fmla="*/ 8 h 8"/>
                  <a:gd name="T14" fmla="*/ 1 w 11"/>
                  <a:gd name="T15" fmla="*/ 3 h 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1"/>
                  <a:gd name="T25" fmla="*/ 0 h 8"/>
                  <a:gd name="T26" fmla="*/ 11 w 11"/>
                  <a:gd name="T27" fmla="*/ 8 h 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1" h="8">
                    <a:moveTo>
                      <a:pt x="1" y="3"/>
                    </a:moveTo>
                    <a:cubicBezTo>
                      <a:pt x="2" y="2"/>
                      <a:pt x="4" y="5"/>
                      <a:pt x="5" y="5"/>
                    </a:cubicBezTo>
                    <a:cubicBezTo>
                      <a:pt x="7" y="4"/>
                      <a:pt x="7" y="0"/>
                      <a:pt x="8" y="1"/>
                    </a:cubicBezTo>
                    <a:cubicBezTo>
                      <a:pt x="10" y="1"/>
                      <a:pt x="11" y="4"/>
                      <a:pt x="11" y="6"/>
                    </a:cubicBezTo>
                    <a:cubicBezTo>
                      <a:pt x="11" y="7"/>
                      <a:pt x="9" y="7"/>
                      <a:pt x="7" y="7"/>
                    </a:cubicBezTo>
                    <a:cubicBezTo>
                      <a:pt x="6" y="7"/>
                      <a:pt x="5" y="6"/>
                      <a:pt x="4" y="6"/>
                    </a:cubicBezTo>
                    <a:cubicBezTo>
                      <a:pt x="3" y="6"/>
                      <a:pt x="3" y="8"/>
                      <a:pt x="2" y="7"/>
                    </a:cubicBezTo>
                    <a:cubicBezTo>
                      <a:pt x="1" y="6"/>
                      <a:pt x="0" y="4"/>
                      <a:pt x="1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90" name="Freeform 2825"/>
              <p:cNvSpPr>
                <a:spLocks noChangeAspect="1"/>
              </p:cNvSpPr>
              <p:nvPr/>
            </p:nvSpPr>
            <p:spPr bwMode="auto">
              <a:xfrm>
                <a:off x="4779693" y="1971785"/>
                <a:ext cx="11186" cy="7476"/>
              </a:xfrm>
              <a:custGeom>
                <a:avLst/>
                <a:gdLst>
                  <a:gd name="T0" fmla="*/ 1 w 8"/>
                  <a:gd name="T1" fmla="*/ 1 h 7"/>
                  <a:gd name="T2" fmla="*/ 9 w 8"/>
                  <a:gd name="T3" fmla="*/ 1 h 7"/>
                  <a:gd name="T4" fmla="*/ 9 w 8"/>
                  <a:gd name="T5" fmla="*/ 8 h 7"/>
                  <a:gd name="T6" fmla="*/ 1 w 8"/>
                  <a:gd name="T7" fmla="*/ 6 h 7"/>
                  <a:gd name="T8" fmla="*/ 3 w 8"/>
                  <a:gd name="T9" fmla="*/ 4 h 7"/>
                  <a:gd name="T10" fmla="*/ 1 w 8"/>
                  <a:gd name="T11" fmla="*/ 1 h 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7"/>
                  <a:gd name="T20" fmla="*/ 8 w 8"/>
                  <a:gd name="T21" fmla="*/ 7 h 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7">
                    <a:moveTo>
                      <a:pt x="1" y="1"/>
                    </a:moveTo>
                    <a:cubicBezTo>
                      <a:pt x="2" y="1"/>
                      <a:pt x="5" y="0"/>
                      <a:pt x="7" y="1"/>
                    </a:cubicBezTo>
                    <a:cubicBezTo>
                      <a:pt x="8" y="2"/>
                      <a:pt x="8" y="5"/>
                      <a:pt x="7" y="6"/>
                    </a:cubicBezTo>
                    <a:cubicBezTo>
                      <a:pt x="5" y="7"/>
                      <a:pt x="3" y="6"/>
                      <a:pt x="1" y="5"/>
                    </a:cubicBezTo>
                    <a:cubicBezTo>
                      <a:pt x="0" y="5"/>
                      <a:pt x="2" y="4"/>
                      <a:pt x="2" y="3"/>
                    </a:cubicBezTo>
                    <a:cubicBezTo>
                      <a:pt x="2" y="2"/>
                      <a:pt x="0" y="2"/>
                      <a:pt x="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91" name="Freeform 2826"/>
              <p:cNvSpPr>
                <a:spLocks noChangeAspect="1"/>
              </p:cNvSpPr>
              <p:nvPr/>
            </p:nvSpPr>
            <p:spPr bwMode="auto">
              <a:xfrm>
                <a:off x="4625341" y="1812297"/>
                <a:ext cx="7830" cy="9968"/>
              </a:xfrm>
              <a:custGeom>
                <a:avLst/>
                <a:gdLst>
                  <a:gd name="T0" fmla="*/ 6 w 6"/>
                  <a:gd name="T1" fmla="*/ 1 h 10"/>
                  <a:gd name="T2" fmla="*/ 6 w 6"/>
                  <a:gd name="T3" fmla="*/ 7 h 10"/>
                  <a:gd name="T4" fmla="*/ 2 w 6"/>
                  <a:gd name="T5" fmla="*/ 11 h 10"/>
                  <a:gd name="T6" fmla="*/ 2 w 6"/>
                  <a:gd name="T7" fmla="*/ 5 h 10"/>
                  <a:gd name="T8" fmla="*/ 6 w 6"/>
                  <a:gd name="T9" fmla="*/ 1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0"/>
                  <a:gd name="T17" fmla="*/ 6 w 6"/>
                  <a:gd name="T18" fmla="*/ 10 h 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0">
                    <a:moveTo>
                      <a:pt x="5" y="1"/>
                    </a:moveTo>
                    <a:cubicBezTo>
                      <a:pt x="6" y="2"/>
                      <a:pt x="6" y="5"/>
                      <a:pt x="5" y="6"/>
                    </a:cubicBezTo>
                    <a:cubicBezTo>
                      <a:pt x="4" y="8"/>
                      <a:pt x="3" y="10"/>
                      <a:pt x="2" y="9"/>
                    </a:cubicBezTo>
                    <a:cubicBezTo>
                      <a:pt x="0" y="8"/>
                      <a:pt x="1" y="5"/>
                      <a:pt x="2" y="4"/>
                    </a:cubicBezTo>
                    <a:cubicBezTo>
                      <a:pt x="2" y="2"/>
                      <a:pt x="4" y="0"/>
                      <a:pt x="5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92" name="Freeform 2827"/>
              <p:cNvSpPr>
                <a:spLocks noChangeAspect="1"/>
              </p:cNvSpPr>
              <p:nvPr/>
            </p:nvSpPr>
            <p:spPr bwMode="auto">
              <a:xfrm>
                <a:off x="4637645" y="1807314"/>
                <a:ext cx="7830" cy="8307"/>
              </a:xfrm>
              <a:custGeom>
                <a:avLst/>
                <a:gdLst>
                  <a:gd name="T0" fmla="*/ 6 w 6"/>
                  <a:gd name="T1" fmla="*/ 1 h 8"/>
                  <a:gd name="T2" fmla="*/ 7 w 6"/>
                  <a:gd name="T3" fmla="*/ 5 h 8"/>
                  <a:gd name="T4" fmla="*/ 2 w 6"/>
                  <a:gd name="T5" fmla="*/ 9 h 8"/>
                  <a:gd name="T6" fmla="*/ 1 w 6"/>
                  <a:gd name="T7" fmla="*/ 3 h 8"/>
                  <a:gd name="T8" fmla="*/ 6 w 6"/>
                  <a:gd name="T9" fmla="*/ 1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8"/>
                  <a:gd name="T17" fmla="*/ 6 w 6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8">
                    <a:moveTo>
                      <a:pt x="5" y="1"/>
                    </a:moveTo>
                    <a:cubicBezTo>
                      <a:pt x="6" y="1"/>
                      <a:pt x="6" y="3"/>
                      <a:pt x="6" y="4"/>
                    </a:cubicBezTo>
                    <a:cubicBezTo>
                      <a:pt x="5" y="5"/>
                      <a:pt x="3" y="8"/>
                      <a:pt x="2" y="7"/>
                    </a:cubicBezTo>
                    <a:cubicBezTo>
                      <a:pt x="0" y="6"/>
                      <a:pt x="0" y="3"/>
                      <a:pt x="1" y="2"/>
                    </a:cubicBezTo>
                    <a:cubicBezTo>
                      <a:pt x="2" y="1"/>
                      <a:pt x="4" y="0"/>
                      <a:pt x="5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93" name="Freeform 2828"/>
              <p:cNvSpPr>
                <a:spLocks noChangeAspect="1"/>
              </p:cNvSpPr>
              <p:nvPr/>
            </p:nvSpPr>
            <p:spPr bwMode="auto">
              <a:xfrm>
                <a:off x="4649948" y="1804821"/>
                <a:ext cx="10067" cy="9138"/>
              </a:xfrm>
              <a:custGeom>
                <a:avLst/>
                <a:gdLst>
                  <a:gd name="T0" fmla="*/ 8 w 8"/>
                  <a:gd name="T1" fmla="*/ 1 h 9"/>
                  <a:gd name="T2" fmla="*/ 3 w 8"/>
                  <a:gd name="T3" fmla="*/ 2 h 9"/>
                  <a:gd name="T4" fmla="*/ 1 w 8"/>
                  <a:gd name="T5" fmla="*/ 9 h 9"/>
                  <a:gd name="T6" fmla="*/ 8 w 8"/>
                  <a:gd name="T7" fmla="*/ 6 h 9"/>
                  <a:gd name="T8" fmla="*/ 8 w 8"/>
                  <a:gd name="T9" fmla="*/ 1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9"/>
                  <a:gd name="T17" fmla="*/ 8 w 8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9">
                    <a:moveTo>
                      <a:pt x="7" y="1"/>
                    </a:moveTo>
                    <a:cubicBezTo>
                      <a:pt x="6" y="0"/>
                      <a:pt x="4" y="1"/>
                      <a:pt x="3" y="2"/>
                    </a:cubicBezTo>
                    <a:cubicBezTo>
                      <a:pt x="1" y="3"/>
                      <a:pt x="0" y="6"/>
                      <a:pt x="1" y="7"/>
                    </a:cubicBezTo>
                    <a:cubicBezTo>
                      <a:pt x="3" y="9"/>
                      <a:pt x="5" y="6"/>
                      <a:pt x="7" y="5"/>
                    </a:cubicBezTo>
                    <a:cubicBezTo>
                      <a:pt x="7" y="4"/>
                      <a:pt x="8" y="2"/>
                      <a:pt x="7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94" name="Freeform 2829"/>
              <p:cNvSpPr>
                <a:spLocks noChangeAspect="1"/>
              </p:cNvSpPr>
              <p:nvPr/>
            </p:nvSpPr>
            <p:spPr bwMode="auto">
              <a:xfrm>
                <a:off x="4706992" y="1777410"/>
                <a:ext cx="10067" cy="6645"/>
              </a:xfrm>
              <a:custGeom>
                <a:avLst/>
                <a:gdLst>
                  <a:gd name="T0" fmla="*/ 8 w 7"/>
                  <a:gd name="T1" fmla="*/ 0 h 6"/>
                  <a:gd name="T2" fmla="*/ 4 w 7"/>
                  <a:gd name="T3" fmla="*/ 1 h 6"/>
                  <a:gd name="T4" fmla="*/ 1 w 7"/>
                  <a:gd name="T5" fmla="*/ 7 h 6"/>
                  <a:gd name="T6" fmla="*/ 8 w 7"/>
                  <a:gd name="T7" fmla="*/ 4 h 6"/>
                  <a:gd name="T8" fmla="*/ 8 w 7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6"/>
                  <a:gd name="T17" fmla="*/ 7 w 7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6">
                    <a:moveTo>
                      <a:pt x="6" y="0"/>
                    </a:moveTo>
                    <a:cubicBezTo>
                      <a:pt x="5" y="0"/>
                      <a:pt x="4" y="0"/>
                      <a:pt x="3" y="1"/>
                    </a:cubicBezTo>
                    <a:cubicBezTo>
                      <a:pt x="2" y="2"/>
                      <a:pt x="0" y="4"/>
                      <a:pt x="1" y="5"/>
                    </a:cubicBezTo>
                    <a:cubicBezTo>
                      <a:pt x="3" y="6"/>
                      <a:pt x="4" y="4"/>
                      <a:pt x="6" y="3"/>
                    </a:cubicBezTo>
                    <a:cubicBezTo>
                      <a:pt x="6" y="2"/>
                      <a:pt x="7" y="1"/>
                      <a:pt x="6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95" name="Freeform 2830"/>
              <p:cNvSpPr>
                <a:spLocks noChangeAspect="1"/>
              </p:cNvSpPr>
              <p:nvPr/>
            </p:nvSpPr>
            <p:spPr bwMode="auto">
              <a:xfrm>
                <a:off x="4717058" y="1774087"/>
                <a:ext cx="8948" cy="5815"/>
              </a:xfrm>
              <a:custGeom>
                <a:avLst/>
                <a:gdLst>
                  <a:gd name="T0" fmla="*/ 7 w 7"/>
                  <a:gd name="T1" fmla="*/ 0 h 6"/>
                  <a:gd name="T2" fmla="*/ 3 w 7"/>
                  <a:gd name="T3" fmla="*/ 1 h 6"/>
                  <a:gd name="T4" fmla="*/ 1 w 7"/>
                  <a:gd name="T5" fmla="*/ 6 h 6"/>
                  <a:gd name="T6" fmla="*/ 7 w 7"/>
                  <a:gd name="T7" fmla="*/ 4 h 6"/>
                  <a:gd name="T8" fmla="*/ 7 w 7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6"/>
                  <a:gd name="T17" fmla="*/ 7 w 7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6">
                    <a:moveTo>
                      <a:pt x="6" y="0"/>
                    </a:moveTo>
                    <a:cubicBezTo>
                      <a:pt x="5" y="0"/>
                      <a:pt x="4" y="0"/>
                      <a:pt x="3" y="1"/>
                    </a:cubicBezTo>
                    <a:cubicBezTo>
                      <a:pt x="2" y="2"/>
                      <a:pt x="0" y="4"/>
                      <a:pt x="1" y="5"/>
                    </a:cubicBezTo>
                    <a:cubicBezTo>
                      <a:pt x="2" y="6"/>
                      <a:pt x="4" y="4"/>
                      <a:pt x="6" y="3"/>
                    </a:cubicBezTo>
                    <a:cubicBezTo>
                      <a:pt x="6" y="2"/>
                      <a:pt x="7" y="1"/>
                      <a:pt x="6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96" name="Freeform 2831"/>
              <p:cNvSpPr>
                <a:spLocks noChangeAspect="1"/>
              </p:cNvSpPr>
              <p:nvPr/>
            </p:nvSpPr>
            <p:spPr bwMode="auto">
              <a:xfrm>
                <a:off x="4665607" y="1786547"/>
                <a:ext cx="13422" cy="13290"/>
              </a:xfrm>
              <a:custGeom>
                <a:avLst/>
                <a:gdLst>
                  <a:gd name="T0" fmla="*/ 8 w 10"/>
                  <a:gd name="T1" fmla="*/ 0 h 13"/>
                  <a:gd name="T2" fmla="*/ 11 w 10"/>
                  <a:gd name="T3" fmla="*/ 7 h 13"/>
                  <a:gd name="T4" fmla="*/ 1 w 10"/>
                  <a:gd name="T5" fmla="*/ 10 h 13"/>
                  <a:gd name="T6" fmla="*/ 0 w 10"/>
                  <a:gd name="T7" fmla="*/ 15 h 13"/>
                  <a:gd name="T8" fmla="*/ 1 w 10"/>
                  <a:gd name="T9" fmla="*/ 6 h 13"/>
                  <a:gd name="T10" fmla="*/ 8 w 10"/>
                  <a:gd name="T11" fmla="*/ 0 h 1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"/>
                  <a:gd name="T19" fmla="*/ 0 h 13"/>
                  <a:gd name="T20" fmla="*/ 10 w 10"/>
                  <a:gd name="T21" fmla="*/ 13 h 1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" h="13">
                    <a:moveTo>
                      <a:pt x="7" y="0"/>
                    </a:moveTo>
                    <a:cubicBezTo>
                      <a:pt x="9" y="0"/>
                      <a:pt x="10" y="4"/>
                      <a:pt x="9" y="6"/>
                    </a:cubicBezTo>
                    <a:cubicBezTo>
                      <a:pt x="7" y="8"/>
                      <a:pt x="3" y="7"/>
                      <a:pt x="1" y="8"/>
                    </a:cubicBezTo>
                    <a:cubicBezTo>
                      <a:pt x="0" y="9"/>
                      <a:pt x="0" y="13"/>
                      <a:pt x="0" y="12"/>
                    </a:cubicBezTo>
                    <a:cubicBezTo>
                      <a:pt x="0" y="10"/>
                      <a:pt x="0" y="7"/>
                      <a:pt x="1" y="5"/>
                    </a:cubicBezTo>
                    <a:cubicBezTo>
                      <a:pt x="2" y="3"/>
                      <a:pt x="4" y="0"/>
                      <a:pt x="7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97" name="Freeform 2832"/>
              <p:cNvSpPr>
                <a:spLocks noChangeAspect="1"/>
              </p:cNvSpPr>
              <p:nvPr/>
            </p:nvSpPr>
            <p:spPr bwMode="auto">
              <a:xfrm>
                <a:off x="4652185" y="1791532"/>
                <a:ext cx="11186" cy="12461"/>
              </a:xfrm>
              <a:custGeom>
                <a:avLst/>
                <a:gdLst>
                  <a:gd name="T0" fmla="*/ 9 w 8"/>
                  <a:gd name="T1" fmla="*/ 3 h 12"/>
                  <a:gd name="T2" fmla="*/ 10 w 8"/>
                  <a:gd name="T3" fmla="*/ 13 h 12"/>
                  <a:gd name="T4" fmla="*/ 5 w 8"/>
                  <a:gd name="T5" fmla="*/ 15 h 12"/>
                  <a:gd name="T6" fmla="*/ 5 w 8"/>
                  <a:gd name="T7" fmla="*/ 11 h 12"/>
                  <a:gd name="T8" fmla="*/ 1 w 8"/>
                  <a:gd name="T9" fmla="*/ 11 h 12"/>
                  <a:gd name="T10" fmla="*/ 3 w 8"/>
                  <a:gd name="T11" fmla="*/ 8 h 12"/>
                  <a:gd name="T12" fmla="*/ 6 w 8"/>
                  <a:gd name="T13" fmla="*/ 8 h 12"/>
                  <a:gd name="T14" fmla="*/ 9 w 8"/>
                  <a:gd name="T15" fmla="*/ 3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"/>
                  <a:gd name="T25" fmla="*/ 0 h 12"/>
                  <a:gd name="T26" fmla="*/ 8 w 8"/>
                  <a:gd name="T27" fmla="*/ 12 h 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" h="12">
                    <a:moveTo>
                      <a:pt x="7" y="2"/>
                    </a:moveTo>
                    <a:cubicBezTo>
                      <a:pt x="8" y="4"/>
                      <a:pt x="8" y="7"/>
                      <a:pt x="8" y="10"/>
                    </a:cubicBezTo>
                    <a:cubicBezTo>
                      <a:pt x="7" y="11"/>
                      <a:pt x="6" y="12"/>
                      <a:pt x="4" y="12"/>
                    </a:cubicBezTo>
                    <a:cubicBezTo>
                      <a:pt x="3" y="12"/>
                      <a:pt x="5" y="10"/>
                      <a:pt x="4" y="9"/>
                    </a:cubicBezTo>
                    <a:cubicBezTo>
                      <a:pt x="3" y="9"/>
                      <a:pt x="1" y="10"/>
                      <a:pt x="1" y="9"/>
                    </a:cubicBezTo>
                    <a:cubicBezTo>
                      <a:pt x="0" y="8"/>
                      <a:pt x="1" y="6"/>
                      <a:pt x="2" y="6"/>
                    </a:cubicBezTo>
                    <a:cubicBezTo>
                      <a:pt x="2" y="5"/>
                      <a:pt x="4" y="6"/>
                      <a:pt x="5" y="6"/>
                    </a:cubicBezTo>
                    <a:cubicBezTo>
                      <a:pt x="6" y="5"/>
                      <a:pt x="6" y="0"/>
                      <a:pt x="7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98" name="Freeform 2833"/>
              <p:cNvSpPr>
                <a:spLocks noChangeAspect="1"/>
              </p:cNvSpPr>
              <p:nvPr/>
            </p:nvSpPr>
            <p:spPr bwMode="auto">
              <a:xfrm>
                <a:off x="4689096" y="1782393"/>
                <a:ext cx="14540" cy="13290"/>
              </a:xfrm>
              <a:custGeom>
                <a:avLst/>
                <a:gdLst>
                  <a:gd name="T0" fmla="*/ 13 w 11"/>
                  <a:gd name="T1" fmla="*/ 1 h 13"/>
                  <a:gd name="T2" fmla="*/ 11 w 11"/>
                  <a:gd name="T3" fmla="*/ 11 h 13"/>
                  <a:gd name="T4" fmla="*/ 7 w 11"/>
                  <a:gd name="T5" fmla="*/ 12 h 13"/>
                  <a:gd name="T6" fmla="*/ 4 w 11"/>
                  <a:gd name="T7" fmla="*/ 11 h 13"/>
                  <a:gd name="T8" fmla="*/ 2 w 11"/>
                  <a:gd name="T9" fmla="*/ 16 h 13"/>
                  <a:gd name="T10" fmla="*/ 1 w 11"/>
                  <a:gd name="T11" fmla="*/ 10 h 13"/>
                  <a:gd name="T12" fmla="*/ 1 w 11"/>
                  <a:gd name="T13" fmla="*/ 4 h 13"/>
                  <a:gd name="T14" fmla="*/ 9 w 11"/>
                  <a:gd name="T15" fmla="*/ 1 h 13"/>
                  <a:gd name="T16" fmla="*/ 13 w 11"/>
                  <a:gd name="T17" fmla="*/ 1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"/>
                  <a:gd name="T28" fmla="*/ 0 h 13"/>
                  <a:gd name="T29" fmla="*/ 11 w 11"/>
                  <a:gd name="T30" fmla="*/ 13 h 1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" h="13">
                    <a:moveTo>
                      <a:pt x="11" y="1"/>
                    </a:moveTo>
                    <a:cubicBezTo>
                      <a:pt x="11" y="4"/>
                      <a:pt x="11" y="7"/>
                      <a:pt x="9" y="9"/>
                    </a:cubicBezTo>
                    <a:cubicBezTo>
                      <a:pt x="9" y="10"/>
                      <a:pt x="7" y="10"/>
                      <a:pt x="6" y="10"/>
                    </a:cubicBezTo>
                    <a:cubicBezTo>
                      <a:pt x="5" y="10"/>
                      <a:pt x="4" y="9"/>
                      <a:pt x="3" y="9"/>
                    </a:cubicBezTo>
                    <a:cubicBezTo>
                      <a:pt x="2" y="10"/>
                      <a:pt x="3" y="13"/>
                      <a:pt x="2" y="13"/>
                    </a:cubicBezTo>
                    <a:cubicBezTo>
                      <a:pt x="0" y="12"/>
                      <a:pt x="1" y="10"/>
                      <a:pt x="1" y="8"/>
                    </a:cubicBezTo>
                    <a:cubicBezTo>
                      <a:pt x="1" y="7"/>
                      <a:pt x="0" y="4"/>
                      <a:pt x="1" y="3"/>
                    </a:cubicBezTo>
                    <a:cubicBezTo>
                      <a:pt x="3" y="1"/>
                      <a:pt x="6" y="1"/>
                      <a:pt x="8" y="1"/>
                    </a:cubicBezTo>
                    <a:cubicBezTo>
                      <a:pt x="9" y="0"/>
                      <a:pt x="11" y="0"/>
                      <a:pt x="1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99" name="Freeform 2834"/>
              <p:cNvSpPr>
                <a:spLocks noChangeAspect="1"/>
              </p:cNvSpPr>
              <p:nvPr/>
            </p:nvSpPr>
            <p:spPr bwMode="auto">
              <a:xfrm>
                <a:off x="4762916" y="1755812"/>
                <a:ext cx="22370" cy="9138"/>
              </a:xfrm>
              <a:custGeom>
                <a:avLst/>
                <a:gdLst>
                  <a:gd name="T0" fmla="*/ 19 w 17"/>
                  <a:gd name="T1" fmla="*/ 1 h 9"/>
                  <a:gd name="T2" fmla="*/ 12 w 17"/>
                  <a:gd name="T3" fmla="*/ 9 h 9"/>
                  <a:gd name="T4" fmla="*/ 1 w 17"/>
                  <a:gd name="T5" fmla="*/ 9 h 9"/>
                  <a:gd name="T6" fmla="*/ 7 w 17"/>
                  <a:gd name="T7" fmla="*/ 4 h 9"/>
                  <a:gd name="T8" fmla="*/ 14 w 17"/>
                  <a:gd name="T9" fmla="*/ 2 h 9"/>
                  <a:gd name="T10" fmla="*/ 19 w 17"/>
                  <a:gd name="T11" fmla="*/ 1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7"/>
                  <a:gd name="T19" fmla="*/ 0 h 9"/>
                  <a:gd name="T20" fmla="*/ 17 w 17"/>
                  <a:gd name="T21" fmla="*/ 9 h 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7" h="9">
                    <a:moveTo>
                      <a:pt x="16" y="1"/>
                    </a:moveTo>
                    <a:cubicBezTo>
                      <a:pt x="15" y="4"/>
                      <a:pt x="13" y="6"/>
                      <a:pt x="10" y="7"/>
                    </a:cubicBezTo>
                    <a:cubicBezTo>
                      <a:pt x="7" y="8"/>
                      <a:pt x="3" y="9"/>
                      <a:pt x="1" y="7"/>
                    </a:cubicBezTo>
                    <a:cubicBezTo>
                      <a:pt x="0" y="6"/>
                      <a:pt x="4" y="4"/>
                      <a:pt x="6" y="3"/>
                    </a:cubicBezTo>
                    <a:cubicBezTo>
                      <a:pt x="7" y="2"/>
                      <a:pt x="10" y="2"/>
                      <a:pt x="12" y="2"/>
                    </a:cubicBezTo>
                    <a:cubicBezTo>
                      <a:pt x="13" y="2"/>
                      <a:pt x="17" y="0"/>
                      <a:pt x="16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00" name="Freeform 2835"/>
              <p:cNvSpPr>
                <a:spLocks noChangeAspect="1"/>
              </p:cNvSpPr>
              <p:nvPr/>
            </p:nvSpPr>
            <p:spPr bwMode="auto">
              <a:xfrm>
                <a:off x="4776339" y="1760797"/>
                <a:ext cx="10067" cy="8307"/>
              </a:xfrm>
              <a:custGeom>
                <a:avLst/>
                <a:gdLst>
                  <a:gd name="T0" fmla="*/ 3 w 8"/>
                  <a:gd name="T1" fmla="*/ 3 h 8"/>
                  <a:gd name="T2" fmla="*/ 0 w 8"/>
                  <a:gd name="T3" fmla="*/ 5 h 8"/>
                  <a:gd name="T4" fmla="*/ 2 w 8"/>
                  <a:gd name="T5" fmla="*/ 10 h 8"/>
                  <a:gd name="T6" fmla="*/ 8 w 8"/>
                  <a:gd name="T7" fmla="*/ 4 h 8"/>
                  <a:gd name="T8" fmla="*/ 8 w 8"/>
                  <a:gd name="T9" fmla="*/ 0 h 8"/>
                  <a:gd name="T10" fmla="*/ 3 w 8"/>
                  <a:gd name="T11" fmla="*/ 3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8"/>
                  <a:gd name="T20" fmla="*/ 8 w 8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8">
                    <a:moveTo>
                      <a:pt x="3" y="2"/>
                    </a:moveTo>
                    <a:cubicBezTo>
                      <a:pt x="2" y="3"/>
                      <a:pt x="0" y="3"/>
                      <a:pt x="0" y="4"/>
                    </a:cubicBezTo>
                    <a:cubicBezTo>
                      <a:pt x="0" y="5"/>
                      <a:pt x="1" y="8"/>
                      <a:pt x="2" y="8"/>
                    </a:cubicBezTo>
                    <a:cubicBezTo>
                      <a:pt x="4" y="8"/>
                      <a:pt x="6" y="5"/>
                      <a:pt x="7" y="3"/>
                    </a:cubicBezTo>
                    <a:cubicBezTo>
                      <a:pt x="8" y="3"/>
                      <a:pt x="8" y="1"/>
                      <a:pt x="7" y="0"/>
                    </a:cubicBezTo>
                    <a:cubicBezTo>
                      <a:pt x="6" y="0"/>
                      <a:pt x="4" y="2"/>
                      <a:pt x="3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01" name="Freeform 2836"/>
              <p:cNvSpPr>
                <a:spLocks noChangeAspect="1"/>
              </p:cNvSpPr>
              <p:nvPr/>
            </p:nvSpPr>
            <p:spPr bwMode="auto">
              <a:xfrm>
                <a:off x="4668964" y="2240921"/>
                <a:ext cx="3356" cy="13290"/>
              </a:xfrm>
              <a:custGeom>
                <a:avLst/>
                <a:gdLst>
                  <a:gd name="T0" fmla="*/ 2 w 3"/>
                  <a:gd name="T1" fmla="*/ 1 h 13"/>
                  <a:gd name="T2" fmla="*/ 2 w 3"/>
                  <a:gd name="T3" fmla="*/ 16 h 13"/>
                  <a:gd name="T4" fmla="*/ 1 w 3"/>
                  <a:gd name="T5" fmla="*/ 9 h 13"/>
                  <a:gd name="T6" fmla="*/ 2 w 3"/>
                  <a:gd name="T7" fmla="*/ 1 h 1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"/>
                  <a:gd name="T13" fmla="*/ 0 h 13"/>
                  <a:gd name="T14" fmla="*/ 3 w 3"/>
                  <a:gd name="T15" fmla="*/ 13 h 1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" h="13">
                    <a:moveTo>
                      <a:pt x="2" y="1"/>
                    </a:moveTo>
                    <a:cubicBezTo>
                      <a:pt x="2" y="5"/>
                      <a:pt x="3" y="9"/>
                      <a:pt x="2" y="13"/>
                    </a:cubicBezTo>
                    <a:cubicBezTo>
                      <a:pt x="1" y="12"/>
                      <a:pt x="0" y="9"/>
                      <a:pt x="1" y="7"/>
                    </a:cubicBezTo>
                    <a:cubicBezTo>
                      <a:pt x="1" y="6"/>
                      <a:pt x="1" y="0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02" name="Freeform 2837"/>
              <p:cNvSpPr>
                <a:spLocks noChangeAspect="1"/>
              </p:cNvSpPr>
              <p:nvPr/>
            </p:nvSpPr>
            <p:spPr bwMode="auto">
              <a:xfrm>
                <a:off x="4676791" y="2258366"/>
                <a:ext cx="10067" cy="7476"/>
              </a:xfrm>
              <a:custGeom>
                <a:avLst/>
                <a:gdLst>
                  <a:gd name="T0" fmla="*/ 1 w 8"/>
                  <a:gd name="T1" fmla="*/ 1 h 8"/>
                  <a:gd name="T2" fmla="*/ 9 w 8"/>
                  <a:gd name="T3" fmla="*/ 9 h 8"/>
                  <a:gd name="T4" fmla="*/ 5 w 8"/>
                  <a:gd name="T5" fmla="*/ 6 h 8"/>
                  <a:gd name="T6" fmla="*/ 1 w 8"/>
                  <a:gd name="T7" fmla="*/ 1 h 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"/>
                  <a:gd name="T13" fmla="*/ 0 h 8"/>
                  <a:gd name="T14" fmla="*/ 8 w 8"/>
                  <a:gd name="T15" fmla="*/ 8 h 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" h="8">
                    <a:moveTo>
                      <a:pt x="1" y="1"/>
                    </a:moveTo>
                    <a:cubicBezTo>
                      <a:pt x="4" y="3"/>
                      <a:pt x="7" y="5"/>
                      <a:pt x="8" y="8"/>
                    </a:cubicBezTo>
                    <a:cubicBezTo>
                      <a:pt x="7" y="7"/>
                      <a:pt x="5" y="6"/>
                      <a:pt x="4" y="5"/>
                    </a:cubicBezTo>
                    <a:cubicBezTo>
                      <a:pt x="3" y="4"/>
                      <a:pt x="0" y="0"/>
                      <a:pt x="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03" name="Freeform 2838"/>
              <p:cNvSpPr>
                <a:spLocks noChangeAspect="1"/>
              </p:cNvSpPr>
              <p:nvPr/>
            </p:nvSpPr>
            <p:spPr bwMode="auto">
              <a:xfrm>
                <a:off x="4673436" y="2249227"/>
                <a:ext cx="8948" cy="5815"/>
              </a:xfrm>
              <a:custGeom>
                <a:avLst/>
                <a:gdLst>
                  <a:gd name="T0" fmla="*/ 1 w 6"/>
                  <a:gd name="T1" fmla="*/ 1 h 6"/>
                  <a:gd name="T2" fmla="*/ 8 w 6"/>
                  <a:gd name="T3" fmla="*/ 7 h 6"/>
                  <a:gd name="T4" fmla="*/ 4 w 6"/>
                  <a:gd name="T5" fmla="*/ 5 h 6"/>
                  <a:gd name="T6" fmla="*/ 1 w 6"/>
                  <a:gd name="T7" fmla="*/ 1 h 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"/>
                  <a:gd name="T13" fmla="*/ 0 h 6"/>
                  <a:gd name="T14" fmla="*/ 6 w 6"/>
                  <a:gd name="T15" fmla="*/ 6 h 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" h="6">
                    <a:moveTo>
                      <a:pt x="1" y="1"/>
                    </a:moveTo>
                    <a:cubicBezTo>
                      <a:pt x="3" y="2"/>
                      <a:pt x="5" y="4"/>
                      <a:pt x="6" y="6"/>
                    </a:cubicBezTo>
                    <a:cubicBezTo>
                      <a:pt x="5" y="6"/>
                      <a:pt x="3" y="5"/>
                      <a:pt x="3" y="4"/>
                    </a:cubicBezTo>
                    <a:cubicBezTo>
                      <a:pt x="2" y="3"/>
                      <a:pt x="0" y="0"/>
                      <a:pt x="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04" name="Freeform 2839"/>
              <p:cNvSpPr>
                <a:spLocks noChangeAspect="1"/>
              </p:cNvSpPr>
              <p:nvPr/>
            </p:nvSpPr>
            <p:spPr bwMode="auto">
              <a:xfrm>
                <a:off x="4704754" y="2274979"/>
                <a:ext cx="11186" cy="2493"/>
              </a:xfrm>
              <a:custGeom>
                <a:avLst/>
                <a:gdLst>
                  <a:gd name="T0" fmla="*/ 0 w 8"/>
                  <a:gd name="T1" fmla="*/ 0 h 2"/>
                  <a:gd name="T2" fmla="*/ 10 w 8"/>
                  <a:gd name="T3" fmla="*/ 3 h 2"/>
                  <a:gd name="T4" fmla="*/ 5 w 8"/>
                  <a:gd name="T5" fmla="*/ 3 h 2"/>
                  <a:gd name="T6" fmla="*/ 0 w 8"/>
                  <a:gd name="T7" fmla="*/ 0 h 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"/>
                  <a:gd name="T13" fmla="*/ 0 h 2"/>
                  <a:gd name="T14" fmla="*/ 8 w 8"/>
                  <a:gd name="T15" fmla="*/ 2 h 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" h="2">
                    <a:moveTo>
                      <a:pt x="0" y="0"/>
                    </a:moveTo>
                    <a:cubicBezTo>
                      <a:pt x="3" y="0"/>
                      <a:pt x="6" y="1"/>
                      <a:pt x="8" y="2"/>
                    </a:cubicBezTo>
                    <a:cubicBezTo>
                      <a:pt x="7" y="2"/>
                      <a:pt x="5" y="2"/>
                      <a:pt x="4" y="2"/>
                    </a:cubicBezTo>
                    <a:cubicBezTo>
                      <a:pt x="3" y="1"/>
                      <a:pt x="0" y="0"/>
                      <a:pt x="0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05" name="Freeform 2840"/>
              <p:cNvSpPr>
                <a:spLocks noChangeAspect="1"/>
              </p:cNvSpPr>
              <p:nvPr/>
            </p:nvSpPr>
            <p:spPr bwMode="auto">
              <a:xfrm>
                <a:off x="4709228" y="2279132"/>
                <a:ext cx="11186" cy="1661"/>
              </a:xfrm>
              <a:custGeom>
                <a:avLst/>
                <a:gdLst>
                  <a:gd name="T0" fmla="*/ 1 w 9"/>
                  <a:gd name="T1" fmla="*/ 1 h 2"/>
                  <a:gd name="T2" fmla="*/ 10 w 9"/>
                  <a:gd name="T3" fmla="*/ 1 h 2"/>
                  <a:gd name="T4" fmla="*/ 6 w 9"/>
                  <a:gd name="T5" fmla="*/ 0 h 2"/>
                  <a:gd name="T6" fmla="*/ 1 w 9"/>
                  <a:gd name="T7" fmla="*/ 1 h 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9"/>
                  <a:gd name="T13" fmla="*/ 0 h 2"/>
                  <a:gd name="T14" fmla="*/ 9 w 9"/>
                  <a:gd name="T15" fmla="*/ 2 h 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9" h="2">
                    <a:moveTo>
                      <a:pt x="1" y="1"/>
                    </a:moveTo>
                    <a:cubicBezTo>
                      <a:pt x="3" y="2"/>
                      <a:pt x="6" y="2"/>
                      <a:pt x="9" y="1"/>
                    </a:cubicBezTo>
                    <a:cubicBezTo>
                      <a:pt x="8" y="1"/>
                      <a:pt x="7" y="0"/>
                      <a:pt x="5" y="0"/>
                    </a:cubicBezTo>
                    <a:cubicBezTo>
                      <a:pt x="4" y="1"/>
                      <a:pt x="0" y="1"/>
                      <a:pt x="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06" name="Freeform 2841"/>
              <p:cNvSpPr>
                <a:spLocks noChangeAspect="1"/>
              </p:cNvSpPr>
              <p:nvPr/>
            </p:nvSpPr>
            <p:spPr bwMode="auto">
              <a:xfrm>
                <a:off x="4765153" y="2063159"/>
                <a:ext cx="5593" cy="6645"/>
              </a:xfrm>
              <a:custGeom>
                <a:avLst/>
                <a:gdLst>
                  <a:gd name="T0" fmla="*/ 4 w 4"/>
                  <a:gd name="T1" fmla="*/ 1 h 7"/>
                  <a:gd name="T2" fmla="*/ 1 w 4"/>
                  <a:gd name="T3" fmla="*/ 3 h 7"/>
                  <a:gd name="T4" fmla="*/ 1 w 4"/>
                  <a:gd name="T5" fmla="*/ 7 h 7"/>
                  <a:gd name="T6" fmla="*/ 4 w 4"/>
                  <a:gd name="T7" fmla="*/ 5 h 7"/>
                  <a:gd name="T8" fmla="*/ 4 w 4"/>
                  <a:gd name="T9" fmla="*/ 1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7"/>
                  <a:gd name="T17" fmla="*/ 4 w 4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7">
                    <a:moveTo>
                      <a:pt x="3" y="1"/>
                    </a:moveTo>
                    <a:cubicBezTo>
                      <a:pt x="2" y="0"/>
                      <a:pt x="2" y="2"/>
                      <a:pt x="1" y="3"/>
                    </a:cubicBezTo>
                    <a:cubicBezTo>
                      <a:pt x="1" y="4"/>
                      <a:pt x="0" y="6"/>
                      <a:pt x="1" y="6"/>
                    </a:cubicBezTo>
                    <a:cubicBezTo>
                      <a:pt x="2" y="7"/>
                      <a:pt x="2" y="5"/>
                      <a:pt x="3" y="4"/>
                    </a:cubicBezTo>
                    <a:cubicBezTo>
                      <a:pt x="3" y="3"/>
                      <a:pt x="4" y="1"/>
                      <a:pt x="3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07" name="Freeform 2842"/>
              <p:cNvSpPr>
                <a:spLocks noChangeAspect="1"/>
              </p:cNvSpPr>
              <p:nvPr/>
            </p:nvSpPr>
            <p:spPr bwMode="auto">
              <a:xfrm>
                <a:off x="4814367" y="2343924"/>
                <a:ext cx="29081" cy="19106"/>
              </a:xfrm>
              <a:custGeom>
                <a:avLst/>
                <a:gdLst>
                  <a:gd name="T0" fmla="*/ 0 w 21"/>
                  <a:gd name="T1" fmla="*/ 2 h 19"/>
                  <a:gd name="T2" fmla="*/ 5 w 21"/>
                  <a:gd name="T3" fmla="*/ 1 h 19"/>
                  <a:gd name="T4" fmla="*/ 11 w 21"/>
                  <a:gd name="T5" fmla="*/ 5 h 19"/>
                  <a:gd name="T6" fmla="*/ 17 w 21"/>
                  <a:gd name="T7" fmla="*/ 8 h 19"/>
                  <a:gd name="T8" fmla="*/ 21 w 21"/>
                  <a:gd name="T9" fmla="*/ 17 h 19"/>
                  <a:gd name="T10" fmla="*/ 25 w 21"/>
                  <a:gd name="T11" fmla="*/ 18 h 19"/>
                  <a:gd name="T12" fmla="*/ 24 w 21"/>
                  <a:gd name="T13" fmla="*/ 22 h 19"/>
                  <a:gd name="T14" fmla="*/ 20 w 21"/>
                  <a:gd name="T15" fmla="*/ 19 h 19"/>
                  <a:gd name="T16" fmla="*/ 19 w 21"/>
                  <a:gd name="T17" fmla="*/ 17 h 19"/>
                  <a:gd name="T18" fmla="*/ 16 w 21"/>
                  <a:gd name="T19" fmla="*/ 13 h 19"/>
                  <a:gd name="T20" fmla="*/ 11 w 21"/>
                  <a:gd name="T21" fmla="*/ 13 h 19"/>
                  <a:gd name="T22" fmla="*/ 9 w 21"/>
                  <a:gd name="T23" fmla="*/ 8 h 19"/>
                  <a:gd name="T24" fmla="*/ 5 w 21"/>
                  <a:gd name="T25" fmla="*/ 5 h 19"/>
                  <a:gd name="T26" fmla="*/ 0 w 21"/>
                  <a:gd name="T27" fmla="*/ 2 h 1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1"/>
                  <a:gd name="T43" fmla="*/ 0 h 19"/>
                  <a:gd name="T44" fmla="*/ 21 w 21"/>
                  <a:gd name="T45" fmla="*/ 19 h 19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1" h="19">
                    <a:moveTo>
                      <a:pt x="0" y="2"/>
                    </a:moveTo>
                    <a:cubicBezTo>
                      <a:pt x="0" y="1"/>
                      <a:pt x="2" y="0"/>
                      <a:pt x="4" y="1"/>
                    </a:cubicBezTo>
                    <a:cubicBezTo>
                      <a:pt x="6" y="1"/>
                      <a:pt x="7" y="3"/>
                      <a:pt x="9" y="4"/>
                    </a:cubicBezTo>
                    <a:cubicBezTo>
                      <a:pt x="11" y="5"/>
                      <a:pt x="13" y="6"/>
                      <a:pt x="14" y="7"/>
                    </a:cubicBezTo>
                    <a:cubicBezTo>
                      <a:pt x="16" y="9"/>
                      <a:pt x="15" y="12"/>
                      <a:pt x="17" y="14"/>
                    </a:cubicBezTo>
                    <a:cubicBezTo>
                      <a:pt x="18" y="15"/>
                      <a:pt x="20" y="14"/>
                      <a:pt x="20" y="15"/>
                    </a:cubicBezTo>
                    <a:cubicBezTo>
                      <a:pt x="21" y="16"/>
                      <a:pt x="21" y="18"/>
                      <a:pt x="19" y="18"/>
                    </a:cubicBezTo>
                    <a:cubicBezTo>
                      <a:pt x="18" y="19"/>
                      <a:pt x="17" y="17"/>
                      <a:pt x="16" y="16"/>
                    </a:cubicBezTo>
                    <a:cubicBezTo>
                      <a:pt x="16" y="15"/>
                      <a:pt x="16" y="14"/>
                      <a:pt x="15" y="14"/>
                    </a:cubicBezTo>
                    <a:cubicBezTo>
                      <a:pt x="15" y="13"/>
                      <a:pt x="14" y="11"/>
                      <a:pt x="13" y="11"/>
                    </a:cubicBezTo>
                    <a:cubicBezTo>
                      <a:pt x="12" y="10"/>
                      <a:pt x="11" y="11"/>
                      <a:pt x="9" y="11"/>
                    </a:cubicBezTo>
                    <a:cubicBezTo>
                      <a:pt x="8" y="10"/>
                      <a:pt x="8" y="8"/>
                      <a:pt x="7" y="7"/>
                    </a:cubicBezTo>
                    <a:cubicBezTo>
                      <a:pt x="6" y="6"/>
                      <a:pt x="5" y="5"/>
                      <a:pt x="4" y="4"/>
                    </a:cubicBezTo>
                    <a:cubicBezTo>
                      <a:pt x="3" y="4"/>
                      <a:pt x="0" y="4"/>
                      <a:pt x="0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08" name="Freeform 2843"/>
              <p:cNvSpPr>
                <a:spLocks noChangeAspect="1"/>
              </p:cNvSpPr>
              <p:nvPr/>
            </p:nvSpPr>
            <p:spPr bwMode="auto">
              <a:xfrm>
                <a:off x="4771865" y="2353061"/>
                <a:ext cx="7830" cy="8307"/>
              </a:xfrm>
              <a:custGeom>
                <a:avLst/>
                <a:gdLst>
                  <a:gd name="T0" fmla="*/ 5 w 6"/>
                  <a:gd name="T1" fmla="*/ 0 h 8"/>
                  <a:gd name="T2" fmla="*/ 7 w 6"/>
                  <a:gd name="T3" fmla="*/ 9 h 8"/>
                  <a:gd name="T4" fmla="*/ 0 w 6"/>
                  <a:gd name="T5" fmla="*/ 6 h 8"/>
                  <a:gd name="T6" fmla="*/ 5 w 6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"/>
                  <a:gd name="T13" fmla="*/ 0 h 8"/>
                  <a:gd name="T14" fmla="*/ 6 w 6"/>
                  <a:gd name="T15" fmla="*/ 8 h 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" h="8">
                    <a:moveTo>
                      <a:pt x="4" y="0"/>
                    </a:moveTo>
                    <a:cubicBezTo>
                      <a:pt x="4" y="1"/>
                      <a:pt x="5" y="5"/>
                      <a:pt x="6" y="7"/>
                    </a:cubicBezTo>
                    <a:cubicBezTo>
                      <a:pt x="5" y="8"/>
                      <a:pt x="1" y="6"/>
                      <a:pt x="0" y="5"/>
                    </a:cubicBezTo>
                    <a:cubicBezTo>
                      <a:pt x="0" y="4"/>
                      <a:pt x="2" y="0"/>
                      <a:pt x="4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09" name="Freeform 2844"/>
              <p:cNvSpPr>
                <a:spLocks noChangeAspect="1"/>
              </p:cNvSpPr>
              <p:nvPr/>
            </p:nvSpPr>
            <p:spPr bwMode="auto">
              <a:xfrm>
                <a:off x="4760680" y="2332294"/>
                <a:ext cx="8948" cy="7476"/>
              </a:xfrm>
              <a:custGeom>
                <a:avLst/>
                <a:gdLst>
                  <a:gd name="T0" fmla="*/ 3 w 6"/>
                  <a:gd name="T1" fmla="*/ 0 h 8"/>
                  <a:gd name="T2" fmla="*/ 4 w 6"/>
                  <a:gd name="T3" fmla="*/ 6 h 8"/>
                  <a:gd name="T4" fmla="*/ 7 w 6"/>
                  <a:gd name="T5" fmla="*/ 8 h 8"/>
                  <a:gd name="T6" fmla="*/ 3 w 6"/>
                  <a:gd name="T7" fmla="*/ 7 h 8"/>
                  <a:gd name="T8" fmla="*/ 0 w 6"/>
                  <a:gd name="T9" fmla="*/ 0 h 8"/>
                  <a:gd name="T10" fmla="*/ 3 w 6"/>
                  <a:gd name="T11" fmla="*/ 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8"/>
                  <a:gd name="T20" fmla="*/ 6 w 6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8">
                    <a:moveTo>
                      <a:pt x="2" y="0"/>
                    </a:moveTo>
                    <a:cubicBezTo>
                      <a:pt x="3" y="1"/>
                      <a:pt x="2" y="3"/>
                      <a:pt x="3" y="5"/>
                    </a:cubicBezTo>
                    <a:cubicBezTo>
                      <a:pt x="3" y="6"/>
                      <a:pt x="6" y="7"/>
                      <a:pt x="5" y="7"/>
                    </a:cubicBezTo>
                    <a:cubicBezTo>
                      <a:pt x="5" y="8"/>
                      <a:pt x="3" y="7"/>
                      <a:pt x="2" y="6"/>
                    </a:cubicBezTo>
                    <a:cubicBezTo>
                      <a:pt x="1" y="4"/>
                      <a:pt x="0" y="2"/>
                      <a:pt x="0" y="0"/>
                    </a:cubicBezTo>
                    <a:cubicBezTo>
                      <a:pt x="0" y="0"/>
                      <a:pt x="1" y="0"/>
                      <a:pt x="2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10" name="Freeform 2845"/>
              <p:cNvSpPr>
                <a:spLocks noChangeAspect="1"/>
              </p:cNvSpPr>
              <p:nvPr/>
            </p:nvSpPr>
            <p:spPr bwMode="auto">
              <a:xfrm>
                <a:off x="4854633" y="2373828"/>
                <a:ext cx="5593" cy="4984"/>
              </a:xfrm>
              <a:custGeom>
                <a:avLst/>
                <a:gdLst>
                  <a:gd name="T0" fmla="*/ 3 w 4"/>
                  <a:gd name="T1" fmla="*/ 0 h 5"/>
                  <a:gd name="T2" fmla="*/ 5 w 4"/>
                  <a:gd name="T3" fmla="*/ 4 h 5"/>
                  <a:gd name="T4" fmla="*/ 3 w 4"/>
                  <a:gd name="T5" fmla="*/ 6 h 5"/>
                  <a:gd name="T6" fmla="*/ 0 w 4"/>
                  <a:gd name="T7" fmla="*/ 4 h 5"/>
                  <a:gd name="T8" fmla="*/ 3 w 4"/>
                  <a:gd name="T9" fmla="*/ 0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5"/>
                  <a:gd name="T17" fmla="*/ 4 w 4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5">
                    <a:moveTo>
                      <a:pt x="2" y="0"/>
                    </a:moveTo>
                    <a:cubicBezTo>
                      <a:pt x="3" y="0"/>
                      <a:pt x="4" y="2"/>
                      <a:pt x="4" y="3"/>
                    </a:cubicBezTo>
                    <a:cubicBezTo>
                      <a:pt x="4" y="4"/>
                      <a:pt x="3" y="5"/>
                      <a:pt x="2" y="5"/>
                    </a:cubicBezTo>
                    <a:cubicBezTo>
                      <a:pt x="1" y="5"/>
                      <a:pt x="0" y="4"/>
                      <a:pt x="0" y="3"/>
                    </a:cubicBezTo>
                    <a:cubicBezTo>
                      <a:pt x="1" y="2"/>
                      <a:pt x="1" y="0"/>
                      <a:pt x="2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11" name="Freeform 2846"/>
              <p:cNvSpPr>
                <a:spLocks noChangeAspect="1"/>
              </p:cNvSpPr>
              <p:nvPr/>
            </p:nvSpPr>
            <p:spPr bwMode="auto">
              <a:xfrm>
                <a:off x="4854633" y="2386289"/>
                <a:ext cx="4474" cy="2493"/>
              </a:xfrm>
              <a:custGeom>
                <a:avLst/>
                <a:gdLst>
                  <a:gd name="T0" fmla="*/ 3 w 3"/>
                  <a:gd name="T1" fmla="*/ 0 h 3"/>
                  <a:gd name="T2" fmla="*/ 4 w 3"/>
                  <a:gd name="T3" fmla="*/ 2 h 3"/>
                  <a:gd name="T4" fmla="*/ 3 w 3"/>
                  <a:gd name="T5" fmla="*/ 3 h 3"/>
                  <a:gd name="T6" fmla="*/ 0 w 3"/>
                  <a:gd name="T7" fmla="*/ 1 h 3"/>
                  <a:gd name="T8" fmla="*/ 3 w 3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0"/>
                    </a:moveTo>
                    <a:cubicBezTo>
                      <a:pt x="2" y="0"/>
                      <a:pt x="3" y="1"/>
                      <a:pt x="3" y="2"/>
                    </a:cubicBezTo>
                    <a:cubicBezTo>
                      <a:pt x="3" y="2"/>
                      <a:pt x="2" y="3"/>
                      <a:pt x="2" y="3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1"/>
                      <a:pt x="1" y="0"/>
                      <a:pt x="2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12" name="Oval 2847"/>
              <p:cNvSpPr>
                <a:spLocks noChangeAspect="1" noChangeArrowheads="1"/>
              </p:cNvSpPr>
              <p:nvPr/>
            </p:nvSpPr>
            <p:spPr bwMode="auto">
              <a:xfrm>
                <a:off x="4843447" y="2377150"/>
                <a:ext cx="2237" cy="1661"/>
              </a:xfrm>
              <a:prstGeom prst="ellipse">
                <a:avLst/>
              </a:pr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13" name="Freeform 2848"/>
              <p:cNvSpPr>
                <a:spLocks noChangeAspect="1"/>
              </p:cNvSpPr>
              <p:nvPr/>
            </p:nvSpPr>
            <p:spPr bwMode="auto">
              <a:xfrm>
                <a:off x="4863580" y="2387119"/>
                <a:ext cx="2237" cy="1661"/>
              </a:xfrm>
              <a:custGeom>
                <a:avLst/>
                <a:gdLst>
                  <a:gd name="T0" fmla="*/ 1 w 2"/>
                  <a:gd name="T1" fmla="*/ 0 h 2"/>
                  <a:gd name="T2" fmla="*/ 2 w 2"/>
                  <a:gd name="T3" fmla="*/ 1 h 2"/>
                  <a:gd name="T4" fmla="*/ 1 w 2"/>
                  <a:gd name="T5" fmla="*/ 2 h 2"/>
                  <a:gd name="T6" fmla="*/ 0 w 2"/>
                  <a:gd name="T7" fmla="*/ 1 h 2"/>
                  <a:gd name="T8" fmla="*/ 1 w 2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1" y="0"/>
                    </a:moveTo>
                    <a:cubicBezTo>
                      <a:pt x="1" y="0"/>
                      <a:pt x="2" y="0"/>
                      <a:pt x="2" y="1"/>
                    </a:cubicBezTo>
                    <a:cubicBezTo>
                      <a:pt x="2" y="2"/>
                      <a:pt x="1" y="2"/>
                      <a:pt x="1" y="2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14" name="Oval 2849"/>
              <p:cNvSpPr>
                <a:spLocks noChangeAspect="1" noChangeArrowheads="1"/>
              </p:cNvSpPr>
              <p:nvPr/>
            </p:nvSpPr>
            <p:spPr bwMode="auto">
              <a:xfrm>
                <a:off x="4838974" y="2373828"/>
                <a:ext cx="2237" cy="2493"/>
              </a:xfrm>
              <a:prstGeom prst="ellipse">
                <a:avLst/>
              </a:pr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15" name="Freeform 2850"/>
              <p:cNvSpPr>
                <a:spLocks noChangeAspect="1"/>
              </p:cNvSpPr>
              <p:nvPr/>
            </p:nvSpPr>
            <p:spPr bwMode="auto">
              <a:xfrm>
                <a:off x="4851276" y="2367182"/>
                <a:ext cx="2237" cy="1661"/>
              </a:xfrm>
              <a:custGeom>
                <a:avLst/>
                <a:gdLst>
                  <a:gd name="T0" fmla="*/ 1 w 2"/>
                  <a:gd name="T1" fmla="*/ 0 h 2"/>
                  <a:gd name="T2" fmla="*/ 2 w 2"/>
                  <a:gd name="T3" fmla="*/ 2 h 2"/>
                  <a:gd name="T4" fmla="*/ 1 w 2"/>
                  <a:gd name="T5" fmla="*/ 2 h 2"/>
                  <a:gd name="T6" fmla="*/ 0 w 2"/>
                  <a:gd name="T7" fmla="*/ 0 h 2"/>
                  <a:gd name="T8" fmla="*/ 1 w 2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1" y="0"/>
                    </a:moveTo>
                    <a:cubicBezTo>
                      <a:pt x="2" y="0"/>
                      <a:pt x="2" y="1"/>
                      <a:pt x="2" y="2"/>
                    </a:cubicBezTo>
                    <a:cubicBezTo>
                      <a:pt x="2" y="2"/>
                      <a:pt x="1" y="2"/>
                      <a:pt x="1" y="2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16" name="Freeform 2851"/>
              <p:cNvSpPr>
                <a:spLocks noChangeAspect="1"/>
              </p:cNvSpPr>
              <p:nvPr/>
            </p:nvSpPr>
            <p:spPr bwMode="auto">
              <a:xfrm>
                <a:off x="4840091" y="2368014"/>
                <a:ext cx="4474" cy="1661"/>
              </a:xfrm>
              <a:custGeom>
                <a:avLst/>
                <a:gdLst>
                  <a:gd name="T0" fmla="*/ 3 w 3"/>
                  <a:gd name="T1" fmla="*/ 0 h 2"/>
                  <a:gd name="T2" fmla="*/ 4 w 3"/>
                  <a:gd name="T3" fmla="*/ 1 h 2"/>
                  <a:gd name="T4" fmla="*/ 1 w 3"/>
                  <a:gd name="T5" fmla="*/ 2 h 2"/>
                  <a:gd name="T6" fmla="*/ 1 w 3"/>
                  <a:gd name="T7" fmla="*/ 0 h 2"/>
                  <a:gd name="T8" fmla="*/ 3 w 3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0"/>
                    </a:moveTo>
                    <a:cubicBezTo>
                      <a:pt x="2" y="0"/>
                      <a:pt x="3" y="1"/>
                      <a:pt x="3" y="1"/>
                    </a:cubicBezTo>
                    <a:cubicBezTo>
                      <a:pt x="3" y="2"/>
                      <a:pt x="2" y="2"/>
                      <a:pt x="1" y="2"/>
                    </a:cubicBezTo>
                    <a:cubicBezTo>
                      <a:pt x="1" y="1"/>
                      <a:pt x="0" y="1"/>
                      <a:pt x="1" y="0"/>
                    </a:cubicBezTo>
                    <a:cubicBezTo>
                      <a:pt x="1" y="0"/>
                      <a:pt x="1" y="0"/>
                      <a:pt x="2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17" name="Freeform 2852"/>
              <p:cNvSpPr>
                <a:spLocks noChangeAspect="1"/>
              </p:cNvSpPr>
              <p:nvPr/>
            </p:nvSpPr>
            <p:spPr bwMode="auto">
              <a:xfrm>
                <a:off x="4836736" y="2366352"/>
                <a:ext cx="2237" cy="1661"/>
              </a:xfrm>
              <a:custGeom>
                <a:avLst/>
                <a:gdLst>
                  <a:gd name="T0" fmla="*/ 1 w 2"/>
                  <a:gd name="T1" fmla="*/ 0 h 2"/>
                  <a:gd name="T2" fmla="*/ 2 w 2"/>
                  <a:gd name="T3" fmla="*/ 2 h 2"/>
                  <a:gd name="T4" fmla="*/ 1 w 2"/>
                  <a:gd name="T5" fmla="*/ 2 h 2"/>
                  <a:gd name="T6" fmla="*/ 0 w 2"/>
                  <a:gd name="T7" fmla="*/ 0 h 2"/>
                  <a:gd name="T8" fmla="*/ 1 w 2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1" y="0"/>
                    </a:moveTo>
                    <a:cubicBezTo>
                      <a:pt x="2" y="0"/>
                      <a:pt x="2" y="1"/>
                      <a:pt x="2" y="2"/>
                    </a:cubicBezTo>
                    <a:cubicBezTo>
                      <a:pt x="2" y="2"/>
                      <a:pt x="1" y="2"/>
                      <a:pt x="1" y="2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18" name="Freeform 2853"/>
              <p:cNvSpPr>
                <a:spLocks noChangeAspect="1"/>
              </p:cNvSpPr>
              <p:nvPr/>
            </p:nvSpPr>
            <p:spPr bwMode="auto">
              <a:xfrm>
                <a:off x="4853512" y="2381304"/>
                <a:ext cx="4474" cy="1661"/>
              </a:xfrm>
              <a:custGeom>
                <a:avLst/>
                <a:gdLst>
                  <a:gd name="T0" fmla="*/ 3 w 3"/>
                  <a:gd name="T1" fmla="*/ 0 h 2"/>
                  <a:gd name="T2" fmla="*/ 4 w 3"/>
                  <a:gd name="T3" fmla="*/ 2 h 2"/>
                  <a:gd name="T4" fmla="*/ 1 w 3"/>
                  <a:gd name="T5" fmla="*/ 2 h 2"/>
                  <a:gd name="T6" fmla="*/ 0 w 3"/>
                  <a:gd name="T7" fmla="*/ 1 h 2"/>
                  <a:gd name="T8" fmla="*/ 3 w 3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0"/>
                    </a:moveTo>
                    <a:cubicBezTo>
                      <a:pt x="2" y="1"/>
                      <a:pt x="3" y="1"/>
                      <a:pt x="3" y="2"/>
                    </a:cubicBezTo>
                    <a:cubicBezTo>
                      <a:pt x="3" y="2"/>
                      <a:pt x="2" y="2"/>
                      <a:pt x="1" y="2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2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19" name="Freeform 2854"/>
              <p:cNvSpPr>
                <a:spLocks noChangeAspect="1"/>
              </p:cNvSpPr>
              <p:nvPr/>
            </p:nvSpPr>
            <p:spPr bwMode="auto">
              <a:xfrm>
                <a:off x="4846803" y="2382134"/>
                <a:ext cx="3356" cy="1661"/>
              </a:xfrm>
              <a:custGeom>
                <a:avLst/>
                <a:gdLst>
                  <a:gd name="T0" fmla="*/ 2 w 2"/>
                  <a:gd name="T1" fmla="*/ 1 h 2"/>
                  <a:gd name="T2" fmla="*/ 3 w 2"/>
                  <a:gd name="T3" fmla="*/ 2 h 2"/>
                  <a:gd name="T4" fmla="*/ 2 w 2"/>
                  <a:gd name="T5" fmla="*/ 2 h 2"/>
                  <a:gd name="T6" fmla="*/ 0 w 2"/>
                  <a:gd name="T7" fmla="*/ 1 h 2"/>
                  <a:gd name="T8" fmla="*/ 2 w 2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1" y="1"/>
                    </a:moveTo>
                    <a:cubicBezTo>
                      <a:pt x="2" y="1"/>
                      <a:pt x="2" y="1"/>
                      <a:pt x="2" y="2"/>
                    </a:cubicBezTo>
                    <a:cubicBezTo>
                      <a:pt x="2" y="2"/>
                      <a:pt x="1" y="2"/>
                      <a:pt x="1" y="2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20" name="Freeform 2855"/>
              <p:cNvSpPr>
                <a:spLocks noChangeAspect="1"/>
              </p:cNvSpPr>
              <p:nvPr/>
            </p:nvSpPr>
            <p:spPr bwMode="auto">
              <a:xfrm>
                <a:off x="4856869" y="2368844"/>
                <a:ext cx="2237" cy="831"/>
              </a:xfrm>
              <a:custGeom>
                <a:avLst/>
                <a:gdLst>
                  <a:gd name="T0" fmla="*/ 1 w 2"/>
                  <a:gd name="T1" fmla="*/ 0 h 1"/>
                  <a:gd name="T2" fmla="*/ 2 w 2"/>
                  <a:gd name="T3" fmla="*/ 1 h 1"/>
                  <a:gd name="T4" fmla="*/ 1 w 2"/>
                  <a:gd name="T5" fmla="*/ 1 h 1"/>
                  <a:gd name="T6" fmla="*/ 0 w 2"/>
                  <a:gd name="T7" fmla="*/ 0 h 1"/>
                  <a:gd name="T8" fmla="*/ 1 w 2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1"/>
                  <a:gd name="T17" fmla="*/ 2 w 2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1">
                    <a:moveTo>
                      <a:pt x="1" y="0"/>
                    </a:moveTo>
                    <a:cubicBezTo>
                      <a:pt x="2" y="0"/>
                      <a:pt x="2" y="0"/>
                      <a:pt x="2" y="1"/>
                    </a:cubicBezTo>
                    <a:cubicBezTo>
                      <a:pt x="2" y="1"/>
                      <a:pt x="1" y="1"/>
                      <a:pt x="1" y="1"/>
                    </a:cubicBezTo>
                    <a:cubicBezTo>
                      <a:pt x="1" y="1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21" name="Freeform 2856"/>
              <p:cNvSpPr>
                <a:spLocks noChangeAspect="1"/>
              </p:cNvSpPr>
              <p:nvPr/>
            </p:nvSpPr>
            <p:spPr bwMode="auto">
              <a:xfrm>
                <a:off x="4850158" y="2374658"/>
                <a:ext cx="4474" cy="3322"/>
              </a:xfrm>
              <a:custGeom>
                <a:avLst/>
                <a:gdLst>
                  <a:gd name="T0" fmla="*/ 1 w 4"/>
                  <a:gd name="T1" fmla="*/ 1 h 3"/>
                  <a:gd name="T2" fmla="*/ 3 w 4"/>
                  <a:gd name="T3" fmla="*/ 1 h 3"/>
                  <a:gd name="T4" fmla="*/ 2 w 4"/>
                  <a:gd name="T5" fmla="*/ 3 h 3"/>
                  <a:gd name="T6" fmla="*/ 0 w 4"/>
                  <a:gd name="T7" fmla="*/ 4 h 3"/>
                  <a:gd name="T8" fmla="*/ 1 w 4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1" y="1"/>
                    </a:moveTo>
                    <a:cubicBezTo>
                      <a:pt x="2" y="0"/>
                      <a:pt x="3" y="0"/>
                      <a:pt x="3" y="1"/>
                    </a:cubicBezTo>
                    <a:cubicBezTo>
                      <a:pt x="4" y="1"/>
                      <a:pt x="3" y="2"/>
                      <a:pt x="2" y="2"/>
                    </a:cubicBezTo>
                    <a:cubicBezTo>
                      <a:pt x="2" y="3"/>
                      <a:pt x="1" y="3"/>
                      <a:pt x="0" y="3"/>
                    </a:cubicBezTo>
                    <a:cubicBezTo>
                      <a:pt x="0" y="2"/>
                      <a:pt x="0" y="1"/>
                      <a:pt x="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22" name="Freeform 2857"/>
              <p:cNvSpPr>
                <a:spLocks noChangeAspect="1"/>
              </p:cNvSpPr>
              <p:nvPr/>
            </p:nvSpPr>
            <p:spPr bwMode="auto">
              <a:xfrm>
                <a:off x="4870291" y="2382965"/>
                <a:ext cx="3356" cy="3322"/>
              </a:xfrm>
              <a:custGeom>
                <a:avLst/>
                <a:gdLst>
                  <a:gd name="T0" fmla="*/ 1 w 3"/>
                  <a:gd name="T1" fmla="*/ 1 h 3"/>
                  <a:gd name="T2" fmla="*/ 3 w 3"/>
                  <a:gd name="T3" fmla="*/ 1 h 3"/>
                  <a:gd name="T4" fmla="*/ 2 w 3"/>
                  <a:gd name="T5" fmla="*/ 3 h 3"/>
                  <a:gd name="T6" fmla="*/ 0 w 3"/>
                  <a:gd name="T7" fmla="*/ 3 h 3"/>
                  <a:gd name="T8" fmla="*/ 1 w 3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1" y="1"/>
                    </a:moveTo>
                    <a:cubicBezTo>
                      <a:pt x="2" y="1"/>
                      <a:pt x="2" y="0"/>
                      <a:pt x="3" y="1"/>
                    </a:cubicBezTo>
                    <a:cubicBezTo>
                      <a:pt x="3" y="1"/>
                      <a:pt x="3" y="2"/>
                      <a:pt x="2" y="2"/>
                    </a:cubicBezTo>
                    <a:cubicBezTo>
                      <a:pt x="2" y="2"/>
                      <a:pt x="1" y="3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23" name="Freeform 2858"/>
              <p:cNvSpPr>
                <a:spLocks noChangeAspect="1"/>
              </p:cNvSpPr>
              <p:nvPr/>
            </p:nvSpPr>
            <p:spPr bwMode="auto">
              <a:xfrm>
                <a:off x="4881477" y="2379643"/>
                <a:ext cx="4474" cy="2493"/>
              </a:xfrm>
              <a:custGeom>
                <a:avLst/>
                <a:gdLst>
                  <a:gd name="T0" fmla="*/ 1 w 3"/>
                  <a:gd name="T1" fmla="*/ 0 h 2"/>
                  <a:gd name="T2" fmla="*/ 4 w 3"/>
                  <a:gd name="T3" fmla="*/ 0 h 2"/>
                  <a:gd name="T4" fmla="*/ 3 w 3"/>
                  <a:gd name="T5" fmla="*/ 2 h 2"/>
                  <a:gd name="T6" fmla="*/ 0 w 3"/>
                  <a:gd name="T7" fmla="*/ 3 h 2"/>
                  <a:gd name="T8" fmla="*/ 1 w 3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1" y="0"/>
                    </a:moveTo>
                    <a:cubicBezTo>
                      <a:pt x="1" y="0"/>
                      <a:pt x="2" y="0"/>
                      <a:pt x="3" y="0"/>
                    </a:cubicBezTo>
                    <a:cubicBezTo>
                      <a:pt x="3" y="0"/>
                      <a:pt x="2" y="1"/>
                      <a:pt x="2" y="1"/>
                    </a:cubicBezTo>
                    <a:cubicBezTo>
                      <a:pt x="1" y="2"/>
                      <a:pt x="1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24" name="Freeform 2859"/>
              <p:cNvSpPr>
                <a:spLocks noChangeAspect="1"/>
              </p:cNvSpPr>
              <p:nvPr/>
            </p:nvSpPr>
            <p:spPr bwMode="auto">
              <a:xfrm>
                <a:off x="4861343" y="2338110"/>
                <a:ext cx="12304" cy="6645"/>
              </a:xfrm>
              <a:custGeom>
                <a:avLst/>
                <a:gdLst>
                  <a:gd name="T0" fmla="*/ 7 w 9"/>
                  <a:gd name="T1" fmla="*/ 1 h 7"/>
                  <a:gd name="T2" fmla="*/ 11 w 9"/>
                  <a:gd name="T3" fmla="*/ 7 h 7"/>
                  <a:gd name="T4" fmla="*/ 10 w 9"/>
                  <a:gd name="T5" fmla="*/ 8 h 7"/>
                  <a:gd name="T6" fmla="*/ 5 w 9"/>
                  <a:gd name="T7" fmla="*/ 7 h 7"/>
                  <a:gd name="T8" fmla="*/ 6 w 9"/>
                  <a:gd name="T9" fmla="*/ 5 h 7"/>
                  <a:gd name="T10" fmla="*/ 2 w 9"/>
                  <a:gd name="T11" fmla="*/ 6 h 7"/>
                  <a:gd name="T12" fmla="*/ 1 w 9"/>
                  <a:gd name="T13" fmla="*/ 2 h 7"/>
                  <a:gd name="T14" fmla="*/ 7 w 9"/>
                  <a:gd name="T15" fmla="*/ 1 h 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"/>
                  <a:gd name="T25" fmla="*/ 0 h 7"/>
                  <a:gd name="T26" fmla="*/ 9 w 9"/>
                  <a:gd name="T27" fmla="*/ 7 h 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" h="7">
                    <a:moveTo>
                      <a:pt x="6" y="1"/>
                    </a:moveTo>
                    <a:cubicBezTo>
                      <a:pt x="8" y="1"/>
                      <a:pt x="9" y="4"/>
                      <a:pt x="9" y="6"/>
                    </a:cubicBezTo>
                    <a:cubicBezTo>
                      <a:pt x="9" y="6"/>
                      <a:pt x="8" y="7"/>
                      <a:pt x="8" y="7"/>
                    </a:cubicBezTo>
                    <a:cubicBezTo>
                      <a:pt x="6" y="7"/>
                      <a:pt x="5" y="7"/>
                      <a:pt x="4" y="6"/>
                    </a:cubicBezTo>
                    <a:cubicBezTo>
                      <a:pt x="3" y="6"/>
                      <a:pt x="5" y="5"/>
                      <a:pt x="5" y="4"/>
                    </a:cubicBezTo>
                    <a:cubicBezTo>
                      <a:pt x="4" y="3"/>
                      <a:pt x="3" y="5"/>
                      <a:pt x="2" y="5"/>
                    </a:cubicBezTo>
                    <a:cubicBezTo>
                      <a:pt x="1" y="4"/>
                      <a:pt x="0" y="3"/>
                      <a:pt x="1" y="2"/>
                    </a:cubicBezTo>
                    <a:cubicBezTo>
                      <a:pt x="2" y="1"/>
                      <a:pt x="4" y="0"/>
                      <a:pt x="6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25" name="Freeform 2860"/>
              <p:cNvSpPr>
                <a:spLocks noChangeAspect="1"/>
              </p:cNvSpPr>
              <p:nvPr/>
            </p:nvSpPr>
            <p:spPr bwMode="auto">
              <a:xfrm>
                <a:off x="4861343" y="2349739"/>
                <a:ext cx="6712" cy="9968"/>
              </a:xfrm>
              <a:custGeom>
                <a:avLst/>
                <a:gdLst>
                  <a:gd name="T0" fmla="*/ 0 w 5"/>
                  <a:gd name="T1" fmla="*/ 1 h 10"/>
                  <a:gd name="T2" fmla="*/ 5 w 5"/>
                  <a:gd name="T3" fmla="*/ 2 h 10"/>
                  <a:gd name="T4" fmla="*/ 5 w 5"/>
                  <a:gd name="T5" fmla="*/ 11 h 10"/>
                  <a:gd name="T6" fmla="*/ 1 w 5"/>
                  <a:gd name="T7" fmla="*/ 8 h 10"/>
                  <a:gd name="T8" fmla="*/ 4 w 5"/>
                  <a:gd name="T9" fmla="*/ 6 h 10"/>
                  <a:gd name="T10" fmla="*/ 0 w 5"/>
                  <a:gd name="T11" fmla="*/ 1 h 1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10"/>
                  <a:gd name="T20" fmla="*/ 5 w 5"/>
                  <a:gd name="T21" fmla="*/ 10 h 1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10">
                    <a:moveTo>
                      <a:pt x="0" y="1"/>
                    </a:moveTo>
                    <a:cubicBezTo>
                      <a:pt x="1" y="0"/>
                      <a:pt x="4" y="1"/>
                      <a:pt x="4" y="2"/>
                    </a:cubicBezTo>
                    <a:cubicBezTo>
                      <a:pt x="5" y="4"/>
                      <a:pt x="5" y="7"/>
                      <a:pt x="4" y="9"/>
                    </a:cubicBezTo>
                    <a:cubicBezTo>
                      <a:pt x="4" y="10"/>
                      <a:pt x="1" y="8"/>
                      <a:pt x="1" y="7"/>
                    </a:cubicBezTo>
                    <a:cubicBezTo>
                      <a:pt x="1" y="6"/>
                      <a:pt x="3" y="6"/>
                      <a:pt x="3" y="5"/>
                    </a:cubicBezTo>
                    <a:cubicBezTo>
                      <a:pt x="3" y="4"/>
                      <a:pt x="0" y="3"/>
                      <a:pt x="0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26" name="Freeform 2861"/>
              <p:cNvSpPr>
                <a:spLocks noChangeAspect="1"/>
              </p:cNvSpPr>
              <p:nvPr/>
            </p:nvSpPr>
            <p:spPr bwMode="auto">
              <a:xfrm>
                <a:off x="4856869" y="2349739"/>
                <a:ext cx="3356" cy="3322"/>
              </a:xfrm>
              <a:custGeom>
                <a:avLst/>
                <a:gdLst>
                  <a:gd name="T0" fmla="*/ 0 w 3"/>
                  <a:gd name="T1" fmla="*/ 0 h 3"/>
                  <a:gd name="T2" fmla="*/ 2 w 3"/>
                  <a:gd name="T3" fmla="*/ 3 h 3"/>
                  <a:gd name="T4" fmla="*/ 1 w 3"/>
                  <a:gd name="T5" fmla="*/ 4 h 3"/>
                  <a:gd name="T6" fmla="*/ 0 w 3"/>
                  <a:gd name="T7" fmla="*/ 0 h 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"/>
                  <a:gd name="T13" fmla="*/ 0 h 3"/>
                  <a:gd name="T14" fmla="*/ 3 w 3"/>
                  <a:gd name="T15" fmla="*/ 3 h 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" h="3">
                    <a:moveTo>
                      <a:pt x="0" y="0"/>
                    </a:moveTo>
                    <a:cubicBezTo>
                      <a:pt x="1" y="0"/>
                      <a:pt x="2" y="1"/>
                      <a:pt x="2" y="2"/>
                    </a:cubicBezTo>
                    <a:cubicBezTo>
                      <a:pt x="3" y="2"/>
                      <a:pt x="2" y="3"/>
                      <a:pt x="1" y="3"/>
                    </a:cubicBezTo>
                    <a:cubicBezTo>
                      <a:pt x="0" y="3"/>
                      <a:pt x="0" y="1"/>
                      <a:pt x="0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27" name="Freeform 2863"/>
              <p:cNvSpPr>
                <a:spLocks noChangeAspect="1"/>
              </p:cNvSpPr>
              <p:nvPr/>
            </p:nvSpPr>
            <p:spPr bwMode="auto">
              <a:xfrm>
                <a:off x="4894898" y="2383795"/>
                <a:ext cx="10067" cy="13290"/>
              </a:xfrm>
              <a:custGeom>
                <a:avLst/>
                <a:gdLst>
                  <a:gd name="T0" fmla="*/ 9 w 7"/>
                  <a:gd name="T1" fmla="*/ 2 h 13"/>
                  <a:gd name="T2" fmla="*/ 0 w 7"/>
                  <a:gd name="T3" fmla="*/ 15 h 13"/>
                  <a:gd name="T4" fmla="*/ 0 w 7"/>
                  <a:gd name="T5" fmla="*/ 11 h 13"/>
                  <a:gd name="T6" fmla="*/ 1 w 7"/>
                  <a:gd name="T7" fmla="*/ 6 h 13"/>
                  <a:gd name="T8" fmla="*/ 9 w 7"/>
                  <a:gd name="T9" fmla="*/ 2 h 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3"/>
                  <a:gd name="T17" fmla="*/ 7 w 7"/>
                  <a:gd name="T18" fmla="*/ 13 h 1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3">
                    <a:moveTo>
                      <a:pt x="7" y="2"/>
                    </a:moveTo>
                    <a:cubicBezTo>
                      <a:pt x="6" y="6"/>
                      <a:pt x="3" y="10"/>
                      <a:pt x="0" y="12"/>
                    </a:cubicBezTo>
                    <a:cubicBezTo>
                      <a:pt x="0" y="13"/>
                      <a:pt x="0" y="10"/>
                      <a:pt x="0" y="9"/>
                    </a:cubicBezTo>
                    <a:cubicBezTo>
                      <a:pt x="0" y="8"/>
                      <a:pt x="0" y="6"/>
                      <a:pt x="1" y="5"/>
                    </a:cubicBezTo>
                    <a:cubicBezTo>
                      <a:pt x="3" y="4"/>
                      <a:pt x="7" y="0"/>
                      <a:pt x="7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28" name="Freeform 2864"/>
              <p:cNvSpPr>
                <a:spLocks noChangeAspect="1"/>
              </p:cNvSpPr>
              <p:nvPr/>
            </p:nvSpPr>
            <p:spPr bwMode="auto">
              <a:xfrm>
                <a:off x="4884831" y="2397917"/>
                <a:ext cx="6712" cy="6645"/>
              </a:xfrm>
              <a:custGeom>
                <a:avLst/>
                <a:gdLst>
                  <a:gd name="T0" fmla="*/ 2 w 5"/>
                  <a:gd name="T1" fmla="*/ 1 h 7"/>
                  <a:gd name="T2" fmla="*/ 6 w 5"/>
                  <a:gd name="T3" fmla="*/ 7 h 7"/>
                  <a:gd name="T4" fmla="*/ 1 w 5"/>
                  <a:gd name="T5" fmla="*/ 6 h 7"/>
                  <a:gd name="T6" fmla="*/ 2 w 5"/>
                  <a:gd name="T7" fmla="*/ 1 h 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"/>
                  <a:gd name="T13" fmla="*/ 0 h 7"/>
                  <a:gd name="T14" fmla="*/ 5 w 5"/>
                  <a:gd name="T15" fmla="*/ 7 h 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" h="7">
                    <a:moveTo>
                      <a:pt x="2" y="1"/>
                    </a:moveTo>
                    <a:cubicBezTo>
                      <a:pt x="4" y="1"/>
                      <a:pt x="5" y="4"/>
                      <a:pt x="5" y="6"/>
                    </a:cubicBezTo>
                    <a:cubicBezTo>
                      <a:pt x="5" y="7"/>
                      <a:pt x="2" y="6"/>
                      <a:pt x="1" y="5"/>
                    </a:cubicBezTo>
                    <a:cubicBezTo>
                      <a:pt x="1" y="4"/>
                      <a:pt x="0" y="0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29" name="Freeform 2865"/>
              <p:cNvSpPr>
                <a:spLocks noChangeAspect="1"/>
              </p:cNvSpPr>
              <p:nvPr/>
            </p:nvSpPr>
            <p:spPr bwMode="auto">
              <a:xfrm>
                <a:off x="4885949" y="2386289"/>
                <a:ext cx="4474" cy="1661"/>
              </a:xfrm>
              <a:custGeom>
                <a:avLst/>
                <a:gdLst>
                  <a:gd name="T0" fmla="*/ 3 w 3"/>
                  <a:gd name="T1" fmla="*/ 0 h 2"/>
                  <a:gd name="T2" fmla="*/ 4 w 3"/>
                  <a:gd name="T3" fmla="*/ 1 h 2"/>
                  <a:gd name="T4" fmla="*/ 1 w 3"/>
                  <a:gd name="T5" fmla="*/ 1 h 2"/>
                  <a:gd name="T6" fmla="*/ 0 w 3"/>
                  <a:gd name="T7" fmla="*/ 0 h 2"/>
                  <a:gd name="T8" fmla="*/ 3 w 3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0"/>
                    </a:moveTo>
                    <a:cubicBezTo>
                      <a:pt x="2" y="0"/>
                      <a:pt x="3" y="1"/>
                      <a:pt x="3" y="1"/>
                    </a:cubicBezTo>
                    <a:cubicBezTo>
                      <a:pt x="3" y="2"/>
                      <a:pt x="2" y="2"/>
                      <a:pt x="1" y="1"/>
                    </a:cubicBezTo>
                    <a:cubicBezTo>
                      <a:pt x="1" y="1"/>
                      <a:pt x="0" y="1"/>
                      <a:pt x="0" y="0"/>
                    </a:cubicBezTo>
                    <a:cubicBezTo>
                      <a:pt x="0" y="0"/>
                      <a:pt x="1" y="0"/>
                      <a:pt x="2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30" name="Freeform 2866"/>
              <p:cNvSpPr>
                <a:spLocks noChangeAspect="1"/>
              </p:cNvSpPr>
              <p:nvPr/>
            </p:nvSpPr>
            <p:spPr bwMode="auto">
              <a:xfrm>
                <a:off x="4878119" y="2373828"/>
                <a:ext cx="3356" cy="2493"/>
              </a:xfrm>
              <a:custGeom>
                <a:avLst/>
                <a:gdLst>
                  <a:gd name="T0" fmla="*/ 2 w 3"/>
                  <a:gd name="T1" fmla="*/ 2 h 2"/>
                  <a:gd name="T2" fmla="*/ 3 w 3"/>
                  <a:gd name="T3" fmla="*/ 3 h 2"/>
                  <a:gd name="T4" fmla="*/ 1 w 3"/>
                  <a:gd name="T5" fmla="*/ 3 h 2"/>
                  <a:gd name="T6" fmla="*/ 0 w 3"/>
                  <a:gd name="T7" fmla="*/ 2 h 2"/>
                  <a:gd name="T8" fmla="*/ 2 w 3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1"/>
                    </a:moveTo>
                    <a:cubicBezTo>
                      <a:pt x="2" y="1"/>
                      <a:pt x="3" y="1"/>
                      <a:pt x="3" y="2"/>
                    </a:cubicBezTo>
                    <a:cubicBezTo>
                      <a:pt x="3" y="2"/>
                      <a:pt x="2" y="2"/>
                      <a:pt x="1" y="2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31" name="Freeform 2867"/>
              <p:cNvSpPr>
                <a:spLocks noChangeAspect="1"/>
              </p:cNvSpPr>
              <p:nvPr/>
            </p:nvSpPr>
            <p:spPr bwMode="auto">
              <a:xfrm>
                <a:off x="4859105" y="2323988"/>
                <a:ext cx="5593" cy="3322"/>
              </a:xfrm>
              <a:custGeom>
                <a:avLst/>
                <a:gdLst>
                  <a:gd name="T0" fmla="*/ 3 w 4"/>
                  <a:gd name="T1" fmla="*/ 1 h 3"/>
                  <a:gd name="T2" fmla="*/ 5 w 4"/>
                  <a:gd name="T3" fmla="*/ 3 h 3"/>
                  <a:gd name="T4" fmla="*/ 3 w 4"/>
                  <a:gd name="T5" fmla="*/ 3 h 3"/>
                  <a:gd name="T6" fmla="*/ 0 w 4"/>
                  <a:gd name="T7" fmla="*/ 1 h 3"/>
                  <a:gd name="T8" fmla="*/ 3 w 4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2" y="1"/>
                    </a:moveTo>
                    <a:cubicBezTo>
                      <a:pt x="3" y="1"/>
                      <a:pt x="4" y="1"/>
                      <a:pt x="4" y="2"/>
                    </a:cubicBezTo>
                    <a:cubicBezTo>
                      <a:pt x="4" y="3"/>
                      <a:pt x="3" y="3"/>
                      <a:pt x="2" y="2"/>
                    </a:cubicBezTo>
                    <a:cubicBezTo>
                      <a:pt x="1" y="2"/>
                      <a:pt x="0" y="2"/>
                      <a:pt x="0" y="1"/>
                    </a:cubicBezTo>
                    <a:cubicBezTo>
                      <a:pt x="0" y="0"/>
                      <a:pt x="2" y="0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32" name="Freeform 2868"/>
              <p:cNvSpPr>
                <a:spLocks noChangeAspect="1"/>
              </p:cNvSpPr>
              <p:nvPr/>
            </p:nvSpPr>
            <p:spPr bwMode="auto">
              <a:xfrm>
                <a:off x="4865817" y="2320666"/>
                <a:ext cx="6712" cy="4984"/>
              </a:xfrm>
              <a:custGeom>
                <a:avLst/>
                <a:gdLst>
                  <a:gd name="T0" fmla="*/ 5 w 5"/>
                  <a:gd name="T1" fmla="*/ 0 h 5"/>
                  <a:gd name="T2" fmla="*/ 2 w 5"/>
                  <a:gd name="T3" fmla="*/ 1 h 5"/>
                  <a:gd name="T4" fmla="*/ 1 w 5"/>
                  <a:gd name="T5" fmla="*/ 5 h 5"/>
                  <a:gd name="T6" fmla="*/ 4 w 5"/>
                  <a:gd name="T7" fmla="*/ 2 h 5"/>
                  <a:gd name="T8" fmla="*/ 5 w 5"/>
                  <a:gd name="T9" fmla="*/ 0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5"/>
                  <a:gd name="T17" fmla="*/ 5 w 5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5">
                    <a:moveTo>
                      <a:pt x="4" y="0"/>
                    </a:moveTo>
                    <a:cubicBezTo>
                      <a:pt x="3" y="0"/>
                      <a:pt x="2" y="1"/>
                      <a:pt x="2" y="1"/>
                    </a:cubicBezTo>
                    <a:cubicBezTo>
                      <a:pt x="1" y="2"/>
                      <a:pt x="0" y="4"/>
                      <a:pt x="1" y="4"/>
                    </a:cubicBezTo>
                    <a:cubicBezTo>
                      <a:pt x="2" y="5"/>
                      <a:pt x="3" y="3"/>
                      <a:pt x="3" y="2"/>
                    </a:cubicBezTo>
                    <a:cubicBezTo>
                      <a:pt x="4" y="2"/>
                      <a:pt x="5" y="1"/>
                      <a:pt x="4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33" name="Freeform 2869"/>
              <p:cNvSpPr>
                <a:spLocks noChangeAspect="1"/>
              </p:cNvSpPr>
              <p:nvPr/>
            </p:nvSpPr>
            <p:spPr bwMode="auto">
              <a:xfrm>
                <a:off x="4777456" y="2004181"/>
                <a:ext cx="22370" cy="12461"/>
              </a:xfrm>
              <a:custGeom>
                <a:avLst/>
                <a:gdLst>
                  <a:gd name="T0" fmla="*/ 19 w 17"/>
                  <a:gd name="T1" fmla="*/ 2 h 13"/>
                  <a:gd name="T2" fmla="*/ 7 w 17"/>
                  <a:gd name="T3" fmla="*/ 9 h 13"/>
                  <a:gd name="T4" fmla="*/ 5 w 17"/>
                  <a:gd name="T5" fmla="*/ 15 h 13"/>
                  <a:gd name="T6" fmla="*/ 2 w 17"/>
                  <a:gd name="T7" fmla="*/ 14 h 13"/>
                  <a:gd name="T8" fmla="*/ 5 w 17"/>
                  <a:gd name="T9" fmla="*/ 9 h 13"/>
                  <a:gd name="T10" fmla="*/ 0 w 17"/>
                  <a:gd name="T11" fmla="*/ 6 h 13"/>
                  <a:gd name="T12" fmla="*/ 4 w 17"/>
                  <a:gd name="T13" fmla="*/ 2 h 13"/>
                  <a:gd name="T14" fmla="*/ 14 w 17"/>
                  <a:gd name="T15" fmla="*/ 0 h 13"/>
                  <a:gd name="T16" fmla="*/ 19 w 17"/>
                  <a:gd name="T17" fmla="*/ 1 h 13"/>
                  <a:gd name="T18" fmla="*/ 19 w 17"/>
                  <a:gd name="T19" fmla="*/ 2 h 1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7"/>
                  <a:gd name="T31" fmla="*/ 0 h 13"/>
                  <a:gd name="T32" fmla="*/ 17 w 17"/>
                  <a:gd name="T33" fmla="*/ 13 h 1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7" h="13">
                    <a:moveTo>
                      <a:pt x="16" y="2"/>
                    </a:moveTo>
                    <a:cubicBezTo>
                      <a:pt x="13" y="5"/>
                      <a:pt x="9" y="5"/>
                      <a:pt x="6" y="8"/>
                    </a:cubicBezTo>
                    <a:cubicBezTo>
                      <a:pt x="5" y="9"/>
                      <a:pt x="6" y="11"/>
                      <a:pt x="4" y="13"/>
                    </a:cubicBezTo>
                    <a:cubicBezTo>
                      <a:pt x="4" y="13"/>
                      <a:pt x="2" y="13"/>
                      <a:pt x="2" y="12"/>
                    </a:cubicBezTo>
                    <a:cubicBezTo>
                      <a:pt x="2" y="10"/>
                      <a:pt x="4" y="9"/>
                      <a:pt x="4" y="8"/>
                    </a:cubicBezTo>
                    <a:cubicBezTo>
                      <a:pt x="3" y="6"/>
                      <a:pt x="0" y="6"/>
                      <a:pt x="0" y="5"/>
                    </a:cubicBezTo>
                    <a:cubicBezTo>
                      <a:pt x="0" y="3"/>
                      <a:pt x="1" y="2"/>
                      <a:pt x="3" y="2"/>
                    </a:cubicBezTo>
                    <a:cubicBezTo>
                      <a:pt x="6" y="0"/>
                      <a:pt x="9" y="0"/>
                      <a:pt x="12" y="0"/>
                    </a:cubicBezTo>
                    <a:cubicBezTo>
                      <a:pt x="13" y="0"/>
                      <a:pt x="15" y="0"/>
                      <a:pt x="16" y="1"/>
                    </a:cubicBezTo>
                    <a:cubicBezTo>
                      <a:pt x="16" y="1"/>
                      <a:pt x="17" y="2"/>
                      <a:pt x="16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34" name="Freeform 2870"/>
              <p:cNvSpPr>
                <a:spLocks noChangeAspect="1"/>
              </p:cNvSpPr>
              <p:nvPr/>
            </p:nvSpPr>
            <p:spPr bwMode="auto">
              <a:xfrm>
                <a:off x="4778574" y="1994213"/>
                <a:ext cx="15658" cy="7476"/>
              </a:xfrm>
              <a:custGeom>
                <a:avLst/>
                <a:gdLst>
                  <a:gd name="T0" fmla="*/ 8 w 12"/>
                  <a:gd name="T1" fmla="*/ 0 h 8"/>
                  <a:gd name="T2" fmla="*/ 14 w 12"/>
                  <a:gd name="T3" fmla="*/ 6 h 8"/>
                  <a:gd name="T4" fmla="*/ 9 w 12"/>
                  <a:gd name="T5" fmla="*/ 6 h 8"/>
                  <a:gd name="T6" fmla="*/ 8 w 12"/>
                  <a:gd name="T7" fmla="*/ 9 h 8"/>
                  <a:gd name="T8" fmla="*/ 4 w 12"/>
                  <a:gd name="T9" fmla="*/ 6 h 8"/>
                  <a:gd name="T10" fmla="*/ 1 w 12"/>
                  <a:gd name="T11" fmla="*/ 3 h 8"/>
                  <a:gd name="T12" fmla="*/ 7 w 12"/>
                  <a:gd name="T13" fmla="*/ 2 h 8"/>
                  <a:gd name="T14" fmla="*/ 8 w 12"/>
                  <a:gd name="T15" fmla="*/ 0 h 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"/>
                  <a:gd name="T25" fmla="*/ 0 h 8"/>
                  <a:gd name="T26" fmla="*/ 12 w 12"/>
                  <a:gd name="T27" fmla="*/ 8 h 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" h="8">
                    <a:moveTo>
                      <a:pt x="7" y="0"/>
                    </a:moveTo>
                    <a:cubicBezTo>
                      <a:pt x="9" y="1"/>
                      <a:pt x="12" y="2"/>
                      <a:pt x="12" y="5"/>
                    </a:cubicBezTo>
                    <a:cubicBezTo>
                      <a:pt x="12" y="6"/>
                      <a:pt x="9" y="4"/>
                      <a:pt x="8" y="5"/>
                    </a:cubicBezTo>
                    <a:cubicBezTo>
                      <a:pt x="7" y="6"/>
                      <a:pt x="8" y="8"/>
                      <a:pt x="7" y="8"/>
                    </a:cubicBezTo>
                    <a:cubicBezTo>
                      <a:pt x="6" y="8"/>
                      <a:pt x="5" y="6"/>
                      <a:pt x="3" y="5"/>
                    </a:cubicBezTo>
                    <a:cubicBezTo>
                      <a:pt x="2" y="4"/>
                      <a:pt x="0" y="4"/>
                      <a:pt x="1" y="3"/>
                    </a:cubicBezTo>
                    <a:cubicBezTo>
                      <a:pt x="2" y="2"/>
                      <a:pt x="5" y="3"/>
                      <a:pt x="6" y="2"/>
                    </a:cubicBezTo>
                    <a:cubicBezTo>
                      <a:pt x="7" y="2"/>
                      <a:pt x="6" y="0"/>
                      <a:pt x="7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35" name="Freeform 2871"/>
              <p:cNvSpPr>
                <a:spLocks noChangeAspect="1"/>
              </p:cNvSpPr>
              <p:nvPr/>
            </p:nvSpPr>
            <p:spPr bwMode="auto">
              <a:xfrm>
                <a:off x="4968719" y="2398748"/>
                <a:ext cx="42502" cy="19106"/>
              </a:xfrm>
              <a:custGeom>
                <a:avLst/>
                <a:gdLst>
                  <a:gd name="T0" fmla="*/ 26 w 31"/>
                  <a:gd name="T1" fmla="*/ 8 h 19"/>
                  <a:gd name="T2" fmla="*/ 37 w 31"/>
                  <a:gd name="T3" fmla="*/ 1 h 19"/>
                  <a:gd name="T4" fmla="*/ 36 w 31"/>
                  <a:gd name="T5" fmla="*/ 0 h 19"/>
                  <a:gd name="T6" fmla="*/ 23 w 31"/>
                  <a:gd name="T7" fmla="*/ 6 h 19"/>
                  <a:gd name="T8" fmla="*/ 20 w 31"/>
                  <a:gd name="T9" fmla="*/ 7 h 19"/>
                  <a:gd name="T10" fmla="*/ 12 w 31"/>
                  <a:gd name="T11" fmla="*/ 6 h 19"/>
                  <a:gd name="T12" fmla="*/ 9 w 31"/>
                  <a:gd name="T13" fmla="*/ 5 h 19"/>
                  <a:gd name="T14" fmla="*/ 9 w 31"/>
                  <a:gd name="T15" fmla="*/ 8 h 19"/>
                  <a:gd name="T16" fmla="*/ 1 w 31"/>
                  <a:gd name="T17" fmla="*/ 10 h 19"/>
                  <a:gd name="T18" fmla="*/ 0 w 31"/>
                  <a:gd name="T19" fmla="*/ 17 h 19"/>
                  <a:gd name="T20" fmla="*/ 6 w 31"/>
                  <a:gd name="T21" fmla="*/ 19 h 19"/>
                  <a:gd name="T22" fmla="*/ 11 w 31"/>
                  <a:gd name="T23" fmla="*/ 19 h 19"/>
                  <a:gd name="T24" fmla="*/ 15 w 31"/>
                  <a:gd name="T25" fmla="*/ 22 h 19"/>
                  <a:gd name="T26" fmla="*/ 20 w 31"/>
                  <a:gd name="T27" fmla="*/ 17 h 19"/>
                  <a:gd name="T28" fmla="*/ 23 w 31"/>
                  <a:gd name="T29" fmla="*/ 13 h 19"/>
                  <a:gd name="T30" fmla="*/ 28 w 31"/>
                  <a:gd name="T31" fmla="*/ 13 h 19"/>
                  <a:gd name="T32" fmla="*/ 28 w 31"/>
                  <a:gd name="T33" fmla="*/ 12 h 19"/>
                  <a:gd name="T34" fmla="*/ 26 w 31"/>
                  <a:gd name="T35" fmla="*/ 8 h 19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31"/>
                  <a:gd name="T55" fmla="*/ 0 h 19"/>
                  <a:gd name="T56" fmla="*/ 31 w 31"/>
                  <a:gd name="T57" fmla="*/ 19 h 19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31" h="19">
                    <a:moveTo>
                      <a:pt x="21" y="7"/>
                    </a:moveTo>
                    <a:cubicBezTo>
                      <a:pt x="24" y="4"/>
                      <a:pt x="28" y="3"/>
                      <a:pt x="30" y="1"/>
                    </a:cubicBezTo>
                    <a:cubicBezTo>
                      <a:pt x="31" y="1"/>
                      <a:pt x="29" y="0"/>
                      <a:pt x="29" y="0"/>
                    </a:cubicBezTo>
                    <a:cubicBezTo>
                      <a:pt x="25" y="1"/>
                      <a:pt x="22" y="3"/>
                      <a:pt x="19" y="5"/>
                    </a:cubicBezTo>
                    <a:cubicBezTo>
                      <a:pt x="18" y="5"/>
                      <a:pt x="17" y="6"/>
                      <a:pt x="16" y="6"/>
                    </a:cubicBezTo>
                    <a:cubicBezTo>
                      <a:pt x="14" y="6"/>
                      <a:pt x="12" y="6"/>
                      <a:pt x="10" y="5"/>
                    </a:cubicBezTo>
                    <a:cubicBezTo>
                      <a:pt x="9" y="5"/>
                      <a:pt x="8" y="4"/>
                      <a:pt x="7" y="4"/>
                    </a:cubicBezTo>
                    <a:cubicBezTo>
                      <a:pt x="6" y="4"/>
                      <a:pt x="8" y="6"/>
                      <a:pt x="7" y="7"/>
                    </a:cubicBezTo>
                    <a:cubicBezTo>
                      <a:pt x="5" y="8"/>
                      <a:pt x="2" y="7"/>
                      <a:pt x="1" y="8"/>
                    </a:cubicBezTo>
                    <a:cubicBezTo>
                      <a:pt x="1" y="10"/>
                      <a:pt x="0" y="13"/>
                      <a:pt x="0" y="14"/>
                    </a:cubicBezTo>
                    <a:cubicBezTo>
                      <a:pt x="2" y="14"/>
                      <a:pt x="4" y="15"/>
                      <a:pt x="5" y="16"/>
                    </a:cubicBezTo>
                    <a:cubicBezTo>
                      <a:pt x="7" y="16"/>
                      <a:pt x="8" y="16"/>
                      <a:pt x="9" y="16"/>
                    </a:cubicBezTo>
                    <a:cubicBezTo>
                      <a:pt x="10" y="16"/>
                      <a:pt x="11" y="19"/>
                      <a:pt x="12" y="18"/>
                    </a:cubicBezTo>
                    <a:cubicBezTo>
                      <a:pt x="13" y="16"/>
                      <a:pt x="14" y="15"/>
                      <a:pt x="16" y="14"/>
                    </a:cubicBezTo>
                    <a:cubicBezTo>
                      <a:pt x="17" y="13"/>
                      <a:pt x="18" y="12"/>
                      <a:pt x="19" y="11"/>
                    </a:cubicBezTo>
                    <a:cubicBezTo>
                      <a:pt x="20" y="11"/>
                      <a:pt x="22" y="12"/>
                      <a:pt x="23" y="11"/>
                    </a:cubicBezTo>
                    <a:cubicBezTo>
                      <a:pt x="23" y="11"/>
                      <a:pt x="23" y="10"/>
                      <a:pt x="23" y="10"/>
                    </a:cubicBezTo>
                    <a:cubicBezTo>
                      <a:pt x="22" y="9"/>
                      <a:pt x="21" y="7"/>
                      <a:pt x="21" y="7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36" name="Freeform 2872"/>
              <p:cNvSpPr>
                <a:spLocks noChangeAspect="1"/>
              </p:cNvSpPr>
              <p:nvPr/>
            </p:nvSpPr>
            <p:spPr bwMode="auto">
              <a:xfrm>
                <a:off x="5156625" y="2653763"/>
                <a:ext cx="180077" cy="93866"/>
              </a:xfrm>
              <a:custGeom>
                <a:avLst/>
                <a:gdLst>
                  <a:gd name="T0" fmla="*/ 161 w 134"/>
                  <a:gd name="T1" fmla="*/ 42 h 94"/>
                  <a:gd name="T2" fmla="*/ 147 w 134"/>
                  <a:gd name="T3" fmla="*/ 50 h 94"/>
                  <a:gd name="T4" fmla="*/ 147 w 134"/>
                  <a:gd name="T5" fmla="*/ 60 h 94"/>
                  <a:gd name="T6" fmla="*/ 121 w 134"/>
                  <a:gd name="T7" fmla="*/ 70 h 94"/>
                  <a:gd name="T8" fmla="*/ 103 w 134"/>
                  <a:gd name="T9" fmla="*/ 79 h 94"/>
                  <a:gd name="T10" fmla="*/ 95 w 134"/>
                  <a:gd name="T11" fmla="*/ 88 h 94"/>
                  <a:gd name="T12" fmla="*/ 85 w 134"/>
                  <a:gd name="T13" fmla="*/ 88 h 94"/>
                  <a:gd name="T14" fmla="*/ 71 w 134"/>
                  <a:gd name="T15" fmla="*/ 95 h 94"/>
                  <a:gd name="T16" fmla="*/ 58 w 134"/>
                  <a:gd name="T17" fmla="*/ 95 h 94"/>
                  <a:gd name="T18" fmla="*/ 46 w 134"/>
                  <a:gd name="T19" fmla="*/ 100 h 94"/>
                  <a:gd name="T20" fmla="*/ 37 w 134"/>
                  <a:gd name="T21" fmla="*/ 111 h 94"/>
                  <a:gd name="T22" fmla="*/ 17 w 134"/>
                  <a:gd name="T23" fmla="*/ 111 h 94"/>
                  <a:gd name="T24" fmla="*/ 12 w 134"/>
                  <a:gd name="T25" fmla="*/ 101 h 94"/>
                  <a:gd name="T26" fmla="*/ 11 w 134"/>
                  <a:gd name="T27" fmla="*/ 87 h 94"/>
                  <a:gd name="T28" fmla="*/ 5 w 134"/>
                  <a:gd name="T29" fmla="*/ 71 h 94"/>
                  <a:gd name="T30" fmla="*/ 0 w 134"/>
                  <a:gd name="T31" fmla="*/ 70 h 94"/>
                  <a:gd name="T32" fmla="*/ 5 w 134"/>
                  <a:gd name="T33" fmla="*/ 65 h 94"/>
                  <a:gd name="T34" fmla="*/ 6 w 134"/>
                  <a:gd name="T35" fmla="*/ 54 h 94"/>
                  <a:gd name="T36" fmla="*/ 5 w 134"/>
                  <a:gd name="T37" fmla="*/ 48 h 94"/>
                  <a:gd name="T38" fmla="*/ 10 w 134"/>
                  <a:gd name="T39" fmla="*/ 42 h 94"/>
                  <a:gd name="T40" fmla="*/ 10 w 134"/>
                  <a:gd name="T41" fmla="*/ 32 h 94"/>
                  <a:gd name="T42" fmla="*/ 13 w 134"/>
                  <a:gd name="T43" fmla="*/ 29 h 94"/>
                  <a:gd name="T44" fmla="*/ 18 w 134"/>
                  <a:gd name="T45" fmla="*/ 31 h 94"/>
                  <a:gd name="T46" fmla="*/ 60 w 134"/>
                  <a:gd name="T47" fmla="*/ 29 h 94"/>
                  <a:gd name="T48" fmla="*/ 68 w 134"/>
                  <a:gd name="T49" fmla="*/ 35 h 94"/>
                  <a:gd name="T50" fmla="*/ 77 w 134"/>
                  <a:gd name="T51" fmla="*/ 34 h 94"/>
                  <a:gd name="T52" fmla="*/ 90 w 134"/>
                  <a:gd name="T53" fmla="*/ 16 h 94"/>
                  <a:gd name="T54" fmla="*/ 141 w 134"/>
                  <a:gd name="T55" fmla="*/ 0 h 94"/>
                  <a:gd name="T56" fmla="*/ 161 w 134"/>
                  <a:gd name="T57" fmla="*/ 42 h 9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34"/>
                  <a:gd name="T88" fmla="*/ 0 h 94"/>
                  <a:gd name="T89" fmla="*/ 134 w 134"/>
                  <a:gd name="T90" fmla="*/ 94 h 94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34" h="94">
                    <a:moveTo>
                      <a:pt x="134" y="35"/>
                    </a:moveTo>
                    <a:cubicBezTo>
                      <a:pt x="130" y="38"/>
                      <a:pt x="125" y="39"/>
                      <a:pt x="122" y="42"/>
                    </a:cubicBezTo>
                    <a:cubicBezTo>
                      <a:pt x="121" y="45"/>
                      <a:pt x="124" y="49"/>
                      <a:pt x="122" y="50"/>
                    </a:cubicBezTo>
                    <a:cubicBezTo>
                      <a:pt x="116" y="55"/>
                      <a:pt x="108" y="55"/>
                      <a:pt x="101" y="58"/>
                    </a:cubicBezTo>
                    <a:cubicBezTo>
                      <a:pt x="96" y="60"/>
                      <a:pt x="90" y="63"/>
                      <a:pt x="86" y="66"/>
                    </a:cubicBezTo>
                    <a:cubicBezTo>
                      <a:pt x="83" y="68"/>
                      <a:pt x="82" y="72"/>
                      <a:pt x="79" y="73"/>
                    </a:cubicBezTo>
                    <a:cubicBezTo>
                      <a:pt x="76" y="74"/>
                      <a:pt x="73" y="72"/>
                      <a:pt x="71" y="73"/>
                    </a:cubicBezTo>
                    <a:cubicBezTo>
                      <a:pt x="66" y="74"/>
                      <a:pt x="63" y="78"/>
                      <a:pt x="59" y="79"/>
                    </a:cubicBezTo>
                    <a:cubicBezTo>
                      <a:pt x="56" y="80"/>
                      <a:pt x="52" y="79"/>
                      <a:pt x="48" y="79"/>
                    </a:cubicBezTo>
                    <a:cubicBezTo>
                      <a:pt x="45" y="80"/>
                      <a:pt x="41" y="81"/>
                      <a:pt x="38" y="83"/>
                    </a:cubicBezTo>
                    <a:cubicBezTo>
                      <a:pt x="35" y="85"/>
                      <a:pt x="34" y="90"/>
                      <a:pt x="31" y="92"/>
                    </a:cubicBezTo>
                    <a:cubicBezTo>
                      <a:pt x="26" y="94"/>
                      <a:pt x="20" y="94"/>
                      <a:pt x="14" y="92"/>
                    </a:cubicBezTo>
                    <a:cubicBezTo>
                      <a:pt x="11" y="91"/>
                      <a:pt x="11" y="87"/>
                      <a:pt x="10" y="84"/>
                    </a:cubicBezTo>
                    <a:cubicBezTo>
                      <a:pt x="9" y="80"/>
                      <a:pt x="10" y="76"/>
                      <a:pt x="9" y="72"/>
                    </a:cubicBezTo>
                    <a:cubicBezTo>
                      <a:pt x="8" y="68"/>
                      <a:pt x="7" y="63"/>
                      <a:pt x="4" y="59"/>
                    </a:cubicBezTo>
                    <a:cubicBezTo>
                      <a:pt x="4" y="58"/>
                      <a:pt x="0" y="59"/>
                      <a:pt x="0" y="58"/>
                    </a:cubicBezTo>
                    <a:cubicBezTo>
                      <a:pt x="0" y="56"/>
                      <a:pt x="3" y="55"/>
                      <a:pt x="4" y="54"/>
                    </a:cubicBezTo>
                    <a:cubicBezTo>
                      <a:pt x="5" y="51"/>
                      <a:pt x="5" y="48"/>
                      <a:pt x="5" y="45"/>
                    </a:cubicBezTo>
                    <a:cubicBezTo>
                      <a:pt x="5" y="43"/>
                      <a:pt x="5" y="42"/>
                      <a:pt x="4" y="40"/>
                    </a:cubicBezTo>
                    <a:cubicBezTo>
                      <a:pt x="6" y="38"/>
                      <a:pt x="7" y="37"/>
                      <a:pt x="8" y="35"/>
                    </a:cubicBezTo>
                    <a:cubicBezTo>
                      <a:pt x="9" y="32"/>
                      <a:pt x="8" y="29"/>
                      <a:pt x="8" y="27"/>
                    </a:cubicBezTo>
                    <a:cubicBezTo>
                      <a:pt x="9" y="25"/>
                      <a:pt x="10" y="24"/>
                      <a:pt x="11" y="24"/>
                    </a:cubicBezTo>
                    <a:cubicBezTo>
                      <a:pt x="13" y="23"/>
                      <a:pt x="14" y="26"/>
                      <a:pt x="15" y="26"/>
                    </a:cubicBezTo>
                    <a:cubicBezTo>
                      <a:pt x="27" y="26"/>
                      <a:pt x="39" y="24"/>
                      <a:pt x="50" y="24"/>
                    </a:cubicBezTo>
                    <a:lnTo>
                      <a:pt x="57" y="29"/>
                    </a:lnTo>
                    <a:cubicBezTo>
                      <a:pt x="59" y="31"/>
                      <a:pt x="62" y="30"/>
                      <a:pt x="64" y="28"/>
                    </a:cubicBezTo>
                    <a:cubicBezTo>
                      <a:pt x="69" y="24"/>
                      <a:pt x="71" y="18"/>
                      <a:pt x="75" y="13"/>
                    </a:cubicBezTo>
                    <a:cubicBezTo>
                      <a:pt x="89" y="9"/>
                      <a:pt x="103" y="4"/>
                      <a:pt x="117" y="0"/>
                    </a:cubicBezTo>
                    <a:lnTo>
                      <a:pt x="134" y="35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37" name="Freeform 2873"/>
              <p:cNvSpPr>
                <a:spLocks noChangeAspect="1"/>
              </p:cNvSpPr>
              <p:nvPr/>
            </p:nvSpPr>
            <p:spPr bwMode="auto">
              <a:xfrm>
                <a:off x="5379205" y="2540793"/>
                <a:ext cx="8948" cy="17444"/>
              </a:xfrm>
              <a:custGeom>
                <a:avLst/>
                <a:gdLst>
                  <a:gd name="T0" fmla="*/ 3 w 7"/>
                  <a:gd name="T1" fmla="*/ 20 h 18"/>
                  <a:gd name="T2" fmla="*/ 6 w 7"/>
                  <a:gd name="T3" fmla="*/ 14 h 18"/>
                  <a:gd name="T4" fmla="*/ 6 w 7"/>
                  <a:gd name="T5" fmla="*/ 2 h 18"/>
                  <a:gd name="T6" fmla="*/ 0 w 7"/>
                  <a:gd name="T7" fmla="*/ 8 h 18"/>
                  <a:gd name="T8" fmla="*/ 1 w 7"/>
                  <a:gd name="T9" fmla="*/ 14 h 18"/>
                  <a:gd name="T10" fmla="*/ 1 w 7"/>
                  <a:gd name="T11" fmla="*/ 21 h 18"/>
                  <a:gd name="T12" fmla="*/ 3 w 7"/>
                  <a:gd name="T13" fmla="*/ 20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"/>
                  <a:gd name="T22" fmla="*/ 0 h 18"/>
                  <a:gd name="T23" fmla="*/ 7 w 7"/>
                  <a:gd name="T24" fmla="*/ 18 h 1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" h="18">
                    <a:moveTo>
                      <a:pt x="3" y="17"/>
                    </a:moveTo>
                    <a:cubicBezTo>
                      <a:pt x="4" y="15"/>
                      <a:pt x="5" y="14"/>
                      <a:pt x="5" y="12"/>
                    </a:cubicBezTo>
                    <a:cubicBezTo>
                      <a:pt x="6" y="9"/>
                      <a:pt x="7" y="4"/>
                      <a:pt x="5" y="2"/>
                    </a:cubicBezTo>
                    <a:cubicBezTo>
                      <a:pt x="4" y="0"/>
                      <a:pt x="2" y="5"/>
                      <a:pt x="0" y="7"/>
                    </a:cubicBezTo>
                    <a:cubicBezTo>
                      <a:pt x="1" y="8"/>
                      <a:pt x="1" y="10"/>
                      <a:pt x="1" y="12"/>
                    </a:cubicBezTo>
                    <a:cubicBezTo>
                      <a:pt x="1" y="14"/>
                      <a:pt x="0" y="16"/>
                      <a:pt x="1" y="18"/>
                    </a:cubicBezTo>
                    <a:cubicBezTo>
                      <a:pt x="1" y="18"/>
                      <a:pt x="2" y="18"/>
                      <a:pt x="3" y="17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38" name="Freeform 2874"/>
              <p:cNvSpPr>
                <a:spLocks noChangeAspect="1"/>
              </p:cNvSpPr>
              <p:nvPr/>
            </p:nvSpPr>
            <p:spPr bwMode="auto">
              <a:xfrm>
                <a:off x="5290844" y="2546606"/>
                <a:ext cx="16779" cy="26582"/>
              </a:xfrm>
              <a:custGeom>
                <a:avLst/>
                <a:gdLst>
                  <a:gd name="T0" fmla="*/ 6 w 12"/>
                  <a:gd name="T1" fmla="*/ 30 h 27"/>
                  <a:gd name="T2" fmla="*/ 13 w 12"/>
                  <a:gd name="T3" fmla="*/ 27 h 27"/>
                  <a:gd name="T4" fmla="*/ 14 w 12"/>
                  <a:gd name="T5" fmla="*/ 21 h 27"/>
                  <a:gd name="T6" fmla="*/ 9 w 12"/>
                  <a:gd name="T7" fmla="*/ 14 h 27"/>
                  <a:gd name="T8" fmla="*/ 11 w 12"/>
                  <a:gd name="T9" fmla="*/ 8 h 27"/>
                  <a:gd name="T10" fmla="*/ 6 w 12"/>
                  <a:gd name="T11" fmla="*/ 0 h 27"/>
                  <a:gd name="T12" fmla="*/ 1 w 12"/>
                  <a:gd name="T13" fmla="*/ 6 h 27"/>
                  <a:gd name="T14" fmla="*/ 1 w 12"/>
                  <a:gd name="T15" fmla="*/ 13 h 27"/>
                  <a:gd name="T16" fmla="*/ 1 w 12"/>
                  <a:gd name="T17" fmla="*/ 19 h 27"/>
                  <a:gd name="T18" fmla="*/ 1 w 12"/>
                  <a:gd name="T19" fmla="*/ 25 h 27"/>
                  <a:gd name="T20" fmla="*/ 0 w 12"/>
                  <a:gd name="T21" fmla="*/ 27 h 27"/>
                  <a:gd name="T22" fmla="*/ 3 w 12"/>
                  <a:gd name="T23" fmla="*/ 32 h 27"/>
                  <a:gd name="T24" fmla="*/ 6 w 12"/>
                  <a:gd name="T25" fmla="*/ 30 h 2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2"/>
                  <a:gd name="T40" fmla="*/ 0 h 27"/>
                  <a:gd name="T41" fmla="*/ 12 w 12"/>
                  <a:gd name="T42" fmla="*/ 27 h 27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2" h="27">
                    <a:moveTo>
                      <a:pt x="5" y="25"/>
                    </a:moveTo>
                    <a:cubicBezTo>
                      <a:pt x="7" y="25"/>
                      <a:pt x="9" y="24"/>
                      <a:pt x="10" y="23"/>
                    </a:cubicBezTo>
                    <a:cubicBezTo>
                      <a:pt x="11" y="21"/>
                      <a:pt x="12" y="20"/>
                      <a:pt x="11" y="18"/>
                    </a:cubicBezTo>
                    <a:cubicBezTo>
                      <a:pt x="11" y="16"/>
                      <a:pt x="7" y="15"/>
                      <a:pt x="7" y="12"/>
                    </a:cubicBezTo>
                    <a:cubicBezTo>
                      <a:pt x="6" y="10"/>
                      <a:pt x="9" y="9"/>
                      <a:pt x="9" y="7"/>
                    </a:cubicBezTo>
                    <a:cubicBezTo>
                      <a:pt x="8" y="5"/>
                      <a:pt x="7" y="2"/>
                      <a:pt x="5" y="0"/>
                    </a:cubicBezTo>
                    <a:cubicBezTo>
                      <a:pt x="3" y="0"/>
                      <a:pt x="2" y="3"/>
                      <a:pt x="1" y="5"/>
                    </a:cubicBezTo>
                    <a:cubicBezTo>
                      <a:pt x="0" y="7"/>
                      <a:pt x="1" y="9"/>
                      <a:pt x="1" y="11"/>
                    </a:cubicBezTo>
                    <a:cubicBezTo>
                      <a:pt x="1" y="12"/>
                      <a:pt x="0" y="14"/>
                      <a:pt x="1" y="16"/>
                    </a:cubicBezTo>
                    <a:cubicBezTo>
                      <a:pt x="1" y="17"/>
                      <a:pt x="2" y="19"/>
                      <a:pt x="1" y="21"/>
                    </a:cubicBezTo>
                    <a:cubicBezTo>
                      <a:pt x="1" y="22"/>
                      <a:pt x="1" y="22"/>
                      <a:pt x="0" y="23"/>
                    </a:cubicBezTo>
                    <a:cubicBezTo>
                      <a:pt x="0" y="24"/>
                      <a:pt x="1" y="26"/>
                      <a:pt x="2" y="27"/>
                    </a:cubicBezTo>
                    <a:cubicBezTo>
                      <a:pt x="3" y="27"/>
                      <a:pt x="4" y="26"/>
                      <a:pt x="5" y="25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39" name="Freeform 2875"/>
              <p:cNvSpPr>
                <a:spLocks noChangeAspect="1"/>
              </p:cNvSpPr>
              <p:nvPr/>
            </p:nvSpPr>
            <p:spPr bwMode="auto">
              <a:xfrm>
                <a:off x="5240511" y="2489291"/>
                <a:ext cx="6712" cy="6645"/>
              </a:xfrm>
              <a:custGeom>
                <a:avLst/>
                <a:gdLst>
                  <a:gd name="T0" fmla="*/ 0 w 5"/>
                  <a:gd name="T1" fmla="*/ 1 h 6"/>
                  <a:gd name="T2" fmla="*/ 1 w 5"/>
                  <a:gd name="T3" fmla="*/ 7 h 6"/>
                  <a:gd name="T4" fmla="*/ 4 w 5"/>
                  <a:gd name="T5" fmla="*/ 7 h 6"/>
                  <a:gd name="T6" fmla="*/ 6 w 5"/>
                  <a:gd name="T7" fmla="*/ 4 h 6"/>
                  <a:gd name="T8" fmla="*/ 4 w 5"/>
                  <a:gd name="T9" fmla="*/ 1 h 6"/>
                  <a:gd name="T10" fmla="*/ 0 w 5"/>
                  <a:gd name="T11" fmla="*/ 1 h 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6"/>
                  <a:gd name="T20" fmla="*/ 5 w 5"/>
                  <a:gd name="T21" fmla="*/ 6 h 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6">
                    <a:moveTo>
                      <a:pt x="0" y="1"/>
                    </a:moveTo>
                    <a:cubicBezTo>
                      <a:pt x="0" y="2"/>
                      <a:pt x="0" y="4"/>
                      <a:pt x="1" y="5"/>
                    </a:cubicBezTo>
                    <a:cubicBezTo>
                      <a:pt x="1" y="6"/>
                      <a:pt x="2" y="5"/>
                      <a:pt x="3" y="5"/>
                    </a:cubicBezTo>
                    <a:cubicBezTo>
                      <a:pt x="4" y="4"/>
                      <a:pt x="5" y="4"/>
                      <a:pt x="5" y="3"/>
                    </a:cubicBezTo>
                    <a:cubicBezTo>
                      <a:pt x="5" y="2"/>
                      <a:pt x="4" y="2"/>
                      <a:pt x="3" y="1"/>
                    </a:cubicBezTo>
                    <a:cubicBezTo>
                      <a:pt x="2" y="1"/>
                      <a:pt x="1" y="0"/>
                      <a:pt x="0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40" name="Freeform 2876"/>
              <p:cNvSpPr>
                <a:spLocks noChangeAspect="1"/>
              </p:cNvSpPr>
              <p:nvPr/>
            </p:nvSpPr>
            <p:spPr bwMode="auto">
              <a:xfrm>
                <a:off x="5140967" y="2686158"/>
                <a:ext cx="12304" cy="9968"/>
              </a:xfrm>
              <a:custGeom>
                <a:avLst/>
                <a:gdLst>
                  <a:gd name="T0" fmla="*/ 0 w 9"/>
                  <a:gd name="T1" fmla="*/ 2 h 10"/>
                  <a:gd name="T2" fmla="*/ 4 w 9"/>
                  <a:gd name="T3" fmla="*/ 1 h 10"/>
                  <a:gd name="T4" fmla="*/ 5 w 9"/>
                  <a:gd name="T5" fmla="*/ 6 h 10"/>
                  <a:gd name="T6" fmla="*/ 9 w 9"/>
                  <a:gd name="T7" fmla="*/ 5 h 10"/>
                  <a:gd name="T8" fmla="*/ 10 w 9"/>
                  <a:gd name="T9" fmla="*/ 11 h 10"/>
                  <a:gd name="T10" fmla="*/ 5 w 9"/>
                  <a:gd name="T11" fmla="*/ 7 h 10"/>
                  <a:gd name="T12" fmla="*/ 1 w 9"/>
                  <a:gd name="T13" fmla="*/ 6 h 10"/>
                  <a:gd name="T14" fmla="*/ 0 w 9"/>
                  <a:gd name="T15" fmla="*/ 2 h 1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"/>
                  <a:gd name="T25" fmla="*/ 0 h 10"/>
                  <a:gd name="T26" fmla="*/ 9 w 9"/>
                  <a:gd name="T27" fmla="*/ 10 h 1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" h="10">
                    <a:moveTo>
                      <a:pt x="0" y="2"/>
                    </a:moveTo>
                    <a:cubicBezTo>
                      <a:pt x="0" y="1"/>
                      <a:pt x="2" y="0"/>
                      <a:pt x="3" y="1"/>
                    </a:cubicBezTo>
                    <a:cubicBezTo>
                      <a:pt x="4" y="1"/>
                      <a:pt x="3" y="4"/>
                      <a:pt x="4" y="5"/>
                    </a:cubicBezTo>
                    <a:cubicBezTo>
                      <a:pt x="5" y="6"/>
                      <a:pt x="6" y="3"/>
                      <a:pt x="7" y="4"/>
                    </a:cubicBezTo>
                    <a:cubicBezTo>
                      <a:pt x="8" y="5"/>
                      <a:pt x="9" y="8"/>
                      <a:pt x="8" y="9"/>
                    </a:cubicBezTo>
                    <a:cubicBezTo>
                      <a:pt x="7" y="10"/>
                      <a:pt x="6" y="7"/>
                      <a:pt x="4" y="6"/>
                    </a:cubicBezTo>
                    <a:cubicBezTo>
                      <a:pt x="3" y="6"/>
                      <a:pt x="2" y="6"/>
                      <a:pt x="1" y="5"/>
                    </a:cubicBezTo>
                    <a:cubicBezTo>
                      <a:pt x="0" y="4"/>
                      <a:pt x="0" y="3"/>
                      <a:pt x="0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41" name="Freeform 2877"/>
              <p:cNvSpPr>
                <a:spLocks noChangeAspect="1"/>
              </p:cNvSpPr>
              <p:nvPr/>
            </p:nvSpPr>
            <p:spPr bwMode="auto">
              <a:xfrm>
                <a:off x="5362428" y="2536639"/>
                <a:ext cx="17895" cy="7476"/>
              </a:xfrm>
              <a:custGeom>
                <a:avLst/>
                <a:gdLst>
                  <a:gd name="T0" fmla="*/ 1 w 13"/>
                  <a:gd name="T1" fmla="*/ 7 h 8"/>
                  <a:gd name="T2" fmla="*/ 1 w 13"/>
                  <a:gd name="T3" fmla="*/ 8 h 8"/>
                  <a:gd name="T4" fmla="*/ 9 w 13"/>
                  <a:gd name="T5" fmla="*/ 5 h 8"/>
                  <a:gd name="T6" fmla="*/ 14 w 13"/>
                  <a:gd name="T7" fmla="*/ 5 h 8"/>
                  <a:gd name="T8" fmla="*/ 16 w 13"/>
                  <a:gd name="T9" fmla="*/ 1 h 8"/>
                  <a:gd name="T10" fmla="*/ 14 w 13"/>
                  <a:gd name="T11" fmla="*/ 0 h 8"/>
                  <a:gd name="T12" fmla="*/ 7 w 13"/>
                  <a:gd name="T13" fmla="*/ 2 h 8"/>
                  <a:gd name="T14" fmla="*/ 6 w 13"/>
                  <a:gd name="T15" fmla="*/ 5 h 8"/>
                  <a:gd name="T16" fmla="*/ 1 w 13"/>
                  <a:gd name="T17" fmla="*/ 7 h 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3"/>
                  <a:gd name="T28" fmla="*/ 0 h 8"/>
                  <a:gd name="T29" fmla="*/ 13 w 13"/>
                  <a:gd name="T30" fmla="*/ 8 h 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3" h="8">
                    <a:moveTo>
                      <a:pt x="1" y="6"/>
                    </a:moveTo>
                    <a:cubicBezTo>
                      <a:pt x="0" y="6"/>
                      <a:pt x="1" y="8"/>
                      <a:pt x="1" y="7"/>
                    </a:cubicBezTo>
                    <a:cubicBezTo>
                      <a:pt x="3" y="7"/>
                      <a:pt x="5" y="5"/>
                      <a:pt x="7" y="4"/>
                    </a:cubicBezTo>
                    <a:cubicBezTo>
                      <a:pt x="9" y="4"/>
                      <a:pt x="10" y="5"/>
                      <a:pt x="11" y="4"/>
                    </a:cubicBezTo>
                    <a:cubicBezTo>
                      <a:pt x="12" y="3"/>
                      <a:pt x="13" y="2"/>
                      <a:pt x="13" y="1"/>
                    </a:cubicBezTo>
                    <a:cubicBezTo>
                      <a:pt x="13" y="0"/>
                      <a:pt x="12" y="0"/>
                      <a:pt x="11" y="0"/>
                    </a:cubicBezTo>
                    <a:cubicBezTo>
                      <a:pt x="9" y="1"/>
                      <a:pt x="8" y="1"/>
                      <a:pt x="6" y="2"/>
                    </a:cubicBezTo>
                    <a:cubicBezTo>
                      <a:pt x="5" y="2"/>
                      <a:pt x="5" y="3"/>
                      <a:pt x="5" y="4"/>
                    </a:cubicBezTo>
                    <a:cubicBezTo>
                      <a:pt x="3" y="5"/>
                      <a:pt x="2" y="4"/>
                      <a:pt x="1" y="6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42" name="Freeform 2878"/>
              <p:cNvSpPr>
                <a:spLocks noChangeAspect="1"/>
              </p:cNvSpPr>
              <p:nvPr/>
            </p:nvSpPr>
            <p:spPr bwMode="auto">
              <a:xfrm>
                <a:off x="6199058" y="2780024"/>
                <a:ext cx="5593" cy="6645"/>
              </a:xfrm>
              <a:custGeom>
                <a:avLst/>
                <a:gdLst>
                  <a:gd name="T0" fmla="*/ 0 w 4"/>
                  <a:gd name="T1" fmla="*/ 2 h 7"/>
                  <a:gd name="T2" fmla="*/ 3 w 4"/>
                  <a:gd name="T3" fmla="*/ 0 h 7"/>
                  <a:gd name="T4" fmla="*/ 5 w 4"/>
                  <a:gd name="T5" fmla="*/ 3 h 7"/>
                  <a:gd name="T6" fmla="*/ 4 w 4"/>
                  <a:gd name="T7" fmla="*/ 8 h 7"/>
                  <a:gd name="T8" fmla="*/ 3 w 4"/>
                  <a:gd name="T9" fmla="*/ 6 h 7"/>
                  <a:gd name="T10" fmla="*/ 0 w 4"/>
                  <a:gd name="T11" fmla="*/ 2 h 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7"/>
                  <a:gd name="T20" fmla="*/ 4 w 4"/>
                  <a:gd name="T21" fmla="*/ 7 h 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7">
                    <a:moveTo>
                      <a:pt x="0" y="2"/>
                    </a:moveTo>
                    <a:cubicBezTo>
                      <a:pt x="0" y="1"/>
                      <a:pt x="1" y="0"/>
                      <a:pt x="2" y="0"/>
                    </a:cubicBezTo>
                    <a:cubicBezTo>
                      <a:pt x="3" y="1"/>
                      <a:pt x="4" y="2"/>
                      <a:pt x="4" y="3"/>
                    </a:cubicBezTo>
                    <a:cubicBezTo>
                      <a:pt x="4" y="5"/>
                      <a:pt x="4" y="6"/>
                      <a:pt x="3" y="7"/>
                    </a:cubicBezTo>
                    <a:cubicBezTo>
                      <a:pt x="2" y="7"/>
                      <a:pt x="2" y="5"/>
                      <a:pt x="2" y="5"/>
                    </a:cubicBezTo>
                    <a:cubicBezTo>
                      <a:pt x="1" y="4"/>
                      <a:pt x="0" y="3"/>
                      <a:pt x="0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43" name="Freeform 2879"/>
              <p:cNvSpPr>
                <a:spLocks noChangeAspect="1"/>
              </p:cNvSpPr>
              <p:nvPr/>
            </p:nvSpPr>
            <p:spPr bwMode="auto">
              <a:xfrm>
                <a:off x="6266167" y="2637980"/>
                <a:ext cx="41383" cy="30734"/>
              </a:xfrm>
              <a:custGeom>
                <a:avLst/>
                <a:gdLst>
                  <a:gd name="T0" fmla="*/ 35 w 31"/>
                  <a:gd name="T1" fmla="*/ 0 h 31"/>
                  <a:gd name="T2" fmla="*/ 37 w 31"/>
                  <a:gd name="T3" fmla="*/ 7 h 31"/>
                  <a:gd name="T4" fmla="*/ 33 w 31"/>
                  <a:gd name="T5" fmla="*/ 13 h 31"/>
                  <a:gd name="T6" fmla="*/ 32 w 31"/>
                  <a:gd name="T7" fmla="*/ 25 h 31"/>
                  <a:gd name="T8" fmla="*/ 26 w 31"/>
                  <a:gd name="T9" fmla="*/ 31 h 31"/>
                  <a:gd name="T10" fmla="*/ 19 w 31"/>
                  <a:gd name="T11" fmla="*/ 32 h 31"/>
                  <a:gd name="T12" fmla="*/ 19 w 31"/>
                  <a:gd name="T13" fmla="*/ 36 h 31"/>
                  <a:gd name="T14" fmla="*/ 14 w 31"/>
                  <a:gd name="T15" fmla="*/ 35 h 31"/>
                  <a:gd name="T16" fmla="*/ 5 w 31"/>
                  <a:gd name="T17" fmla="*/ 31 h 31"/>
                  <a:gd name="T18" fmla="*/ 2 w 31"/>
                  <a:gd name="T19" fmla="*/ 24 h 31"/>
                  <a:gd name="T20" fmla="*/ 2 w 31"/>
                  <a:gd name="T21" fmla="*/ 13 h 31"/>
                  <a:gd name="T22" fmla="*/ 11 w 31"/>
                  <a:gd name="T23" fmla="*/ 7 h 31"/>
                  <a:gd name="T24" fmla="*/ 10 w 31"/>
                  <a:gd name="T25" fmla="*/ 6 h 31"/>
                  <a:gd name="T26" fmla="*/ 12 w 31"/>
                  <a:gd name="T27" fmla="*/ 4 h 31"/>
                  <a:gd name="T28" fmla="*/ 13 w 31"/>
                  <a:gd name="T29" fmla="*/ 5 h 31"/>
                  <a:gd name="T30" fmla="*/ 19 w 31"/>
                  <a:gd name="T31" fmla="*/ 4 h 31"/>
                  <a:gd name="T32" fmla="*/ 24 w 31"/>
                  <a:gd name="T33" fmla="*/ 4 h 31"/>
                  <a:gd name="T34" fmla="*/ 29 w 31"/>
                  <a:gd name="T35" fmla="*/ 2 h 31"/>
                  <a:gd name="T36" fmla="*/ 31 w 31"/>
                  <a:gd name="T37" fmla="*/ 4 h 31"/>
                  <a:gd name="T38" fmla="*/ 35 w 31"/>
                  <a:gd name="T39" fmla="*/ 0 h 3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31"/>
                  <a:gd name="T61" fmla="*/ 0 h 31"/>
                  <a:gd name="T62" fmla="*/ 31 w 31"/>
                  <a:gd name="T63" fmla="*/ 31 h 31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31" h="31">
                    <a:moveTo>
                      <a:pt x="29" y="0"/>
                    </a:moveTo>
                    <a:cubicBezTo>
                      <a:pt x="30" y="1"/>
                      <a:pt x="31" y="4"/>
                      <a:pt x="31" y="6"/>
                    </a:cubicBezTo>
                    <a:cubicBezTo>
                      <a:pt x="31" y="8"/>
                      <a:pt x="28" y="9"/>
                      <a:pt x="28" y="11"/>
                    </a:cubicBezTo>
                    <a:cubicBezTo>
                      <a:pt x="27" y="14"/>
                      <a:pt x="29" y="18"/>
                      <a:pt x="27" y="21"/>
                    </a:cubicBezTo>
                    <a:cubicBezTo>
                      <a:pt x="27" y="23"/>
                      <a:pt x="24" y="25"/>
                      <a:pt x="22" y="26"/>
                    </a:cubicBezTo>
                    <a:cubicBezTo>
                      <a:pt x="20" y="27"/>
                      <a:pt x="18" y="26"/>
                      <a:pt x="16" y="27"/>
                    </a:cubicBezTo>
                    <a:cubicBezTo>
                      <a:pt x="15" y="27"/>
                      <a:pt x="17" y="29"/>
                      <a:pt x="16" y="30"/>
                    </a:cubicBezTo>
                    <a:cubicBezTo>
                      <a:pt x="14" y="31"/>
                      <a:pt x="13" y="30"/>
                      <a:pt x="12" y="29"/>
                    </a:cubicBezTo>
                    <a:cubicBezTo>
                      <a:pt x="9" y="29"/>
                      <a:pt x="6" y="28"/>
                      <a:pt x="4" y="26"/>
                    </a:cubicBezTo>
                    <a:cubicBezTo>
                      <a:pt x="2" y="25"/>
                      <a:pt x="2" y="23"/>
                      <a:pt x="2" y="20"/>
                    </a:cubicBezTo>
                    <a:cubicBezTo>
                      <a:pt x="1" y="17"/>
                      <a:pt x="0" y="14"/>
                      <a:pt x="2" y="11"/>
                    </a:cubicBezTo>
                    <a:cubicBezTo>
                      <a:pt x="3" y="8"/>
                      <a:pt x="7" y="9"/>
                      <a:pt x="9" y="6"/>
                    </a:cubicBezTo>
                    <a:cubicBezTo>
                      <a:pt x="10" y="6"/>
                      <a:pt x="8" y="5"/>
                      <a:pt x="8" y="5"/>
                    </a:cubicBezTo>
                    <a:cubicBezTo>
                      <a:pt x="8" y="4"/>
                      <a:pt x="9" y="3"/>
                      <a:pt x="10" y="3"/>
                    </a:cubicBezTo>
                    <a:cubicBezTo>
                      <a:pt x="10" y="3"/>
                      <a:pt x="11" y="4"/>
                      <a:pt x="11" y="4"/>
                    </a:cubicBezTo>
                    <a:cubicBezTo>
                      <a:pt x="13" y="4"/>
                      <a:pt x="15" y="3"/>
                      <a:pt x="16" y="3"/>
                    </a:cubicBezTo>
                    <a:cubicBezTo>
                      <a:pt x="18" y="3"/>
                      <a:pt x="19" y="3"/>
                      <a:pt x="20" y="3"/>
                    </a:cubicBezTo>
                    <a:cubicBezTo>
                      <a:pt x="21" y="3"/>
                      <a:pt x="23" y="2"/>
                      <a:pt x="24" y="2"/>
                    </a:cubicBezTo>
                    <a:cubicBezTo>
                      <a:pt x="25" y="2"/>
                      <a:pt x="25" y="3"/>
                      <a:pt x="26" y="3"/>
                    </a:cubicBezTo>
                    <a:cubicBezTo>
                      <a:pt x="27" y="3"/>
                      <a:pt x="28" y="0"/>
                      <a:pt x="29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44" name="Freeform 2880"/>
              <p:cNvSpPr>
                <a:spLocks noChangeAspect="1"/>
              </p:cNvSpPr>
              <p:nvPr/>
            </p:nvSpPr>
            <p:spPr bwMode="auto">
              <a:xfrm>
                <a:off x="6454076" y="2561559"/>
                <a:ext cx="27962" cy="50670"/>
              </a:xfrm>
              <a:custGeom>
                <a:avLst/>
                <a:gdLst>
                  <a:gd name="T0" fmla="*/ 25 w 21"/>
                  <a:gd name="T1" fmla="*/ 7 h 51"/>
                  <a:gd name="T2" fmla="*/ 21 w 21"/>
                  <a:gd name="T3" fmla="*/ 24 h 51"/>
                  <a:gd name="T4" fmla="*/ 20 w 21"/>
                  <a:gd name="T5" fmla="*/ 39 h 51"/>
                  <a:gd name="T6" fmla="*/ 14 w 21"/>
                  <a:gd name="T7" fmla="*/ 50 h 51"/>
                  <a:gd name="T8" fmla="*/ 14 w 21"/>
                  <a:gd name="T9" fmla="*/ 61 h 51"/>
                  <a:gd name="T10" fmla="*/ 5 w 21"/>
                  <a:gd name="T11" fmla="*/ 49 h 51"/>
                  <a:gd name="T12" fmla="*/ 1 w 21"/>
                  <a:gd name="T13" fmla="*/ 42 h 51"/>
                  <a:gd name="T14" fmla="*/ 4 w 21"/>
                  <a:gd name="T15" fmla="*/ 24 h 51"/>
                  <a:gd name="T16" fmla="*/ 10 w 21"/>
                  <a:gd name="T17" fmla="*/ 10 h 51"/>
                  <a:gd name="T18" fmla="*/ 11 w 21"/>
                  <a:gd name="T19" fmla="*/ 4 h 51"/>
                  <a:gd name="T20" fmla="*/ 17 w 21"/>
                  <a:gd name="T21" fmla="*/ 0 h 51"/>
                  <a:gd name="T22" fmla="*/ 24 w 21"/>
                  <a:gd name="T23" fmla="*/ 4 h 51"/>
                  <a:gd name="T24" fmla="*/ 25 w 21"/>
                  <a:gd name="T25" fmla="*/ 7 h 5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1"/>
                  <a:gd name="T40" fmla="*/ 0 h 51"/>
                  <a:gd name="T41" fmla="*/ 21 w 21"/>
                  <a:gd name="T42" fmla="*/ 51 h 51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1" h="51">
                    <a:moveTo>
                      <a:pt x="21" y="6"/>
                    </a:moveTo>
                    <a:cubicBezTo>
                      <a:pt x="20" y="10"/>
                      <a:pt x="19" y="15"/>
                      <a:pt x="18" y="20"/>
                    </a:cubicBezTo>
                    <a:cubicBezTo>
                      <a:pt x="18" y="24"/>
                      <a:pt x="18" y="29"/>
                      <a:pt x="17" y="33"/>
                    </a:cubicBezTo>
                    <a:cubicBezTo>
                      <a:pt x="16" y="36"/>
                      <a:pt x="13" y="39"/>
                      <a:pt x="12" y="42"/>
                    </a:cubicBezTo>
                    <a:cubicBezTo>
                      <a:pt x="11" y="45"/>
                      <a:pt x="13" y="48"/>
                      <a:pt x="12" y="51"/>
                    </a:cubicBezTo>
                    <a:cubicBezTo>
                      <a:pt x="8" y="47"/>
                      <a:pt x="6" y="45"/>
                      <a:pt x="4" y="41"/>
                    </a:cubicBezTo>
                    <a:cubicBezTo>
                      <a:pt x="2" y="39"/>
                      <a:pt x="1" y="37"/>
                      <a:pt x="1" y="35"/>
                    </a:cubicBezTo>
                    <a:cubicBezTo>
                      <a:pt x="0" y="30"/>
                      <a:pt x="2" y="25"/>
                      <a:pt x="3" y="20"/>
                    </a:cubicBezTo>
                    <a:cubicBezTo>
                      <a:pt x="4" y="16"/>
                      <a:pt x="6" y="12"/>
                      <a:pt x="8" y="8"/>
                    </a:cubicBezTo>
                    <a:cubicBezTo>
                      <a:pt x="8" y="7"/>
                      <a:pt x="8" y="5"/>
                      <a:pt x="9" y="3"/>
                    </a:cubicBezTo>
                    <a:cubicBezTo>
                      <a:pt x="10" y="2"/>
                      <a:pt x="12" y="1"/>
                      <a:pt x="14" y="0"/>
                    </a:cubicBezTo>
                    <a:cubicBezTo>
                      <a:pt x="16" y="0"/>
                      <a:pt x="18" y="1"/>
                      <a:pt x="20" y="3"/>
                    </a:cubicBezTo>
                    <a:cubicBezTo>
                      <a:pt x="21" y="3"/>
                      <a:pt x="21" y="4"/>
                      <a:pt x="21" y="6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45" name="Freeform 2881"/>
              <p:cNvSpPr>
                <a:spLocks noChangeAspect="1"/>
              </p:cNvSpPr>
              <p:nvPr/>
            </p:nvSpPr>
            <p:spPr bwMode="auto">
              <a:xfrm>
                <a:off x="6518948" y="2575680"/>
                <a:ext cx="4474" cy="4984"/>
              </a:xfrm>
              <a:custGeom>
                <a:avLst/>
                <a:gdLst>
                  <a:gd name="T0" fmla="*/ 3 w 4"/>
                  <a:gd name="T1" fmla="*/ 0 h 5"/>
                  <a:gd name="T2" fmla="*/ 3 w 4"/>
                  <a:gd name="T3" fmla="*/ 5 h 5"/>
                  <a:gd name="T4" fmla="*/ 0 w 4"/>
                  <a:gd name="T5" fmla="*/ 2 h 5"/>
                  <a:gd name="T6" fmla="*/ 3 w 4"/>
                  <a:gd name="T7" fmla="*/ 0 h 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"/>
                  <a:gd name="T13" fmla="*/ 0 h 5"/>
                  <a:gd name="T14" fmla="*/ 4 w 4"/>
                  <a:gd name="T15" fmla="*/ 5 h 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" h="5">
                    <a:moveTo>
                      <a:pt x="3" y="0"/>
                    </a:moveTo>
                    <a:cubicBezTo>
                      <a:pt x="4" y="1"/>
                      <a:pt x="4" y="4"/>
                      <a:pt x="3" y="4"/>
                    </a:cubicBezTo>
                    <a:cubicBezTo>
                      <a:pt x="2" y="5"/>
                      <a:pt x="0" y="3"/>
                      <a:pt x="0" y="2"/>
                    </a:cubicBezTo>
                    <a:cubicBezTo>
                      <a:pt x="0" y="1"/>
                      <a:pt x="2" y="0"/>
                      <a:pt x="3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46" name="Freeform 2882"/>
              <p:cNvSpPr>
                <a:spLocks noChangeAspect="1"/>
              </p:cNvSpPr>
              <p:nvPr/>
            </p:nvSpPr>
            <p:spPr bwMode="auto">
              <a:xfrm>
                <a:off x="6536842" y="2568204"/>
                <a:ext cx="4474" cy="4153"/>
              </a:xfrm>
              <a:custGeom>
                <a:avLst/>
                <a:gdLst>
                  <a:gd name="T0" fmla="*/ 3 w 3"/>
                  <a:gd name="T1" fmla="*/ 0 h 4"/>
                  <a:gd name="T2" fmla="*/ 3 w 3"/>
                  <a:gd name="T3" fmla="*/ 5 h 4"/>
                  <a:gd name="T4" fmla="*/ 0 w 3"/>
                  <a:gd name="T5" fmla="*/ 3 h 4"/>
                  <a:gd name="T6" fmla="*/ 3 w 3"/>
                  <a:gd name="T7" fmla="*/ 0 h 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"/>
                  <a:gd name="T13" fmla="*/ 0 h 4"/>
                  <a:gd name="T14" fmla="*/ 3 w 3"/>
                  <a:gd name="T15" fmla="*/ 4 h 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" h="4">
                    <a:moveTo>
                      <a:pt x="2" y="0"/>
                    </a:moveTo>
                    <a:cubicBezTo>
                      <a:pt x="3" y="1"/>
                      <a:pt x="3" y="3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2" y="0"/>
                      <a:pt x="2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47" name="Freeform 2883"/>
              <p:cNvSpPr>
                <a:spLocks noChangeAspect="1"/>
              </p:cNvSpPr>
              <p:nvPr/>
            </p:nvSpPr>
            <p:spPr bwMode="auto">
              <a:xfrm>
                <a:off x="6508882" y="2575680"/>
                <a:ext cx="5593" cy="4984"/>
              </a:xfrm>
              <a:custGeom>
                <a:avLst/>
                <a:gdLst>
                  <a:gd name="T0" fmla="*/ 5 w 4"/>
                  <a:gd name="T1" fmla="*/ 2 h 5"/>
                  <a:gd name="T2" fmla="*/ 1 w 4"/>
                  <a:gd name="T3" fmla="*/ 6 h 5"/>
                  <a:gd name="T4" fmla="*/ 1 w 4"/>
                  <a:gd name="T5" fmla="*/ 1 h 5"/>
                  <a:gd name="T6" fmla="*/ 5 w 4"/>
                  <a:gd name="T7" fmla="*/ 2 h 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"/>
                  <a:gd name="T13" fmla="*/ 0 h 5"/>
                  <a:gd name="T14" fmla="*/ 4 w 4"/>
                  <a:gd name="T15" fmla="*/ 5 h 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" h="5">
                    <a:moveTo>
                      <a:pt x="4" y="2"/>
                    </a:moveTo>
                    <a:cubicBezTo>
                      <a:pt x="4" y="3"/>
                      <a:pt x="2" y="5"/>
                      <a:pt x="1" y="5"/>
                    </a:cubicBezTo>
                    <a:cubicBezTo>
                      <a:pt x="0" y="4"/>
                      <a:pt x="0" y="2"/>
                      <a:pt x="1" y="1"/>
                    </a:cubicBezTo>
                    <a:cubicBezTo>
                      <a:pt x="2" y="0"/>
                      <a:pt x="4" y="1"/>
                      <a:pt x="4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48" name="Freeform 2884"/>
              <p:cNvSpPr>
                <a:spLocks noChangeAspect="1"/>
              </p:cNvSpPr>
              <p:nvPr/>
            </p:nvSpPr>
            <p:spPr bwMode="auto">
              <a:xfrm>
                <a:off x="6508882" y="2575680"/>
                <a:ext cx="5593" cy="4984"/>
              </a:xfrm>
              <a:custGeom>
                <a:avLst/>
                <a:gdLst>
                  <a:gd name="T0" fmla="*/ 5 w 4"/>
                  <a:gd name="T1" fmla="*/ 2 h 5"/>
                  <a:gd name="T2" fmla="*/ 1 w 4"/>
                  <a:gd name="T3" fmla="*/ 6 h 5"/>
                  <a:gd name="T4" fmla="*/ 1 w 4"/>
                  <a:gd name="T5" fmla="*/ 1 h 5"/>
                  <a:gd name="T6" fmla="*/ 5 w 4"/>
                  <a:gd name="T7" fmla="*/ 2 h 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"/>
                  <a:gd name="T13" fmla="*/ 0 h 5"/>
                  <a:gd name="T14" fmla="*/ 4 w 4"/>
                  <a:gd name="T15" fmla="*/ 5 h 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" h="5">
                    <a:moveTo>
                      <a:pt x="4" y="2"/>
                    </a:moveTo>
                    <a:cubicBezTo>
                      <a:pt x="4" y="3"/>
                      <a:pt x="2" y="5"/>
                      <a:pt x="1" y="5"/>
                    </a:cubicBezTo>
                    <a:cubicBezTo>
                      <a:pt x="0" y="4"/>
                      <a:pt x="0" y="2"/>
                      <a:pt x="1" y="1"/>
                    </a:cubicBezTo>
                    <a:cubicBezTo>
                      <a:pt x="2" y="0"/>
                      <a:pt x="4" y="1"/>
                      <a:pt x="4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49" name="Freeform 2885"/>
              <p:cNvSpPr>
                <a:spLocks noChangeAspect="1"/>
              </p:cNvSpPr>
              <p:nvPr/>
            </p:nvSpPr>
            <p:spPr bwMode="auto">
              <a:xfrm>
                <a:off x="6529014" y="2434467"/>
                <a:ext cx="13422" cy="6645"/>
              </a:xfrm>
              <a:custGeom>
                <a:avLst/>
                <a:gdLst>
                  <a:gd name="T0" fmla="*/ 8 w 10"/>
                  <a:gd name="T1" fmla="*/ 0 h 6"/>
                  <a:gd name="T2" fmla="*/ 12 w 10"/>
                  <a:gd name="T3" fmla="*/ 4 h 6"/>
                  <a:gd name="T4" fmla="*/ 7 w 10"/>
                  <a:gd name="T5" fmla="*/ 7 h 6"/>
                  <a:gd name="T6" fmla="*/ 2 w 10"/>
                  <a:gd name="T7" fmla="*/ 8 h 6"/>
                  <a:gd name="T8" fmla="*/ 1 w 10"/>
                  <a:gd name="T9" fmla="*/ 5 h 6"/>
                  <a:gd name="T10" fmla="*/ 8 w 10"/>
                  <a:gd name="T11" fmla="*/ 0 h 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"/>
                  <a:gd name="T19" fmla="*/ 0 h 6"/>
                  <a:gd name="T20" fmla="*/ 10 w 10"/>
                  <a:gd name="T21" fmla="*/ 6 h 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" h="6">
                    <a:moveTo>
                      <a:pt x="7" y="0"/>
                    </a:moveTo>
                    <a:cubicBezTo>
                      <a:pt x="8" y="0"/>
                      <a:pt x="10" y="2"/>
                      <a:pt x="10" y="3"/>
                    </a:cubicBezTo>
                    <a:cubicBezTo>
                      <a:pt x="10" y="5"/>
                      <a:pt x="7" y="5"/>
                      <a:pt x="6" y="5"/>
                    </a:cubicBezTo>
                    <a:cubicBezTo>
                      <a:pt x="5" y="6"/>
                      <a:pt x="4" y="6"/>
                      <a:pt x="2" y="6"/>
                    </a:cubicBezTo>
                    <a:cubicBezTo>
                      <a:pt x="2" y="6"/>
                      <a:pt x="0" y="5"/>
                      <a:pt x="1" y="4"/>
                    </a:cubicBezTo>
                    <a:cubicBezTo>
                      <a:pt x="2" y="2"/>
                      <a:pt x="4" y="0"/>
                      <a:pt x="7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50" name="Freeform 2887"/>
              <p:cNvSpPr>
                <a:spLocks noChangeAspect="1"/>
              </p:cNvSpPr>
              <p:nvPr/>
            </p:nvSpPr>
            <p:spPr bwMode="auto">
              <a:xfrm>
                <a:off x="6715802" y="2238430"/>
                <a:ext cx="95073" cy="67284"/>
              </a:xfrm>
              <a:custGeom>
                <a:avLst/>
                <a:gdLst>
                  <a:gd name="T0" fmla="*/ 18 w 71"/>
                  <a:gd name="T1" fmla="*/ 1 h 68"/>
                  <a:gd name="T2" fmla="*/ 42 w 71"/>
                  <a:gd name="T3" fmla="*/ 23 h 68"/>
                  <a:gd name="T4" fmla="*/ 57 w 71"/>
                  <a:gd name="T5" fmla="*/ 29 h 68"/>
                  <a:gd name="T6" fmla="*/ 66 w 71"/>
                  <a:gd name="T7" fmla="*/ 31 h 68"/>
                  <a:gd name="T8" fmla="*/ 72 w 71"/>
                  <a:gd name="T9" fmla="*/ 25 h 68"/>
                  <a:gd name="T10" fmla="*/ 71 w 71"/>
                  <a:gd name="T11" fmla="*/ 35 h 68"/>
                  <a:gd name="T12" fmla="*/ 75 w 71"/>
                  <a:gd name="T13" fmla="*/ 45 h 68"/>
                  <a:gd name="T14" fmla="*/ 84 w 71"/>
                  <a:gd name="T15" fmla="*/ 43 h 68"/>
                  <a:gd name="T16" fmla="*/ 73 w 71"/>
                  <a:gd name="T17" fmla="*/ 51 h 68"/>
                  <a:gd name="T18" fmla="*/ 67 w 71"/>
                  <a:gd name="T19" fmla="*/ 52 h 68"/>
                  <a:gd name="T20" fmla="*/ 61 w 71"/>
                  <a:gd name="T21" fmla="*/ 52 h 68"/>
                  <a:gd name="T22" fmla="*/ 54 w 71"/>
                  <a:gd name="T23" fmla="*/ 63 h 68"/>
                  <a:gd name="T24" fmla="*/ 51 w 71"/>
                  <a:gd name="T25" fmla="*/ 73 h 68"/>
                  <a:gd name="T26" fmla="*/ 26 w 71"/>
                  <a:gd name="T27" fmla="*/ 58 h 68"/>
                  <a:gd name="T28" fmla="*/ 19 w 71"/>
                  <a:gd name="T29" fmla="*/ 64 h 68"/>
                  <a:gd name="T30" fmla="*/ 10 w 71"/>
                  <a:gd name="T31" fmla="*/ 60 h 68"/>
                  <a:gd name="T32" fmla="*/ 10 w 71"/>
                  <a:gd name="T33" fmla="*/ 63 h 68"/>
                  <a:gd name="T34" fmla="*/ 18 w 71"/>
                  <a:gd name="T35" fmla="*/ 71 h 68"/>
                  <a:gd name="T36" fmla="*/ 23 w 71"/>
                  <a:gd name="T37" fmla="*/ 75 h 68"/>
                  <a:gd name="T38" fmla="*/ 14 w 71"/>
                  <a:gd name="T39" fmla="*/ 75 h 68"/>
                  <a:gd name="T40" fmla="*/ 11 w 71"/>
                  <a:gd name="T41" fmla="*/ 81 h 68"/>
                  <a:gd name="T42" fmla="*/ 8 w 71"/>
                  <a:gd name="T43" fmla="*/ 77 h 68"/>
                  <a:gd name="T44" fmla="*/ 8 w 71"/>
                  <a:gd name="T45" fmla="*/ 71 h 68"/>
                  <a:gd name="T46" fmla="*/ 2 w 71"/>
                  <a:gd name="T47" fmla="*/ 68 h 68"/>
                  <a:gd name="T48" fmla="*/ 1 w 71"/>
                  <a:gd name="T49" fmla="*/ 58 h 68"/>
                  <a:gd name="T50" fmla="*/ 7 w 71"/>
                  <a:gd name="T51" fmla="*/ 52 h 68"/>
                  <a:gd name="T52" fmla="*/ 2 w 71"/>
                  <a:gd name="T53" fmla="*/ 46 h 68"/>
                  <a:gd name="T54" fmla="*/ 5 w 71"/>
                  <a:gd name="T55" fmla="*/ 44 h 68"/>
                  <a:gd name="T56" fmla="*/ 17 w 71"/>
                  <a:gd name="T57" fmla="*/ 46 h 68"/>
                  <a:gd name="T58" fmla="*/ 14 w 71"/>
                  <a:gd name="T59" fmla="*/ 38 h 68"/>
                  <a:gd name="T60" fmla="*/ 20 w 71"/>
                  <a:gd name="T61" fmla="*/ 30 h 68"/>
                  <a:gd name="T62" fmla="*/ 18 w 71"/>
                  <a:gd name="T63" fmla="*/ 21 h 68"/>
                  <a:gd name="T64" fmla="*/ 18 w 71"/>
                  <a:gd name="T65" fmla="*/ 13 h 68"/>
                  <a:gd name="T66" fmla="*/ 12 w 71"/>
                  <a:gd name="T67" fmla="*/ 6 h 68"/>
                  <a:gd name="T68" fmla="*/ 18 w 71"/>
                  <a:gd name="T69" fmla="*/ 1 h 6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71"/>
                  <a:gd name="T106" fmla="*/ 0 h 68"/>
                  <a:gd name="T107" fmla="*/ 71 w 71"/>
                  <a:gd name="T108" fmla="*/ 68 h 68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71" h="68">
                    <a:moveTo>
                      <a:pt x="15" y="1"/>
                    </a:moveTo>
                    <a:cubicBezTo>
                      <a:pt x="23" y="6"/>
                      <a:pt x="28" y="14"/>
                      <a:pt x="35" y="19"/>
                    </a:cubicBezTo>
                    <a:cubicBezTo>
                      <a:pt x="39" y="22"/>
                      <a:pt x="44" y="23"/>
                      <a:pt x="48" y="24"/>
                    </a:cubicBezTo>
                    <a:cubicBezTo>
                      <a:pt x="50" y="25"/>
                      <a:pt x="52" y="27"/>
                      <a:pt x="55" y="26"/>
                    </a:cubicBezTo>
                    <a:cubicBezTo>
                      <a:pt x="57" y="26"/>
                      <a:pt x="58" y="20"/>
                      <a:pt x="60" y="21"/>
                    </a:cubicBezTo>
                    <a:cubicBezTo>
                      <a:pt x="62" y="23"/>
                      <a:pt x="59" y="27"/>
                      <a:pt x="59" y="29"/>
                    </a:cubicBezTo>
                    <a:cubicBezTo>
                      <a:pt x="60" y="32"/>
                      <a:pt x="61" y="36"/>
                      <a:pt x="63" y="38"/>
                    </a:cubicBezTo>
                    <a:cubicBezTo>
                      <a:pt x="65" y="39"/>
                      <a:pt x="71" y="34"/>
                      <a:pt x="70" y="36"/>
                    </a:cubicBezTo>
                    <a:cubicBezTo>
                      <a:pt x="68" y="39"/>
                      <a:pt x="64" y="41"/>
                      <a:pt x="61" y="43"/>
                    </a:cubicBezTo>
                    <a:cubicBezTo>
                      <a:pt x="59" y="43"/>
                      <a:pt x="57" y="43"/>
                      <a:pt x="56" y="44"/>
                    </a:cubicBezTo>
                    <a:cubicBezTo>
                      <a:pt x="54" y="44"/>
                      <a:pt x="52" y="43"/>
                      <a:pt x="51" y="44"/>
                    </a:cubicBezTo>
                    <a:cubicBezTo>
                      <a:pt x="48" y="46"/>
                      <a:pt x="46" y="50"/>
                      <a:pt x="45" y="53"/>
                    </a:cubicBezTo>
                    <a:cubicBezTo>
                      <a:pt x="44" y="56"/>
                      <a:pt x="46" y="61"/>
                      <a:pt x="43" y="61"/>
                    </a:cubicBezTo>
                    <a:cubicBezTo>
                      <a:pt x="35" y="59"/>
                      <a:pt x="30" y="51"/>
                      <a:pt x="22" y="49"/>
                    </a:cubicBezTo>
                    <a:cubicBezTo>
                      <a:pt x="19" y="49"/>
                      <a:pt x="18" y="54"/>
                      <a:pt x="16" y="54"/>
                    </a:cubicBezTo>
                    <a:cubicBezTo>
                      <a:pt x="13" y="54"/>
                      <a:pt x="11" y="51"/>
                      <a:pt x="8" y="50"/>
                    </a:cubicBezTo>
                    <a:cubicBezTo>
                      <a:pt x="7" y="50"/>
                      <a:pt x="7" y="52"/>
                      <a:pt x="8" y="53"/>
                    </a:cubicBezTo>
                    <a:cubicBezTo>
                      <a:pt x="10" y="56"/>
                      <a:pt x="13" y="58"/>
                      <a:pt x="15" y="60"/>
                    </a:cubicBezTo>
                    <a:cubicBezTo>
                      <a:pt x="17" y="61"/>
                      <a:pt x="20" y="62"/>
                      <a:pt x="19" y="63"/>
                    </a:cubicBezTo>
                    <a:cubicBezTo>
                      <a:pt x="17" y="65"/>
                      <a:pt x="14" y="62"/>
                      <a:pt x="12" y="63"/>
                    </a:cubicBezTo>
                    <a:cubicBezTo>
                      <a:pt x="10" y="64"/>
                      <a:pt x="11" y="67"/>
                      <a:pt x="9" y="68"/>
                    </a:cubicBezTo>
                    <a:cubicBezTo>
                      <a:pt x="8" y="68"/>
                      <a:pt x="7" y="66"/>
                      <a:pt x="7" y="65"/>
                    </a:cubicBezTo>
                    <a:cubicBezTo>
                      <a:pt x="6" y="63"/>
                      <a:pt x="7" y="61"/>
                      <a:pt x="7" y="60"/>
                    </a:cubicBezTo>
                    <a:cubicBezTo>
                      <a:pt x="6" y="58"/>
                      <a:pt x="3" y="58"/>
                      <a:pt x="2" y="57"/>
                    </a:cubicBezTo>
                    <a:cubicBezTo>
                      <a:pt x="0" y="54"/>
                      <a:pt x="0" y="51"/>
                      <a:pt x="1" y="49"/>
                    </a:cubicBezTo>
                    <a:cubicBezTo>
                      <a:pt x="1" y="46"/>
                      <a:pt x="5" y="46"/>
                      <a:pt x="6" y="44"/>
                    </a:cubicBezTo>
                    <a:cubicBezTo>
                      <a:pt x="6" y="42"/>
                      <a:pt x="3" y="41"/>
                      <a:pt x="2" y="39"/>
                    </a:cubicBezTo>
                    <a:cubicBezTo>
                      <a:pt x="2" y="38"/>
                      <a:pt x="3" y="37"/>
                      <a:pt x="4" y="37"/>
                    </a:cubicBezTo>
                    <a:cubicBezTo>
                      <a:pt x="7" y="37"/>
                      <a:pt x="11" y="41"/>
                      <a:pt x="14" y="39"/>
                    </a:cubicBezTo>
                    <a:cubicBezTo>
                      <a:pt x="16" y="38"/>
                      <a:pt x="11" y="34"/>
                      <a:pt x="12" y="32"/>
                    </a:cubicBezTo>
                    <a:cubicBezTo>
                      <a:pt x="12" y="29"/>
                      <a:pt x="16" y="28"/>
                      <a:pt x="17" y="25"/>
                    </a:cubicBezTo>
                    <a:cubicBezTo>
                      <a:pt x="17" y="23"/>
                      <a:pt x="15" y="20"/>
                      <a:pt x="15" y="18"/>
                    </a:cubicBezTo>
                    <a:cubicBezTo>
                      <a:pt x="14" y="16"/>
                      <a:pt x="15" y="13"/>
                      <a:pt x="15" y="11"/>
                    </a:cubicBezTo>
                    <a:cubicBezTo>
                      <a:pt x="14" y="9"/>
                      <a:pt x="10" y="8"/>
                      <a:pt x="10" y="5"/>
                    </a:cubicBezTo>
                    <a:cubicBezTo>
                      <a:pt x="10" y="3"/>
                      <a:pt x="13" y="0"/>
                      <a:pt x="15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51" name="Freeform 2888"/>
              <p:cNvSpPr>
                <a:spLocks noChangeAspect="1"/>
              </p:cNvSpPr>
              <p:nvPr/>
            </p:nvSpPr>
            <p:spPr bwMode="auto">
              <a:xfrm>
                <a:off x="6602834" y="2304883"/>
                <a:ext cx="165537" cy="132077"/>
              </a:xfrm>
              <a:custGeom>
                <a:avLst/>
                <a:gdLst>
                  <a:gd name="T0" fmla="*/ 123 w 123"/>
                  <a:gd name="T1" fmla="*/ 6 h 132"/>
                  <a:gd name="T2" fmla="*/ 130 w 123"/>
                  <a:gd name="T3" fmla="*/ 14 h 132"/>
                  <a:gd name="T4" fmla="*/ 119 w 123"/>
                  <a:gd name="T5" fmla="*/ 7 h 132"/>
                  <a:gd name="T6" fmla="*/ 116 w 123"/>
                  <a:gd name="T7" fmla="*/ 14 h 132"/>
                  <a:gd name="T8" fmla="*/ 113 w 123"/>
                  <a:gd name="T9" fmla="*/ 28 h 132"/>
                  <a:gd name="T10" fmla="*/ 117 w 123"/>
                  <a:gd name="T11" fmla="*/ 31 h 132"/>
                  <a:gd name="T12" fmla="*/ 116 w 123"/>
                  <a:gd name="T13" fmla="*/ 60 h 132"/>
                  <a:gd name="T14" fmla="*/ 106 w 123"/>
                  <a:gd name="T15" fmla="*/ 76 h 132"/>
                  <a:gd name="T16" fmla="*/ 87 w 123"/>
                  <a:gd name="T17" fmla="*/ 94 h 132"/>
                  <a:gd name="T18" fmla="*/ 85 w 123"/>
                  <a:gd name="T19" fmla="*/ 83 h 132"/>
                  <a:gd name="T20" fmla="*/ 78 w 123"/>
                  <a:gd name="T21" fmla="*/ 87 h 132"/>
                  <a:gd name="T22" fmla="*/ 73 w 123"/>
                  <a:gd name="T23" fmla="*/ 107 h 132"/>
                  <a:gd name="T24" fmla="*/ 66 w 123"/>
                  <a:gd name="T25" fmla="*/ 117 h 132"/>
                  <a:gd name="T26" fmla="*/ 30 w 123"/>
                  <a:gd name="T27" fmla="*/ 119 h 132"/>
                  <a:gd name="T28" fmla="*/ 23 w 123"/>
                  <a:gd name="T29" fmla="*/ 120 h 132"/>
                  <a:gd name="T30" fmla="*/ 12 w 123"/>
                  <a:gd name="T31" fmla="*/ 135 h 132"/>
                  <a:gd name="T32" fmla="*/ 1 w 123"/>
                  <a:gd name="T33" fmla="*/ 145 h 132"/>
                  <a:gd name="T34" fmla="*/ 10 w 123"/>
                  <a:gd name="T35" fmla="*/ 148 h 132"/>
                  <a:gd name="T36" fmla="*/ 22 w 123"/>
                  <a:gd name="T37" fmla="*/ 151 h 132"/>
                  <a:gd name="T38" fmla="*/ 26 w 123"/>
                  <a:gd name="T39" fmla="*/ 145 h 132"/>
                  <a:gd name="T40" fmla="*/ 41 w 123"/>
                  <a:gd name="T41" fmla="*/ 139 h 132"/>
                  <a:gd name="T42" fmla="*/ 47 w 123"/>
                  <a:gd name="T43" fmla="*/ 135 h 132"/>
                  <a:gd name="T44" fmla="*/ 66 w 123"/>
                  <a:gd name="T45" fmla="*/ 134 h 132"/>
                  <a:gd name="T46" fmla="*/ 63 w 123"/>
                  <a:gd name="T47" fmla="*/ 143 h 132"/>
                  <a:gd name="T48" fmla="*/ 73 w 123"/>
                  <a:gd name="T49" fmla="*/ 158 h 132"/>
                  <a:gd name="T50" fmla="*/ 81 w 123"/>
                  <a:gd name="T51" fmla="*/ 143 h 132"/>
                  <a:gd name="T52" fmla="*/ 84 w 123"/>
                  <a:gd name="T53" fmla="*/ 136 h 132"/>
                  <a:gd name="T54" fmla="*/ 87 w 123"/>
                  <a:gd name="T55" fmla="*/ 129 h 132"/>
                  <a:gd name="T56" fmla="*/ 90 w 123"/>
                  <a:gd name="T57" fmla="*/ 132 h 132"/>
                  <a:gd name="T58" fmla="*/ 93 w 123"/>
                  <a:gd name="T59" fmla="*/ 136 h 132"/>
                  <a:gd name="T60" fmla="*/ 103 w 123"/>
                  <a:gd name="T61" fmla="*/ 136 h 132"/>
                  <a:gd name="T62" fmla="*/ 111 w 123"/>
                  <a:gd name="T63" fmla="*/ 128 h 132"/>
                  <a:gd name="T64" fmla="*/ 116 w 123"/>
                  <a:gd name="T65" fmla="*/ 135 h 132"/>
                  <a:gd name="T66" fmla="*/ 123 w 123"/>
                  <a:gd name="T67" fmla="*/ 125 h 132"/>
                  <a:gd name="T68" fmla="*/ 124 w 123"/>
                  <a:gd name="T69" fmla="*/ 118 h 132"/>
                  <a:gd name="T70" fmla="*/ 132 w 123"/>
                  <a:gd name="T71" fmla="*/ 118 h 132"/>
                  <a:gd name="T72" fmla="*/ 131 w 123"/>
                  <a:gd name="T73" fmla="*/ 128 h 132"/>
                  <a:gd name="T74" fmla="*/ 140 w 123"/>
                  <a:gd name="T75" fmla="*/ 126 h 132"/>
                  <a:gd name="T76" fmla="*/ 144 w 123"/>
                  <a:gd name="T77" fmla="*/ 114 h 132"/>
                  <a:gd name="T78" fmla="*/ 138 w 123"/>
                  <a:gd name="T79" fmla="*/ 95 h 132"/>
                  <a:gd name="T80" fmla="*/ 141 w 123"/>
                  <a:gd name="T81" fmla="*/ 82 h 132"/>
                  <a:gd name="T82" fmla="*/ 140 w 123"/>
                  <a:gd name="T83" fmla="*/ 61 h 132"/>
                  <a:gd name="T84" fmla="*/ 144 w 123"/>
                  <a:gd name="T85" fmla="*/ 57 h 132"/>
                  <a:gd name="T86" fmla="*/ 147 w 123"/>
                  <a:gd name="T87" fmla="*/ 42 h 132"/>
                  <a:gd name="T88" fmla="*/ 140 w 123"/>
                  <a:gd name="T89" fmla="*/ 28 h 132"/>
                  <a:gd name="T90" fmla="*/ 134 w 123"/>
                  <a:gd name="T91" fmla="*/ 14 h 132"/>
                  <a:gd name="T92" fmla="*/ 123 w 123"/>
                  <a:gd name="T93" fmla="*/ 1 h 13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23"/>
                  <a:gd name="T142" fmla="*/ 0 h 132"/>
                  <a:gd name="T143" fmla="*/ 123 w 123"/>
                  <a:gd name="T144" fmla="*/ 132 h 132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23" h="132">
                    <a:moveTo>
                      <a:pt x="102" y="1"/>
                    </a:moveTo>
                    <a:cubicBezTo>
                      <a:pt x="101" y="2"/>
                      <a:pt x="100" y="4"/>
                      <a:pt x="102" y="5"/>
                    </a:cubicBezTo>
                    <a:cubicBezTo>
                      <a:pt x="103" y="6"/>
                      <a:pt x="106" y="3"/>
                      <a:pt x="107" y="4"/>
                    </a:cubicBezTo>
                    <a:cubicBezTo>
                      <a:pt x="109" y="6"/>
                      <a:pt x="108" y="9"/>
                      <a:pt x="108" y="12"/>
                    </a:cubicBezTo>
                    <a:cubicBezTo>
                      <a:pt x="106" y="13"/>
                      <a:pt x="103" y="12"/>
                      <a:pt x="101" y="12"/>
                    </a:cubicBezTo>
                    <a:cubicBezTo>
                      <a:pt x="99" y="11"/>
                      <a:pt x="100" y="7"/>
                      <a:pt x="99" y="6"/>
                    </a:cubicBezTo>
                    <a:cubicBezTo>
                      <a:pt x="98" y="5"/>
                      <a:pt x="96" y="5"/>
                      <a:pt x="95" y="6"/>
                    </a:cubicBezTo>
                    <a:cubicBezTo>
                      <a:pt x="94" y="8"/>
                      <a:pt x="96" y="10"/>
                      <a:pt x="96" y="12"/>
                    </a:cubicBezTo>
                    <a:cubicBezTo>
                      <a:pt x="95" y="13"/>
                      <a:pt x="93" y="13"/>
                      <a:pt x="93" y="14"/>
                    </a:cubicBezTo>
                    <a:cubicBezTo>
                      <a:pt x="92" y="17"/>
                      <a:pt x="94" y="20"/>
                      <a:pt x="94" y="23"/>
                    </a:cubicBezTo>
                    <a:cubicBezTo>
                      <a:pt x="94" y="25"/>
                      <a:pt x="91" y="27"/>
                      <a:pt x="92" y="29"/>
                    </a:cubicBezTo>
                    <a:cubicBezTo>
                      <a:pt x="93" y="30"/>
                      <a:pt x="96" y="24"/>
                      <a:pt x="97" y="26"/>
                    </a:cubicBezTo>
                    <a:cubicBezTo>
                      <a:pt x="99" y="30"/>
                      <a:pt x="99" y="35"/>
                      <a:pt x="99" y="40"/>
                    </a:cubicBezTo>
                    <a:cubicBezTo>
                      <a:pt x="99" y="44"/>
                      <a:pt x="97" y="47"/>
                      <a:pt x="96" y="50"/>
                    </a:cubicBezTo>
                    <a:cubicBezTo>
                      <a:pt x="95" y="54"/>
                      <a:pt x="94" y="57"/>
                      <a:pt x="92" y="60"/>
                    </a:cubicBezTo>
                    <a:cubicBezTo>
                      <a:pt x="92" y="62"/>
                      <a:pt x="89" y="62"/>
                      <a:pt x="88" y="63"/>
                    </a:cubicBezTo>
                    <a:cubicBezTo>
                      <a:pt x="86" y="66"/>
                      <a:pt x="86" y="69"/>
                      <a:pt x="83" y="72"/>
                    </a:cubicBezTo>
                    <a:cubicBezTo>
                      <a:pt x="80" y="75"/>
                      <a:pt x="76" y="78"/>
                      <a:pt x="72" y="78"/>
                    </a:cubicBezTo>
                    <a:cubicBezTo>
                      <a:pt x="69" y="79"/>
                      <a:pt x="67" y="76"/>
                      <a:pt x="67" y="74"/>
                    </a:cubicBezTo>
                    <a:cubicBezTo>
                      <a:pt x="66" y="72"/>
                      <a:pt x="70" y="71"/>
                      <a:pt x="71" y="69"/>
                    </a:cubicBezTo>
                    <a:cubicBezTo>
                      <a:pt x="71" y="68"/>
                      <a:pt x="70" y="67"/>
                      <a:pt x="69" y="67"/>
                    </a:cubicBezTo>
                    <a:cubicBezTo>
                      <a:pt x="67" y="68"/>
                      <a:pt x="65" y="70"/>
                      <a:pt x="65" y="72"/>
                    </a:cubicBezTo>
                    <a:cubicBezTo>
                      <a:pt x="64" y="75"/>
                      <a:pt x="66" y="78"/>
                      <a:pt x="65" y="81"/>
                    </a:cubicBezTo>
                    <a:cubicBezTo>
                      <a:pt x="64" y="84"/>
                      <a:pt x="62" y="86"/>
                      <a:pt x="61" y="89"/>
                    </a:cubicBezTo>
                    <a:cubicBezTo>
                      <a:pt x="60" y="91"/>
                      <a:pt x="61" y="94"/>
                      <a:pt x="60" y="95"/>
                    </a:cubicBezTo>
                    <a:cubicBezTo>
                      <a:pt x="59" y="97"/>
                      <a:pt x="57" y="97"/>
                      <a:pt x="55" y="97"/>
                    </a:cubicBezTo>
                    <a:cubicBezTo>
                      <a:pt x="49" y="98"/>
                      <a:pt x="42" y="97"/>
                      <a:pt x="35" y="98"/>
                    </a:cubicBezTo>
                    <a:cubicBezTo>
                      <a:pt x="32" y="98"/>
                      <a:pt x="29" y="99"/>
                      <a:pt x="25" y="99"/>
                    </a:cubicBezTo>
                    <a:cubicBezTo>
                      <a:pt x="25" y="99"/>
                      <a:pt x="26" y="97"/>
                      <a:pt x="26" y="97"/>
                    </a:cubicBezTo>
                    <a:cubicBezTo>
                      <a:pt x="23" y="97"/>
                      <a:pt x="21" y="98"/>
                      <a:pt x="19" y="100"/>
                    </a:cubicBezTo>
                    <a:cubicBezTo>
                      <a:pt x="18" y="100"/>
                      <a:pt x="20" y="102"/>
                      <a:pt x="19" y="103"/>
                    </a:cubicBezTo>
                    <a:cubicBezTo>
                      <a:pt x="16" y="106"/>
                      <a:pt x="13" y="108"/>
                      <a:pt x="10" y="112"/>
                    </a:cubicBezTo>
                    <a:cubicBezTo>
                      <a:pt x="8" y="113"/>
                      <a:pt x="7" y="116"/>
                      <a:pt x="5" y="117"/>
                    </a:cubicBezTo>
                    <a:cubicBezTo>
                      <a:pt x="4" y="118"/>
                      <a:pt x="1" y="118"/>
                      <a:pt x="1" y="120"/>
                    </a:cubicBezTo>
                    <a:cubicBezTo>
                      <a:pt x="0" y="122"/>
                      <a:pt x="1" y="124"/>
                      <a:pt x="3" y="125"/>
                    </a:cubicBezTo>
                    <a:cubicBezTo>
                      <a:pt x="4" y="123"/>
                      <a:pt x="6" y="123"/>
                      <a:pt x="8" y="123"/>
                    </a:cubicBezTo>
                    <a:cubicBezTo>
                      <a:pt x="9" y="123"/>
                      <a:pt x="11" y="123"/>
                      <a:pt x="12" y="123"/>
                    </a:cubicBezTo>
                    <a:cubicBezTo>
                      <a:pt x="14" y="123"/>
                      <a:pt x="16" y="126"/>
                      <a:pt x="18" y="125"/>
                    </a:cubicBezTo>
                    <a:cubicBezTo>
                      <a:pt x="19" y="124"/>
                      <a:pt x="17" y="121"/>
                      <a:pt x="18" y="120"/>
                    </a:cubicBezTo>
                    <a:cubicBezTo>
                      <a:pt x="18" y="118"/>
                      <a:pt x="20" y="120"/>
                      <a:pt x="22" y="120"/>
                    </a:cubicBezTo>
                    <a:cubicBezTo>
                      <a:pt x="24" y="119"/>
                      <a:pt x="26" y="119"/>
                      <a:pt x="28" y="118"/>
                    </a:cubicBezTo>
                    <a:cubicBezTo>
                      <a:pt x="30" y="117"/>
                      <a:pt x="32" y="115"/>
                      <a:pt x="34" y="115"/>
                    </a:cubicBezTo>
                    <a:cubicBezTo>
                      <a:pt x="35" y="115"/>
                      <a:pt x="36" y="116"/>
                      <a:pt x="37" y="116"/>
                    </a:cubicBezTo>
                    <a:cubicBezTo>
                      <a:pt x="38" y="115"/>
                      <a:pt x="38" y="113"/>
                      <a:pt x="39" y="112"/>
                    </a:cubicBezTo>
                    <a:cubicBezTo>
                      <a:pt x="41" y="111"/>
                      <a:pt x="44" y="111"/>
                      <a:pt x="47" y="111"/>
                    </a:cubicBezTo>
                    <a:cubicBezTo>
                      <a:pt x="50" y="110"/>
                      <a:pt x="53" y="109"/>
                      <a:pt x="55" y="111"/>
                    </a:cubicBezTo>
                    <a:cubicBezTo>
                      <a:pt x="57" y="112"/>
                      <a:pt x="55" y="114"/>
                      <a:pt x="54" y="116"/>
                    </a:cubicBezTo>
                    <a:cubicBezTo>
                      <a:pt x="54" y="117"/>
                      <a:pt x="52" y="118"/>
                      <a:pt x="52" y="119"/>
                    </a:cubicBezTo>
                    <a:cubicBezTo>
                      <a:pt x="54" y="120"/>
                      <a:pt x="53" y="125"/>
                      <a:pt x="55" y="127"/>
                    </a:cubicBezTo>
                    <a:cubicBezTo>
                      <a:pt x="56" y="129"/>
                      <a:pt x="58" y="132"/>
                      <a:pt x="61" y="131"/>
                    </a:cubicBezTo>
                    <a:cubicBezTo>
                      <a:pt x="63" y="131"/>
                      <a:pt x="64" y="128"/>
                      <a:pt x="65" y="126"/>
                    </a:cubicBezTo>
                    <a:cubicBezTo>
                      <a:pt x="66" y="123"/>
                      <a:pt x="65" y="120"/>
                      <a:pt x="67" y="119"/>
                    </a:cubicBezTo>
                    <a:cubicBezTo>
                      <a:pt x="69" y="117"/>
                      <a:pt x="73" y="119"/>
                      <a:pt x="74" y="117"/>
                    </a:cubicBezTo>
                    <a:cubicBezTo>
                      <a:pt x="75" y="116"/>
                      <a:pt x="71" y="115"/>
                      <a:pt x="70" y="113"/>
                    </a:cubicBezTo>
                    <a:cubicBezTo>
                      <a:pt x="69" y="111"/>
                      <a:pt x="69" y="108"/>
                      <a:pt x="69" y="105"/>
                    </a:cubicBezTo>
                    <a:cubicBezTo>
                      <a:pt x="70" y="104"/>
                      <a:pt x="71" y="106"/>
                      <a:pt x="72" y="107"/>
                    </a:cubicBezTo>
                    <a:cubicBezTo>
                      <a:pt x="72" y="108"/>
                      <a:pt x="72" y="110"/>
                      <a:pt x="73" y="111"/>
                    </a:cubicBezTo>
                    <a:cubicBezTo>
                      <a:pt x="74" y="112"/>
                      <a:pt x="75" y="110"/>
                      <a:pt x="75" y="110"/>
                    </a:cubicBezTo>
                    <a:cubicBezTo>
                      <a:pt x="77" y="110"/>
                      <a:pt x="79" y="110"/>
                      <a:pt x="79" y="111"/>
                    </a:cubicBezTo>
                    <a:cubicBezTo>
                      <a:pt x="80" y="112"/>
                      <a:pt x="77" y="112"/>
                      <a:pt x="77" y="113"/>
                    </a:cubicBezTo>
                    <a:cubicBezTo>
                      <a:pt x="78" y="114"/>
                      <a:pt x="80" y="113"/>
                      <a:pt x="82" y="113"/>
                    </a:cubicBezTo>
                    <a:cubicBezTo>
                      <a:pt x="83" y="113"/>
                      <a:pt x="85" y="113"/>
                      <a:pt x="86" y="113"/>
                    </a:cubicBezTo>
                    <a:cubicBezTo>
                      <a:pt x="88" y="113"/>
                      <a:pt x="89" y="114"/>
                      <a:pt x="90" y="113"/>
                    </a:cubicBezTo>
                    <a:cubicBezTo>
                      <a:pt x="92" y="111"/>
                      <a:pt x="91" y="108"/>
                      <a:pt x="92" y="106"/>
                    </a:cubicBezTo>
                    <a:cubicBezTo>
                      <a:pt x="94" y="105"/>
                      <a:pt x="97" y="105"/>
                      <a:pt x="97" y="106"/>
                    </a:cubicBezTo>
                    <a:cubicBezTo>
                      <a:pt x="99" y="108"/>
                      <a:pt x="95" y="110"/>
                      <a:pt x="96" y="112"/>
                    </a:cubicBezTo>
                    <a:cubicBezTo>
                      <a:pt x="96" y="114"/>
                      <a:pt x="99" y="114"/>
                      <a:pt x="100" y="113"/>
                    </a:cubicBezTo>
                    <a:cubicBezTo>
                      <a:pt x="101" y="111"/>
                      <a:pt x="100" y="107"/>
                      <a:pt x="102" y="104"/>
                    </a:cubicBezTo>
                    <a:cubicBezTo>
                      <a:pt x="102" y="103"/>
                      <a:pt x="104" y="105"/>
                      <a:pt x="105" y="104"/>
                    </a:cubicBezTo>
                    <a:cubicBezTo>
                      <a:pt x="105" y="102"/>
                      <a:pt x="103" y="100"/>
                      <a:pt x="103" y="98"/>
                    </a:cubicBezTo>
                    <a:cubicBezTo>
                      <a:pt x="104" y="96"/>
                      <a:pt x="105" y="95"/>
                      <a:pt x="106" y="95"/>
                    </a:cubicBezTo>
                    <a:cubicBezTo>
                      <a:pt x="108" y="95"/>
                      <a:pt x="110" y="96"/>
                      <a:pt x="110" y="98"/>
                    </a:cubicBezTo>
                    <a:cubicBezTo>
                      <a:pt x="111" y="99"/>
                      <a:pt x="108" y="100"/>
                      <a:pt x="108" y="102"/>
                    </a:cubicBezTo>
                    <a:cubicBezTo>
                      <a:pt x="107" y="103"/>
                      <a:pt x="108" y="105"/>
                      <a:pt x="109" y="106"/>
                    </a:cubicBezTo>
                    <a:cubicBezTo>
                      <a:pt x="109" y="107"/>
                      <a:pt x="108" y="109"/>
                      <a:pt x="109" y="109"/>
                    </a:cubicBezTo>
                    <a:cubicBezTo>
                      <a:pt x="111" y="108"/>
                      <a:pt x="114" y="106"/>
                      <a:pt x="116" y="105"/>
                    </a:cubicBezTo>
                    <a:cubicBezTo>
                      <a:pt x="118" y="103"/>
                      <a:pt x="115" y="100"/>
                      <a:pt x="116" y="97"/>
                    </a:cubicBezTo>
                    <a:cubicBezTo>
                      <a:pt x="117" y="96"/>
                      <a:pt x="120" y="96"/>
                      <a:pt x="120" y="95"/>
                    </a:cubicBezTo>
                    <a:cubicBezTo>
                      <a:pt x="120" y="92"/>
                      <a:pt x="117" y="91"/>
                      <a:pt x="116" y="89"/>
                    </a:cubicBezTo>
                    <a:cubicBezTo>
                      <a:pt x="115" y="86"/>
                      <a:pt x="115" y="82"/>
                      <a:pt x="115" y="79"/>
                    </a:cubicBezTo>
                    <a:cubicBezTo>
                      <a:pt x="115" y="78"/>
                      <a:pt x="116" y="77"/>
                      <a:pt x="117" y="76"/>
                    </a:cubicBezTo>
                    <a:cubicBezTo>
                      <a:pt x="117" y="73"/>
                      <a:pt x="117" y="70"/>
                      <a:pt x="117" y="68"/>
                    </a:cubicBezTo>
                    <a:cubicBezTo>
                      <a:pt x="116" y="65"/>
                      <a:pt x="113" y="63"/>
                      <a:pt x="113" y="60"/>
                    </a:cubicBezTo>
                    <a:cubicBezTo>
                      <a:pt x="113" y="57"/>
                      <a:pt x="114" y="53"/>
                      <a:pt x="116" y="51"/>
                    </a:cubicBezTo>
                    <a:cubicBezTo>
                      <a:pt x="117" y="50"/>
                      <a:pt x="120" y="52"/>
                      <a:pt x="121" y="51"/>
                    </a:cubicBezTo>
                    <a:cubicBezTo>
                      <a:pt x="122" y="50"/>
                      <a:pt x="119" y="48"/>
                      <a:pt x="120" y="47"/>
                    </a:cubicBezTo>
                    <a:cubicBezTo>
                      <a:pt x="120" y="45"/>
                      <a:pt x="122" y="44"/>
                      <a:pt x="123" y="42"/>
                    </a:cubicBezTo>
                    <a:cubicBezTo>
                      <a:pt x="123" y="40"/>
                      <a:pt x="122" y="38"/>
                      <a:pt x="122" y="35"/>
                    </a:cubicBezTo>
                    <a:cubicBezTo>
                      <a:pt x="121" y="32"/>
                      <a:pt x="120" y="29"/>
                      <a:pt x="119" y="27"/>
                    </a:cubicBezTo>
                    <a:cubicBezTo>
                      <a:pt x="118" y="25"/>
                      <a:pt x="116" y="24"/>
                      <a:pt x="116" y="23"/>
                    </a:cubicBezTo>
                    <a:cubicBezTo>
                      <a:pt x="115" y="21"/>
                      <a:pt x="114" y="18"/>
                      <a:pt x="113" y="16"/>
                    </a:cubicBezTo>
                    <a:cubicBezTo>
                      <a:pt x="113" y="15"/>
                      <a:pt x="111" y="13"/>
                      <a:pt x="111" y="12"/>
                    </a:cubicBezTo>
                    <a:cubicBezTo>
                      <a:pt x="110" y="8"/>
                      <a:pt x="111" y="3"/>
                      <a:pt x="109" y="1"/>
                    </a:cubicBezTo>
                    <a:cubicBezTo>
                      <a:pt x="107" y="1"/>
                      <a:pt x="104" y="0"/>
                      <a:pt x="10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52" name="Freeform 2889"/>
              <p:cNvSpPr>
                <a:spLocks noChangeAspect="1"/>
              </p:cNvSpPr>
              <p:nvPr/>
            </p:nvSpPr>
            <p:spPr bwMode="auto">
              <a:xfrm>
                <a:off x="6630796" y="2422837"/>
                <a:ext cx="38029" cy="24920"/>
              </a:xfrm>
              <a:custGeom>
                <a:avLst/>
                <a:gdLst>
                  <a:gd name="T0" fmla="*/ 0 w 28"/>
                  <a:gd name="T1" fmla="*/ 16 h 25"/>
                  <a:gd name="T2" fmla="*/ 2 w 28"/>
                  <a:gd name="T3" fmla="*/ 26 h 25"/>
                  <a:gd name="T4" fmla="*/ 10 w 28"/>
                  <a:gd name="T5" fmla="*/ 29 h 25"/>
                  <a:gd name="T6" fmla="*/ 13 w 28"/>
                  <a:gd name="T7" fmla="*/ 29 h 25"/>
                  <a:gd name="T8" fmla="*/ 13 w 28"/>
                  <a:gd name="T9" fmla="*/ 24 h 25"/>
                  <a:gd name="T10" fmla="*/ 17 w 28"/>
                  <a:gd name="T11" fmla="*/ 17 h 25"/>
                  <a:gd name="T12" fmla="*/ 23 w 28"/>
                  <a:gd name="T13" fmla="*/ 18 h 25"/>
                  <a:gd name="T14" fmla="*/ 27 w 28"/>
                  <a:gd name="T15" fmla="*/ 20 h 25"/>
                  <a:gd name="T16" fmla="*/ 29 w 28"/>
                  <a:gd name="T17" fmla="*/ 13 h 25"/>
                  <a:gd name="T18" fmla="*/ 33 w 28"/>
                  <a:gd name="T19" fmla="*/ 8 h 25"/>
                  <a:gd name="T20" fmla="*/ 32 w 28"/>
                  <a:gd name="T21" fmla="*/ 6 h 25"/>
                  <a:gd name="T22" fmla="*/ 30 w 28"/>
                  <a:gd name="T23" fmla="*/ 1 h 25"/>
                  <a:gd name="T24" fmla="*/ 23 w 28"/>
                  <a:gd name="T25" fmla="*/ 1 h 25"/>
                  <a:gd name="T26" fmla="*/ 19 w 28"/>
                  <a:gd name="T27" fmla="*/ 1 h 25"/>
                  <a:gd name="T28" fmla="*/ 16 w 28"/>
                  <a:gd name="T29" fmla="*/ 8 h 25"/>
                  <a:gd name="T30" fmla="*/ 11 w 28"/>
                  <a:gd name="T31" fmla="*/ 8 h 25"/>
                  <a:gd name="T32" fmla="*/ 7 w 28"/>
                  <a:gd name="T33" fmla="*/ 6 h 25"/>
                  <a:gd name="T34" fmla="*/ 4 w 28"/>
                  <a:gd name="T35" fmla="*/ 10 h 25"/>
                  <a:gd name="T36" fmla="*/ 0 w 28"/>
                  <a:gd name="T37" fmla="*/ 16 h 2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28"/>
                  <a:gd name="T58" fmla="*/ 0 h 25"/>
                  <a:gd name="T59" fmla="*/ 28 w 28"/>
                  <a:gd name="T60" fmla="*/ 25 h 25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28" h="25">
                    <a:moveTo>
                      <a:pt x="0" y="13"/>
                    </a:moveTo>
                    <a:cubicBezTo>
                      <a:pt x="0" y="16"/>
                      <a:pt x="0" y="19"/>
                      <a:pt x="2" y="22"/>
                    </a:cubicBezTo>
                    <a:cubicBezTo>
                      <a:pt x="3" y="23"/>
                      <a:pt x="6" y="24"/>
                      <a:pt x="8" y="24"/>
                    </a:cubicBezTo>
                    <a:cubicBezTo>
                      <a:pt x="9" y="25"/>
                      <a:pt x="10" y="25"/>
                      <a:pt x="11" y="24"/>
                    </a:cubicBezTo>
                    <a:cubicBezTo>
                      <a:pt x="12" y="23"/>
                      <a:pt x="11" y="22"/>
                      <a:pt x="11" y="20"/>
                    </a:cubicBezTo>
                    <a:cubicBezTo>
                      <a:pt x="12" y="18"/>
                      <a:pt x="12" y="16"/>
                      <a:pt x="14" y="14"/>
                    </a:cubicBezTo>
                    <a:cubicBezTo>
                      <a:pt x="15" y="13"/>
                      <a:pt x="17" y="15"/>
                      <a:pt x="19" y="15"/>
                    </a:cubicBezTo>
                    <a:cubicBezTo>
                      <a:pt x="20" y="15"/>
                      <a:pt x="21" y="18"/>
                      <a:pt x="22" y="17"/>
                    </a:cubicBezTo>
                    <a:cubicBezTo>
                      <a:pt x="24" y="16"/>
                      <a:pt x="23" y="13"/>
                      <a:pt x="24" y="11"/>
                    </a:cubicBezTo>
                    <a:cubicBezTo>
                      <a:pt x="25" y="9"/>
                      <a:pt x="27" y="9"/>
                      <a:pt x="27" y="7"/>
                    </a:cubicBezTo>
                    <a:cubicBezTo>
                      <a:pt x="28" y="6"/>
                      <a:pt x="27" y="6"/>
                      <a:pt x="26" y="5"/>
                    </a:cubicBezTo>
                    <a:cubicBezTo>
                      <a:pt x="26" y="4"/>
                      <a:pt x="26" y="2"/>
                      <a:pt x="25" y="1"/>
                    </a:cubicBezTo>
                    <a:cubicBezTo>
                      <a:pt x="23" y="0"/>
                      <a:pt x="21" y="1"/>
                      <a:pt x="19" y="1"/>
                    </a:cubicBezTo>
                    <a:cubicBezTo>
                      <a:pt x="18" y="1"/>
                      <a:pt x="16" y="1"/>
                      <a:pt x="16" y="1"/>
                    </a:cubicBezTo>
                    <a:cubicBezTo>
                      <a:pt x="14" y="3"/>
                      <a:pt x="14" y="5"/>
                      <a:pt x="13" y="7"/>
                    </a:cubicBezTo>
                    <a:cubicBezTo>
                      <a:pt x="12" y="7"/>
                      <a:pt x="10" y="7"/>
                      <a:pt x="9" y="7"/>
                    </a:cubicBezTo>
                    <a:cubicBezTo>
                      <a:pt x="8" y="6"/>
                      <a:pt x="8" y="4"/>
                      <a:pt x="6" y="5"/>
                    </a:cubicBezTo>
                    <a:cubicBezTo>
                      <a:pt x="5" y="5"/>
                      <a:pt x="4" y="7"/>
                      <a:pt x="3" y="8"/>
                    </a:cubicBezTo>
                    <a:cubicBezTo>
                      <a:pt x="2" y="10"/>
                      <a:pt x="0" y="11"/>
                      <a:pt x="0" y="1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53" name="Freeform 2890"/>
              <p:cNvSpPr>
                <a:spLocks noChangeAspect="1"/>
              </p:cNvSpPr>
              <p:nvPr/>
            </p:nvSpPr>
            <p:spPr bwMode="auto">
              <a:xfrm>
                <a:off x="6666588" y="2417854"/>
                <a:ext cx="3356" cy="4984"/>
              </a:xfrm>
              <a:custGeom>
                <a:avLst/>
                <a:gdLst>
                  <a:gd name="T0" fmla="*/ 0 w 3"/>
                  <a:gd name="T1" fmla="*/ 4 h 5"/>
                  <a:gd name="T2" fmla="*/ 2 w 3"/>
                  <a:gd name="T3" fmla="*/ 1 h 5"/>
                  <a:gd name="T4" fmla="*/ 2 w 3"/>
                  <a:gd name="T5" fmla="*/ 6 h 5"/>
                  <a:gd name="T6" fmla="*/ 0 w 3"/>
                  <a:gd name="T7" fmla="*/ 5 h 5"/>
                  <a:gd name="T8" fmla="*/ 0 w 3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5"/>
                  <a:gd name="T17" fmla="*/ 3 w 3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5">
                    <a:moveTo>
                      <a:pt x="0" y="3"/>
                    </a:moveTo>
                    <a:cubicBezTo>
                      <a:pt x="1" y="2"/>
                      <a:pt x="2" y="0"/>
                      <a:pt x="2" y="1"/>
                    </a:cubicBezTo>
                    <a:cubicBezTo>
                      <a:pt x="3" y="2"/>
                      <a:pt x="2" y="4"/>
                      <a:pt x="2" y="5"/>
                    </a:cubicBezTo>
                    <a:cubicBezTo>
                      <a:pt x="1" y="5"/>
                      <a:pt x="0" y="4"/>
                      <a:pt x="0" y="4"/>
                    </a:cubicBezTo>
                    <a:cubicBezTo>
                      <a:pt x="0" y="4"/>
                      <a:pt x="0" y="3"/>
                      <a:pt x="0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54" name="Freeform 2891"/>
              <p:cNvSpPr>
                <a:spLocks noChangeAspect="1"/>
              </p:cNvSpPr>
              <p:nvPr/>
            </p:nvSpPr>
            <p:spPr bwMode="auto">
              <a:xfrm>
                <a:off x="6635271" y="2392103"/>
                <a:ext cx="4474" cy="2493"/>
              </a:xfrm>
              <a:custGeom>
                <a:avLst/>
                <a:gdLst>
                  <a:gd name="T0" fmla="*/ 0 w 3"/>
                  <a:gd name="T1" fmla="*/ 2 h 3"/>
                  <a:gd name="T2" fmla="*/ 3 w 3"/>
                  <a:gd name="T3" fmla="*/ 1 h 3"/>
                  <a:gd name="T4" fmla="*/ 3 w 3"/>
                  <a:gd name="T5" fmla="*/ 3 h 3"/>
                  <a:gd name="T6" fmla="*/ 0 w 3"/>
                  <a:gd name="T7" fmla="*/ 2 h 3"/>
                  <a:gd name="T8" fmla="*/ 0 w 3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0" y="2"/>
                    </a:moveTo>
                    <a:cubicBezTo>
                      <a:pt x="1" y="1"/>
                      <a:pt x="2" y="0"/>
                      <a:pt x="2" y="1"/>
                    </a:cubicBezTo>
                    <a:cubicBezTo>
                      <a:pt x="3" y="1"/>
                      <a:pt x="2" y="2"/>
                      <a:pt x="2" y="3"/>
                    </a:cubicBezTo>
                    <a:cubicBezTo>
                      <a:pt x="1" y="3"/>
                      <a:pt x="1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55" name="Freeform 2892"/>
              <p:cNvSpPr>
                <a:spLocks noChangeAspect="1"/>
              </p:cNvSpPr>
              <p:nvPr/>
            </p:nvSpPr>
            <p:spPr bwMode="auto">
              <a:xfrm>
                <a:off x="6582700" y="2429483"/>
                <a:ext cx="4474" cy="3322"/>
              </a:xfrm>
              <a:custGeom>
                <a:avLst/>
                <a:gdLst>
                  <a:gd name="T0" fmla="*/ 1 w 3"/>
                  <a:gd name="T1" fmla="*/ 3 h 3"/>
                  <a:gd name="T2" fmla="*/ 3 w 3"/>
                  <a:gd name="T3" fmla="*/ 1 h 3"/>
                  <a:gd name="T4" fmla="*/ 3 w 3"/>
                  <a:gd name="T5" fmla="*/ 4 h 3"/>
                  <a:gd name="T6" fmla="*/ 0 w 3"/>
                  <a:gd name="T7" fmla="*/ 3 h 3"/>
                  <a:gd name="T8" fmla="*/ 1 w 3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1" y="2"/>
                    </a:moveTo>
                    <a:cubicBezTo>
                      <a:pt x="1" y="1"/>
                      <a:pt x="2" y="0"/>
                      <a:pt x="2" y="1"/>
                    </a:cubicBezTo>
                    <a:cubicBezTo>
                      <a:pt x="3" y="1"/>
                      <a:pt x="3" y="2"/>
                      <a:pt x="2" y="3"/>
                    </a:cubicBezTo>
                    <a:cubicBezTo>
                      <a:pt x="2" y="3"/>
                      <a:pt x="1" y="2"/>
                      <a:pt x="0" y="2"/>
                    </a:cubicBezTo>
                    <a:cubicBezTo>
                      <a:pt x="0" y="2"/>
                      <a:pt x="0" y="2"/>
                      <a:pt x="1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56" name="Freeform 2893"/>
              <p:cNvSpPr>
                <a:spLocks noChangeAspect="1"/>
              </p:cNvSpPr>
              <p:nvPr/>
            </p:nvSpPr>
            <p:spPr bwMode="auto">
              <a:xfrm>
                <a:off x="6608427" y="2483476"/>
                <a:ext cx="4474" cy="4984"/>
              </a:xfrm>
              <a:custGeom>
                <a:avLst/>
                <a:gdLst>
                  <a:gd name="T0" fmla="*/ 0 w 3"/>
                  <a:gd name="T1" fmla="*/ 4 h 5"/>
                  <a:gd name="T2" fmla="*/ 3 w 3"/>
                  <a:gd name="T3" fmla="*/ 1 h 5"/>
                  <a:gd name="T4" fmla="*/ 3 w 3"/>
                  <a:gd name="T5" fmla="*/ 5 h 5"/>
                  <a:gd name="T6" fmla="*/ 0 w 3"/>
                  <a:gd name="T7" fmla="*/ 5 h 5"/>
                  <a:gd name="T8" fmla="*/ 0 w 3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5"/>
                  <a:gd name="T17" fmla="*/ 3 w 3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5">
                    <a:moveTo>
                      <a:pt x="0" y="3"/>
                    </a:moveTo>
                    <a:cubicBezTo>
                      <a:pt x="1" y="2"/>
                      <a:pt x="2" y="0"/>
                      <a:pt x="2" y="1"/>
                    </a:cubicBezTo>
                    <a:cubicBezTo>
                      <a:pt x="3" y="2"/>
                      <a:pt x="2" y="3"/>
                      <a:pt x="2" y="4"/>
                    </a:cubicBezTo>
                    <a:cubicBezTo>
                      <a:pt x="1" y="5"/>
                      <a:pt x="0" y="4"/>
                      <a:pt x="0" y="4"/>
                    </a:cubicBezTo>
                    <a:cubicBezTo>
                      <a:pt x="0" y="3"/>
                      <a:pt x="0" y="3"/>
                      <a:pt x="0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57" name="Freeform 2894"/>
              <p:cNvSpPr>
                <a:spLocks noChangeAspect="1"/>
              </p:cNvSpPr>
              <p:nvPr/>
            </p:nvSpPr>
            <p:spPr bwMode="auto">
              <a:xfrm>
                <a:off x="6570398" y="2446097"/>
                <a:ext cx="5593" cy="4984"/>
              </a:xfrm>
              <a:custGeom>
                <a:avLst/>
                <a:gdLst>
                  <a:gd name="T0" fmla="*/ 0 w 4"/>
                  <a:gd name="T1" fmla="*/ 2 h 5"/>
                  <a:gd name="T2" fmla="*/ 4 w 4"/>
                  <a:gd name="T3" fmla="*/ 1 h 5"/>
                  <a:gd name="T4" fmla="*/ 3 w 4"/>
                  <a:gd name="T5" fmla="*/ 5 h 5"/>
                  <a:gd name="T6" fmla="*/ 0 w 4"/>
                  <a:gd name="T7" fmla="*/ 5 h 5"/>
                  <a:gd name="T8" fmla="*/ 0 w 4"/>
                  <a:gd name="T9" fmla="*/ 2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5"/>
                  <a:gd name="T17" fmla="*/ 4 w 4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5">
                    <a:moveTo>
                      <a:pt x="0" y="2"/>
                    </a:moveTo>
                    <a:cubicBezTo>
                      <a:pt x="1" y="2"/>
                      <a:pt x="2" y="0"/>
                      <a:pt x="3" y="1"/>
                    </a:cubicBezTo>
                    <a:cubicBezTo>
                      <a:pt x="4" y="2"/>
                      <a:pt x="3" y="3"/>
                      <a:pt x="2" y="4"/>
                    </a:cubicBezTo>
                    <a:cubicBezTo>
                      <a:pt x="2" y="5"/>
                      <a:pt x="0" y="4"/>
                      <a:pt x="0" y="4"/>
                    </a:cubicBezTo>
                    <a:cubicBezTo>
                      <a:pt x="0" y="3"/>
                      <a:pt x="0" y="3"/>
                      <a:pt x="0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58" name="Freeform 2895"/>
              <p:cNvSpPr>
                <a:spLocks noChangeAspect="1"/>
              </p:cNvSpPr>
              <p:nvPr/>
            </p:nvSpPr>
            <p:spPr bwMode="auto">
              <a:xfrm>
                <a:off x="6575990" y="2441943"/>
                <a:ext cx="4474" cy="4984"/>
              </a:xfrm>
              <a:custGeom>
                <a:avLst/>
                <a:gdLst>
                  <a:gd name="T0" fmla="*/ 0 w 3"/>
                  <a:gd name="T1" fmla="*/ 4 h 5"/>
                  <a:gd name="T2" fmla="*/ 3 w 3"/>
                  <a:gd name="T3" fmla="*/ 1 h 5"/>
                  <a:gd name="T4" fmla="*/ 3 w 3"/>
                  <a:gd name="T5" fmla="*/ 6 h 5"/>
                  <a:gd name="T6" fmla="*/ 1 w 3"/>
                  <a:gd name="T7" fmla="*/ 5 h 5"/>
                  <a:gd name="T8" fmla="*/ 0 w 3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5"/>
                  <a:gd name="T17" fmla="*/ 3 w 3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5">
                    <a:moveTo>
                      <a:pt x="0" y="3"/>
                    </a:moveTo>
                    <a:cubicBezTo>
                      <a:pt x="1" y="2"/>
                      <a:pt x="1" y="0"/>
                      <a:pt x="2" y="1"/>
                    </a:cubicBezTo>
                    <a:cubicBezTo>
                      <a:pt x="3" y="2"/>
                      <a:pt x="2" y="4"/>
                      <a:pt x="2" y="5"/>
                    </a:cubicBezTo>
                    <a:cubicBezTo>
                      <a:pt x="2" y="5"/>
                      <a:pt x="1" y="5"/>
                      <a:pt x="1" y="4"/>
                    </a:cubicBezTo>
                    <a:cubicBezTo>
                      <a:pt x="0" y="4"/>
                      <a:pt x="0" y="3"/>
                      <a:pt x="0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59" name="Freeform 2896"/>
              <p:cNvSpPr>
                <a:spLocks noChangeAspect="1"/>
              </p:cNvSpPr>
              <p:nvPr/>
            </p:nvSpPr>
            <p:spPr bwMode="auto">
              <a:xfrm>
                <a:off x="6586057" y="2431144"/>
                <a:ext cx="41383" cy="43195"/>
              </a:xfrm>
              <a:custGeom>
                <a:avLst/>
                <a:gdLst>
                  <a:gd name="T0" fmla="*/ 32 w 31"/>
                  <a:gd name="T1" fmla="*/ 45 h 44"/>
                  <a:gd name="T2" fmla="*/ 33 w 31"/>
                  <a:gd name="T3" fmla="*/ 38 h 44"/>
                  <a:gd name="T4" fmla="*/ 31 w 31"/>
                  <a:gd name="T5" fmla="*/ 33 h 44"/>
                  <a:gd name="T6" fmla="*/ 33 w 31"/>
                  <a:gd name="T7" fmla="*/ 26 h 44"/>
                  <a:gd name="T8" fmla="*/ 37 w 31"/>
                  <a:gd name="T9" fmla="*/ 20 h 44"/>
                  <a:gd name="T10" fmla="*/ 37 w 31"/>
                  <a:gd name="T11" fmla="*/ 14 h 44"/>
                  <a:gd name="T12" fmla="*/ 33 w 31"/>
                  <a:gd name="T13" fmla="*/ 12 h 44"/>
                  <a:gd name="T14" fmla="*/ 30 w 31"/>
                  <a:gd name="T15" fmla="*/ 12 h 44"/>
                  <a:gd name="T16" fmla="*/ 31 w 31"/>
                  <a:gd name="T17" fmla="*/ 9 h 44"/>
                  <a:gd name="T18" fmla="*/ 32 w 31"/>
                  <a:gd name="T19" fmla="*/ 6 h 44"/>
                  <a:gd name="T20" fmla="*/ 29 w 31"/>
                  <a:gd name="T21" fmla="*/ 5 h 44"/>
                  <a:gd name="T22" fmla="*/ 26 w 31"/>
                  <a:gd name="T23" fmla="*/ 7 h 44"/>
                  <a:gd name="T24" fmla="*/ 21 w 31"/>
                  <a:gd name="T25" fmla="*/ 5 h 44"/>
                  <a:gd name="T26" fmla="*/ 20 w 31"/>
                  <a:gd name="T27" fmla="*/ 1 h 44"/>
                  <a:gd name="T28" fmla="*/ 16 w 31"/>
                  <a:gd name="T29" fmla="*/ 1 h 44"/>
                  <a:gd name="T30" fmla="*/ 13 w 31"/>
                  <a:gd name="T31" fmla="*/ 1 h 44"/>
                  <a:gd name="T32" fmla="*/ 11 w 31"/>
                  <a:gd name="T33" fmla="*/ 6 h 44"/>
                  <a:gd name="T34" fmla="*/ 7 w 31"/>
                  <a:gd name="T35" fmla="*/ 7 h 44"/>
                  <a:gd name="T36" fmla="*/ 5 w 31"/>
                  <a:gd name="T37" fmla="*/ 5 h 44"/>
                  <a:gd name="T38" fmla="*/ 0 w 31"/>
                  <a:gd name="T39" fmla="*/ 8 h 44"/>
                  <a:gd name="T40" fmla="*/ 1 w 31"/>
                  <a:gd name="T41" fmla="*/ 12 h 44"/>
                  <a:gd name="T42" fmla="*/ 7 w 31"/>
                  <a:gd name="T43" fmla="*/ 15 h 44"/>
                  <a:gd name="T44" fmla="*/ 7 w 31"/>
                  <a:gd name="T45" fmla="*/ 18 h 44"/>
                  <a:gd name="T46" fmla="*/ 2 w 31"/>
                  <a:gd name="T47" fmla="*/ 15 h 44"/>
                  <a:gd name="T48" fmla="*/ 4 w 31"/>
                  <a:gd name="T49" fmla="*/ 20 h 44"/>
                  <a:gd name="T50" fmla="*/ 6 w 31"/>
                  <a:gd name="T51" fmla="*/ 22 h 44"/>
                  <a:gd name="T52" fmla="*/ 8 w 31"/>
                  <a:gd name="T53" fmla="*/ 21 h 44"/>
                  <a:gd name="T54" fmla="*/ 12 w 31"/>
                  <a:gd name="T55" fmla="*/ 22 h 44"/>
                  <a:gd name="T56" fmla="*/ 10 w 31"/>
                  <a:gd name="T57" fmla="*/ 28 h 44"/>
                  <a:gd name="T58" fmla="*/ 13 w 31"/>
                  <a:gd name="T59" fmla="*/ 26 h 44"/>
                  <a:gd name="T60" fmla="*/ 13 w 31"/>
                  <a:gd name="T61" fmla="*/ 21 h 44"/>
                  <a:gd name="T62" fmla="*/ 11 w 31"/>
                  <a:gd name="T63" fmla="*/ 20 h 44"/>
                  <a:gd name="T64" fmla="*/ 11 w 31"/>
                  <a:gd name="T65" fmla="*/ 18 h 44"/>
                  <a:gd name="T66" fmla="*/ 10 w 31"/>
                  <a:gd name="T67" fmla="*/ 13 h 44"/>
                  <a:gd name="T68" fmla="*/ 14 w 31"/>
                  <a:gd name="T69" fmla="*/ 15 h 44"/>
                  <a:gd name="T70" fmla="*/ 17 w 31"/>
                  <a:gd name="T71" fmla="*/ 22 h 44"/>
                  <a:gd name="T72" fmla="*/ 18 w 31"/>
                  <a:gd name="T73" fmla="*/ 25 h 44"/>
                  <a:gd name="T74" fmla="*/ 14 w 31"/>
                  <a:gd name="T75" fmla="*/ 32 h 44"/>
                  <a:gd name="T76" fmla="*/ 13 w 31"/>
                  <a:gd name="T77" fmla="*/ 39 h 44"/>
                  <a:gd name="T78" fmla="*/ 17 w 31"/>
                  <a:gd name="T79" fmla="*/ 44 h 44"/>
                  <a:gd name="T80" fmla="*/ 16 w 31"/>
                  <a:gd name="T81" fmla="*/ 47 h 44"/>
                  <a:gd name="T82" fmla="*/ 21 w 31"/>
                  <a:gd name="T83" fmla="*/ 48 h 44"/>
                  <a:gd name="T84" fmla="*/ 19 w 31"/>
                  <a:gd name="T85" fmla="*/ 41 h 44"/>
                  <a:gd name="T86" fmla="*/ 24 w 31"/>
                  <a:gd name="T87" fmla="*/ 43 h 44"/>
                  <a:gd name="T88" fmla="*/ 23 w 31"/>
                  <a:gd name="T89" fmla="*/ 48 h 44"/>
                  <a:gd name="T90" fmla="*/ 23 w 31"/>
                  <a:gd name="T91" fmla="*/ 52 h 44"/>
                  <a:gd name="T92" fmla="*/ 29 w 31"/>
                  <a:gd name="T93" fmla="*/ 50 h 44"/>
                  <a:gd name="T94" fmla="*/ 29 w 31"/>
                  <a:gd name="T95" fmla="*/ 45 h 44"/>
                  <a:gd name="T96" fmla="*/ 32 w 31"/>
                  <a:gd name="T97" fmla="*/ 45 h 44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31"/>
                  <a:gd name="T148" fmla="*/ 0 h 44"/>
                  <a:gd name="T149" fmla="*/ 31 w 31"/>
                  <a:gd name="T150" fmla="*/ 44 h 44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31" h="44">
                    <a:moveTo>
                      <a:pt x="27" y="38"/>
                    </a:moveTo>
                    <a:cubicBezTo>
                      <a:pt x="28" y="36"/>
                      <a:pt x="28" y="34"/>
                      <a:pt x="28" y="32"/>
                    </a:cubicBezTo>
                    <a:cubicBezTo>
                      <a:pt x="27" y="31"/>
                      <a:pt x="26" y="29"/>
                      <a:pt x="26" y="28"/>
                    </a:cubicBezTo>
                    <a:cubicBezTo>
                      <a:pt x="27" y="26"/>
                      <a:pt x="27" y="24"/>
                      <a:pt x="28" y="22"/>
                    </a:cubicBezTo>
                    <a:cubicBezTo>
                      <a:pt x="29" y="20"/>
                      <a:pt x="30" y="18"/>
                      <a:pt x="31" y="17"/>
                    </a:cubicBezTo>
                    <a:cubicBezTo>
                      <a:pt x="31" y="15"/>
                      <a:pt x="31" y="13"/>
                      <a:pt x="31" y="12"/>
                    </a:cubicBezTo>
                    <a:cubicBezTo>
                      <a:pt x="30" y="11"/>
                      <a:pt x="29" y="10"/>
                      <a:pt x="28" y="10"/>
                    </a:cubicBezTo>
                    <a:cubicBezTo>
                      <a:pt x="27" y="10"/>
                      <a:pt x="25" y="11"/>
                      <a:pt x="25" y="10"/>
                    </a:cubicBezTo>
                    <a:cubicBezTo>
                      <a:pt x="24" y="9"/>
                      <a:pt x="26" y="9"/>
                      <a:pt x="26" y="8"/>
                    </a:cubicBezTo>
                    <a:cubicBezTo>
                      <a:pt x="27" y="7"/>
                      <a:pt x="27" y="5"/>
                      <a:pt x="27" y="5"/>
                    </a:cubicBezTo>
                    <a:cubicBezTo>
                      <a:pt x="26" y="4"/>
                      <a:pt x="25" y="3"/>
                      <a:pt x="24" y="4"/>
                    </a:cubicBezTo>
                    <a:cubicBezTo>
                      <a:pt x="23" y="4"/>
                      <a:pt x="23" y="6"/>
                      <a:pt x="22" y="6"/>
                    </a:cubicBezTo>
                    <a:cubicBezTo>
                      <a:pt x="21" y="6"/>
                      <a:pt x="19" y="5"/>
                      <a:pt x="18" y="4"/>
                    </a:cubicBezTo>
                    <a:cubicBezTo>
                      <a:pt x="17" y="3"/>
                      <a:pt x="17" y="1"/>
                      <a:pt x="17" y="1"/>
                    </a:cubicBezTo>
                    <a:cubicBezTo>
                      <a:pt x="15" y="0"/>
                      <a:pt x="14" y="1"/>
                      <a:pt x="13" y="1"/>
                    </a:cubicBezTo>
                    <a:cubicBezTo>
                      <a:pt x="12" y="1"/>
                      <a:pt x="11" y="0"/>
                      <a:pt x="11" y="1"/>
                    </a:cubicBezTo>
                    <a:cubicBezTo>
                      <a:pt x="10" y="2"/>
                      <a:pt x="10" y="4"/>
                      <a:pt x="9" y="5"/>
                    </a:cubicBezTo>
                    <a:cubicBezTo>
                      <a:pt x="9" y="6"/>
                      <a:pt x="7" y="6"/>
                      <a:pt x="6" y="6"/>
                    </a:cubicBezTo>
                    <a:cubicBezTo>
                      <a:pt x="5" y="5"/>
                      <a:pt x="4" y="4"/>
                      <a:pt x="4" y="4"/>
                    </a:cubicBezTo>
                    <a:cubicBezTo>
                      <a:pt x="2" y="5"/>
                      <a:pt x="1" y="6"/>
                      <a:pt x="0" y="7"/>
                    </a:cubicBezTo>
                    <a:cubicBezTo>
                      <a:pt x="0" y="8"/>
                      <a:pt x="0" y="9"/>
                      <a:pt x="1" y="10"/>
                    </a:cubicBezTo>
                    <a:cubicBezTo>
                      <a:pt x="2" y="11"/>
                      <a:pt x="5" y="11"/>
                      <a:pt x="6" y="13"/>
                    </a:cubicBezTo>
                    <a:cubicBezTo>
                      <a:pt x="7" y="13"/>
                      <a:pt x="7" y="15"/>
                      <a:pt x="6" y="15"/>
                    </a:cubicBezTo>
                    <a:cubicBezTo>
                      <a:pt x="4" y="15"/>
                      <a:pt x="3" y="12"/>
                      <a:pt x="2" y="13"/>
                    </a:cubicBezTo>
                    <a:cubicBezTo>
                      <a:pt x="1" y="13"/>
                      <a:pt x="2" y="16"/>
                      <a:pt x="3" y="17"/>
                    </a:cubicBezTo>
                    <a:cubicBezTo>
                      <a:pt x="3" y="18"/>
                      <a:pt x="4" y="19"/>
                      <a:pt x="5" y="19"/>
                    </a:cubicBezTo>
                    <a:cubicBezTo>
                      <a:pt x="6" y="19"/>
                      <a:pt x="7" y="18"/>
                      <a:pt x="7" y="18"/>
                    </a:cubicBezTo>
                    <a:cubicBezTo>
                      <a:pt x="8" y="18"/>
                      <a:pt x="9" y="18"/>
                      <a:pt x="10" y="19"/>
                    </a:cubicBezTo>
                    <a:cubicBezTo>
                      <a:pt x="10" y="20"/>
                      <a:pt x="7" y="22"/>
                      <a:pt x="8" y="24"/>
                    </a:cubicBezTo>
                    <a:cubicBezTo>
                      <a:pt x="8" y="25"/>
                      <a:pt x="10" y="23"/>
                      <a:pt x="11" y="22"/>
                    </a:cubicBezTo>
                    <a:cubicBezTo>
                      <a:pt x="12" y="21"/>
                      <a:pt x="12" y="20"/>
                      <a:pt x="11" y="18"/>
                    </a:cubicBezTo>
                    <a:cubicBezTo>
                      <a:pt x="11" y="18"/>
                      <a:pt x="9" y="18"/>
                      <a:pt x="9" y="17"/>
                    </a:cubicBezTo>
                    <a:cubicBezTo>
                      <a:pt x="9" y="16"/>
                      <a:pt x="9" y="16"/>
                      <a:pt x="9" y="15"/>
                    </a:cubicBezTo>
                    <a:cubicBezTo>
                      <a:pt x="9" y="13"/>
                      <a:pt x="7" y="12"/>
                      <a:pt x="8" y="11"/>
                    </a:cubicBezTo>
                    <a:cubicBezTo>
                      <a:pt x="9" y="10"/>
                      <a:pt x="11" y="12"/>
                      <a:pt x="12" y="13"/>
                    </a:cubicBezTo>
                    <a:cubicBezTo>
                      <a:pt x="14" y="15"/>
                      <a:pt x="14" y="17"/>
                      <a:pt x="14" y="19"/>
                    </a:cubicBezTo>
                    <a:cubicBezTo>
                      <a:pt x="15" y="19"/>
                      <a:pt x="15" y="20"/>
                      <a:pt x="15" y="21"/>
                    </a:cubicBezTo>
                    <a:cubicBezTo>
                      <a:pt x="14" y="23"/>
                      <a:pt x="13" y="25"/>
                      <a:pt x="12" y="27"/>
                    </a:cubicBezTo>
                    <a:cubicBezTo>
                      <a:pt x="12" y="29"/>
                      <a:pt x="11" y="31"/>
                      <a:pt x="11" y="33"/>
                    </a:cubicBezTo>
                    <a:cubicBezTo>
                      <a:pt x="12" y="34"/>
                      <a:pt x="14" y="35"/>
                      <a:pt x="14" y="37"/>
                    </a:cubicBezTo>
                    <a:cubicBezTo>
                      <a:pt x="14" y="38"/>
                      <a:pt x="12" y="39"/>
                      <a:pt x="13" y="40"/>
                    </a:cubicBezTo>
                    <a:cubicBezTo>
                      <a:pt x="14" y="42"/>
                      <a:pt x="17" y="43"/>
                      <a:pt x="18" y="41"/>
                    </a:cubicBezTo>
                    <a:cubicBezTo>
                      <a:pt x="19" y="40"/>
                      <a:pt x="16" y="37"/>
                      <a:pt x="16" y="35"/>
                    </a:cubicBezTo>
                    <a:cubicBezTo>
                      <a:pt x="17" y="34"/>
                      <a:pt x="19" y="35"/>
                      <a:pt x="20" y="36"/>
                    </a:cubicBezTo>
                    <a:cubicBezTo>
                      <a:pt x="20" y="37"/>
                      <a:pt x="19" y="39"/>
                      <a:pt x="19" y="41"/>
                    </a:cubicBezTo>
                    <a:cubicBezTo>
                      <a:pt x="19" y="42"/>
                      <a:pt x="18" y="44"/>
                      <a:pt x="19" y="44"/>
                    </a:cubicBezTo>
                    <a:cubicBezTo>
                      <a:pt x="21" y="44"/>
                      <a:pt x="23" y="43"/>
                      <a:pt x="24" y="42"/>
                    </a:cubicBezTo>
                    <a:cubicBezTo>
                      <a:pt x="25" y="41"/>
                      <a:pt x="23" y="39"/>
                      <a:pt x="24" y="38"/>
                    </a:cubicBezTo>
                    <a:cubicBezTo>
                      <a:pt x="24" y="37"/>
                      <a:pt x="26" y="39"/>
                      <a:pt x="27" y="38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60" name="Freeform 2897"/>
              <p:cNvSpPr>
                <a:spLocks noChangeAspect="1"/>
              </p:cNvSpPr>
              <p:nvPr/>
            </p:nvSpPr>
            <p:spPr bwMode="auto">
              <a:xfrm>
                <a:off x="6615137" y="2477662"/>
                <a:ext cx="5593" cy="8307"/>
              </a:xfrm>
              <a:custGeom>
                <a:avLst/>
                <a:gdLst>
                  <a:gd name="T0" fmla="*/ 4 w 4"/>
                  <a:gd name="T1" fmla="*/ 0 h 8"/>
                  <a:gd name="T2" fmla="*/ 3 w 4"/>
                  <a:gd name="T3" fmla="*/ 10 h 8"/>
                  <a:gd name="T4" fmla="*/ 0 w 4"/>
                  <a:gd name="T5" fmla="*/ 9 h 8"/>
                  <a:gd name="T6" fmla="*/ 1 w 4"/>
                  <a:gd name="T7" fmla="*/ 1 h 8"/>
                  <a:gd name="T8" fmla="*/ 4 w 4"/>
                  <a:gd name="T9" fmla="*/ 0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8"/>
                  <a:gd name="T17" fmla="*/ 4 w 4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8">
                    <a:moveTo>
                      <a:pt x="3" y="0"/>
                    </a:moveTo>
                    <a:cubicBezTo>
                      <a:pt x="4" y="3"/>
                      <a:pt x="3" y="5"/>
                      <a:pt x="2" y="8"/>
                    </a:cubicBezTo>
                    <a:cubicBezTo>
                      <a:pt x="2" y="8"/>
                      <a:pt x="1" y="8"/>
                      <a:pt x="0" y="7"/>
                    </a:cubicBezTo>
                    <a:cubicBezTo>
                      <a:pt x="0" y="5"/>
                      <a:pt x="0" y="3"/>
                      <a:pt x="1" y="1"/>
                    </a:cubicBezTo>
                    <a:cubicBezTo>
                      <a:pt x="1" y="0"/>
                      <a:pt x="3" y="0"/>
                      <a:pt x="3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61" name="Freeform 2898"/>
              <p:cNvSpPr>
                <a:spLocks noChangeAspect="1"/>
              </p:cNvSpPr>
              <p:nvPr/>
            </p:nvSpPr>
            <p:spPr bwMode="auto">
              <a:xfrm>
                <a:off x="6574871" y="2416192"/>
                <a:ext cx="4474" cy="5815"/>
              </a:xfrm>
              <a:custGeom>
                <a:avLst/>
                <a:gdLst>
                  <a:gd name="T0" fmla="*/ 4 w 3"/>
                  <a:gd name="T1" fmla="*/ 0 h 6"/>
                  <a:gd name="T2" fmla="*/ 3 w 3"/>
                  <a:gd name="T3" fmla="*/ 7 h 6"/>
                  <a:gd name="T4" fmla="*/ 0 w 3"/>
                  <a:gd name="T5" fmla="*/ 7 h 6"/>
                  <a:gd name="T6" fmla="*/ 1 w 3"/>
                  <a:gd name="T7" fmla="*/ 1 h 6"/>
                  <a:gd name="T8" fmla="*/ 4 w 3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6"/>
                  <a:gd name="T17" fmla="*/ 3 w 3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6">
                    <a:moveTo>
                      <a:pt x="3" y="0"/>
                    </a:moveTo>
                    <a:cubicBezTo>
                      <a:pt x="3" y="2"/>
                      <a:pt x="3" y="4"/>
                      <a:pt x="2" y="6"/>
                    </a:cubicBezTo>
                    <a:cubicBezTo>
                      <a:pt x="2" y="6"/>
                      <a:pt x="0" y="6"/>
                      <a:pt x="0" y="6"/>
                    </a:cubicBezTo>
                    <a:cubicBezTo>
                      <a:pt x="0" y="4"/>
                      <a:pt x="0" y="2"/>
                      <a:pt x="1" y="1"/>
                    </a:cubicBezTo>
                    <a:cubicBezTo>
                      <a:pt x="1" y="0"/>
                      <a:pt x="2" y="0"/>
                      <a:pt x="3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62" name="Freeform 2899"/>
              <p:cNvSpPr>
                <a:spLocks noChangeAspect="1"/>
              </p:cNvSpPr>
              <p:nvPr/>
            </p:nvSpPr>
            <p:spPr bwMode="auto">
              <a:xfrm>
                <a:off x="6711328" y="2359707"/>
                <a:ext cx="6712" cy="8307"/>
              </a:xfrm>
              <a:custGeom>
                <a:avLst/>
                <a:gdLst>
                  <a:gd name="T0" fmla="*/ 2 w 5"/>
                  <a:gd name="T1" fmla="*/ 1 h 8"/>
                  <a:gd name="T2" fmla="*/ 0 w 5"/>
                  <a:gd name="T3" fmla="*/ 6 h 8"/>
                  <a:gd name="T4" fmla="*/ 2 w 5"/>
                  <a:gd name="T5" fmla="*/ 6 h 8"/>
                  <a:gd name="T6" fmla="*/ 2 w 5"/>
                  <a:gd name="T7" fmla="*/ 10 h 8"/>
                  <a:gd name="T8" fmla="*/ 6 w 5"/>
                  <a:gd name="T9" fmla="*/ 5 h 8"/>
                  <a:gd name="T10" fmla="*/ 4 w 5"/>
                  <a:gd name="T11" fmla="*/ 5 h 8"/>
                  <a:gd name="T12" fmla="*/ 2 w 5"/>
                  <a:gd name="T13" fmla="*/ 1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"/>
                  <a:gd name="T22" fmla="*/ 0 h 8"/>
                  <a:gd name="T23" fmla="*/ 5 w 5"/>
                  <a:gd name="T24" fmla="*/ 8 h 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" h="8">
                    <a:moveTo>
                      <a:pt x="2" y="1"/>
                    </a:moveTo>
                    <a:cubicBezTo>
                      <a:pt x="0" y="1"/>
                      <a:pt x="0" y="4"/>
                      <a:pt x="0" y="5"/>
                    </a:cubicBezTo>
                    <a:cubicBezTo>
                      <a:pt x="0" y="6"/>
                      <a:pt x="1" y="5"/>
                      <a:pt x="2" y="5"/>
                    </a:cubicBezTo>
                    <a:cubicBezTo>
                      <a:pt x="2" y="6"/>
                      <a:pt x="1" y="8"/>
                      <a:pt x="2" y="8"/>
                    </a:cubicBezTo>
                    <a:cubicBezTo>
                      <a:pt x="3" y="8"/>
                      <a:pt x="4" y="6"/>
                      <a:pt x="5" y="4"/>
                    </a:cubicBezTo>
                    <a:cubicBezTo>
                      <a:pt x="5" y="4"/>
                      <a:pt x="4" y="4"/>
                      <a:pt x="3" y="4"/>
                    </a:cubicBezTo>
                    <a:cubicBezTo>
                      <a:pt x="3" y="3"/>
                      <a:pt x="3" y="0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63" name="Freeform 2900"/>
              <p:cNvSpPr>
                <a:spLocks noChangeAspect="1"/>
              </p:cNvSpPr>
              <p:nvPr/>
            </p:nvSpPr>
            <p:spPr bwMode="auto">
              <a:xfrm>
                <a:off x="5788572" y="2788331"/>
                <a:ext cx="41383" cy="54824"/>
              </a:xfrm>
              <a:custGeom>
                <a:avLst/>
                <a:gdLst>
                  <a:gd name="T0" fmla="*/ 12 w 31"/>
                  <a:gd name="T1" fmla="*/ 1 h 55"/>
                  <a:gd name="T2" fmla="*/ 26 w 31"/>
                  <a:gd name="T3" fmla="*/ 24 h 55"/>
                  <a:gd name="T4" fmla="*/ 36 w 31"/>
                  <a:gd name="T5" fmla="*/ 44 h 55"/>
                  <a:gd name="T6" fmla="*/ 32 w 31"/>
                  <a:gd name="T7" fmla="*/ 59 h 55"/>
                  <a:gd name="T8" fmla="*/ 23 w 31"/>
                  <a:gd name="T9" fmla="*/ 64 h 55"/>
                  <a:gd name="T10" fmla="*/ 17 w 31"/>
                  <a:gd name="T11" fmla="*/ 66 h 55"/>
                  <a:gd name="T12" fmla="*/ 7 w 31"/>
                  <a:gd name="T13" fmla="*/ 56 h 55"/>
                  <a:gd name="T14" fmla="*/ 6 w 31"/>
                  <a:gd name="T15" fmla="*/ 47 h 55"/>
                  <a:gd name="T16" fmla="*/ 4 w 31"/>
                  <a:gd name="T17" fmla="*/ 37 h 55"/>
                  <a:gd name="T18" fmla="*/ 2 w 31"/>
                  <a:gd name="T19" fmla="*/ 31 h 55"/>
                  <a:gd name="T20" fmla="*/ 1 w 31"/>
                  <a:gd name="T21" fmla="*/ 24 h 55"/>
                  <a:gd name="T22" fmla="*/ 5 w 31"/>
                  <a:gd name="T23" fmla="*/ 31 h 55"/>
                  <a:gd name="T24" fmla="*/ 6 w 31"/>
                  <a:gd name="T25" fmla="*/ 19 h 55"/>
                  <a:gd name="T26" fmla="*/ 7 w 31"/>
                  <a:gd name="T27" fmla="*/ 10 h 55"/>
                  <a:gd name="T28" fmla="*/ 8 w 31"/>
                  <a:gd name="T29" fmla="*/ 6 h 55"/>
                  <a:gd name="T30" fmla="*/ 13 w 31"/>
                  <a:gd name="T31" fmla="*/ 8 h 55"/>
                  <a:gd name="T32" fmla="*/ 11 w 31"/>
                  <a:gd name="T33" fmla="*/ 4 h 55"/>
                  <a:gd name="T34" fmla="*/ 5 w 31"/>
                  <a:gd name="T35" fmla="*/ 1 h 55"/>
                  <a:gd name="T36" fmla="*/ 12 w 31"/>
                  <a:gd name="T37" fmla="*/ 1 h 5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31"/>
                  <a:gd name="T58" fmla="*/ 0 h 55"/>
                  <a:gd name="T59" fmla="*/ 31 w 31"/>
                  <a:gd name="T60" fmla="*/ 55 h 55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31" h="55">
                    <a:moveTo>
                      <a:pt x="10" y="1"/>
                    </a:moveTo>
                    <a:cubicBezTo>
                      <a:pt x="15" y="7"/>
                      <a:pt x="18" y="13"/>
                      <a:pt x="22" y="20"/>
                    </a:cubicBezTo>
                    <a:cubicBezTo>
                      <a:pt x="25" y="25"/>
                      <a:pt x="29" y="31"/>
                      <a:pt x="30" y="37"/>
                    </a:cubicBezTo>
                    <a:cubicBezTo>
                      <a:pt x="31" y="41"/>
                      <a:pt x="29" y="46"/>
                      <a:pt x="27" y="49"/>
                    </a:cubicBezTo>
                    <a:cubicBezTo>
                      <a:pt x="25" y="51"/>
                      <a:pt x="22" y="52"/>
                      <a:pt x="19" y="53"/>
                    </a:cubicBezTo>
                    <a:cubicBezTo>
                      <a:pt x="17" y="54"/>
                      <a:pt x="15" y="55"/>
                      <a:pt x="14" y="55"/>
                    </a:cubicBezTo>
                    <a:cubicBezTo>
                      <a:pt x="10" y="54"/>
                      <a:pt x="8" y="50"/>
                      <a:pt x="6" y="47"/>
                    </a:cubicBezTo>
                    <a:cubicBezTo>
                      <a:pt x="5" y="45"/>
                      <a:pt x="6" y="41"/>
                      <a:pt x="5" y="39"/>
                    </a:cubicBezTo>
                    <a:cubicBezTo>
                      <a:pt x="5" y="36"/>
                      <a:pt x="4" y="34"/>
                      <a:pt x="3" y="31"/>
                    </a:cubicBezTo>
                    <a:cubicBezTo>
                      <a:pt x="3" y="30"/>
                      <a:pt x="2" y="28"/>
                      <a:pt x="2" y="26"/>
                    </a:cubicBezTo>
                    <a:cubicBezTo>
                      <a:pt x="2" y="24"/>
                      <a:pt x="0" y="22"/>
                      <a:pt x="1" y="20"/>
                    </a:cubicBezTo>
                    <a:cubicBezTo>
                      <a:pt x="3" y="22"/>
                      <a:pt x="2" y="27"/>
                      <a:pt x="4" y="26"/>
                    </a:cubicBezTo>
                    <a:cubicBezTo>
                      <a:pt x="4" y="22"/>
                      <a:pt x="4" y="19"/>
                      <a:pt x="5" y="16"/>
                    </a:cubicBezTo>
                    <a:cubicBezTo>
                      <a:pt x="5" y="14"/>
                      <a:pt x="6" y="11"/>
                      <a:pt x="6" y="8"/>
                    </a:cubicBezTo>
                    <a:cubicBezTo>
                      <a:pt x="7" y="7"/>
                      <a:pt x="7" y="6"/>
                      <a:pt x="7" y="5"/>
                    </a:cubicBezTo>
                    <a:cubicBezTo>
                      <a:pt x="9" y="5"/>
                      <a:pt x="11" y="8"/>
                      <a:pt x="11" y="7"/>
                    </a:cubicBezTo>
                    <a:cubicBezTo>
                      <a:pt x="12" y="5"/>
                      <a:pt x="10" y="4"/>
                      <a:pt x="9" y="3"/>
                    </a:cubicBezTo>
                    <a:cubicBezTo>
                      <a:pt x="7" y="2"/>
                      <a:pt x="6" y="2"/>
                      <a:pt x="4" y="1"/>
                    </a:cubicBezTo>
                    <a:cubicBezTo>
                      <a:pt x="7" y="0"/>
                      <a:pt x="9" y="0"/>
                      <a:pt x="10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64" name="Freeform 2901"/>
              <p:cNvSpPr>
                <a:spLocks noChangeAspect="1"/>
              </p:cNvSpPr>
              <p:nvPr/>
            </p:nvSpPr>
            <p:spPr bwMode="auto">
              <a:xfrm>
                <a:off x="6026811" y="2826541"/>
                <a:ext cx="6712" cy="8307"/>
              </a:xfrm>
              <a:custGeom>
                <a:avLst/>
                <a:gdLst>
                  <a:gd name="T0" fmla="*/ 0 w 5"/>
                  <a:gd name="T1" fmla="*/ 1 h 8"/>
                  <a:gd name="T2" fmla="*/ 4 w 5"/>
                  <a:gd name="T3" fmla="*/ 1 h 8"/>
                  <a:gd name="T4" fmla="*/ 5 w 5"/>
                  <a:gd name="T5" fmla="*/ 9 h 8"/>
                  <a:gd name="T6" fmla="*/ 0 w 5"/>
                  <a:gd name="T7" fmla="*/ 6 h 8"/>
                  <a:gd name="T8" fmla="*/ 0 w 5"/>
                  <a:gd name="T9" fmla="*/ 1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8"/>
                  <a:gd name="T17" fmla="*/ 5 w 5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8">
                    <a:moveTo>
                      <a:pt x="0" y="1"/>
                    </a:moveTo>
                    <a:cubicBezTo>
                      <a:pt x="1" y="0"/>
                      <a:pt x="3" y="0"/>
                      <a:pt x="3" y="1"/>
                    </a:cubicBezTo>
                    <a:cubicBezTo>
                      <a:pt x="4" y="2"/>
                      <a:pt x="5" y="5"/>
                      <a:pt x="4" y="7"/>
                    </a:cubicBezTo>
                    <a:cubicBezTo>
                      <a:pt x="3" y="8"/>
                      <a:pt x="1" y="6"/>
                      <a:pt x="0" y="5"/>
                    </a:cubicBezTo>
                    <a:cubicBezTo>
                      <a:pt x="0" y="4"/>
                      <a:pt x="0" y="2"/>
                      <a:pt x="0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65" name="Freeform 2902"/>
              <p:cNvSpPr>
                <a:spLocks noChangeAspect="1"/>
              </p:cNvSpPr>
              <p:nvPr/>
            </p:nvSpPr>
            <p:spPr bwMode="auto">
              <a:xfrm>
                <a:off x="6053655" y="2846477"/>
                <a:ext cx="192381" cy="167794"/>
              </a:xfrm>
              <a:custGeom>
                <a:avLst/>
                <a:gdLst>
                  <a:gd name="T0" fmla="*/ 11 w 143"/>
                  <a:gd name="T1" fmla="*/ 1 h 168"/>
                  <a:gd name="T2" fmla="*/ 37 w 143"/>
                  <a:gd name="T3" fmla="*/ 11 h 168"/>
                  <a:gd name="T4" fmla="*/ 45 w 143"/>
                  <a:gd name="T5" fmla="*/ 22 h 168"/>
                  <a:gd name="T6" fmla="*/ 48 w 143"/>
                  <a:gd name="T7" fmla="*/ 29 h 168"/>
                  <a:gd name="T8" fmla="*/ 59 w 143"/>
                  <a:gd name="T9" fmla="*/ 36 h 168"/>
                  <a:gd name="T10" fmla="*/ 79 w 143"/>
                  <a:gd name="T11" fmla="*/ 55 h 168"/>
                  <a:gd name="T12" fmla="*/ 88 w 143"/>
                  <a:gd name="T13" fmla="*/ 61 h 168"/>
                  <a:gd name="T14" fmla="*/ 90 w 143"/>
                  <a:gd name="T15" fmla="*/ 59 h 168"/>
                  <a:gd name="T16" fmla="*/ 100 w 143"/>
                  <a:gd name="T17" fmla="*/ 65 h 168"/>
                  <a:gd name="T18" fmla="*/ 107 w 143"/>
                  <a:gd name="T19" fmla="*/ 72 h 168"/>
                  <a:gd name="T20" fmla="*/ 113 w 143"/>
                  <a:gd name="T21" fmla="*/ 82 h 168"/>
                  <a:gd name="T22" fmla="*/ 124 w 143"/>
                  <a:gd name="T23" fmla="*/ 90 h 168"/>
                  <a:gd name="T24" fmla="*/ 137 w 143"/>
                  <a:gd name="T25" fmla="*/ 97 h 168"/>
                  <a:gd name="T26" fmla="*/ 136 w 143"/>
                  <a:gd name="T27" fmla="*/ 103 h 168"/>
                  <a:gd name="T28" fmla="*/ 136 w 143"/>
                  <a:gd name="T29" fmla="*/ 115 h 168"/>
                  <a:gd name="T30" fmla="*/ 148 w 143"/>
                  <a:gd name="T31" fmla="*/ 130 h 168"/>
                  <a:gd name="T32" fmla="*/ 150 w 143"/>
                  <a:gd name="T33" fmla="*/ 139 h 168"/>
                  <a:gd name="T34" fmla="*/ 171 w 143"/>
                  <a:gd name="T35" fmla="*/ 151 h 168"/>
                  <a:gd name="T36" fmla="*/ 166 w 143"/>
                  <a:gd name="T37" fmla="*/ 185 h 168"/>
                  <a:gd name="T38" fmla="*/ 158 w 143"/>
                  <a:gd name="T39" fmla="*/ 192 h 168"/>
                  <a:gd name="T40" fmla="*/ 148 w 143"/>
                  <a:gd name="T41" fmla="*/ 194 h 168"/>
                  <a:gd name="T42" fmla="*/ 141 w 143"/>
                  <a:gd name="T43" fmla="*/ 194 h 168"/>
                  <a:gd name="T44" fmla="*/ 109 w 143"/>
                  <a:gd name="T45" fmla="*/ 160 h 168"/>
                  <a:gd name="T46" fmla="*/ 96 w 143"/>
                  <a:gd name="T47" fmla="*/ 144 h 168"/>
                  <a:gd name="T48" fmla="*/ 90 w 143"/>
                  <a:gd name="T49" fmla="*/ 131 h 168"/>
                  <a:gd name="T50" fmla="*/ 78 w 143"/>
                  <a:gd name="T51" fmla="*/ 106 h 168"/>
                  <a:gd name="T52" fmla="*/ 75 w 143"/>
                  <a:gd name="T53" fmla="*/ 99 h 168"/>
                  <a:gd name="T54" fmla="*/ 65 w 143"/>
                  <a:gd name="T55" fmla="*/ 95 h 168"/>
                  <a:gd name="T56" fmla="*/ 58 w 143"/>
                  <a:gd name="T57" fmla="*/ 72 h 168"/>
                  <a:gd name="T58" fmla="*/ 55 w 143"/>
                  <a:gd name="T59" fmla="*/ 67 h 168"/>
                  <a:gd name="T60" fmla="*/ 43 w 143"/>
                  <a:gd name="T61" fmla="*/ 59 h 168"/>
                  <a:gd name="T62" fmla="*/ 30 w 143"/>
                  <a:gd name="T63" fmla="*/ 36 h 168"/>
                  <a:gd name="T64" fmla="*/ 7 w 143"/>
                  <a:gd name="T65" fmla="*/ 18 h 168"/>
                  <a:gd name="T66" fmla="*/ 1 w 143"/>
                  <a:gd name="T67" fmla="*/ 1 h 168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43"/>
                  <a:gd name="T103" fmla="*/ 0 h 168"/>
                  <a:gd name="T104" fmla="*/ 143 w 143"/>
                  <a:gd name="T105" fmla="*/ 168 h 168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43" h="168">
                    <a:moveTo>
                      <a:pt x="1" y="1"/>
                    </a:moveTo>
                    <a:cubicBezTo>
                      <a:pt x="3" y="0"/>
                      <a:pt x="6" y="0"/>
                      <a:pt x="9" y="1"/>
                    </a:cubicBezTo>
                    <a:cubicBezTo>
                      <a:pt x="11" y="2"/>
                      <a:pt x="11" y="6"/>
                      <a:pt x="13" y="7"/>
                    </a:cubicBezTo>
                    <a:cubicBezTo>
                      <a:pt x="19" y="9"/>
                      <a:pt x="26" y="7"/>
                      <a:pt x="31" y="9"/>
                    </a:cubicBezTo>
                    <a:cubicBezTo>
                      <a:pt x="34" y="10"/>
                      <a:pt x="36" y="12"/>
                      <a:pt x="37" y="15"/>
                    </a:cubicBezTo>
                    <a:cubicBezTo>
                      <a:pt x="38" y="16"/>
                      <a:pt x="36" y="17"/>
                      <a:pt x="37" y="18"/>
                    </a:cubicBezTo>
                    <a:cubicBezTo>
                      <a:pt x="38" y="20"/>
                      <a:pt x="41" y="20"/>
                      <a:pt x="42" y="21"/>
                    </a:cubicBezTo>
                    <a:cubicBezTo>
                      <a:pt x="42" y="22"/>
                      <a:pt x="39" y="23"/>
                      <a:pt x="40" y="24"/>
                    </a:cubicBezTo>
                    <a:cubicBezTo>
                      <a:pt x="42" y="25"/>
                      <a:pt x="46" y="24"/>
                      <a:pt x="48" y="26"/>
                    </a:cubicBezTo>
                    <a:cubicBezTo>
                      <a:pt x="49" y="27"/>
                      <a:pt x="48" y="29"/>
                      <a:pt x="49" y="30"/>
                    </a:cubicBezTo>
                    <a:cubicBezTo>
                      <a:pt x="52" y="33"/>
                      <a:pt x="56" y="34"/>
                      <a:pt x="59" y="36"/>
                    </a:cubicBezTo>
                    <a:cubicBezTo>
                      <a:pt x="62" y="39"/>
                      <a:pt x="63" y="44"/>
                      <a:pt x="66" y="46"/>
                    </a:cubicBezTo>
                    <a:cubicBezTo>
                      <a:pt x="67" y="47"/>
                      <a:pt x="67" y="43"/>
                      <a:pt x="68" y="44"/>
                    </a:cubicBezTo>
                    <a:cubicBezTo>
                      <a:pt x="70" y="45"/>
                      <a:pt x="71" y="49"/>
                      <a:pt x="73" y="51"/>
                    </a:cubicBezTo>
                    <a:cubicBezTo>
                      <a:pt x="73" y="52"/>
                      <a:pt x="75" y="54"/>
                      <a:pt x="76" y="54"/>
                    </a:cubicBezTo>
                    <a:cubicBezTo>
                      <a:pt x="77" y="53"/>
                      <a:pt x="74" y="50"/>
                      <a:pt x="75" y="49"/>
                    </a:cubicBezTo>
                    <a:cubicBezTo>
                      <a:pt x="75" y="48"/>
                      <a:pt x="77" y="47"/>
                      <a:pt x="79" y="48"/>
                    </a:cubicBezTo>
                    <a:cubicBezTo>
                      <a:pt x="81" y="49"/>
                      <a:pt x="82" y="52"/>
                      <a:pt x="83" y="54"/>
                    </a:cubicBezTo>
                    <a:cubicBezTo>
                      <a:pt x="84" y="55"/>
                      <a:pt x="82" y="58"/>
                      <a:pt x="83" y="59"/>
                    </a:cubicBezTo>
                    <a:cubicBezTo>
                      <a:pt x="85" y="60"/>
                      <a:pt x="87" y="59"/>
                      <a:pt x="89" y="60"/>
                    </a:cubicBezTo>
                    <a:cubicBezTo>
                      <a:pt x="90" y="60"/>
                      <a:pt x="91" y="61"/>
                      <a:pt x="91" y="61"/>
                    </a:cubicBezTo>
                    <a:cubicBezTo>
                      <a:pt x="93" y="64"/>
                      <a:pt x="92" y="67"/>
                      <a:pt x="94" y="68"/>
                    </a:cubicBezTo>
                    <a:cubicBezTo>
                      <a:pt x="96" y="70"/>
                      <a:pt x="100" y="70"/>
                      <a:pt x="102" y="71"/>
                    </a:cubicBezTo>
                    <a:cubicBezTo>
                      <a:pt x="103" y="72"/>
                      <a:pt x="102" y="74"/>
                      <a:pt x="103" y="75"/>
                    </a:cubicBezTo>
                    <a:cubicBezTo>
                      <a:pt x="104" y="76"/>
                      <a:pt x="106" y="74"/>
                      <a:pt x="108" y="75"/>
                    </a:cubicBezTo>
                    <a:cubicBezTo>
                      <a:pt x="110" y="77"/>
                      <a:pt x="114" y="78"/>
                      <a:pt x="114" y="81"/>
                    </a:cubicBezTo>
                    <a:cubicBezTo>
                      <a:pt x="115" y="83"/>
                      <a:pt x="111" y="82"/>
                      <a:pt x="110" y="84"/>
                    </a:cubicBezTo>
                    <a:cubicBezTo>
                      <a:pt x="109" y="85"/>
                      <a:pt x="113" y="85"/>
                      <a:pt x="113" y="86"/>
                    </a:cubicBezTo>
                    <a:cubicBezTo>
                      <a:pt x="112" y="89"/>
                      <a:pt x="108" y="90"/>
                      <a:pt x="108" y="93"/>
                    </a:cubicBezTo>
                    <a:cubicBezTo>
                      <a:pt x="108" y="95"/>
                      <a:pt x="111" y="95"/>
                      <a:pt x="113" y="96"/>
                    </a:cubicBezTo>
                    <a:cubicBezTo>
                      <a:pt x="115" y="97"/>
                      <a:pt x="118" y="96"/>
                      <a:pt x="120" y="98"/>
                    </a:cubicBezTo>
                    <a:cubicBezTo>
                      <a:pt x="122" y="101"/>
                      <a:pt x="121" y="105"/>
                      <a:pt x="123" y="108"/>
                    </a:cubicBezTo>
                    <a:cubicBezTo>
                      <a:pt x="124" y="110"/>
                      <a:pt x="127" y="110"/>
                      <a:pt x="128" y="112"/>
                    </a:cubicBezTo>
                    <a:cubicBezTo>
                      <a:pt x="128" y="114"/>
                      <a:pt x="124" y="115"/>
                      <a:pt x="125" y="116"/>
                    </a:cubicBezTo>
                    <a:cubicBezTo>
                      <a:pt x="128" y="118"/>
                      <a:pt x="133" y="116"/>
                      <a:pt x="136" y="118"/>
                    </a:cubicBezTo>
                    <a:cubicBezTo>
                      <a:pt x="139" y="119"/>
                      <a:pt x="141" y="123"/>
                      <a:pt x="142" y="126"/>
                    </a:cubicBezTo>
                    <a:cubicBezTo>
                      <a:pt x="143" y="129"/>
                      <a:pt x="140" y="131"/>
                      <a:pt x="139" y="134"/>
                    </a:cubicBezTo>
                    <a:cubicBezTo>
                      <a:pt x="138" y="141"/>
                      <a:pt x="139" y="148"/>
                      <a:pt x="138" y="154"/>
                    </a:cubicBezTo>
                    <a:cubicBezTo>
                      <a:pt x="137" y="158"/>
                      <a:pt x="138" y="162"/>
                      <a:pt x="136" y="165"/>
                    </a:cubicBezTo>
                    <a:cubicBezTo>
                      <a:pt x="134" y="166"/>
                      <a:pt x="133" y="160"/>
                      <a:pt x="131" y="160"/>
                    </a:cubicBezTo>
                    <a:cubicBezTo>
                      <a:pt x="129" y="159"/>
                      <a:pt x="131" y="164"/>
                      <a:pt x="130" y="164"/>
                    </a:cubicBezTo>
                    <a:cubicBezTo>
                      <a:pt x="128" y="165"/>
                      <a:pt x="125" y="160"/>
                      <a:pt x="123" y="161"/>
                    </a:cubicBezTo>
                    <a:cubicBezTo>
                      <a:pt x="121" y="162"/>
                      <a:pt x="125" y="168"/>
                      <a:pt x="123" y="168"/>
                    </a:cubicBezTo>
                    <a:cubicBezTo>
                      <a:pt x="120" y="167"/>
                      <a:pt x="119" y="163"/>
                      <a:pt x="117" y="161"/>
                    </a:cubicBezTo>
                    <a:cubicBezTo>
                      <a:pt x="112" y="156"/>
                      <a:pt x="107" y="153"/>
                      <a:pt x="102" y="148"/>
                    </a:cubicBezTo>
                    <a:cubicBezTo>
                      <a:pt x="98" y="143"/>
                      <a:pt x="95" y="138"/>
                      <a:pt x="91" y="133"/>
                    </a:cubicBezTo>
                    <a:cubicBezTo>
                      <a:pt x="90" y="132"/>
                      <a:pt x="87" y="132"/>
                      <a:pt x="86" y="131"/>
                    </a:cubicBezTo>
                    <a:cubicBezTo>
                      <a:pt x="84" y="127"/>
                      <a:pt x="83" y="123"/>
                      <a:pt x="80" y="120"/>
                    </a:cubicBezTo>
                    <a:cubicBezTo>
                      <a:pt x="79" y="117"/>
                      <a:pt x="76" y="115"/>
                      <a:pt x="75" y="113"/>
                    </a:cubicBezTo>
                    <a:cubicBezTo>
                      <a:pt x="74" y="112"/>
                      <a:pt x="75" y="110"/>
                      <a:pt x="75" y="109"/>
                    </a:cubicBezTo>
                    <a:cubicBezTo>
                      <a:pt x="74" y="106"/>
                      <a:pt x="73" y="103"/>
                      <a:pt x="71" y="99"/>
                    </a:cubicBezTo>
                    <a:cubicBezTo>
                      <a:pt x="69" y="95"/>
                      <a:pt x="68" y="91"/>
                      <a:pt x="65" y="88"/>
                    </a:cubicBezTo>
                    <a:cubicBezTo>
                      <a:pt x="64" y="87"/>
                      <a:pt x="62" y="88"/>
                      <a:pt x="62" y="87"/>
                    </a:cubicBezTo>
                    <a:cubicBezTo>
                      <a:pt x="61" y="86"/>
                      <a:pt x="62" y="83"/>
                      <a:pt x="62" y="82"/>
                    </a:cubicBezTo>
                    <a:cubicBezTo>
                      <a:pt x="61" y="80"/>
                      <a:pt x="59" y="79"/>
                      <a:pt x="57" y="78"/>
                    </a:cubicBezTo>
                    <a:cubicBezTo>
                      <a:pt x="56" y="78"/>
                      <a:pt x="55" y="80"/>
                      <a:pt x="54" y="79"/>
                    </a:cubicBezTo>
                    <a:cubicBezTo>
                      <a:pt x="53" y="78"/>
                      <a:pt x="54" y="75"/>
                      <a:pt x="54" y="74"/>
                    </a:cubicBezTo>
                    <a:cubicBezTo>
                      <a:pt x="52" y="69"/>
                      <a:pt x="50" y="65"/>
                      <a:pt x="48" y="60"/>
                    </a:cubicBezTo>
                    <a:cubicBezTo>
                      <a:pt x="48" y="59"/>
                      <a:pt x="50" y="58"/>
                      <a:pt x="49" y="57"/>
                    </a:cubicBezTo>
                    <a:cubicBezTo>
                      <a:pt x="49" y="56"/>
                      <a:pt x="47" y="57"/>
                      <a:pt x="46" y="56"/>
                    </a:cubicBezTo>
                    <a:cubicBezTo>
                      <a:pt x="44" y="54"/>
                      <a:pt x="42" y="52"/>
                      <a:pt x="40" y="50"/>
                    </a:cubicBezTo>
                    <a:cubicBezTo>
                      <a:pt x="39" y="50"/>
                      <a:pt x="37" y="51"/>
                      <a:pt x="36" y="49"/>
                    </a:cubicBezTo>
                    <a:cubicBezTo>
                      <a:pt x="35" y="48"/>
                      <a:pt x="36" y="45"/>
                      <a:pt x="35" y="43"/>
                    </a:cubicBezTo>
                    <a:cubicBezTo>
                      <a:pt x="33" y="38"/>
                      <a:pt x="29" y="34"/>
                      <a:pt x="25" y="30"/>
                    </a:cubicBezTo>
                    <a:cubicBezTo>
                      <a:pt x="23" y="28"/>
                      <a:pt x="20" y="28"/>
                      <a:pt x="18" y="27"/>
                    </a:cubicBezTo>
                    <a:cubicBezTo>
                      <a:pt x="13" y="23"/>
                      <a:pt x="9" y="20"/>
                      <a:pt x="6" y="15"/>
                    </a:cubicBezTo>
                    <a:cubicBezTo>
                      <a:pt x="4" y="12"/>
                      <a:pt x="3" y="9"/>
                      <a:pt x="2" y="5"/>
                    </a:cubicBezTo>
                    <a:cubicBezTo>
                      <a:pt x="1" y="4"/>
                      <a:pt x="0" y="2"/>
                      <a:pt x="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66" name="Freeform 2903"/>
              <p:cNvSpPr>
                <a:spLocks noChangeAspect="1"/>
              </p:cNvSpPr>
              <p:nvPr/>
            </p:nvSpPr>
            <p:spPr bwMode="auto">
              <a:xfrm>
                <a:off x="6172214" y="2902131"/>
                <a:ext cx="22370" cy="13290"/>
              </a:xfrm>
              <a:custGeom>
                <a:avLst/>
                <a:gdLst>
                  <a:gd name="T0" fmla="*/ 2 w 17"/>
                  <a:gd name="T1" fmla="*/ 1 h 13"/>
                  <a:gd name="T2" fmla="*/ 13 w 17"/>
                  <a:gd name="T3" fmla="*/ 5 h 13"/>
                  <a:gd name="T4" fmla="*/ 13 w 17"/>
                  <a:gd name="T5" fmla="*/ 11 h 13"/>
                  <a:gd name="T6" fmla="*/ 20 w 17"/>
                  <a:gd name="T7" fmla="*/ 14 h 13"/>
                  <a:gd name="T8" fmla="*/ 18 w 17"/>
                  <a:gd name="T9" fmla="*/ 16 h 13"/>
                  <a:gd name="T10" fmla="*/ 8 w 17"/>
                  <a:gd name="T11" fmla="*/ 14 h 13"/>
                  <a:gd name="T12" fmla="*/ 7 w 17"/>
                  <a:gd name="T13" fmla="*/ 6 h 13"/>
                  <a:gd name="T14" fmla="*/ 2 w 17"/>
                  <a:gd name="T15" fmla="*/ 1 h 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7"/>
                  <a:gd name="T25" fmla="*/ 0 h 13"/>
                  <a:gd name="T26" fmla="*/ 17 w 17"/>
                  <a:gd name="T27" fmla="*/ 13 h 1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7" h="13">
                    <a:moveTo>
                      <a:pt x="2" y="1"/>
                    </a:moveTo>
                    <a:cubicBezTo>
                      <a:pt x="5" y="0"/>
                      <a:pt x="8" y="2"/>
                      <a:pt x="11" y="4"/>
                    </a:cubicBezTo>
                    <a:cubicBezTo>
                      <a:pt x="12" y="5"/>
                      <a:pt x="10" y="8"/>
                      <a:pt x="11" y="9"/>
                    </a:cubicBezTo>
                    <a:cubicBezTo>
                      <a:pt x="12" y="10"/>
                      <a:pt x="15" y="9"/>
                      <a:pt x="17" y="11"/>
                    </a:cubicBezTo>
                    <a:cubicBezTo>
                      <a:pt x="17" y="11"/>
                      <a:pt x="16" y="13"/>
                      <a:pt x="15" y="13"/>
                    </a:cubicBezTo>
                    <a:cubicBezTo>
                      <a:pt x="12" y="13"/>
                      <a:pt x="9" y="12"/>
                      <a:pt x="7" y="11"/>
                    </a:cubicBezTo>
                    <a:cubicBezTo>
                      <a:pt x="6" y="9"/>
                      <a:pt x="7" y="6"/>
                      <a:pt x="6" y="5"/>
                    </a:cubicBezTo>
                    <a:cubicBezTo>
                      <a:pt x="5" y="3"/>
                      <a:pt x="0" y="1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67" name="Freeform 2904"/>
              <p:cNvSpPr>
                <a:spLocks noChangeAspect="1"/>
              </p:cNvSpPr>
              <p:nvPr/>
            </p:nvSpPr>
            <p:spPr bwMode="auto">
              <a:xfrm>
                <a:off x="6166622" y="2897978"/>
                <a:ext cx="5593" cy="6645"/>
              </a:xfrm>
              <a:custGeom>
                <a:avLst/>
                <a:gdLst>
                  <a:gd name="T0" fmla="*/ 3 w 4"/>
                  <a:gd name="T1" fmla="*/ 0 h 6"/>
                  <a:gd name="T2" fmla="*/ 5 w 4"/>
                  <a:gd name="T3" fmla="*/ 3 h 6"/>
                  <a:gd name="T4" fmla="*/ 3 w 4"/>
                  <a:gd name="T5" fmla="*/ 7 h 6"/>
                  <a:gd name="T6" fmla="*/ 0 w 4"/>
                  <a:gd name="T7" fmla="*/ 4 h 6"/>
                  <a:gd name="T8" fmla="*/ 3 w 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6"/>
                  <a:gd name="T17" fmla="*/ 4 w 4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6">
                    <a:moveTo>
                      <a:pt x="2" y="0"/>
                    </a:moveTo>
                    <a:cubicBezTo>
                      <a:pt x="3" y="0"/>
                      <a:pt x="4" y="1"/>
                      <a:pt x="4" y="2"/>
                    </a:cubicBezTo>
                    <a:cubicBezTo>
                      <a:pt x="4" y="3"/>
                      <a:pt x="3" y="5"/>
                      <a:pt x="2" y="5"/>
                    </a:cubicBezTo>
                    <a:cubicBezTo>
                      <a:pt x="1" y="6"/>
                      <a:pt x="0" y="4"/>
                      <a:pt x="0" y="3"/>
                    </a:cubicBezTo>
                    <a:cubicBezTo>
                      <a:pt x="0" y="2"/>
                      <a:pt x="1" y="0"/>
                      <a:pt x="2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68" name="Freeform 2905"/>
              <p:cNvSpPr>
                <a:spLocks noChangeAspect="1"/>
              </p:cNvSpPr>
              <p:nvPr/>
            </p:nvSpPr>
            <p:spPr bwMode="auto">
              <a:xfrm>
                <a:off x="6228140" y="2947818"/>
                <a:ext cx="31317" cy="24090"/>
              </a:xfrm>
              <a:custGeom>
                <a:avLst/>
                <a:gdLst>
                  <a:gd name="T0" fmla="*/ 13 w 23"/>
                  <a:gd name="T1" fmla="*/ 1 h 24"/>
                  <a:gd name="T2" fmla="*/ 18 w 23"/>
                  <a:gd name="T3" fmla="*/ 17 h 24"/>
                  <a:gd name="T4" fmla="*/ 24 w 23"/>
                  <a:gd name="T5" fmla="*/ 21 h 24"/>
                  <a:gd name="T6" fmla="*/ 26 w 23"/>
                  <a:gd name="T7" fmla="*/ 29 h 24"/>
                  <a:gd name="T8" fmla="*/ 12 w 23"/>
                  <a:gd name="T9" fmla="*/ 21 h 24"/>
                  <a:gd name="T10" fmla="*/ 10 w 23"/>
                  <a:gd name="T11" fmla="*/ 12 h 24"/>
                  <a:gd name="T12" fmla="*/ 0 w 23"/>
                  <a:gd name="T13" fmla="*/ 11 h 24"/>
                  <a:gd name="T14" fmla="*/ 6 w 23"/>
                  <a:gd name="T15" fmla="*/ 4 h 24"/>
                  <a:gd name="T16" fmla="*/ 11 w 23"/>
                  <a:gd name="T17" fmla="*/ 4 h 24"/>
                  <a:gd name="T18" fmla="*/ 13 w 23"/>
                  <a:gd name="T19" fmla="*/ 1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3"/>
                  <a:gd name="T31" fmla="*/ 0 h 24"/>
                  <a:gd name="T32" fmla="*/ 23 w 23"/>
                  <a:gd name="T33" fmla="*/ 24 h 2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3" h="24">
                    <a:moveTo>
                      <a:pt x="11" y="1"/>
                    </a:moveTo>
                    <a:cubicBezTo>
                      <a:pt x="13" y="5"/>
                      <a:pt x="13" y="10"/>
                      <a:pt x="15" y="14"/>
                    </a:cubicBezTo>
                    <a:cubicBezTo>
                      <a:pt x="16" y="16"/>
                      <a:pt x="20" y="15"/>
                      <a:pt x="20" y="17"/>
                    </a:cubicBezTo>
                    <a:cubicBezTo>
                      <a:pt x="22" y="19"/>
                      <a:pt x="23" y="24"/>
                      <a:pt x="21" y="24"/>
                    </a:cubicBezTo>
                    <a:cubicBezTo>
                      <a:pt x="17" y="24"/>
                      <a:pt x="13" y="20"/>
                      <a:pt x="10" y="17"/>
                    </a:cubicBezTo>
                    <a:cubicBezTo>
                      <a:pt x="9" y="16"/>
                      <a:pt x="10" y="12"/>
                      <a:pt x="8" y="10"/>
                    </a:cubicBezTo>
                    <a:cubicBezTo>
                      <a:pt x="6" y="8"/>
                      <a:pt x="1" y="11"/>
                      <a:pt x="0" y="9"/>
                    </a:cubicBezTo>
                    <a:cubicBezTo>
                      <a:pt x="0" y="6"/>
                      <a:pt x="3" y="4"/>
                      <a:pt x="5" y="3"/>
                    </a:cubicBezTo>
                    <a:cubicBezTo>
                      <a:pt x="6" y="2"/>
                      <a:pt x="8" y="4"/>
                      <a:pt x="9" y="3"/>
                    </a:cubicBezTo>
                    <a:cubicBezTo>
                      <a:pt x="10" y="3"/>
                      <a:pt x="11" y="0"/>
                      <a:pt x="1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69" name="Freeform 2906"/>
              <p:cNvSpPr>
                <a:spLocks noChangeAspect="1"/>
              </p:cNvSpPr>
              <p:nvPr/>
            </p:nvSpPr>
            <p:spPr bwMode="auto">
              <a:xfrm>
                <a:off x="6270643" y="2961940"/>
                <a:ext cx="14540" cy="13290"/>
              </a:xfrm>
              <a:custGeom>
                <a:avLst/>
                <a:gdLst>
                  <a:gd name="T0" fmla="*/ 4 w 11"/>
                  <a:gd name="T1" fmla="*/ 2 h 13"/>
                  <a:gd name="T2" fmla="*/ 12 w 11"/>
                  <a:gd name="T3" fmla="*/ 7 h 13"/>
                  <a:gd name="T4" fmla="*/ 6 w 11"/>
                  <a:gd name="T5" fmla="*/ 15 h 13"/>
                  <a:gd name="T6" fmla="*/ 5 w 11"/>
                  <a:gd name="T7" fmla="*/ 11 h 13"/>
                  <a:gd name="T8" fmla="*/ 1 w 11"/>
                  <a:gd name="T9" fmla="*/ 15 h 13"/>
                  <a:gd name="T10" fmla="*/ 4 w 11"/>
                  <a:gd name="T11" fmla="*/ 2 h 1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"/>
                  <a:gd name="T19" fmla="*/ 0 h 13"/>
                  <a:gd name="T20" fmla="*/ 11 w 11"/>
                  <a:gd name="T21" fmla="*/ 13 h 1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" h="13">
                    <a:moveTo>
                      <a:pt x="3" y="2"/>
                    </a:moveTo>
                    <a:cubicBezTo>
                      <a:pt x="5" y="0"/>
                      <a:pt x="9" y="3"/>
                      <a:pt x="10" y="6"/>
                    </a:cubicBezTo>
                    <a:cubicBezTo>
                      <a:pt x="11" y="9"/>
                      <a:pt x="8" y="11"/>
                      <a:pt x="5" y="12"/>
                    </a:cubicBezTo>
                    <a:cubicBezTo>
                      <a:pt x="4" y="13"/>
                      <a:pt x="5" y="10"/>
                      <a:pt x="4" y="9"/>
                    </a:cubicBezTo>
                    <a:cubicBezTo>
                      <a:pt x="3" y="9"/>
                      <a:pt x="1" y="13"/>
                      <a:pt x="1" y="12"/>
                    </a:cubicBezTo>
                    <a:cubicBezTo>
                      <a:pt x="0" y="8"/>
                      <a:pt x="0" y="3"/>
                      <a:pt x="3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70" name="Freeform 2907"/>
              <p:cNvSpPr>
                <a:spLocks noChangeAspect="1"/>
              </p:cNvSpPr>
              <p:nvPr/>
            </p:nvSpPr>
            <p:spPr bwMode="auto">
              <a:xfrm>
                <a:off x="6063721" y="2886350"/>
                <a:ext cx="16779" cy="9138"/>
              </a:xfrm>
              <a:custGeom>
                <a:avLst/>
                <a:gdLst>
                  <a:gd name="T0" fmla="*/ 5 w 13"/>
                  <a:gd name="T1" fmla="*/ 0 h 9"/>
                  <a:gd name="T2" fmla="*/ 10 w 13"/>
                  <a:gd name="T3" fmla="*/ 6 h 9"/>
                  <a:gd name="T4" fmla="*/ 15 w 13"/>
                  <a:gd name="T5" fmla="*/ 7 h 9"/>
                  <a:gd name="T6" fmla="*/ 12 w 13"/>
                  <a:gd name="T7" fmla="*/ 11 h 9"/>
                  <a:gd name="T8" fmla="*/ 7 w 13"/>
                  <a:gd name="T9" fmla="*/ 7 h 9"/>
                  <a:gd name="T10" fmla="*/ 0 w 13"/>
                  <a:gd name="T11" fmla="*/ 5 h 9"/>
                  <a:gd name="T12" fmla="*/ 5 w 13"/>
                  <a:gd name="T13" fmla="*/ 0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3"/>
                  <a:gd name="T22" fmla="*/ 0 h 9"/>
                  <a:gd name="T23" fmla="*/ 13 w 13"/>
                  <a:gd name="T24" fmla="*/ 9 h 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3" h="9">
                    <a:moveTo>
                      <a:pt x="4" y="0"/>
                    </a:moveTo>
                    <a:cubicBezTo>
                      <a:pt x="6" y="0"/>
                      <a:pt x="7" y="4"/>
                      <a:pt x="9" y="5"/>
                    </a:cubicBezTo>
                    <a:cubicBezTo>
                      <a:pt x="10" y="6"/>
                      <a:pt x="12" y="5"/>
                      <a:pt x="13" y="6"/>
                    </a:cubicBezTo>
                    <a:cubicBezTo>
                      <a:pt x="13" y="7"/>
                      <a:pt x="12" y="9"/>
                      <a:pt x="10" y="9"/>
                    </a:cubicBezTo>
                    <a:cubicBezTo>
                      <a:pt x="9" y="9"/>
                      <a:pt x="8" y="6"/>
                      <a:pt x="6" y="6"/>
                    </a:cubicBezTo>
                    <a:cubicBezTo>
                      <a:pt x="4" y="5"/>
                      <a:pt x="1" y="6"/>
                      <a:pt x="0" y="4"/>
                    </a:cubicBezTo>
                    <a:cubicBezTo>
                      <a:pt x="0" y="3"/>
                      <a:pt x="2" y="0"/>
                      <a:pt x="4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71" name="Freeform 2908"/>
              <p:cNvSpPr>
                <a:spLocks noChangeAspect="1"/>
              </p:cNvSpPr>
              <p:nvPr/>
            </p:nvSpPr>
            <p:spPr bwMode="auto">
              <a:xfrm>
                <a:off x="6088328" y="2905455"/>
                <a:ext cx="17895" cy="16614"/>
              </a:xfrm>
              <a:custGeom>
                <a:avLst/>
                <a:gdLst>
                  <a:gd name="T0" fmla="*/ 7 w 13"/>
                  <a:gd name="T1" fmla="*/ 1 h 17"/>
                  <a:gd name="T2" fmla="*/ 14 w 13"/>
                  <a:gd name="T3" fmla="*/ 9 h 17"/>
                  <a:gd name="T4" fmla="*/ 12 w 13"/>
                  <a:gd name="T5" fmla="*/ 19 h 17"/>
                  <a:gd name="T6" fmla="*/ 7 w 13"/>
                  <a:gd name="T7" fmla="*/ 12 h 17"/>
                  <a:gd name="T8" fmla="*/ 0 w 13"/>
                  <a:gd name="T9" fmla="*/ 2 h 17"/>
                  <a:gd name="T10" fmla="*/ 6 w 13"/>
                  <a:gd name="T11" fmla="*/ 2 h 17"/>
                  <a:gd name="T12" fmla="*/ 7 w 13"/>
                  <a:gd name="T13" fmla="*/ 1 h 1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3"/>
                  <a:gd name="T22" fmla="*/ 0 h 17"/>
                  <a:gd name="T23" fmla="*/ 13 w 13"/>
                  <a:gd name="T24" fmla="*/ 17 h 1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3" h="17">
                    <a:moveTo>
                      <a:pt x="6" y="1"/>
                    </a:moveTo>
                    <a:cubicBezTo>
                      <a:pt x="9" y="2"/>
                      <a:pt x="11" y="5"/>
                      <a:pt x="11" y="8"/>
                    </a:cubicBezTo>
                    <a:cubicBezTo>
                      <a:pt x="12" y="10"/>
                      <a:pt x="13" y="15"/>
                      <a:pt x="10" y="16"/>
                    </a:cubicBezTo>
                    <a:cubicBezTo>
                      <a:pt x="8" y="17"/>
                      <a:pt x="7" y="12"/>
                      <a:pt x="6" y="10"/>
                    </a:cubicBezTo>
                    <a:cubicBezTo>
                      <a:pt x="4" y="7"/>
                      <a:pt x="1" y="5"/>
                      <a:pt x="0" y="2"/>
                    </a:cubicBezTo>
                    <a:cubicBezTo>
                      <a:pt x="0" y="1"/>
                      <a:pt x="3" y="2"/>
                      <a:pt x="5" y="2"/>
                    </a:cubicBezTo>
                    <a:cubicBezTo>
                      <a:pt x="5" y="2"/>
                      <a:pt x="6" y="0"/>
                      <a:pt x="6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72" name="Freeform 2909"/>
              <p:cNvSpPr>
                <a:spLocks noChangeAspect="1"/>
              </p:cNvSpPr>
              <p:nvPr/>
            </p:nvSpPr>
            <p:spPr bwMode="auto">
              <a:xfrm>
                <a:off x="6117409" y="2941173"/>
                <a:ext cx="11186" cy="13290"/>
              </a:xfrm>
              <a:custGeom>
                <a:avLst/>
                <a:gdLst>
                  <a:gd name="T0" fmla="*/ 1 w 9"/>
                  <a:gd name="T1" fmla="*/ 1 h 13"/>
                  <a:gd name="T2" fmla="*/ 9 w 9"/>
                  <a:gd name="T3" fmla="*/ 12 h 13"/>
                  <a:gd name="T4" fmla="*/ 8 w 9"/>
                  <a:gd name="T5" fmla="*/ 15 h 13"/>
                  <a:gd name="T6" fmla="*/ 2 w 9"/>
                  <a:gd name="T7" fmla="*/ 10 h 13"/>
                  <a:gd name="T8" fmla="*/ 1 w 9"/>
                  <a:gd name="T9" fmla="*/ 4 h 13"/>
                  <a:gd name="T10" fmla="*/ 1 w 9"/>
                  <a:gd name="T11" fmla="*/ 1 h 1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9"/>
                  <a:gd name="T19" fmla="*/ 0 h 13"/>
                  <a:gd name="T20" fmla="*/ 9 w 9"/>
                  <a:gd name="T21" fmla="*/ 13 h 1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9" h="13">
                    <a:moveTo>
                      <a:pt x="1" y="1"/>
                    </a:moveTo>
                    <a:cubicBezTo>
                      <a:pt x="4" y="3"/>
                      <a:pt x="6" y="7"/>
                      <a:pt x="8" y="10"/>
                    </a:cubicBezTo>
                    <a:cubicBezTo>
                      <a:pt x="9" y="11"/>
                      <a:pt x="8" y="13"/>
                      <a:pt x="7" y="12"/>
                    </a:cubicBezTo>
                    <a:cubicBezTo>
                      <a:pt x="5" y="12"/>
                      <a:pt x="4" y="10"/>
                      <a:pt x="2" y="8"/>
                    </a:cubicBezTo>
                    <a:cubicBezTo>
                      <a:pt x="1" y="7"/>
                      <a:pt x="1" y="5"/>
                      <a:pt x="1" y="3"/>
                    </a:cubicBezTo>
                    <a:cubicBezTo>
                      <a:pt x="0" y="2"/>
                      <a:pt x="0" y="0"/>
                      <a:pt x="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73" name="Oval 2910"/>
              <p:cNvSpPr>
                <a:spLocks noChangeAspect="1" noChangeArrowheads="1"/>
              </p:cNvSpPr>
              <p:nvPr/>
            </p:nvSpPr>
            <p:spPr bwMode="auto">
              <a:xfrm>
                <a:off x="6214717" y="2932867"/>
                <a:ext cx="5593" cy="4153"/>
              </a:xfrm>
              <a:prstGeom prst="ellipse">
                <a:avLst/>
              </a:pr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74" name="Freeform 2911"/>
              <p:cNvSpPr>
                <a:spLocks noChangeAspect="1"/>
              </p:cNvSpPr>
              <p:nvPr/>
            </p:nvSpPr>
            <p:spPr bwMode="auto">
              <a:xfrm>
                <a:off x="6144253" y="2969417"/>
                <a:ext cx="6712" cy="6645"/>
              </a:xfrm>
              <a:custGeom>
                <a:avLst/>
                <a:gdLst>
                  <a:gd name="T0" fmla="*/ 5 w 5"/>
                  <a:gd name="T1" fmla="*/ 3 h 7"/>
                  <a:gd name="T2" fmla="*/ 5 w 5"/>
                  <a:gd name="T3" fmla="*/ 7 h 7"/>
                  <a:gd name="T4" fmla="*/ 1 w 5"/>
                  <a:gd name="T5" fmla="*/ 5 h 7"/>
                  <a:gd name="T6" fmla="*/ 1 w 5"/>
                  <a:gd name="T7" fmla="*/ 0 h 7"/>
                  <a:gd name="T8" fmla="*/ 5 w 5"/>
                  <a:gd name="T9" fmla="*/ 3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7"/>
                  <a:gd name="T17" fmla="*/ 5 w 5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7">
                    <a:moveTo>
                      <a:pt x="4" y="3"/>
                    </a:moveTo>
                    <a:cubicBezTo>
                      <a:pt x="4" y="4"/>
                      <a:pt x="5" y="6"/>
                      <a:pt x="4" y="6"/>
                    </a:cubicBezTo>
                    <a:cubicBezTo>
                      <a:pt x="3" y="7"/>
                      <a:pt x="2" y="5"/>
                      <a:pt x="1" y="4"/>
                    </a:cubicBezTo>
                    <a:cubicBezTo>
                      <a:pt x="1" y="3"/>
                      <a:pt x="0" y="1"/>
                      <a:pt x="1" y="0"/>
                    </a:cubicBezTo>
                    <a:cubicBezTo>
                      <a:pt x="2" y="0"/>
                      <a:pt x="3" y="2"/>
                      <a:pt x="4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75" name="Freeform 2912"/>
              <p:cNvSpPr>
                <a:spLocks noChangeAspect="1"/>
              </p:cNvSpPr>
              <p:nvPr/>
            </p:nvSpPr>
            <p:spPr bwMode="auto">
              <a:xfrm>
                <a:off x="6137541" y="2961940"/>
                <a:ext cx="6712" cy="5815"/>
              </a:xfrm>
              <a:custGeom>
                <a:avLst/>
                <a:gdLst>
                  <a:gd name="T0" fmla="*/ 5 w 5"/>
                  <a:gd name="T1" fmla="*/ 4 h 6"/>
                  <a:gd name="T2" fmla="*/ 5 w 5"/>
                  <a:gd name="T3" fmla="*/ 7 h 6"/>
                  <a:gd name="T4" fmla="*/ 2 w 5"/>
                  <a:gd name="T5" fmla="*/ 5 h 6"/>
                  <a:gd name="T6" fmla="*/ 1 w 5"/>
                  <a:gd name="T7" fmla="*/ 1 h 6"/>
                  <a:gd name="T8" fmla="*/ 5 w 5"/>
                  <a:gd name="T9" fmla="*/ 4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6"/>
                  <a:gd name="T17" fmla="*/ 5 w 5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6">
                    <a:moveTo>
                      <a:pt x="4" y="3"/>
                    </a:moveTo>
                    <a:cubicBezTo>
                      <a:pt x="4" y="4"/>
                      <a:pt x="5" y="5"/>
                      <a:pt x="4" y="6"/>
                    </a:cubicBezTo>
                    <a:cubicBezTo>
                      <a:pt x="3" y="6"/>
                      <a:pt x="2" y="5"/>
                      <a:pt x="2" y="4"/>
                    </a:cubicBezTo>
                    <a:cubicBezTo>
                      <a:pt x="1" y="3"/>
                      <a:pt x="0" y="1"/>
                      <a:pt x="1" y="1"/>
                    </a:cubicBezTo>
                    <a:cubicBezTo>
                      <a:pt x="2" y="0"/>
                      <a:pt x="3" y="2"/>
                      <a:pt x="4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76" name="Freeform 2913"/>
              <p:cNvSpPr>
                <a:spLocks noChangeAspect="1"/>
              </p:cNvSpPr>
              <p:nvPr/>
            </p:nvSpPr>
            <p:spPr bwMode="auto">
              <a:xfrm>
                <a:off x="6131949" y="2957786"/>
                <a:ext cx="5593" cy="4153"/>
              </a:xfrm>
              <a:custGeom>
                <a:avLst/>
                <a:gdLst>
                  <a:gd name="T0" fmla="*/ 4 w 4"/>
                  <a:gd name="T1" fmla="*/ 3 h 4"/>
                  <a:gd name="T2" fmla="*/ 4 w 4"/>
                  <a:gd name="T3" fmla="*/ 5 h 4"/>
                  <a:gd name="T4" fmla="*/ 1 w 4"/>
                  <a:gd name="T5" fmla="*/ 4 h 4"/>
                  <a:gd name="T6" fmla="*/ 1 w 4"/>
                  <a:gd name="T7" fmla="*/ 0 h 4"/>
                  <a:gd name="T8" fmla="*/ 4 w 4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3" y="2"/>
                    </a:moveTo>
                    <a:cubicBezTo>
                      <a:pt x="3" y="3"/>
                      <a:pt x="4" y="4"/>
                      <a:pt x="3" y="4"/>
                    </a:cubicBezTo>
                    <a:cubicBezTo>
                      <a:pt x="2" y="4"/>
                      <a:pt x="1" y="3"/>
                      <a:pt x="1" y="3"/>
                    </a:cubicBezTo>
                    <a:cubicBezTo>
                      <a:pt x="1" y="2"/>
                      <a:pt x="0" y="0"/>
                      <a:pt x="1" y="0"/>
                    </a:cubicBezTo>
                    <a:cubicBezTo>
                      <a:pt x="2" y="0"/>
                      <a:pt x="2" y="1"/>
                      <a:pt x="3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77" name="Freeform 2914"/>
              <p:cNvSpPr>
                <a:spLocks noChangeAspect="1"/>
              </p:cNvSpPr>
              <p:nvPr/>
            </p:nvSpPr>
            <p:spPr bwMode="auto">
              <a:xfrm>
                <a:off x="6092801" y="2895487"/>
                <a:ext cx="4474" cy="2493"/>
              </a:xfrm>
              <a:custGeom>
                <a:avLst/>
                <a:gdLst>
                  <a:gd name="T0" fmla="*/ 3 w 3"/>
                  <a:gd name="T1" fmla="*/ 1 h 3"/>
                  <a:gd name="T2" fmla="*/ 4 w 3"/>
                  <a:gd name="T3" fmla="*/ 3 h 3"/>
                  <a:gd name="T4" fmla="*/ 1 w 3"/>
                  <a:gd name="T5" fmla="*/ 2 h 3"/>
                  <a:gd name="T6" fmla="*/ 0 w 3"/>
                  <a:gd name="T7" fmla="*/ 0 h 3"/>
                  <a:gd name="T8" fmla="*/ 3 w 3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1"/>
                    </a:moveTo>
                    <a:cubicBezTo>
                      <a:pt x="3" y="2"/>
                      <a:pt x="3" y="3"/>
                      <a:pt x="3" y="3"/>
                    </a:cubicBezTo>
                    <a:cubicBezTo>
                      <a:pt x="2" y="3"/>
                      <a:pt x="1" y="3"/>
                      <a:pt x="1" y="2"/>
                    </a:cubicBezTo>
                    <a:cubicBezTo>
                      <a:pt x="0" y="2"/>
                      <a:pt x="0" y="1"/>
                      <a:pt x="0" y="0"/>
                    </a:cubicBezTo>
                    <a:cubicBezTo>
                      <a:pt x="1" y="0"/>
                      <a:pt x="2" y="1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78" name="Freeform 2915"/>
              <p:cNvSpPr>
                <a:spLocks noChangeAspect="1"/>
              </p:cNvSpPr>
              <p:nvPr/>
            </p:nvSpPr>
            <p:spPr bwMode="auto">
              <a:xfrm>
                <a:off x="6220309" y="2927052"/>
                <a:ext cx="1119" cy="3322"/>
              </a:xfrm>
              <a:custGeom>
                <a:avLst/>
                <a:gdLst>
                  <a:gd name="T0" fmla="*/ 1 w 1"/>
                  <a:gd name="T1" fmla="*/ 3 h 3"/>
                  <a:gd name="T2" fmla="*/ 0 w 1"/>
                  <a:gd name="T3" fmla="*/ 4 h 3"/>
                  <a:gd name="T4" fmla="*/ 0 w 1"/>
                  <a:gd name="T5" fmla="*/ 3 h 3"/>
                  <a:gd name="T6" fmla="*/ 1 w 1"/>
                  <a:gd name="T7" fmla="*/ 1 h 3"/>
                  <a:gd name="T8" fmla="*/ 1 w 1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3"/>
                  <a:gd name="T17" fmla="*/ 1 w 1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3">
                    <a:moveTo>
                      <a:pt x="1" y="2"/>
                    </a:moveTo>
                    <a:cubicBezTo>
                      <a:pt x="1" y="3"/>
                      <a:pt x="1" y="3"/>
                      <a:pt x="0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1"/>
                    </a:cubicBezTo>
                    <a:cubicBezTo>
                      <a:pt x="1" y="1"/>
                      <a:pt x="1" y="2"/>
                      <a:pt x="1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79" name="Freeform 2916"/>
              <p:cNvSpPr>
                <a:spLocks noChangeAspect="1"/>
              </p:cNvSpPr>
              <p:nvPr/>
            </p:nvSpPr>
            <p:spPr bwMode="auto">
              <a:xfrm>
                <a:off x="6219192" y="2912099"/>
                <a:ext cx="2237" cy="3322"/>
              </a:xfrm>
              <a:custGeom>
                <a:avLst/>
                <a:gdLst>
                  <a:gd name="T0" fmla="*/ 2 w 2"/>
                  <a:gd name="T1" fmla="*/ 3 h 3"/>
                  <a:gd name="T2" fmla="*/ 1 w 2"/>
                  <a:gd name="T3" fmla="*/ 4 h 3"/>
                  <a:gd name="T4" fmla="*/ 0 w 2"/>
                  <a:gd name="T5" fmla="*/ 3 h 3"/>
                  <a:gd name="T6" fmla="*/ 1 w 2"/>
                  <a:gd name="T7" fmla="*/ 1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2" y="3"/>
                      <a:pt x="1" y="3"/>
                    </a:cubicBezTo>
                    <a:cubicBezTo>
                      <a:pt x="1" y="3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1"/>
                    </a:cubicBezTo>
                    <a:cubicBezTo>
                      <a:pt x="2" y="1"/>
                      <a:pt x="2" y="1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80" name="Freeform 2917"/>
              <p:cNvSpPr>
                <a:spLocks noChangeAspect="1"/>
              </p:cNvSpPr>
              <p:nvPr/>
            </p:nvSpPr>
            <p:spPr bwMode="auto">
              <a:xfrm>
                <a:off x="6212480" y="2910438"/>
                <a:ext cx="3356" cy="1661"/>
              </a:xfrm>
              <a:custGeom>
                <a:avLst/>
                <a:gdLst>
                  <a:gd name="T0" fmla="*/ 1 w 3"/>
                  <a:gd name="T1" fmla="*/ 2 h 2"/>
                  <a:gd name="T2" fmla="*/ 0 w 3"/>
                  <a:gd name="T3" fmla="*/ 2 h 2"/>
                  <a:gd name="T4" fmla="*/ 1 w 3"/>
                  <a:gd name="T5" fmla="*/ 1 h 2"/>
                  <a:gd name="T6" fmla="*/ 2 w 3"/>
                  <a:gd name="T7" fmla="*/ 1 h 2"/>
                  <a:gd name="T8" fmla="*/ 1 w 3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1" y="2"/>
                    </a:moveTo>
                    <a:cubicBezTo>
                      <a:pt x="1" y="2"/>
                      <a:pt x="1" y="2"/>
                      <a:pt x="0" y="2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1" y="1"/>
                      <a:pt x="2" y="0"/>
                      <a:pt x="2" y="1"/>
                    </a:cubicBezTo>
                    <a:cubicBezTo>
                      <a:pt x="3" y="2"/>
                      <a:pt x="2" y="2"/>
                      <a:pt x="1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81" name="Freeform 2918"/>
              <p:cNvSpPr>
                <a:spLocks noChangeAspect="1"/>
              </p:cNvSpPr>
              <p:nvPr/>
            </p:nvSpPr>
            <p:spPr bwMode="auto">
              <a:xfrm>
                <a:off x="6211362" y="2914592"/>
                <a:ext cx="3356" cy="1661"/>
              </a:xfrm>
              <a:custGeom>
                <a:avLst/>
                <a:gdLst>
                  <a:gd name="T0" fmla="*/ 2 w 3"/>
                  <a:gd name="T1" fmla="*/ 2 h 2"/>
                  <a:gd name="T2" fmla="*/ 1 w 3"/>
                  <a:gd name="T3" fmla="*/ 2 h 2"/>
                  <a:gd name="T4" fmla="*/ 1 w 3"/>
                  <a:gd name="T5" fmla="*/ 1 h 2"/>
                  <a:gd name="T6" fmla="*/ 3 w 3"/>
                  <a:gd name="T7" fmla="*/ 1 h 2"/>
                  <a:gd name="T8" fmla="*/ 2 w 3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2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2" y="1"/>
                      <a:pt x="2" y="0"/>
                      <a:pt x="3" y="1"/>
                    </a:cubicBezTo>
                    <a:cubicBezTo>
                      <a:pt x="3" y="1"/>
                      <a:pt x="2" y="2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82" name="Freeform 2919"/>
              <p:cNvSpPr>
                <a:spLocks noChangeAspect="1"/>
              </p:cNvSpPr>
              <p:nvPr/>
            </p:nvSpPr>
            <p:spPr bwMode="auto">
              <a:xfrm>
                <a:off x="6112934" y="2902963"/>
                <a:ext cx="2237" cy="3322"/>
              </a:xfrm>
              <a:custGeom>
                <a:avLst/>
                <a:gdLst>
                  <a:gd name="T0" fmla="*/ 2 w 2"/>
                  <a:gd name="T1" fmla="*/ 1 h 3"/>
                  <a:gd name="T2" fmla="*/ 2 w 2"/>
                  <a:gd name="T3" fmla="*/ 4 h 3"/>
                  <a:gd name="T4" fmla="*/ 1 w 2"/>
                  <a:gd name="T5" fmla="*/ 3 h 3"/>
                  <a:gd name="T6" fmla="*/ 0 w 2"/>
                  <a:gd name="T7" fmla="*/ 1 h 3"/>
                  <a:gd name="T8" fmla="*/ 2 w 2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1"/>
                    </a:moveTo>
                    <a:cubicBezTo>
                      <a:pt x="2" y="2"/>
                      <a:pt x="2" y="2"/>
                      <a:pt x="2" y="3"/>
                    </a:cubicBezTo>
                    <a:cubicBezTo>
                      <a:pt x="1" y="3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1" y="0"/>
                      <a:pt x="1" y="1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83" name="Freeform 2920"/>
              <p:cNvSpPr>
                <a:spLocks noChangeAspect="1"/>
              </p:cNvSpPr>
              <p:nvPr/>
            </p:nvSpPr>
            <p:spPr bwMode="auto">
              <a:xfrm>
                <a:off x="6090565" y="2896317"/>
                <a:ext cx="1119" cy="1661"/>
              </a:xfrm>
              <a:custGeom>
                <a:avLst/>
                <a:gdLst>
                  <a:gd name="T0" fmla="*/ 1 w 1"/>
                  <a:gd name="T1" fmla="*/ 1 h 2"/>
                  <a:gd name="T2" fmla="*/ 1 w 1"/>
                  <a:gd name="T3" fmla="*/ 2 h 2"/>
                  <a:gd name="T4" fmla="*/ 0 w 1"/>
                  <a:gd name="T5" fmla="*/ 2 h 2"/>
                  <a:gd name="T6" fmla="*/ 0 w 1"/>
                  <a:gd name="T7" fmla="*/ 1 h 2"/>
                  <a:gd name="T8" fmla="*/ 1 w 1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2"/>
                  <a:gd name="T17" fmla="*/ 1 w 1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2">
                    <a:moveTo>
                      <a:pt x="1" y="1"/>
                    </a:moveTo>
                    <a:cubicBezTo>
                      <a:pt x="1" y="1"/>
                      <a:pt x="1" y="2"/>
                      <a:pt x="1" y="2"/>
                    </a:cubicBezTo>
                    <a:cubicBezTo>
                      <a:pt x="1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1" y="1"/>
                      <a:pt x="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84" name="Freeform 2921"/>
              <p:cNvSpPr>
                <a:spLocks noChangeAspect="1"/>
              </p:cNvSpPr>
              <p:nvPr/>
            </p:nvSpPr>
            <p:spPr bwMode="auto">
              <a:xfrm>
                <a:off x="6080498" y="2897148"/>
                <a:ext cx="3356" cy="2493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3 h 2"/>
                  <a:gd name="T4" fmla="*/ 0 w 2"/>
                  <a:gd name="T5" fmla="*/ 3 h 2"/>
                  <a:gd name="T6" fmla="*/ 0 w 2"/>
                  <a:gd name="T7" fmla="*/ 2 h 2"/>
                  <a:gd name="T8" fmla="*/ 2 w 2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1" y="1"/>
                    </a:moveTo>
                    <a:cubicBezTo>
                      <a:pt x="1" y="1"/>
                      <a:pt x="2" y="2"/>
                      <a:pt x="1" y="2"/>
                    </a:cubicBezTo>
                    <a:cubicBezTo>
                      <a:pt x="1" y="2"/>
                      <a:pt x="1" y="2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1"/>
                      <a:pt x="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85" name="Freeform 2922"/>
              <p:cNvSpPr>
                <a:spLocks noChangeAspect="1"/>
              </p:cNvSpPr>
              <p:nvPr/>
            </p:nvSpPr>
            <p:spPr bwMode="auto">
              <a:xfrm>
                <a:off x="6112934" y="2932867"/>
                <a:ext cx="2237" cy="3322"/>
              </a:xfrm>
              <a:custGeom>
                <a:avLst/>
                <a:gdLst>
                  <a:gd name="T0" fmla="*/ 2 w 2"/>
                  <a:gd name="T1" fmla="*/ 3 h 3"/>
                  <a:gd name="T2" fmla="*/ 1 w 2"/>
                  <a:gd name="T3" fmla="*/ 4 h 3"/>
                  <a:gd name="T4" fmla="*/ 0 w 2"/>
                  <a:gd name="T5" fmla="*/ 3 h 3"/>
                  <a:gd name="T6" fmla="*/ 1 w 2"/>
                  <a:gd name="T7" fmla="*/ 1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3"/>
                      <a:pt x="2" y="3"/>
                      <a:pt x="1" y="3"/>
                    </a:cubicBezTo>
                    <a:cubicBezTo>
                      <a:pt x="1" y="3"/>
                      <a:pt x="0" y="2"/>
                      <a:pt x="0" y="2"/>
                    </a:cubicBezTo>
                    <a:cubicBezTo>
                      <a:pt x="1" y="1"/>
                      <a:pt x="1" y="0"/>
                      <a:pt x="1" y="1"/>
                    </a:cubicBezTo>
                    <a:cubicBezTo>
                      <a:pt x="2" y="1"/>
                      <a:pt x="2" y="2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86" name="Freeform 2923"/>
              <p:cNvSpPr>
                <a:spLocks noChangeAspect="1"/>
              </p:cNvSpPr>
              <p:nvPr/>
            </p:nvSpPr>
            <p:spPr bwMode="auto">
              <a:xfrm>
                <a:off x="6114053" y="2929545"/>
                <a:ext cx="4474" cy="2493"/>
              </a:xfrm>
              <a:custGeom>
                <a:avLst/>
                <a:gdLst>
                  <a:gd name="T0" fmla="*/ 3 w 3"/>
                  <a:gd name="T1" fmla="*/ 1 h 3"/>
                  <a:gd name="T2" fmla="*/ 3 w 3"/>
                  <a:gd name="T3" fmla="*/ 2 h 3"/>
                  <a:gd name="T4" fmla="*/ 1 w 3"/>
                  <a:gd name="T5" fmla="*/ 2 h 3"/>
                  <a:gd name="T6" fmla="*/ 0 w 3"/>
                  <a:gd name="T7" fmla="*/ 1 h 3"/>
                  <a:gd name="T8" fmla="*/ 3 w 3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1"/>
                    </a:moveTo>
                    <a:cubicBezTo>
                      <a:pt x="2" y="1"/>
                      <a:pt x="3" y="2"/>
                      <a:pt x="2" y="2"/>
                    </a:cubicBezTo>
                    <a:cubicBezTo>
                      <a:pt x="2" y="3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1" y="0"/>
                      <a:pt x="2" y="1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87" name="Freeform 2924"/>
              <p:cNvSpPr>
                <a:spLocks noChangeAspect="1"/>
              </p:cNvSpPr>
              <p:nvPr/>
            </p:nvSpPr>
            <p:spPr bwMode="auto">
              <a:xfrm>
                <a:off x="6114053" y="2925390"/>
                <a:ext cx="5593" cy="1661"/>
              </a:xfrm>
              <a:custGeom>
                <a:avLst/>
                <a:gdLst>
                  <a:gd name="T0" fmla="*/ 4 w 4"/>
                  <a:gd name="T1" fmla="*/ 1 h 2"/>
                  <a:gd name="T2" fmla="*/ 5 w 4"/>
                  <a:gd name="T3" fmla="*/ 1 h 2"/>
                  <a:gd name="T4" fmla="*/ 3 w 4"/>
                  <a:gd name="T5" fmla="*/ 2 h 2"/>
                  <a:gd name="T6" fmla="*/ 1 w 4"/>
                  <a:gd name="T7" fmla="*/ 1 h 2"/>
                  <a:gd name="T8" fmla="*/ 4 w 4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2"/>
                  <a:gd name="T17" fmla="*/ 4 w 4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2">
                    <a:moveTo>
                      <a:pt x="3" y="1"/>
                    </a:moveTo>
                    <a:cubicBezTo>
                      <a:pt x="3" y="1"/>
                      <a:pt x="4" y="1"/>
                      <a:pt x="4" y="1"/>
                    </a:cubicBezTo>
                    <a:cubicBezTo>
                      <a:pt x="4" y="2"/>
                      <a:pt x="3" y="2"/>
                      <a:pt x="2" y="2"/>
                    </a:cubicBezTo>
                    <a:cubicBezTo>
                      <a:pt x="2" y="2"/>
                      <a:pt x="0" y="2"/>
                      <a:pt x="1" y="1"/>
                    </a:cubicBezTo>
                    <a:cubicBezTo>
                      <a:pt x="1" y="0"/>
                      <a:pt x="2" y="1"/>
                      <a:pt x="3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88" name="Freeform 2925"/>
              <p:cNvSpPr>
                <a:spLocks noChangeAspect="1"/>
              </p:cNvSpPr>
              <p:nvPr/>
            </p:nvSpPr>
            <p:spPr bwMode="auto">
              <a:xfrm>
                <a:off x="6201295" y="2905455"/>
                <a:ext cx="11186" cy="4153"/>
              </a:xfrm>
              <a:custGeom>
                <a:avLst/>
                <a:gdLst>
                  <a:gd name="T0" fmla="*/ 5 w 8"/>
                  <a:gd name="T1" fmla="*/ 5 h 4"/>
                  <a:gd name="T2" fmla="*/ 0 w 8"/>
                  <a:gd name="T3" fmla="*/ 3 h 4"/>
                  <a:gd name="T4" fmla="*/ 6 w 8"/>
                  <a:gd name="T5" fmla="*/ 0 h 4"/>
                  <a:gd name="T6" fmla="*/ 10 w 8"/>
                  <a:gd name="T7" fmla="*/ 3 h 4"/>
                  <a:gd name="T8" fmla="*/ 5 w 8"/>
                  <a:gd name="T9" fmla="*/ 5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4"/>
                  <a:gd name="T17" fmla="*/ 8 w 8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4">
                    <a:moveTo>
                      <a:pt x="4" y="4"/>
                    </a:moveTo>
                    <a:cubicBezTo>
                      <a:pt x="3" y="3"/>
                      <a:pt x="1" y="3"/>
                      <a:pt x="0" y="2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6" y="0"/>
                      <a:pt x="6" y="1"/>
                      <a:pt x="8" y="2"/>
                    </a:cubicBezTo>
                    <a:cubicBezTo>
                      <a:pt x="6" y="4"/>
                      <a:pt x="5" y="4"/>
                      <a:pt x="4" y="4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89" name="Freeform 2926"/>
              <p:cNvSpPr>
                <a:spLocks noChangeAspect="1"/>
              </p:cNvSpPr>
              <p:nvPr/>
            </p:nvSpPr>
            <p:spPr bwMode="auto">
              <a:xfrm>
                <a:off x="6228140" y="3011780"/>
                <a:ext cx="159944" cy="43195"/>
              </a:xfrm>
              <a:custGeom>
                <a:avLst/>
                <a:gdLst>
                  <a:gd name="T0" fmla="*/ 11 w 119"/>
                  <a:gd name="T1" fmla="*/ 2 h 43"/>
                  <a:gd name="T2" fmla="*/ 25 w 119"/>
                  <a:gd name="T3" fmla="*/ 4 h 43"/>
                  <a:gd name="T4" fmla="*/ 25 w 119"/>
                  <a:gd name="T5" fmla="*/ 1 h 43"/>
                  <a:gd name="T6" fmla="*/ 32 w 119"/>
                  <a:gd name="T7" fmla="*/ 2 h 43"/>
                  <a:gd name="T8" fmla="*/ 38 w 119"/>
                  <a:gd name="T9" fmla="*/ 7 h 43"/>
                  <a:gd name="T10" fmla="*/ 48 w 119"/>
                  <a:gd name="T11" fmla="*/ 8 h 43"/>
                  <a:gd name="T12" fmla="*/ 53 w 119"/>
                  <a:gd name="T13" fmla="*/ 17 h 43"/>
                  <a:gd name="T14" fmla="*/ 83 w 119"/>
                  <a:gd name="T15" fmla="*/ 19 h 43"/>
                  <a:gd name="T16" fmla="*/ 85 w 119"/>
                  <a:gd name="T17" fmla="*/ 12 h 43"/>
                  <a:gd name="T18" fmla="*/ 97 w 119"/>
                  <a:gd name="T19" fmla="*/ 16 h 43"/>
                  <a:gd name="T20" fmla="*/ 111 w 119"/>
                  <a:gd name="T21" fmla="*/ 21 h 43"/>
                  <a:gd name="T22" fmla="*/ 113 w 119"/>
                  <a:gd name="T23" fmla="*/ 30 h 43"/>
                  <a:gd name="T24" fmla="*/ 126 w 119"/>
                  <a:gd name="T25" fmla="*/ 34 h 43"/>
                  <a:gd name="T26" fmla="*/ 137 w 119"/>
                  <a:gd name="T27" fmla="*/ 34 h 43"/>
                  <a:gd name="T28" fmla="*/ 137 w 119"/>
                  <a:gd name="T29" fmla="*/ 46 h 43"/>
                  <a:gd name="T30" fmla="*/ 141 w 119"/>
                  <a:gd name="T31" fmla="*/ 52 h 43"/>
                  <a:gd name="T32" fmla="*/ 120 w 119"/>
                  <a:gd name="T33" fmla="*/ 46 h 43"/>
                  <a:gd name="T34" fmla="*/ 113 w 119"/>
                  <a:gd name="T35" fmla="*/ 47 h 43"/>
                  <a:gd name="T36" fmla="*/ 94 w 119"/>
                  <a:gd name="T37" fmla="*/ 44 h 43"/>
                  <a:gd name="T38" fmla="*/ 89 w 119"/>
                  <a:gd name="T39" fmla="*/ 45 h 43"/>
                  <a:gd name="T40" fmla="*/ 71 w 119"/>
                  <a:gd name="T41" fmla="*/ 36 h 43"/>
                  <a:gd name="T42" fmla="*/ 56 w 119"/>
                  <a:gd name="T43" fmla="*/ 34 h 43"/>
                  <a:gd name="T44" fmla="*/ 42 w 119"/>
                  <a:gd name="T45" fmla="*/ 35 h 43"/>
                  <a:gd name="T46" fmla="*/ 28 w 119"/>
                  <a:gd name="T47" fmla="*/ 28 h 43"/>
                  <a:gd name="T48" fmla="*/ 17 w 119"/>
                  <a:gd name="T49" fmla="*/ 27 h 43"/>
                  <a:gd name="T50" fmla="*/ 17 w 119"/>
                  <a:gd name="T51" fmla="*/ 21 h 43"/>
                  <a:gd name="T52" fmla="*/ 1 w 119"/>
                  <a:gd name="T53" fmla="*/ 15 h 43"/>
                  <a:gd name="T54" fmla="*/ 10 w 119"/>
                  <a:gd name="T55" fmla="*/ 6 h 43"/>
                  <a:gd name="T56" fmla="*/ 11 w 119"/>
                  <a:gd name="T57" fmla="*/ 2 h 43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19"/>
                  <a:gd name="T88" fmla="*/ 0 h 43"/>
                  <a:gd name="T89" fmla="*/ 119 w 119"/>
                  <a:gd name="T90" fmla="*/ 43 h 43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19" h="43">
                    <a:moveTo>
                      <a:pt x="9" y="2"/>
                    </a:moveTo>
                    <a:cubicBezTo>
                      <a:pt x="13" y="1"/>
                      <a:pt x="17" y="4"/>
                      <a:pt x="21" y="3"/>
                    </a:cubicBezTo>
                    <a:cubicBezTo>
                      <a:pt x="22" y="3"/>
                      <a:pt x="21" y="1"/>
                      <a:pt x="21" y="1"/>
                    </a:cubicBezTo>
                    <a:cubicBezTo>
                      <a:pt x="23" y="0"/>
                      <a:pt x="25" y="1"/>
                      <a:pt x="27" y="2"/>
                    </a:cubicBezTo>
                    <a:cubicBezTo>
                      <a:pt x="29" y="3"/>
                      <a:pt x="30" y="6"/>
                      <a:pt x="32" y="6"/>
                    </a:cubicBezTo>
                    <a:cubicBezTo>
                      <a:pt x="35" y="7"/>
                      <a:pt x="38" y="6"/>
                      <a:pt x="40" y="7"/>
                    </a:cubicBezTo>
                    <a:cubicBezTo>
                      <a:pt x="42" y="9"/>
                      <a:pt x="41" y="14"/>
                      <a:pt x="44" y="14"/>
                    </a:cubicBezTo>
                    <a:cubicBezTo>
                      <a:pt x="52" y="17"/>
                      <a:pt x="61" y="17"/>
                      <a:pt x="69" y="16"/>
                    </a:cubicBezTo>
                    <a:cubicBezTo>
                      <a:pt x="71" y="15"/>
                      <a:pt x="68" y="10"/>
                      <a:pt x="71" y="10"/>
                    </a:cubicBezTo>
                    <a:cubicBezTo>
                      <a:pt x="74" y="9"/>
                      <a:pt x="78" y="11"/>
                      <a:pt x="81" y="13"/>
                    </a:cubicBezTo>
                    <a:cubicBezTo>
                      <a:pt x="85" y="14"/>
                      <a:pt x="89" y="15"/>
                      <a:pt x="92" y="17"/>
                    </a:cubicBezTo>
                    <a:cubicBezTo>
                      <a:pt x="94" y="19"/>
                      <a:pt x="92" y="23"/>
                      <a:pt x="94" y="25"/>
                    </a:cubicBezTo>
                    <a:cubicBezTo>
                      <a:pt x="97" y="27"/>
                      <a:pt x="101" y="28"/>
                      <a:pt x="105" y="28"/>
                    </a:cubicBezTo>
                    <a:cubicBezTo>
                      <a:pt x="108" y="29"/>
                      <a:pt x="112" y="26"/>
                      <a:pt x="114" y="28"/>
                    </a:cubicBezTo>
                    <a:cubicBezTo>
                      <a:pt x="116" y="31"/>
                      <a:pt x="114" y="35"/>
                      <a:pt x="114" y="38"/>
                    </a:cubicBezTo>
                    <a:cubicBezTo>
                      <a:pt x="115" y="40"/>
                      <a:pt x="119" y="43"/>
                      <a:pt x="117" y="43"/>
                    </a:cubicBezTo>
                    <a:cubicBezTo>
                      <a:pt x="111" y="43"/>
                      <a:pt x="106" y="39"/>
                      <a:pt x="100" y="38"/>
                    </a:cubicBezTo>
                    <a:cubicBezTo>
                      <a:pt x="98" y="38"/>
                      <a:pt x="96" y="39"/>
                      <a:pt x="94" y="39"/>
                    </a:cubicBezTo>
                    <a:cubicBezTo>
                      <a:pt x="88" y="39"/>
                      <a:pt x="84" y="37"/>
                      <a:pt x="78" y="36"/>
                    </a:cubicBezTo>
                    <a:cubicBezTo>
                      <a:pt x="77" y="36"/>
                      <a:pt x="75" y="38"/>
                      <a:pt x="74" y="37"/>
                    </a:cubicBezTo>
                    <a:cubicBezTo>
                      <a:pt x="69" y="36"/>
                      <a:pt x="64" y="32"/>
                      <a:pt x="59" y="30"/>
                    </a:cubicBezTo>
                    <a:cubicBezTo>
                      <a:pt x="55" y="29"/>
                      <a:pt x="51" y="28"/>
                      <a:pt x="47" y="28"/>
                    </a:cubicBezTo>
                    <a:cubicBezTo>
                      <a:pt x="43" y="28"/>
                      <a:pt x="39" y="30"/>
                      <a:pt x="35" y="29"/>
                    </a:cubicBezTo>
                    <a:cubicBezTo>
                      <a:pt x="31" y="28"/>
                      <a:pt x="27" y="25"/>
                      <a:pt x="23" y="23"/>
                    </a:cubicBezTo>
                    <a:cubicBezTo>
                      <a:pt x="20" y="22"/>
                      <a:pt x="17" y="23"/>
                      <a:pt x="14" y="22"/>
                    </a:cubicBezTo>
                    <a:cubicBezTo>
                      <a:pt x="13" y="21"/>
                      <a:pt x="16" y="18"/>
                      <a:pt x="14" y="17"/>
                    </a:cubicBezTo>
                    <a:cubicBezTo>
                      <a:pt x="11" y="14"/>
                      <a:pt x="4" y="16"/>
                      <a:pt x="1" y="12"/>
                    </a:cubicBezTo>
                    <a:cubicBezTo>
                      <a:pt x="0" y="9"/>
                      <a:pt x="6" y="8"/>
                      <a:pt x="8" y="5"/>
                    </a:cubicBezTo>
                    <a:cubicBezTo>
                      <a:pt x="9" y="4"/>
                      <a:pt x="7" y="2"/>
                      <a:pt x="9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90" name="Freeform 2927"/>
              <p:cNvSpPr>
                <a:spLocks noChangeAspect="1"/>
              </p:cNvSpPr>
              <p:nvPr/>
            </p:nvSpPr>
            <p:spPr bwMode="auto">
              <a:xfrm>
                <a:off x="6290775" y="2866414"/>
                <a:ext cx="177841" cy="121277"/>
              </a:xfrm>
              <a:custGeom>
                <a:avLst/>
                <a:gdLst>
                  <a:gd name="T0" fmla="*/ 136 w 133"/>
                  <a:gd name="T1" fmla="*/ 11 h 122"/>
                  <a:gd name="T2" fmla="*/ 135 w 133"/>
                  <a:gd name="T3" fmla="*/ 19 h 122"/>
                  <a:gd name="T4" fmla="*/ 134 w 133"/>
                  <a:gd name="T5" fmla="*/ 36 h 122"/>
                  <a:gd name="T6" fmla="*/ 153 w 133"/>
                  <a:gd name="T7" fmla="*/ 54 h 122"/>
                  <a:gd name="T8" fmla="*/ 151 w 133"/>
                  <a:gd name="T9" fmla="*/ 60 h 122"/>
                  <a:gd name="T10" fmla="*/ 140 w 133"/>
                  <a:gd name="T11" fmla="*/ 61 h 122"/>
                  <a:gd name="T12" fmla="*/ 133 w 133"/>
                  <a:gd name="T13" fmla="*/ 69 h 122"/>
                  <a:gd name="T14" fmla="*/ 132 w 133"/>
                  <a:gd name="T15" fmla="*/ 87 h 122"/>
                  <a:gd name="T16" fmla="*/ 115 w 133"/>
                  <a:gd name="T17" fmla="*/ 102 h 122"/>
                  <a:gd name="T18" fmla="*/ 118 w 133"/>
                  <a:gd name="T19" fmla="*/ 118 h 122"/>
                  <a:gd name="T20" fmla="*/ 115 w 133"/>
                  <a:gd name="T21" fmla="*/ 126 h 122"/>
                  <a:gd name="T22" fmla="*/ 106 w 133"/>
                  <a:gd name="T23" fmla="*/ 136 h 122"/>
                  <a:gd name="T24" fmla="*/ 87 w 133"/>
                  <a:gd name="T25" fmla="*/ 134 h 122"/>
                  <a:gd name="T26" fmla="*/ 74 w 133"/>
                  <a:gd name="T27" fmla="*/ 134 h 122"/>
                  <a:gd name="T28" fmla="*/ 69 w 133"/>
                  <a:gd name="T29" fmla="*/ 132 h 122"/>
                  <a:gd name="T30" fmla="*/ 63 w 133"/>
                  <a:gd name="T31" fmla="*/ 132 h 122"/>
                  <a:gd name="T32" fmla="*/ 45 w 133"/>
                  <a:gd name="T33" fmla="*/ 135 h 122"/>
                  <a:gd name="T34" fmla="*/ 45 w 133"/>
                  <a:gd name="T35" fmla="*/ 123 h 122"/>
                  <a:gd name="T36" fmla="*/ 29 w 133"/>
                  <a:gd name="T37" fmla="*/ 124 h 122"/>
                  <a:gd name="T38" fmla="*/ 22 w 133"/>
                  <a:gd name="T39" fmla="*/ 112 h 122"/>
                  <a:gd name="T40" fmla="*/ 18 w 133"/>
                  <a:gd name="T41" fmla="*/ 96 h 122"/>
                  <a:gd name="T42" fmla="*/ 12 w 133"/>
                  <a:gd name="T43" fmla="*/ 87 h 122"/>
                  <a:gd name="T44" fmla="*/ 7 w 133"/>
                  <a:gd name="T45" fmla="*/ 79 h 122"/>
                  <a:gd name="T46" fmla="*/ 1 w 133"/>
                  <a:gd name="T47" fmla="*/ 66 h 122"/>
                  <a:gd name="T48" fmla="*/ 10 w 133"/>
                  <a:gd name="T49" fmla="*/ 38 h 122"/>
                  <a:gd name="T50" fmla="*/ 17 w 133"/>
                  <a:gd name="T51" fmla="*/ 48 h 122"/>
                  <a:gd name="T52" fmla="*/ 30 w 133"/>
                  <a:gd name="T53" fmla="*/ 59 h 122"/>
                  <a:gd name="T54" fmla="*/ 48 w 133"/>
                  <a:gd name="T55" fmla="*/ 57 h 122"/>
                  <a:gd name="T56" fmla="*/ 54 w 133"/>
                  <a:gd name="T57" fmla="*/ 49 h 122"/>
                  <a:gd name="T58" fmla="*/ 63 w 133"/>
                  <a:gd name="T59" fmla="*/ 50 h 122"/>
                  <a:gd name="T60" fmla="*/ 74 w 133"/>
                  <a:gd name="T61" fmla="*/ 54 h 122"/>
                  <a:gd name="T62" fmla="*/ 88 w 133"/>
                  <a:gd name="T63" fmla="*/ 49 h 122"/>
                  <a:gd name="T64" fmla="*/ 97 w 133"/>
                  <a:gd name="T65" fmla="*/ 29 h 122"/>
                  <a:gd name="T66" fmla="*/ 104 w 133"/>
                  <a:gd name="T67" fmla="*/ 5 h 122"/>
                  <a:gd name="T68" fmla="*/ 121 w 133"/>
                  <a:gd name="T69" fmla="*/ 5 h 122"/>
                  <a:gd name="T70" fmla="*/ 137 w 133"/>
                  <a:gd name="T71" fmla="*/ 6 h 122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33"/>
                  <a:gd name="T109" fmla="*/ 0 h 122"/>
                  <a:gd name="T110" fmla="*/ 133 w 133"/>
                  <a:gd name="T111" fmla="*/ 122 h 122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33" h="122">
                    <a:moveTo>
                      <a:pt x="115" y="5"/>
                    </a:moveTo>
                    <a:cubicBezTo>
                      <a:pt x="115" y="6"/>
                      <a:pt x="115" y="8"/>
                      <a:pt x="114" y="9"/>
                    </a:cubicBezTo>
                    <a:cubicBezTo>
                      <a:pt x="112" y="11"/>
                      <a:pt x="108" y="8"/>
                      <a:pt x="107" y="10"/>
                    </a:cubicBezTo>
                    <a:cubicBezTo>
                      <a:pt x="107" y="13"/>
                      <a:pt x="111" y="14"/>
                      <a:pt x="113" y="16"/>
                    </a:cubicBezTo>
                    <a:cubicBezTo>
                      <a:pt x="115" y="21"/>
                      <a:pt x="119" y="25"/>
                      <a:pt x="118" y="29"/>
                    </a:cubicBezTo>
                    <a:cubicBezTo>
                      <a:pt x="118" y="31"/>
                      <a:pt x="112" y="28"/>
                      <a:pt x="112" y="30"/>
                    </a:cubicBezTo>
                    <a:cubicBezTo>
                      <a:pt x="112" y="33"/>
                      <a:pt x="115" y="35"/>
                      <a:pt x="118" y="37"/>
                    </a:cubicBezTo>
                    <a:cubicBezTo>
                      <a:pt x="121" y="40"/>
                      <a:pt x="125" y="43"/>
                      <a:pt x="128" y="45"/>
                    </a:cubicBezTo>
                    <a:cubicBezTo>
                      <a:pt x="130" y="46"/>
                      <a:pt x="133" y="44"/>
                      <a:pt x="133" y="46"/>
                    </a:cubicBezTo>
                    <a:cubicBezTo>
                      <a:pt x="132" y="48"/>
                      <a:pt x="129" y="50"/>
                      <a:pt x="126" y="50"/>
                    </a:cubicBezTo>
                    <a:cubicBezTo>
                      <a:pt x="123" y="50"/>
                      <a:pt x="120" y="46"/>
                      <a:pt x="116" y="47"/>
                    </a:cubicBezTo>
                    <a:cubicBezTo>
                      <a:pt x="115" y="47"/>
                      <a:pt x="117" y="50"/>
                      <a:pt x="117" y="51"/>
                    </a:cubicBezTo>
                    <a:cubicBezTo>
                      <a:pt x="116" y="52"/>
                      <a:pt x="114" y="50"/>
                      <a:pt x="113" y="51"/>
                    </a:cubicBezTo>
                    <a:cubicBezTo>
                      <a:pt x="112" y="53"/>
                      <a:pt x="111" y="56"/>
                      <a:pt x="111" y="58"/>
                    </a:cubicBezTo>
                    <a:cubicBezTo>
                      <a:pt x="110" y="61"/>
                      <a:pt x="110" y="64"/>
                      <a:pt x="110" y="66"/>
                    </a:cubicBezTo>
                    <a:cubicBezTo>
                      <a:pt x="110" y="69"/>
                      <a:pt x="112" y="71"/>
                      <a:pt x="110" y="73"/>
                    </a:cubicBezTo>
                    <a:cubicBezTo>
                      <a:pt x="108" y="76"/>
                      <a:pt x="105" y="76"/>
                      <a:pt x="102" y="78"/>
                    </a:cubicBezTo>
                    <a:cubicBezTo>
                      <a:pt x="100" y="80"/>
                      <a:pt x="97" y="82"/>
                      <a:pt x="96" y="85"/>
                    </a:cubicBezTo>
                    <a:cubicBezTo>
                      <a:pt x="96" y="88"/>
                      <a:pt x="98" y="91"/>
                      <a:pt x="99" y="93"/>
                    </a:cubicBezTo>
                    <a:cubicBezTo>
                      <a:pt x="99" y="95"/>
                      <a:pt x="100" y="97"/>
                      <a:pt x="99" y="99"/>
                    </a:cubicBezTo>
                    <a:cubicBezTo>
                      <a:pt x="99" y="100"/>
                      <a:pt x="97" y="98"/>
                      <a:pt x="96" y="99"/>
                    </a:cubicBezTo>
                    <a:cubicBezTo>
                      <a:pt x="95" y="101"/>
                      <a:pt x="97" y="103"/>
                      <a:pt x="96" y="105"/>
                    </a:cubicBezTo>
                    <a:cubicBezTo>
                      <a:pt x="96" y="106"/>
                      <a:pt x="93" y="104"/>
                      <a:pt x="92" y="105"/>
                    </a:cubicBezTo>
                    <a:cubicBezTo>
                      <a:pt x="91" y="108"/>
                      <a:pt x="92" y="112"/>
                      <a:pt x="89" y="114"/>
                    </a:cubicBezTo>
                    <a:cubicBezTo>
                      <a:pt x="85" y="118"/>
                      <a:pt x="80" y="122"/>
                      <a:pt x="75" y="121"/>
                    </a:cubicBezTo>
                    <a:cubicBezTo>
                      <a:pt x="72" y="121"/>
                      <a:pt x="75" y="114"/>
                      <a:pt x="73" y="112"/>
                    </a:cubicBezTo>
                    <a:cubicBezTo>
                      <a:pt x="72" y="110"/>
                      <a:pt x="69" y="110"/>
                      <a:pt x="67" y="110"/>
                    </a:cubicBezTo>
                    <a:cubicBezTo>
                      <a:pt x="65" y="110"/>
                      <a:pt x="64" y="113"/>
                      <a:pt x="62" y="112"/>
                    </a:cubicBezTo>
                    <a:cubicBezTo>
                      <a:pt x="61" y="112"/>
                      <a:pt x="62" y="110"/>
                      <a:pt x="61" y="109"/>
                    </a:cubicBezTo>
                    <a:cubicBezTo>
                      <a:pt x="60" y="108"/>
                      <a:pt x="59" y="110"/>
                      <a:pt x="58" y="110"/>
                    </a:cubicBezTo>
                    <a:cubicBezTo>
                      <a:pt x="57" y="109"/>
                      <a:pt x="57" y="106"/>
                      <a:pt x="56" y="106"/>
                    </a:cubicBezTo>
                    <a:cubicBezTo>
                      <a:pt x="54" y="106"/>
                      <a:pt x="55" y="109"/>
                      <a:pt x="53" y="110"/>
                    </a:cubicBezTo>
                    <a:cubicBezTo>
                      <a:pt x="51" y="111"/>
                      <a:pt x="48" y="112"/>
                      <a:pt x="46" y="112"/>
                    </a:cubicBezTo>
                    <a:cubicBezTo>
                      <a:pt x="43" y="113"/>
                      <a:pt x="41" y="113"/>
                      <a:pt x="38" y="113"/>
                    </a:cubicBezTo>
                    <a:cubicBezTo>
                      <a:pt x="38" y="112"/>
                      <a:pt x="38" y="111"/>
                      <a:pt x="38" y="110"/>
                    </a:cubicBezTo>
                    <a:cubicBezTo>
                      <a:pt x="38" y="107"/>
                      <a:pt x="40" y="104"/>
                      <a:pt x="38" y="103"/>
                    </a:cubicBezTo>
                    <a:cubicBezTo>
                      <a:pt x="36" y="101"/>
                      <a:pt x="33" y="105"/>
                      <a:pt x="31" y="105"/>
                    </a:cubicBezTo>
                    <a:cubicBezTo>
                      <a:pt x="29" y="105"/>
                      <a:pt x="26" y="104"/>
                      <a:pt x="24" y="104"/>
                    </a:cubicBezTo>
                    <a:cubicBezTo>
                      <a:pt x="23" y="103"/>
                      <a:pt x="21" y="105"/>
                      <a:pt x="20" y="104"/>
                    </a:cubicBezTo>
                    <a:cubicBezTo>
                      <a:pt x="18" y="101"/>
                      <a:pt x="18" y="97"/>
                      <a:pt x="18" y="94"/>
                    </a:cubicBezTo>
                    <a:cubicBezTo>
                      <a:pt x="17" y="92"/>
                      <a:pt x="18" y="89"/>
                      <a:pt x="17" y="86"/>
                    </a:cubicBezTo>
                    <a:cubicBezTo>
                      <a:pt x="17" y="84"/>
                      <a:pt x="16" y="82"/>
                      <a:pt x="15" y="80"/>
                    </a:cubicBezTo>
                    <a:cubicBezTo>
                      <a:pt x="14" y="79"/>
                      <a:pt x="11" y="80"/>
                      <a:pt x="10" y="78"/>
                    </a:cubicBezTo>
                    <a:cubicBezTo>
                      <a:pt x="9" y="77"/>
                      <a:pt x="11" y="75"/>
                      <a:pt x="10" y="73"/>
                    </a:cubicBezTo>
                    <a:cubicBezTo>
                      <a:pt x="9" y="72"/>
                      <a:pt x="6" y="75"/>
                      <a:pt x="6" y="73"/>
                    </a:cubicBezTo>
                    <a:cubicBezTo>
                      <a:pt x="4" y="71"/>
                      <a:pt x="5" y="68"/>
                      <a:pt x="6" y="66"/>
                    </a:cubicBezTo>
                    <a:cubicBezTo>
                      <a:pt x="6" y="64"/>
                      <a:pt x="8" y="62"/>
                      <a:pt x="8" y="60"/>
                    </a:cubicBezTo>
                    <a:cubicBezTo>
                      <a:pt x="7" y="57"/>
                      <a:pt x="2" y="58"/>
                      <a:pt x="1" y="55"/>
                    </a:cubicBezTo>
                    <a:cubicBezTo>
                      <a:pt x="0" y="51"/>
                      <a:pt x="1" y="46"/>
                      <a:pt x="2" y="41"/>
                    </a:cubicBezTo>
                    <a:cubicBezTo>
                      <a:pt x="3" y="38"/>
                      <a:pt x="6" y="35"/>
                      <a:pt x="8" y="32"/>
                    </a:cubicBezTo>
                    <a:cubicBezTo>
                      <a:pt x="9" y="32"/>
                      <a:pt x="11" y="32"/>
                      <a:pt x="12" y="32"/>
                    </a:cubicBezTo>
                    <a:cubicBezTo>
                      <a:pt x="13" y="35"/>
                      <a:pt x="12" y="38"/>
                      <a:pt x="14" y="40"/>
                    </a:cubicBezTo>
                    <a:cubicBezTo>
                      <a:pt x="16" y="43"/>
                      <a:pt x="20" y="44"/>
                      <a:pt x="23" y="46"/>
                    </a:cubicBezTo>
                    <a:cubicBezTo>
                      <a:pt x="24" y="47"/>
                      <a:pt x="24" y="49"/>
                      <a:pt x="25" y="49"/>
                    </a:cubicBezTo>
                    <a:cubicBezTo>
                      <a:pt x="27" y="49"/>
                      <a:pt x="29" y="47"/>
                      <a:pt x="31" y="46"/>
                    </a:cubicBezTo>
                    <a:cubicBezTo>
                      <a:pt x="34" y="46"/>
                      <a:pt x="37" y="48"/>
                      <a:pt x="40" y="48"/>
                    </a:cubicBezTo>
                    <a:cubicBezTo>
                      <a:pt x="42" y="47"/>
                      <a:pt x="44" y="46"/>
                      <a:pt x="45" y="45"/>
                    </a:cubicBezTo>
                    <a:cubicBezTo>
                      <a:pt x="46" y="44"/>
                      <a:pt x="44" y="41"/>
                      <a:pt x="45" y="41"/>
                    </a:cubicBezTo>
                    <a:cubicBezTo>
                      <a:pt x="48" y="39"/>
                      <a:pt x="51" y="40"/>
                      <a:pt x="54" y="40"/>
                    </a:cubicBezTo>
                    <a:cubicBezTo>
                      <a:pt x="54" y="40"/>
                      <a:pt x="53" y="42"/>
                      <a:pt x="53" y="42"/>
                    </a:cubicBezTo>
                    <a:cubicBezTo>
                      <a:pt x="54" y="43"/>
                      <a:pt x="55" y="41"/>
                      <a:pt x="57" y="41"/>
                    </a:cubicBezTo>
                    <a:cubicBezTo>
                      <a:pt x="59" y="42"/>
                      <a:pt x="60" y="45"/>
                      <a:pt x="62" y="45"/>
                    </a:cubicBezTo>
                    <a:cubicBezTo>
                      <a:pt x="64" y="44"/>
                      <a:pt x="64" y="41"/>
                      <a:pt x="66" y="41"/>
                    </a:cubicBezTo>
                    <a:cubicBezTo>
                      <a:pt x="69" y="40"/>
                      <a:pt x="72" y="42"/>
                      <a:pt x="74" y="41"/>
                    </a:cubicBezTo>
                    <a:cubicBezTo>
                      <a:pt x="75" y="40"/>
                      <a:pt x="73" y="38"/>
                      <a:pt x="74" y="36"/>
                    </a:cubicBezTo>
                    <a:cubicBezTo>
                      <a:pt x="76" y="32"/>
                      <a:pt x="79" y="28"/>
                      <a:pt x="81" y="24"/>
                    </a:cubicBezTo>
                    <a:cubicBezTo>
                      <a:pt x="83" y="21"/>
                      <a:pt x="86" y="18"/>
                      <a:pt x="87" y="15"/>
                    </a:cubicBezTo>
                    <a:cubicBezTo>
                      <a:pt x="88" y="11"/>
                      <a:pt x="85" y="7"/>
                      <a:pt x="87" y="4"/>
                    </a:cubicBezTo>
                    <a:cubicBezTo>
                      <a:pt x="89" y="1"/>
                      <a:pt x="93" y="1"/>
                      <a:pt x="96" y="1"/>
                    </a:cubicBezTo>
                    <a:cubicBezTo>
                      <a:pt x="98" y="0"/>
                      <a:pt x="99" y="3"/>
                      <a:pt x="101" y="4"/>
                    </a:cubicBezTo>
                    <a:cubicBezTo>
                      <a:pt x="103" y="4"/>
                      <a:pt x="106" y="2"/>
                      <a:pt x="108" y="2"/>
                    </a:cubicBezTo>
                    <a:cubicBezTo>
                      <a:pt x="111" y="3"/>
                      <a:pt x="113" y="4"/>
                      <a:pt x="115" y="5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91" name="Freeform 2928"/>
              <p:cNvSpPr>
                <a:spLocks noChangeAspect="1"/>
              </p:cNvSpPr>
              <p:nvPr/>
            </p:nvSpPr>
            <p:spPr bwMode="auto">
              <a:xfrm>
                <a:off x="6357884" y="3026731"/>
                <a:ext cx="21251" cy="6645"/>
              </a:xfrm>
              <a:custGeom>
                <a:avLst/>
                <a:gdLst>
                  <a:gd name="T0" fmla="*/ 1 w 16"/>
                  <a:gd name="T1" fmla="*/ 1 h 6"/>
                  <a:gd name="T2" fmla="*/ 18 w 16"/>
                  <a:gd name="T3" fmla="*/ 1 h 6"/>
                  <a:gd name="T4" fmla="*/ 14 w 16"/>
                  <a:gd name="T5" fmla="*/ 5 h 6"/>
                  <a:gd name="T6" fmla="*/ 4 w 16"/>
                  <a:gd name="T7" fmla="*/ 7 h 6"/>
                  <a:gd name="T8" fmla="*/ 1 w 16"/>
                  <a:gd name="T9" fmla="*/ 1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"/>
                  <a:gd name="T16" fmla="*/ 0 h 6"/>
                  <a:gd name="T17" fmla="*/ 16 w 16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" h="6">
                    <a:moveTo>
                      <a:pt x="1" y="1"/>
                    </a:moveTo>
                    <a:cubicBezTo>
                      <a:pt x="5" y="0"/>
                      <a:pt x="10" y="0"/>
                      <a:pt x="15" y="1"/>
                    </a:cubicBezTo>
                    <a:cubicBezTo>
                      <a:pt x="16" y="1"/>
                      <a:pt x="13" y="4"/>
                      <a:pt x="12" y="4"/>
                    </a:cubicBezTo>
                    <a:cubicBezTo>
                      <a:pt x="9" y="5"/>
                      <a:pt x="6" y="6"/>
                      <a:pt x="3" y="5"/>
                    </a:cubicBezTo>
                    <a:cubicBezTo>
                      <a:pt x="1" y="5"/>
                      <a:pt x="0" y="2"/>
                      <a:pt x="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92" name="Freeform 2929"/>
              <p:cNvSpPr>
                <a:spLocks noChangeAspect="1"/>
              </p:cNvSpPr>
              <p:nvPr/>
            </p:nvSpPr>
            <p:spPr bwMode="auto">
              <a:xfrm>
                <a:off x="6458548" y="2904625"/>
                <a:ext cx="114087" cy="105494"/>
              </a:xfrm>
              <a:custGeom>
                <a:avLst/>
                <a:gdLst>
                  <a:gd name="T0" fmla="*/ 97 w 85"/>
                  <a:gd name="T1" fmla="*/ 4 h 106"/>
                  <a:gd name="T2" fmla="*/ 89 w 85"/>
                  <a:gd name="T3" fmla="*/ 17 h 106"/>
                  <a:gd name="T4" fmla="*/ 72 w 85"/>
                  <a:gd name="T5" fmla="*/ 24 h 106"/>
                  <a:gd name="T6" fmla="*/ 48 w 85"/>
                  <a:gd name="T7" fmla="*/ 22 h 106"/>
                  <a:gd name="T8" fmla="*/ 35 w 85"/>
                  <a:gd name="T9" fmla="*/ 23 h 106"/>
                  <a:gd name="T10" fmla="*/ 23 w 85"/>
                  <a:gd name="T11" fmla="*/ 23 h 106"/>
                  <a:gd name="T12" fmla="*/ 31 w 85"/>
                  <a:gd name="T13" fmla="*/ 54 h 106"/>
                  <a:gd name="T14" fmla="*/ 44 w 85"/>
                  <a:gd name="T15" fmla="*/ 43 h 106"/>
                  <a:gd name="T16" fmla="*/ 64 w 85"/>
                  <a:gd name="T17" fmla="*/ 40 h 106"/>
                  <a:gd name="T18" fmla="*/ 70 w 85"/>
                  <a:gd name="T19" fmla="*/ 46 h 106"/>
                  <a:gd name="T20" fmla="*/ 55 w 85"/>
                  <a:gd name="T21" fmla="*/ 55 h 106"/>
                  <a:gd name="T22" fmla="*/ 40 w 85"/>
                  <a:gd name="T23" fmla="*/ 60 h 106"/>
                  <a:gd name="T24" fmla="*/ 54 w 85"/>
                  <a:gd name="T25" fmla="*/ 79 h 106"/>
                  <a:gd name="T26" fmla="*/ 56 w 85"/>
                  <a:gd name="T27" fmla="*/ 95 h 106"/>
                  <a:gd name="T28" fmla="*/ 50 w 85"/>
                  <a:gd name="T29" fmla="*/ 104 h 106"/>
                  <a:gd name="T30" fmla="*/ 41 w 85"/>
                  <a:gd name="T31" fmla="*/ 113 h 106"/>
                  <a:gd name="T32" fmla="*/ 35 w 85"/>
                  <a:gd name="T33" fmla="*/ 93 h 106"/>
                  <a:gd name="T34" fmla="*/ 37 w 85"/>
                  <a:gd name="T35" fmla="*/ 79 h 106"/>
                  <a:gd name="T36" fmla="*/ 23 w 85"/>
                  <a:gd name="T37" fmla="*/ 79 h 106"/>
                  <a:gd name="T38" fmla="*/ 24 w 85"/>
                  <a:gd name="T39" fmla="*/ 98 h 106"/>
                  <a:gd name="T40" fmla="*/ 22 w 85"/>
                  <a:gd name="T41" fmla="*/ 113 h 106"/>
                  <a:gd name="T42" fmla="*/ 22 w 85"/>
                  <a:gd name="T43" fmla="*/ 127 h 106"/>
                  <a:gd name="T44" fmla="*/ 7 w 85"/>
                  <a:gd name="T45" fmla="*/ 120 h 106"/>
                  <a:gd name="T46" fmla="*/ 11 w 85"/>
                  <a:gd name="T47" fmla="*/ 87 h 106"/>
                  <a:gd name="T48" fmla="*/ 2 w 85"/>
                  <a:gd name="T49" fmla="*/ 86 h 106"/>
                  <a:gd name="T50" fmla="*/ 10 w 85"/>
                  <a:gd name="T51" fmla="*/ 67 h 106"/>
                  <a:gd name="T52" fmla="*/ 14 w 85"/>
                  <a:gd name="T53" fmla="*/ 41 h 106"/>
                  <a:gd name="T54" fmla="*/ 17 w 85"/>
                  <a:gd name="T55" fmla="*/ 30 h 106"/>
                  <a:gd name="T56" fmla="*/ 24 w 85"/>
                  <a:gd name="T57" fmla="*/ 12 h 106"/>
                  <a:gd name="T58" fmla="*/ 30 w 85"/>
                  <a:gd name="T59" fmla="*/ 6 h 106"/>
                  <a:gd name="T60" fmla="*/ 43 w 85"/>
                  <a:gd name="T61" fmla="*/ 10 h 106"/>
                  <a:gd name="T62" fmla="*/ 62 w 85"/>
                  <a:gd name="T63" fmla="*/ 13 h 106"/>
                  <a:gd name="T64" fmla="*/ 84 w 85"/>
                  <a:gd name="T65" fmla="*/ 11 h 106"/>
                  <a:gd name="T66" fmla="*/ 96 w 85"/>
                  <a:gd name="T67" fmla="*/ 1 h 10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85"/>
                  <a:gd name="T103" fmla="*/ 0 h 106"/>
                  <a:gd name="T104" fmla="*/ 85 w 85"/>
                  <a:gd name="T105" fmla="*/ 106 h 10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85" h="106">
                    <a:moveTo>
                      <a:pt x="84" y="1"/>
                    </a:moveTo>
                    <a:cubicBezTo>
                      <a:pt x="85" y="2"/>
                      <a:pt x="82" y="2"/>
                      <a:pt x="81" y="3"/>
                    </a:cubicBezTo>
                    <a:cubicBezTo>
                      <a:pt x="80" y="5"/>
                      <a:pt x="81" y="8"/>
                      <a:pt x="80" y="9"/>
                    </a:cubicBezTo>
                    <a:cubicBezTo>
                      <a:pt x="79" y="11"/>
                      <a:pt x="75" y="12"/>
                      <a:pt x="74" y="14"/>
                    </a:cubicBezTo>
                    <a:cubicBezTo>
                      <a:pt x="73" y="15"/>
                      <a:pt x="75" y="18"/>
                      <a:pt x="74" y="19"/>
                    </a:cubicBezTo>
                    <a:cubicBezTo>
                      <a:pt x="69" y="21"/>
                      <a:pt x="64" y="20"/>
                      <a:pt x="60" y="20"/>
                    </a:cubicBezTo>
                    <a:cubicBezTo>
                      <a:pt x="57" y="20"/>
                      <a:pt x="55" y="18"/>
                      <a:pt x="53" y="17"/>
                    </a:cubicBezTo>
                    <a:cubicBezTo>
                      <a:pt x="49" y="17"/>
                      <a:pt x="45" y="18"/>
                      <a:pt x="40" y="18"/>
                    </a:cubicBezTo>
                    <a:cubicBezTo>
                      <a:pt x="39" y="18"/>
                      <a:pt x="38" y="16"/>
                      <a:pt x="36" y="16"/>
                    </a:cubicBezTo>
                    <a:cubicBezTo>
                      <a:pt x="34" y="16"/>
                      <a:pt x="32" y="18"/>
                      <a:pt x="29" y="19"/>
                    </a:cubicBezTo>
                    <a:cubicBezTo>
                      <a:pt x="27" y="19"/>
                      <a:pt x="25" y="17"/>
                      <a:pt x="22" y="17"/>
                    </a:cubicBezTo>
                    <a:cubicBezTo>
                      <a:pt x="21" y="17"/>
                      <a:pt x="19" y="18"/>
                      <a:pt x="19" y="19"/>
                    </a:cubicBezTo>
                    <a:cubicBezTo>
                      <a:pt x="18" y="24"/>
                      <a:pt x="18" y="29"/>
                      <a:pt x="19" y="34"/>
                    </a:cubicBezTo>
                    <a:cubicBezTo>
                      <a:pt x="20" y="38"/>
                      <a:pt x="22" y="43"/>
                      <a:pt x="26" y="45"/>
                    </a:cubicBezTo>
                    <a:cubicBezTo>
                      <a:pt x="28" y="46"/>
                      <a:pt x="30" y="44"/>
                      <a:pt x="32" y="43"/>
                    </a:cubicBezTo>
                    <a:cubicBezTo>
                      <a:pt x="34" y="41"/>
                      <a:pt x="35" y="38"/>
                      <a:pt x="37" y="36"/>
                    </a:cubicBezTo>
                    <a:cubicBezTo>
                      <a:pt x="39" y="35"/>
                      <a:pt x="42" y="36"/>
                      <a:pt x="45" y="36"/>
                    </a:cubicBezTo>
                    <a:cubicBezTo>
                      <a:pt x="47" y="35"/>
                      <a:pt x="50" y="33"/>
                      <a:pt x="53" y="33"/>
                    </a:cubicBezTo>
                    <a:cubicBezTo>
                      <a:pt x="55" y="32"/>
                      <a:pt x="58" y="31"/>
                      <a:pt x="60" y="33"/>
                    </a:cubicBezTo>
                    <a:cubicBezTo>
                      <a:pt x="61" y="34"/>
                      <a:pt x="60" y="37"/>
                      <a:pt x="58" y="38"/>
                    </a:cubicBezTo>
                    <a:cubicBezTo>
                      <a:pt x="56" y="40"/>
                      <a:pt x="53" y="37"/>
                      <a:pt x="51" y="38"/>
                    </a:cubicBezTo>
                    <a:cubicBezTo>
                      <a:pt x="49" y="40"/>
                      <a:pt x="48" y="44"/>
                      <a:pt x="46" y="46"/>
                    </a:cubicBezTo>
                    <a:cubicBezTo>
                      <a:pt x="43" y="49"/>
                      <a:pt x="41" y="51"/>
                      <a:pt x="37" y="52"/>
                    </a:cubicBezTo>
                    <a:cubicBezTo>
                      <a:pt x="36" y="52"/>
                      <a:pt x="34" y="49"/>
                      <a:pt x="33" y="50"/>
                    </a:cubicBezTo>
                    <a:cubicBezTo>
                      <a:pt x="32" y="50"/>
                      <a:pt x="33" y="52"/>
                      <a:pt x="34" y="52"/>
                    </a:cubicBezTo>
                    <a:cubicBezTo>
                      <a:pt x="37" y="57"/>
                      <a:pt x="41" y="61"/>
                      <a:pt x="45" y="66"/>
                    </a:cubicBezTo>
                    <a:cubicBezTo>
                      <a:pt x="46" y="68"/>
                      <a:pt x="48" y="69"/>
                      <a:pt x="49" y="71"/>
                    </a:cubicBezTo>
                    <a:cubicBezTo>
                      <a:pt x="49" y="74"/>
                      <a:pt x="46" y="76"/>
                      <a:pt x="47" y="79"/>
                    </a:cubicBezTo>
                    <a:cubicBezTo>
                      <a:pt x="48" y="82"/>
                      <a:pt x="54" y="84"/>
                      <a:pt x="52" y="86"/>
                    </a:cubicBezTo>
                    <a:cubicBezTo>
                      <a:pt x="51" y="89"/>
                      <a:pt x="45" y="85"/>
                      <a:pt x="42" y="87"/>
                    </a:cubicBezTo>
                    <a:cubicBezTo>
                      <a:pt x="40" y="89"/>
                      <a:pt x="43" y="94"/>
                      <a:pt x="41" y="96"/>
                    </a:cubicBezTo>
                    <a:cubicBezTo>
                      <a:pt x="39" y="97"/>
                      <a:pt x="35" y="96"/>
                      <a:pt x="34" y="94"/>
                    </a:cubicBezTo>
                    <a:cubicBezTo>
                      <a:pt x="33" y="90"/>
                      <a:pt x="38" y="86"/>
                      <a:pt x="37" y="82"/>
                    </a:cubicBezTo>
                    <a:cubicBezTo>
                      <a:pt x="36" y="79"/>
                      <a:pt x="32" y="80"/>
                      <a:pt x="29" y="78"/>
                    </a:cubicBezTo>
                    <a:cubicBezTo>
                      <a:pt x="28" y="77"/>
                      <a:pt x="26" y="76"/>
                      <a:pt x="26" y="74"/>
                    </a:cubicBezTo>
                    <a:cubicBezTo>
                      <a:pt x="27" y="71"/>
                      <a:pt x="31" y="69"/>
                      <a:pt x="31" y="66"/>
                    </a:cubicBezTo>
                    <a:cubicBezTo>
                      <a:pt x="32" y="65"/>
                      <a:pt x="29" y="62"/>
                      <a:pt x="28" y="62"/>
                    </a:cubicBezTo>
                    <a:cubicBezTo>
                      <a:pt x="24" y="62"/>
                      <a:pt x="21" y="64"/>
                      <a:pt x="19" y="66"/>
                    </a:cubicBezTo>
                    <a:cubicBezTo>
                      <a:pt x="18" y="68"/>
                      <a:pt x="21" y="70"/>
                      <a:pt x="21" y="72"/>
                    </a:cubicBezTo>
                    <a:cubicBezTo>
                      <a:pt x="21" y="75"/>
                      <a:pt x="20" y="78"/>
                      <a:pt x="20" y="82"/>
                    </a:cubicBezTo>
                    <a:cubicBezTo>
                      <a:pt x="20" y="84"/>
                      <a:pt x="22" y="87"/>
                      <a:pt x="21" y="89"/>
                    </a:cubicBezTo>
                    <a:cubicBezTo>
                      <a:pt x="21" y="91"/>
                      <a:pt x="19" y="92"/>
                      <a:pt x="18" y="94"/>
                    </a:cubicBezTo>
                    <a:cubicBezTo>
                      <a:pt x="18" y="98"/>
                      <a:pt x="21" y="101"/>
                      <a:pt x="21" y="105"/>
                    </a:cubicBezTo>
                    <a:cubicBezTo>
                      <a:pt x="21" y="106"/>
                      <a:pt x="19" y="106"/>
                      <a:pt x="18" y="106"/>
                    </a:cubicBezTo>
                    <a:cubicBezTo>
                      <a:pt x="15" y="106"/>
                      <a:pt x="11" y="106"/>
                      <a:pt x="8" y="105"/>
                    </a:cubicBezTo>
                    <a:cubicBezTo>
                      <a:pt x="7" y="104"/>
                      <a:pt x="6" y="102"/>
                      <a:pt x="6" y="100"/>
                    </a:cubicBezTo>
                    <a:cubicBezTo>
                      <a:pt x="7" y="95"/>
                      <a:pt x="11" y="90"/>
                      <a:pt x="11" y="84"/>
                    </a:cubicBezTo>
                    <a:cubicBezTo>
                      <a:pt x="12" y="80"/>
                      <a:pt x="11" y="76"/>
                      <a:pt x="9" y="73"/>
                    </a:cubicBezTo>
                    <a:cubicBezTo>
                      <a:pt x="8" y="71"/>
                      <a:pt x="6" y="74"/>
                      <a:pt x="4" y="74"/>
                    </a:cubicBezTo>
                    <a:cubicBezTo>
                      <a:pt x="3" y="74"/>
                      <a:pt x="2" y="73"/>
                      <a:pt x="2" y="72"/>
                    </a:cubicBezTo>
                    <a:cubicBezTo>
                      <a:pt x="1" y="68"/>
                      <a:pt x="0" y="65"/>
                      <a:pt x="1" y="62"/>
                    </a:cubicBezTo>
                    <a:cubicBezTo>
                      <a:pt x="2" y="59"/>
                      <a:pt x="7" y="59"/>
                      <a:pt x="8" y="56"/>
                    </a:cubicBezTo>
                    <a:cubicBezTo>
                      <a:pt x="9" y="52"/>
                      <a:pt x="8" y="46"/>
                      <a:pt x="9" y="42"/>
                    </a:cubicBezTo>
                    <a:cubicBezTo>
                      <a:pt x="9" y="39"/>
                      <a:pt x="10" y="36"/>
                      <a:pt x="12" y="34"/>
                    </a:cubicBezTo>
                    <a:cubicBezTo>
                      <a:pt x="14" y="33"/>
                      <a:pt x="16" y="37"/>
                      <a:pt x="16" y="36"/>
                    </a:cubicBezTo>
                    <a:cubicBezTo>
                      <a:pt x="17" y="32"/>
                      <a:pt x="15" y="28"/>
                      <a:pt x="14" y="25"/>
                    </a:cubicBezTo>
                    <a:cubicBezTo>
                      <a:pt x="14" y="22"/>
                      <a:pt x="12" y="20"/>
                      <a:pt x="13" y="18"/>
                    </a:cubicBezTo>
                    <a:cubicBezTo>
                      <a:pt x="14" y="15"/>
                      <a:pt x="17" y="11"/>
                      <a:pt x="20" y="10"/>
                    </a:cubicBezTo>
                    <a:cubicBezTo>
                      <a:pt x="22" y="9"/>
                      <a:pt x="24" y="14"/>
                      <a:pt x="25" y="13"/>
                    </a:cubicBezTo>
                    <a:cubicBezTo>
                      <a:pt x="27" y="11"/>
                      <a:pt x="23" y="6"/>
                      <a:pt x="25" y="5"/>
                    </a:cubicBezTo>
                    <a:cubicBezTo>
                      <a:pt x="27" y="3"/>
                      <a:pt x="32" y="4"/>
                      <a:pt x="35" y="5"/>
                    </a:cubicBezTo>
                    <a:cubicBezTo>
                      <a:pt x="36" y="5"/>
                      <a:pt x="35" y="8"/>
                      <a:pt x="36" y="8"/>
                    </a:cubicBezTo>
                    <a:cubicBezTo>
                      <a:pt x="40" y="9"/>
                      <a:pt x="44" y="8"/>
                      <a:pt x="48" y="8"/>
                    </a:cubicBezTo>
                    <a:cubicBezTo>
                      <a:pt x="49" y="9"/>
                      <a:pt x="51" y="11"/>
                      <a:pt x="52" y="11"/>
                    </a:cubicBezTo>
                    <a:cubicBezTo>
                      <a:pt x="54" y="12"/>
                      <a:pt x="55" y="9"/>
                      <a:pt x="57" y="9"/>
                    </a:cubicBezTo>
                    <a:cubicBezTo>
                      <a:pt x="61" y="9"/>
                      <a:pt x="66" y="11"/>
                      <a:pt x="70" y="9"/>
                    </a:cubicBezTo>
                    <a:cubicBezTo>
                      <a:pt x="72" y="8"/>
                      <a:pt x="73" y="5"/>
                      <a:pt x="74" y="3"/>
                    </a:cubicBezTo>
                    <a:cubicBezTo>
                      <a:pt x="76" y="2"/>
                      <a:pt x="78" y="1"/>
                      <a:pt x="80" y="1"/>
                    </a:cubicBezTo>
                    <a:cubicBezTo>
                      <a:pt x="81" y="1"/>
                      <a:pt x="84" y="0"/>
                      <a:pt x="84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 dirty="0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93" name="Freeform 2930"/>
              <p:cNvSpPr>
                <a:spLocks noChangeAspect="1"/>
              </p:cNvSpPr>
              <p:nvPr/>
            </p:nvSpPr>
            <p:spPr bwMode="auto">
              <a:xfrm>
                <a:off x="6412690" y="2976061"/>
                <a:ext cx="6712" cy="10799"/>
              </a:xfrm>
              <a:custGeom>
                <a:avLst/>
                <a:gdLst>
                  <a:gd name="T0" fmla="*/ 5 w 5"/>
                  <a:gd name="T1" fmla="*/ 0 h 11"/>
                  <a:gd name="T2" fmla="*/ 6 w 5"/>
                  <a:gd name="T3" fmla="*/ 2 h 11"/>
                  <a:gd name="T4" fmla="*/ 5 w 5"/>
                  <a:gd name="T5" fmla="*/ 12 h 11"/>
                  <a:gd name="T6" fmla="*/ 1 w 5"/>
                  <a:gd name="T7" fmla="*/ 12 h 11"/>
                  <a:gd name="T8" fmla="*/ 2 w 5"/>
                  <a:gd name="T9" fmla="*/ 2 h 11"/>
                  <a:gd name="T10" fmla="*/ 5 w 5"/>
                  <a:gd name="T11" fmla="*/ 0 h 1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11"/>
                  <a:gd name="T20" fmla="*/ 5 w 5"/>
                  <a:gd name="T21" fmla="*/ 11 h 1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11">
                    <a:moveTo>
                      <a:pt x="4" y="0"/>
                    </a:moveTo>
                    <a:cubicBezTo>
                      <a:pt x="5" y="0"/>
                      <a:pt x="5" y="1"/>
                      <a:pt x="5" y="2"/>
                    </a:cubicBezTo>
                    <a:cubicBezTo>
                      <a:pt x="5" y="5"/>
                      <a:pt x="5" y="7"/>
                      <a:pt x="4" y="10"/>
                    </a:cubicBezTo>
                    <a:cubicBezTo>
                      <a:pt x="3" y="10"/>
                      <a:pt x="1" y="11"/>
                      <a:pt x="1" y="10"/>
                    </a:cubicBezTo>
                    <a:cubicBezTo>
                      <a:pt x="0" y="7"/>
                      <a:pt x="1" y="5"/>
                      <a:pt x="2" y="2"/>
                    </a:cubicBezTo>
                    <a:cubicBezTo>
                      <a:pt x="2" y="1"/>
                      <a:pt x="3" y="0"/>
                      <a:pt x="4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94" name="Freeform 2931"/>
              <p:cNvSpPr>
                <a:spLocks noChangeAspect="1"/>
              </p:cNvSpPr>
              <p:nvPr/>
            </p:nvSpPr>
            <p:spPr bwMode="auto">
              <a:xfrm>
                <a:off x="6384728" y="3045006"/>
                <a:ext cx="21251" cy="11630"/>
              </a:xfrm>
              <a:custGeom>
                <a:avLst/>
                <a:gdLst>
                  <a:gd name="T0" fmla="*/ 1 w 16"/>
                  <a:gd name="T1" fmla="*/ 1 h 12"/>
                  <a:gd name="T2" fmla="*/ 8 w 16"/>
                  <a:gd name="T3" fmla="*/ 2 h 12"/>
                  <a:gd name="T4" fmla="*/ 14 w 16"/>
                  <a:gd name="T5" fmla="*/ 2 h 12"/>
                  <a:gd name="T6" fmla="*/ 19 w 16"/>
                  <a:gd name="T7" fmla="*/ 6 h 12"/>
                  <a:gd name="T8" fmla="*/ 11 w 16"/>
                  <a:gd name="T9" fmla="*/ 11 h 12"/>
                  <a:gd name="T10" fmla="*/ 10 w 16"/>
                  <a:gd name="T11" fmla="*/ 14 h 12"/>
                  <a:gd name="T12" fmla="*/ 7 w 16"/>
                  <a:gd name="T13" fmla="*/ 7 h 12"/>
                  <a:gd name="T14" fmla="*/ 1 w 16"/>
                  <a:gd name="T15" fmla="*/ 6 h 12"/>
                  <a:gd name="T16" fmla="*/ 1 w 16"/>
                  <a:gd name="T17" fmla="*/ 1 h 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6"/>
                  <a:gd name="T28" fmla="*/ 0 h 12"/>
                  <a:gd name="T29" fmla="*/ 16 w 16"/>
                  <a:gd name="T30" fmla="*/ 12 h 1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6" h="12">
                    <a:moveTo>
                      <a:pt x="1" y="1"/>
                    </a:moveTo>
                    <a:cubicBezTo>
                      <a:pt x="3" y="0"/>
                      <a:pt x="5" y="1"/>
                      <a:pt x="7" y="2"/>
                    </a:cubicBezTo>
                    <a:cubicBezTo>
                      <a:pt x="9" y="2"/>
                      <a:pt x="10" y="1"/>
                      <a:pt x="12" y="2"/>
                    </a:cubicBezTo>
                    <a:cubicBezTo>
                      <a:pt x="13" y="2"/>
                      <a:pt x="16" y="4"/>
                      <a:pt x="16" y="5"/>
                    </a:cubicBezTo>
                    <a:cubicBezTo>
                      <a:pt x="15" y="8"/>
                      <a:pt x="11" y="7"/>
                      <a:pt x="9" y="9"/>
                    </a:cubicBezTo>
                    <a:cubicBezTo>
                      <a:pt x="9" y="10"/>
                      <a:pt x="9" y="12"/>
                      <a:pt x="8" y="12"/>
                    </a:cubicBezTo>
                    <a:cubicBezTo>
                      <a:pt x="7" y="11"/>
                      <a:pt x="7" y="8"/>
                      <a:pt x="6" y="6"/>
                    </a:cubicBezTo>
                    <a:cubicBezTo>
                      <a:pt x="5" y="5"/>
                      <a:pt x="2" y="6"/>
                      <a:pt x="1" y="5"/>
                    </a:cubicBezTo>
                    <a:cubicBezTo>
                      <a:pt x="0" y="4"/>
                      <a:pt x="0" y="2"/>
                      <a:pt x="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95" name="Freeform 2932"/>
              <p:cNvSpPr>
                <a:spLocks noChangeAspect="1"/>
              </p:cNvSpPr>
              <p:nvPr/>
            </p:nvSpPr>
            <p:spPr bwMode="auto">
              <a:xfrm>
                <a:off x="6402624" y="3046667"/>
                <a:ext cx="19015" cy="11630"/>
              </a:xfrm>
              <a:custGeom>
                <a:avLst/>
                <a:gdLst>
                  <a:gd name="T0" fmla="*/ 10 w 14"/>
                  <a:gd name="T1" fmla="*/ 0 h 11"/>
                  <a:gd name="T2" fmla="*/ 16 w 14"/>
                  <a:gd name="T3" fmla="*/ 4 h 11"/>
                  <a:gd name="T4" fmla="*/ 13 w 14"/>
                  <a:gd name="T5" fmla="*/ 14 h 11"/>
                  <a:gd name="T6" fmla="*/ 1 w 14"/>
                  <a:gd name="T7" fmla="*/ 10 h 11"/>
                  <a:gd name="T8" fmla="*/ 6 w 14"/>
                  <a:gd name="T9" fmla="*/ 9 h 11"/>
                  <a:gd name="T10" fmla="*/ 6 w 14"/>
                  <a:gd name="T11" fmla="*/ 4 h 11"/>
                  <a:gd name="T12" fmla="*/ 10 w 14"/>
                  <a:gd name="T13" fmla="*/ 0 h 1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4"/>
                  <a:gd name="T22" fmla="*/ 0 h 11"/>
                  <a:gd name="T23" fmla="*/ 14 w 14"/>
                  <a:gd name="T24" fmla="*/ 11 h 1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4" h="11">
                    <a:moveTo>
                      <a:pt x="8" y="0"/>
                    </a:moveTo>
                    <a:cubicBezTo>
                      <a:pt x="10" y="0"/>
                      <a:pt x="13" y="1"/>
                      <a:pt x="13" y="3"/>
                    </a:cubicBezTo>
                    <a:cubicBezTo>
                      <a:pt x="14" y="5"/>
                      <a:pt x="12" y="8"/>
                      <a:pt x="11" y="11"/>
                    </a:cubicBezTo>
                    <a:cubicBezTo>
                      <a:pt x="8" y="10"/>
                      <a:pt x="4" y="10"/>
                      <a:pt x="1" y="8"/>
                    </a:cubicBezTo>
                    <a:cubicBezTo>
                      <a:pt x="0" y="8"/>
                      <a:pt x="4" y="8"/>
                      <a:pt x="5" y="7"/>
                    </a:cubicBezTo>
                    <a:cubicBezTo>
                      <a:pt x="5" y="5"/>
                      <a:pt x="5" y="4"/>
                      <a:pt x="5" y="3"/>
                    </a:cubicBezTo>
                    <a:cubicBezTo>
                      <a:pt x="6" y="1"/>
                      <a:pt x="7" y="0"/>
                      <a:pt x="8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96" name="Freeform 2933"/>
              <p:cNvSpPr>
                <a:spLocks noChangeAspect="1"/>
              </p:cNvSpPr>
              <p:nvPr/>
            </p:nvSpPr>
            <p:spPr bwMode="auto">
              <a:xfrm>
                <a:off x="6420520" y="3045006"/>
                <a:ext cx="42502" cy="14953"/>
              </a:xfrm>
              <a:custGeom>
                <a:avLst/>
                <a:gdLst>
                  <a:gd name="T0" fmla="*/ 2 w 32"/>
                  <a:gd name="T1" fmla="*/ 8 h 15"/>
                  <a:gd name="T2" fmla="*/ 1 w 32"/>
                  <a:gd name="T3" fmla="*/ 17 h 15"/>
                  <a:gd name="T4" fmla="*/ 7 w 32"/>
                  <a:gd name="T5" fmla="*/ 17 h 15"/>
                  <a:gd name="T6" fmla="*/ 19 w 32"/>
                  <a:gd name="T7" fmla="*/ 14 h 15"/>
                  <a:gd name="T8" fmla="*/ 28 w 32"/>
                  <a:gd name="T9" fmla="*/ 13 h 15"/>
                  <a:gd name="T10" fmla="*/ 36 w 32"/>
                  <a:gd name="T11" fmla="*/ 11 h 15"/>
                  <a:gd name="T12" fmla="*/ 38 w 32"/>
                  <a:gd name="T13" fmla="*/ 11 h 15"/>
                  <a:gd name="T14" fmla="*/ 34 w 32"/>
                  <a:gd name="T15" fmla="*/ 4 h 15"/>
                  <a:gd name="T16" fmla="*/ 26 w 32"/>
                  <a:gd name="T17" fmla="*/ 4 h 15"/>
                  <a:gd name="T18" fmla="*/ 21 w 32"/>
                  <a:gd name="T19" fmla="*/ 0 h 15"/>
                  <a:gd name="T20" fmla="*/ 17 w 32"/>
                  <a:gd name="T21" fmla="*/ 1 h 15"/>
                  <a:gd name="T22" fmla="*/ 19 w 32"/>
                  <a:gd name="T23" fmla="*/ 6 h 15"/>
                  <a:gd name="T24" fmla="*/ 23 w 32"/>
                  <a:gd name="T25" fmla="*/ 8 h 15"/>
                  <a:gd name="T26" fmla="*/ 18 w 32"/>
                  <a:gd name="T27" fmla="*/ 10 h 15"/>
                  <a:gd name="T28" fmla="*/ 12 w 32"/>
                  <a:gd name="T29" fmla="*/ 6 h 15"/>
                  <a:gd name="T30" fmla="*/ 7 w 32"/>
                  <a:gd name="T31" fmla="*/ 6 h 15"/>
                  <a:gd name="T32" fmla="*/ 2 w 32"/>
                  <a:gd name="T33" fmla="*/ 8 h 1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32"/>
                  <a:gd name="T52" fmla="*/ 0 h 15"/>
                  <a:gd name="T53" fmla="*/ 32 w 32"/>
                  <a:gd name="T54" fmla="*/ 15 h 15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32" h="15">
                    <a:moveTo>
                      <a:pt x="2" y="7"/>
                    </a:moveTo>
                    <a:cubicBezTo>
                      <a:pt x="1" y="9"/>
                      <a:pt x="0" y="12"/>
                      <a:pt x="1" y="14"/>
                    </a:cubicBezTo>
                    <a:cubicBezTo>
                      <a:pt x="2" y="15"/>
                      <a:pt x="5" y="15"/>
                      <a:pt x="6" y="14"/>
                    </a:cubicBezTo>
                    <a:cubicBezTo>
                      <a:pt x="10" y="14"/>
                      <a:pt x="13" y="13"/>
                      <a:pt x="16" y="12"/>
                    </a:cubicBezTo>
                    <a:cubicBezTo>
                      <a:pt x="19" y="12"/>
                      <a:pt x="21" y="11"/>
                      <a:pt x="24" y="11"/>
                    </a:cubicBezTo>
                    <a:cubicBezTo>
                      <a:pt x="26" y="10"/>
                      <a:pt x="28" y="9"/>
                      <a:pt x="30" y="9"/>
                    </a:cubicBezTo>
                    <a:cubicBezTo>
                      <a:pt x="30" y="9"/>
                      <a:pt x="32" y="9"/>
                      <a:pt x="32" y="9"/>
                    </a:cubicBezTo>
                    <a:cubicBezTo>
                      <a:pt x="31" y="7"/>
                      <a:pt x="30" y="5"/>
                      <a:pt x="29" y="3"/>
                    </a:cubicBezTo>
                    <a:cubicBezTo>
                      <a:pt x="27" y="2"/>
                      <a:pt x="24" y="3"/>
                      <a:pt x="22" y="3"/>
                    </a:cubicBezTo>
                    <a:cubicBezTo>
                      <a:pt x="20" y="2"/>
                      <a:pt x="19" y="1"/>
                      <a:pt x="18" y="0"/>
                    </a:cubicBezTo>
                    <a:cubicBezTo>
                      <a:pt x="16" y="0"/>
                      <a:pt x="14" y="0"/>
                      <a:pt x="14" y="1"/>
                    </a:cubicBezTo>
                    <a:cubicBezTo>
                      <a:pt x="13" y="2"/>
                      <a:pt x="15" y="4"/>
                      <a:pt x="16" y="5"/>
                    </a:cubicBezTo>
                    <a:cubicBezTo>
                      <a:pt x="17" y="6"/>
                      <a:pt x="20" y="6"/>
                      <a:pt x="19" y="7"/>
                    </a:cubicBezTo>
                    <a:cubicBezTo>
                      <a:pt x="19" y="9"/>
                      <a:pt x="16" y="9"/>
                      <a:pt x="15" y="8"/>
                    </a:cubicBezTo>
                    <a:cubicBezTo>
                      <a:pt x="13" y="8"/>
                      <a:pt x="12" y="5"/>
                      <a:pt x="10" y="5"/>
                    </a:cubicBezTo>
                    <a:cubicBezTo>
                      <a:pt x="9" y="4"/>
                      <a:pt x="7" y="5"/>
                      <a:pt x="6" y="5"/>
                    </a:cubicBezTo>
                    <a:cubicBezTo>
                      <a:pt x="4" y="6"/>
                      <a:pt x="2" y="5"/>
                      <a:pt x="2" y="7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97" name="Freeform 2934"/>
              <p:cNvSpPr>
                <a:spLocks noChangeAspect="1"/>
              </p:cNvSpPr>
              <p:nvPr/>
            </p:nvSpPr>
            <p:spPr bwMode="auto">
              <a:xfrm>
                <a:off x="6455194" y="3063281"/>
                <a:ext cx="36911" cy="15783"/>
              </a:xfrm>
              <a:custGeom>
                <a:avLst/>
                <a:gdLst>
                  <a:gd name="T0" fmla="*/ 4 w 27"/>
                  <a:gd name="T1" fmla="*/ 2 h 16"/>
                  <a:gd name="T2" fmla="*/ 16 w 27"/>
                  <a:gd name="T3" fmla="*/ 1 h 16"/>
                  <a:gd name="T4" fmla="*/ 26 w 27"/>
                  <a:gd name="T5" fmla="*/ 7 h 16"/>
                  <a:gd name="T6" fmla="*/ 33 w 27"/>
                  <a:gd name="T7" fmla="*/ 14 h 16"/>
                  <a:gd name="T8" fmla="*/ 27 w 27"/>
                  <a:gd name="T9" fmla="*/ 19 h 16"/>
                  <a:gd name="T10" fmla="*/ 18 w 27"/>
                  <a:gd name="T11" fmla="*/ 14 h 16"/>
                  <a:gd name="T12" fmla="*/ 9 w 27"/>
                  <a:gd name="T13" fmla="*/ 10 h 16"/>
                  <a:gd name="T14" fmla="*/ 1 w 27"/>
                  <a:gd name="T15" fmla="*/ 7 h 16"/>
                  <a:gd name="T16" fmla="*/ 4 w 27"/>
                  <a:gd name="T17" fmla="*/ 2 h 1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7"/>
                  <a:gd name="T28" fmla="*/ 0 h 16"/>
                  <a:gd name="T29" fmla="*/ 27 w 27"/>
                  <a:gd name="T30" fmla="*/ 16 h 1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7" h="16">
                    <a:moveTo>
                      <a:pt x="3" y="2"/>
                    </a:moveTo>
                    <a:cubicBezTo>
                      <a:pt x="6" y="1"/>
                      <a:pt x="10" y="0"/>
                      <a:pt x="13" y="1"/>
                    </a:cubicBezTo>
                    <a:cubicBezTo>
                      <a:pt x="16" y="2"/>
                      <a:pt x="19" y="4"/>
                      <a:pt x="21" y="6"/>
                    </a:cubicBezTo>
                    <a:cubicBezTo>
                      <a:pt x="23" y="7"/>
                      <a:pt x="26" y="9"/>
                      <a:pt x="27" y="12"/>
                    </a:cubicBezTo>
                    <a:cubicBezTo>
                      <a:pt x="27" y="14"/>
                      <a:pt x="24" y="16"/>
                      <a:pt x="22" y="16"/>
                    </a:cubicBezTo>
                    <a:cubicBezTo>
                      <a:pt x="19" y="16"/>
                      <a:pt x="17" y="13"/>
                      <a:pt x="15" y="12"/>
                    </a:cubicBezTo>
                    <a:cubicBezTo>
                      <a:pt x="12" y="11"/>
                      <a:pt x="10" y="9"/>
                      <a:pt x="7" y="8"/>
                    </a:cubicBezTo>
                    <a:cubicBezTo>
                      <a:pt x="5" y="7"/>
                      <a:pt x="2" y="8"/>
                      <a:pt x="1" y="6"/>
                    </a:cubicBezTo>
                    <a:cubicBezTo>
                      <a:pt x="0" y="5"/>
                      <a:pt x="2" y="3"/>
                      <a:pt x="3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98" name="Freeform 2935"/>
              <p:cNvSpPr>
                <a:spLocks noChangeAspect="1"/>
              </p:cNvSpPr>
              <p:nvPr/>
            </p:nvSpPr>
            <p:spPr bwMode="auto">
              <a:xfrm>
                <a:off x="6471970" y="3046667"/>
                <a:ext cx="62636" cy="12461"/>
              </a:xfrm>
              <a:custGeom>
                <a:avLst/>
                <a:gdLst>
                  <a:gd name="T0" fmla="*/ 12 w 47"/>
                  <a:gd name="T1" fmla="*/ 0 h 12"/>
                  <a:gd name="T2" fmla="*/ 23 w 47"/>
                  <a:gd name="T3" fmla="*/ 4 h 12"/>
                  <a:gd name="T4" fmla="*/ 27 w 47"/>
                  <a:gd name="T5" fmla="*/ 8 h 12"/>
                  <a:gd name="T6" fmla="*/ 33 w 47"/>
                  <a:gd name="T7" fmla="*/ 4 h 12"/>
                  <a:gd name="T8" fmla="*/ 41 w 47"/>
                  <a:gd name="T9" fmla="*/ 8 h 12"/>
                  <a:gd name="T10" fmla="*/ 45 w 47"/>
                  <a:gd name="T11" fmla="*/ 4 h 12"/>
                  <a:gd name="T12" fmla="*/ 50 w 47"/>
                  <a:gd name="T13" fmla="*/ 1 h 12"/>
                  <a:gd name="T14" fmla="*/ 52 w 47"/>
                  <a:gd name="T15" fmla="*/ 3 h 12"/>
                  <a:gd name="T16" fmla="*/ 56 w 47"/>
                  <a:gd name="T17" fmla="*/ 1 h 12"/>
                  <a:gd name="T18" fmla="*/ 51 w 47"/>
                  <a:gd name="T19" fmla="*/ 5 h 12"/>
                  <a:gd name="T20" fmla="*/ 46 w 47"/>
                  <a:gd name="T21" fmla="*/ 6 h 12"/>
                  <a:gd name="T22" fmla="*/ 42 w 47"/>
                  <a:gd name="T23" fmla="*/ 9 h 12"/>
                  <a:gd name="T24" fmla="*/ 32 w 47"/>
                  <a:gd name="T25" fmla="*/ 11 h 12"/>
                  <a:gd name="T26" fmla="*/ 27 w 47"/>
                  <a:gd name="T27" fmla="*/ 11 h 12"/>
                  <a:gd name="T28" fmla="*/ 19 w 47"/>
                  <a:gd name="T29" fmla="*/ 15 h 12"/>
                  <a:gd name="T30" fmla="*/ 1 w 47"/>
                  <a:gd name="T31" fmla="*/ 9 h 12"/>
                  <a:gd name="T32" fmla="*/ 5 w 47"/>
                  <a:gd name="T33" fmla="*/ 4 h 12"/>
                  <a:gd name="T34" fmla="*/ 12 w 47"/>
                  <a:gd name="T35" fmla="*/ 0 h 1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47"/>
                  <a:gd name="T55" fmla="*/ 0 h 12"/>
                  <a:gd name="T56" fmla="*/ 47 w 47"/>
                  <a:gd name="T57" fmla="*/ 12 h 12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47" h="12">
                    <a:moveTo>
                      <a:pt x="10" y="0"/>
                    </a:moveTo>
                    <a:cubicBezTo>
                      <a:pt x="13" y="1"/>
                      <a:pt x="16" y="2"/>
                      <a:pt x="19" y="3"/>
                    </a:cubicBezTo>
                    <a:cubicBezTo>
                      <a:pt x="20" y="4"/>
                      <a:pt x="21" y="6"/>
                      <a:pt x="23" y="6"/>
                    </a:cubicBezTo>
                    <a:cubicBezTo>
                      <a:pt x="25" y="6"/>
                      <a:pt x="26" y="3"/>
                      <a:pt x="28" y="3"/>
                    </a:cubicBezTo>
                    <a:cubicBezTo>
                      <a:pt x="30" y="3"/>
                      <a:pt x="32" y="6"/>
                      <a:pt x="34" y="6"/>
                    </a:cubicBezTo>
                    <a:cubicBezTo>
                      <a:pt x="36" y="6"/>
                      <a:pt x="37" y="4"/>
                      <a:pt x="38" y="3"/>
                    </a:cubicBezTo>
                    <a:cubicBezTo>
                      <a:pt x="39" y="2"/>
                      <a:pt x="40" y="1"/>
                      <a:pt x="42" y="1"/>
                    </a:cubicBezTo>
                    <a:cubicBezTo>
                      <a:pt x="42" y="1"/>
                      <a:pt x="43" y="2"/>
                      <a:pt x="44" y="2"/>
                    </a:cubicBezTo>
                    <a:cubicBezTo>
                      <a:pt x="45" y="2"/>
                      <a:pt x="47" y="0"/>
                      <a:pt x="47" y="1"/>
                    </a:cubicBezTo>
                    <a:cubicBezTo>
                      <a:pt x="46" y="2"/>
                      <a:pt x="45" y="3"/>
                      <a:pt x="43" y="4"/>
                    </a:cubicBezTo>
                    <a:cubicBezTo>
                      <a:pt x="42" y="4"/>
                      <a:pt x="40" y="5"/>
                      <a:pt x="39" y="5"/>
                    </a:cubicBezTo>
                    <a:cubicBezTo>
                      <a:pt x="38" y="6"/>
                      <a:pt x="37" y="7"/>
                      <a:pt x="35" y="7"/>
                    </a:cubicBezTo>
                    <a:cubicBezTo>
                      <a:pt x="32" y="8"/>
                      <a:pt x="30" y="9"/>
                      <a:pt x="27" y="9"/>
                    </a:cubicBezTo>
                    <a:cubicBezTo>
                      <a:pt x="25" y="10"/>
                      <a:pt x="24" y="9"/>
                      <a:pt x="23" y="9"/>
                    </a:cubicBezTo>
                    <a:cubicBezTo>
                      <a:pt x="20" y="10"/>
                      <a:pt x="18" y="12"/>
                      <a:pt x="16" y="12"/>
                    </a:cubicBezTo>
                    <a:cubicBezTo>
                      <a:pt x="11" y="11"/>
                      <a:pt x="5" y="10"/>
                      <a:pt x="1" y="7"/>
                    </a:cubicBezTo>
                    <a:cubicBezTo>
                      <a:pt x="0" y="6"/>
                      <a:pt x="2" y="4"/>
                      <a:pt x="4" y="3"/>
                    </a:cubicBezTo>
                    <a:cubicBezTo>
                      <a:pt x="5" y="1"/>
                      <a:pt x="8" y="0"/>
                      <a:pt x="10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99" name="Freeform 2936"/>
              <p:cNvSpPr>
                <a:spLocks noChangeAspect="1"/>
              </p:cNvSpPr>
              <p:nvPr/>
            </p:nvSpPr>
            <p:spPr bwMode="auto">
              <a:xfrm>
                <a:off x="6794096" y="3167946"/>
                <a:ext cx="6712" cy="4984"/>
              </a:xfrm>
              <a:custGeom>
                <a:avLst/>
                <a:gdLst>
                  <a:gd name="T0" fmla="*/ 5 w 5"/>
                  <a:gd name="T1" fmla="*/ 5 h 5"/>
                  <a:gd name="T2" fmla="*/ 1 w 5"/>
                  <a:gd name="T3" fmla="*/ 5 h 5"/>
                  <a:gd name="T4" fmla="*/ 0 w 5"/>
                  <a:gd name="T5" fmla="*/ 2 h 5"/>
                  <a:gd name="T6" fmla="*/ 4 w 5"/>
                  <a:gd name="T7" fmla="*/ 0 h 5"/>
                  <a:gd name="T8" fmla="*/ 5 w 5"/>
                  <a:gd name="T9" fmla="*/ 5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5"/>
                  <a:gd name="T17" fmla="*/ 5 w 5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5">
                    <a:moveTo>
                      <a:pt x="4" y="4"/>
                    </a:moveTo>
                    <a:cubicBezTo>
                      <a:pt x="3" y="4"/>
                      <a:pt x="2" y="5"/>
                      <a:pt x="1" y="4"/>
                    </a:cubicBezTo>
                    <a:cubicBezTo>
                      <a:pt x="0" y="4"/>
                      <a:pt x="0" y="2"/>
                      <a:pt x="0" y="2"/>
                    </a:cubicBezTo>
                    <a:cubicBezTo>
                      <a:pt x="1" y="1"/>
                      <a:pt x="2" y="0"/>
                      <a:pt x="3" y="0"/>
                    </a:cubicBezTo>
                    <a:cubicBezTo>
                      <a:pt x="5" y="1"/>
                      <a:pt x="4" y="3"/>
                      <a:pt x="4" y="4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00" name="Freeform 2937"/>
              <p:cNvSpPr>
                <a:spLocks noChangeAspect="1"/>
              </p:cNvSpPr>
              <p:nvPr/>
            </p:nvSpPr>
            <p:spPr bwMode="auto">
              <a:xfrm>
                <a:off x="6333278" y="3303345"/>
                <a:ext cx="4474" cy="9138"/>
              </a:xfrm>
              <a:custGeom>
                <a:avLst/>
                <a:gdLst>
                  <a:gd name="T0" fmla="*/ 4 w 3"/>
                  <a:gd name="T1" fmla="*/ 6 h 9"/>
                  <a:gd name="T2" fmla="*/ 3 w 3"/>
                  <a:gd name="T3" fmla="*/ 11 h 9"/>
                  <a:gd name="T4" fmla="*/ 1 w 3"/>
                  <a:gd name="T5" fmla="*/ 6 h 9"/>
                  <a:gd name="T6" fmla="*/ 1 w 3"/>
                  <a:gd name="T7" fmla="*/ 0 h 9"/>
                  <a:gd name="T8" fmla="*/ 4 w 3"/>
                  <a:gd name="T9" fmla="*/ 6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9"/>
                  <a:gd name="T17" fmla="*/ 3 w 3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9">
                    <a:moveTo>
                      <a:pt x="3" y="5"/>
                    </a:moveTo>
                    <a:cubicBezTo>
                      <a:pt x="3" y="7"/>
                      <a:pt x="3" y="9"/>
                      <a:pt x="2" y="9"/>
                    </a:cubicBezTo>
                    <a:cubicBezTo>
                      <a:pt x="2" y="9"/>
                      <a:pt x="1" y="6"/>
                      <a:pt x="1" y="5"/>
                    </a:cubicBezTo>
                    <a:cubicBezTo>
                      <a:pt x="1" y="3"/>
                      <a:pt x="0" y="0"/>
                      <a:pt x="1" y="0"/>
                    </a:cubicBezTo>
                    <a:cubicBezTo>
                      <a:pt x="2" y="0"/>
                      <a:pt x="2" y="3"/>
                      <a:pt x="3" y="5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01" name="Freeform 2938"/>
              <p:cNvSpPr>
                <a:spLocks noChangeAspect="1"/>
              </p:cNvSpPr>
              <p:nvPr/>
            </p:nvSpPr>
            <p:spPr bwMode="auto">
              <a:xfrm>
                <a:off x="6341107" y="3302514"/>
                <a:ext cx="4474" cy="9968"/>
              </a:xfrm>
              <a:custGeom>
                <a:avLst/>
                <a:gdLst>
                  <a:gd name="T0" fmla="*/ 4 w 3"/>
                  <a:gd name="T1" fmla="*/ 7 h 10"/>
                  <a:gd name="T2" fmla="*/ 4 w 3"/>
                  <a:gd name="T3" fmla="*/ 12 h 10"/>
                  <a:gd name="T4" fmla="*/ 1 w 3"/>
                  <a:gd name="T5" fmla="*/ 7 h 10"/>
                  <a:gd name="T6" fmla="*/ 1 w 3"/>
                  <a:gd name="T7" fmla="*/ 1 h 10"/>
                  <a:gd name="T8" fmla="*/ 4 w 3"/>
                  <a:gd name="T9" fmla="*/ 7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10"/>
                  <a:gd name="T17" fmla="*/ 3 w 3"/>
                  <a:gd name="T18" fmla="*/ 10 h 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10">
                    <a:moveTo>
                      <a:pt x="3" y="6"/>
                    </a:moveTo>
                    <a:cubicBezTo>
                      <a:pt x="3" y="7"/>
                      <a:pt x="3" y="10"/>
                      <a:pt x="3" y="10"/>
                    </a:cubicBezTo>
                    <a:cubicBezTo>
                      <a:pt x="2" y="9"/>
                      <a:pt x="1" y="7"/>
                      <a:pt x="1" y="6"/>
                    </a:cubicBezTo>
                    <a:cubicBezTo>
                      <a:pt x="1" y="4"/>
                      <a:pt x="0" y="0"/>
                      <a:pt x="1" y="1"/>
                    </a:cubicBezTo>
                    <a:cubicBezTo>
                      <a:pt x="2" y="1"/>
                      <a:pt x="2" y="4"/>
                      <a:pt x="3" y="6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02" name="Freeform 2939"/>
              <p:cNvSpPr>
                <a:spLocks noChangeAspect="1"/>
              </p:cNvSpPr>
              <p:nvPr/>
            </p:nvSpPr>
            <p:spPr bwMode="auto">
              <a:xfrm>
                <a:off x="6862324" y="3535100"/>
                <a:ext cx="6712" cy="2493"/>
              </a:xfrm>
              <a:custGeom>
                <a:avLst/>
                <a:gdLst>
                  <a:gd name="T0" fmla="*/ 2 w 5"/>
                  <a:gd name="T1" fmla="*/ 3 h 2"/>
                  <a:gd name="T2" fmla="*/ 1 w 5"/>
                  <a:gd name="T3" fmla="*/ 2 h 2"/>
                  <a:gd name="T4" fmla="*/ 4 w 5"/>
                  <a:gd name="T5" fmla="*/ 0 h 2"/>
                  <a:gd name="T6" fmla="*/ 6 w 5"/>
                  <a:gd name="T7" fmla="*/ 2 h 2"/>
                  <a:gd name="T8" fmla="*/ 2 w 5"/>
                  <a:gd name="T9" fmla="*/ 3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2"/>
                  <a:gd name="T17" fmla="*/ 5 w 5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2">
                    <a:moveTo>
                      <a:pt x="2" y="2"/>
                    </a:moveTo>
                    <a:cubicBezTo>
                      <a:pt x="2" y="2"/>
                      <a:pt x="0" y="2"/>
                      <a:pt x="1" y="1"/>
                    </a:cubicBezTo>
                    <a:cubicBezTo>
                      <a:pt x="1" y="1"/>
                      <a:pt x="2" y="1"/>
                      <a:pt x="3" y="0"/>
                    </a:cubicBezTo>
                    <a:cubicBezTo>
                      <a:pt x="3" y="0"/>
                      <a:pt x="5" y="0"/>
                      <a:pt x="5" y="1"/>
                    </a:cubicBezTo>
                    <a:cubicBezTo>
                      <a:pt x="5" y="2"/>
                      <a:pt x="3" y="2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03" name="Freeform 2940"/>
              <p:cNvSpPr>
                <a:spLocks noChangeAspect="1"/>
              </p:cNvSpPr>
              <p:nvPr/>
            </p:nvSpPr>
            <p:spPr bwMode="auto">
              <a:xfrm>
                <a:off x="6795213" y="3522639"/>
                <a:ext cx="7830" cy="9138"/>
              </a:xfrm>
              <a:custGeom>
                <a:avLst/>
                <a:gdLst>
                  <a:gd name="T0" fmla="*/ 5 w 6"/>
                  <a:gd name="T1" fmla="*/ 7 h 9"/>
                  <a:gd name="T2" fmla="*/ 1 w 6"/>
                  <a:gd name="T3" fmla="*/ 11 h 9"/>
                  <a:gd name="T4" fmla="*/ 1 w 6"/>
                  <a:gd name="T5" fmla="*/ 5 h 9"/>
                  <a:gd name="T6" fmla="*/ 5 w 6"/>
                  <a:gd name="T7" fmla="*/ 1 h 9"/>
                  <a:gd name="T8" fmla="*/ 5 w 6"/>
                  <a:gd name="T9" fmla="*/ 7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9"/>
                  <a:gd name="T17" fmla="*/ 6 w 6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9">
                    <a:moveTo>
                      <a:pt x="4" y="6"/>
                    </a:moveTo>
                    <a:cubicBezTo>
                      <a:pt x="3" y="7"/>
                      <a:pt x="2" y="9"/>
                      <a:pt x="1" y="9"/>
                    </a:cubicBezTo>
                    <a:cubicBezTo>
                      <a:pt x="0" y="8"/>
                      <a:pt x="1" y="6"/>
                      <a:pt x="1" y="4"/>
                    </a:cubicBezTo>
                    <a:cubicBezTo>
                      <a:pt x="2" y="3"/>
                      <a:pt x="3" y="0"/>
                      <a:pt x="4" y="1"/>
                    </a:cubicBezTo>
                    <a:cubicBezTo>
                      <a:pt x="6" y="2"/>
                      <a:pt x="4" y="4"/>
                      <a:pt x="4" y="6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04" name="Freeform 2941"/>
              <p:cNvSpPr>
                <a:spLocks noChangeAspect="1"/>
              </p:cNvSpPr>
              <p:nvPr/>
            </p:nvSpPr>
            <p:spPr bwMode="auto">
              <a:xfrm>
                <a:off x="7003253" y="3329925"/>
                <a:ext cx="3356" cy="5815"/>
              </a:xfrm>
              <a:custGeom>
                <a:avLst/>
                <a:gdLst>
                  <a:gd name="T0" fmla="*/ 2 w 3"/>
                  <a:gd name="T1" fmla="*/ 5 h 6"/>
                  <a:gd name="T2" fmla="*/ 1 w 3"/>
                  <a:gd name="T3" fmla="*/ 7 h 6"/>
                  <a:gd name="T4" fmla="*/ 1 w 3"/>
                  <a:gd name="T5" fmla="*/ 4 h 6"/>
                  <a:gd name="T6" fmla="*/ 2 w 3"/>
                  <a:gd name="T7" fmla="*/ 1 h 6"/>
                  <a:gd name="T8" fmla="*/ 2 w 3"/>
                  <a:gd name="T9" fmla="*/ 5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6"/>
                  <a:gd name="T17" fmla="*/ 3 w 3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6">
                    <a:moveTo>
                      <a:pt x="2" y="4"/>
                    </a:moveTo>
                    <a:cubicBezTo>
                      <a:pt x="2" y="5"/>
                      <a:pt x="1" y="6"/>
                      <a:pt x="1" y="6"/>
                    </a:cubicBezTo>
                    <a:cubicBezTo>
                      <a:pt x="0" y="6"/>
                      <a:pt x="0" y="4"/>
                      <a:pt x="1" y="3"/>
                    </a:cubicBezTo>
                    <a:cubicBezTo>
                      <a:pt x="1" y="2"/>
                      <a:pt x="2" y="0"/>
                      <a:pt x="2" y="1"/>
                    </a:cubicBezTo>
                    <a:cubicBezTo>
                      <a:pt x="3" y="1"/>
                      <a:pt x="2" y="3"/>
                      <a:pt x="2" y="4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05" name="Freeform 2942"/>
              <p:cNvSpPr>
                <a:spLocks noChangeAspect="1"/>
              </p:cNvSpPr>
              <p:nvPr/>
            </p:nvSpPr>
            <p:spPr bwMode="auto">
              <a:xfrm>
                <a:off x="6753830" y="3090693"/>
                <a:ext cx="4474" cy="4153"/>
              </a:xfrm>
              <a:custGeom>
                <a:avLst/>
                <a:gdLst>
                  <a:gd name="T0" fmla="*/ 2 w 4"/>
                  <a:gd name="T1" fmla="*/ 4 h 4"/>
                  <a:gd name="T2" fmla="*/ 0 w 4"/>
                  <a:gd name="T3" fmla="*/ 5 h 4"/>
                  <a:gd name="T4" fmla="*/ 1 w 4"/>
                  <a:gd name="T5" fmla="*/ 3 h 4"/>
                  <a:gd name="T6" fmla="*/ 3 w 4"/>
                  <a:gd name="T7" fmla="*/ 0 h 4"/>
                  <a:gd name="T8" fmla="*/ 2 w 4"/>
                  <a:gd name="T9" fmla="*/ 4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2" y="3"/>
                    </a:moveTo>
                    <a:cubicBezTo>
                      <a:pt x="1" y="3"/>
                      <a:pt x="0" y="4"/>
                      <a:pt x="0" y="4"/>
                    </a:cubicBezTo>
                    <a:cubicBezTo>
                      <a:pt x="0" y="3"/>
                      <a:pt x="0" y="2"/>
                      <a:pt x="1" y="2"/>
                    </a:cubicBezTo>
                    <a:cubicBezTo>
                      <a:pt x="2" y="1"/>
                      <a:pt x="3" y="0"/>
                      <a:pt x="3" y="0"/>
                    </a:cubicBezTo>
                    <a:cubicBezTo>
                      <a:pt x="4" y="1"/>
                      <a:pt x="2" y="2"/>
                      <a:pt x="2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06" name="Freeform 2943"/>
              <p:cNvSpPr>
                <a:spLocks noChangeAspect="1"/>
              </p:cNvSpPr>
              <p:nvPr/>
            </p:nvSpPr>
            <p:spPr bwMode="auto">
              <a:xfrm>
                <a:off x="6747120" y="3095678"/>
                <a:ext cx="4474" cy="4153"/>
              </a:xfrm>
              <a:custGeom>
                <a:avLst/>
                <a:gdLst>
                  <a:gd name="T0" fmla="*/ 2 w 4"/>
                  <a:gd name="T1" fmla="*/ 4 h 4"/>
                  <a:gd name="T2" fmla="*/ 0 w 4"/>
                  <a:gd name="T3" fmla="*/ 5 h 4"/>
                  <a:gd name="T4" fmla="*/ 1 w 4"/>
                  <a:gd name="T5" fmla="*/ 3 h 4"/>
                  <a:gd name="T6" fmla="*/ 3 w 4"/>
                  <a:gd name="T7" fmla="*/ 0 h 4"/>
                  <a:gd name="T8" fmla="*/ 2 w 4"/>
                  <a:gd name="T9" fmla="*/ 4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2" y="3"/>
                    </a:moveTo>
                    <a:cubicBezTo>
                      <a:pt x="2" y="3"/>
                      <a:pt x="1" y="4"/>
                      <a:pt x="0" y="4"/>
                    </a:cubicBezTo>
                    <a:cubicBezTo>
                      <a:pt x="0" y="3"/>
                      <a:pt x="1" y="2"/>
                      <a:pt x="1" y="2"/>
                    </a:cubicBezTo>
                    <a:cubicBezTo>
                      <a:pt x="2" y="1"/>
                      <a:pt x="3" y="0"/>
                      <a:pt x="3" y="0"/>
                    </a:cubicBezTo>
                    <a:cubicBezTo>
                      <a:pt x="4" y="1"/>
                      <a:pt x="3" y="2"/>
                      <a:pt x="2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07" name="Freeform 2944"/>
              <p:cNvSpPr>
                <a:spLocks noChangeAspect="1"/>
              </p:cNvSpPr>
              <p:nvPr/>
            </p:nvSpPr>
            <p:spPr bwMode="auto">
              <a:xfrm>
                <a:off x="6734815" y="3099831"/>
                <a:ext cx="5593" cy="4984"/>
              </a:xfrm>
              <a:custGeom>
                <a:avLst/>
                <a:gdLst>
                  <a:gd name="T0" fmla="*/ 3 w 4"/>
                  <a:gd name="T1" fmla="*/ 5 h 5"/>
                  <a:gd name="T2" fmla="*/ 1 w 4"/>
                  <a:gd name="T3" fmla="*/ 5 h 5"/>
                  <a:gd name="T4" fmla="*/ 3 w 4"/>
                  <a:gd name="T5" fmla="*/ 2 h 5"/>
                  <a:gd name="T6" fmla="*/ 5 w 4"/>
                  <a:gd name="T7" fmla="*/ 1 h 5"/>
                  <a:gd name="T8" fmla="*/ 3 w 4"/>
                  <a:gd name="T9" fmla="*/ 5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5"/>
                  <a:gd name="T17" fmla="*/ 4 w 4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5">
                    <a:moveTo>
                      <a:pt x="2" y="4"/>
                    </a:moveTo>
                    <a:cubicBezTo>
                      <a:pt x="2" y="4"/>
                      <a:pt x="1" y="5"/>
                      <a:pt x="1" y="4"/>
                    </a:cubicBezTo>
                    <a:cubicBezTo>
                      <a:pt x="0" y="4"/>
                      <a:pt x="1" y="3"/>
                      <a:pt x="2" y="2"/>
                    </a:cubicBezTo>
                    <a:cubicBezTo>
                      <a:pt x="2" y="2"/>
                      <a:pt x="3" y="0"/>
                      <a:pt x="4" y="1"/>
                    </a:cubicBezTo>
                    <a:cubicBezTo>
                      <a:pt x="4" y="2"/>
                      <a:pt x="3" y="3"/>
                      <a:pt x="2" y="4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08" name="Freeform 2945"/>
              <p:cNvSpPr>
                <a:spLocks noChangeAspect="1"/>
              </p:cNvSpPr>
              <p:nvPr/>
            </p:nvSpPr>
            <p:spPr bwMode="auto">
              <a:xfrm>
                <a:off x="7243729" y="3226092"/>
                <a:ext cx="2237" cy="4984"/>
              </a:xfrm>
              <a:custGeom>
                <a:avLst/>
                <a:gdLst>
                  <a:gd name="T0" fmla="*/ 2 w 2"/>
                  <a:gd name="T1" fmla="*/ 4 h 5"/>
                  <a:gd name="T2" fmla="*/ 1 w 2"/>
                  <a:gd name="T3" fmla="*/ 6 h 5"/>
                  <a:gd name="T4" fmla="*/ 0 w 2"/>
                  <a:gd name="T5" fmla="*/ 2 h 5"/>
                  <a:gd name="T6" fmla="*/ 2 w 2"/>
                  <a:gd name="T7" fmla="*/ 0 h 5"/>
                  <a:gd name="T8" fmla="*/ 2 w 2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5"/>
                  <a:gd name="T17" fmla="*/ 2 w 2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5">
                    <a:moveTo>
                      <a:pt x="2" y="3"/>
                    </a:moveTo>
                    <a:cubicBezTo>
                      <a:pt x="1" y="4"/>
                      <a:pt x="1" y="5"/>
                      <a:pt x="1" y="5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1" y="2"/>
                      <a:pt x="1" y="0"/>
                      <a:pt x="2" y="0"/>
                    </a:cubicBezTo>
                    <a:cubicBezTo>
                      <a:pt x="2" y="1"/>
                      <a:pt x="2" y="2"/>
                      <a:pt x="2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09" name="Freeform 2946"/>
              <p:cNvSpPr>
                <a:spLocks noChangeAspect="1"/>
              </p:cNvSpPr>
              <p:nvPr/>
            </p:nvSpPr>
            <p:spPr bwMode="auto">
              <a:xfrm>
                <a:off x="7282876" y="3146348"/>
                <a:ext cx="2237" cy="8307"/>
              </a:xfrm>
              <a:custGeom>
                <a:avLst/>
                <a:gdLst>
                  <a:gd name="T0" fmla="*/ 2 w 2"/>
                  <a:gd name="T1" fmla="*/ 6 h 8"/>
                  <a:gd name="T2" fmla="*/ 1 w 2"/>
                  <a:gd name="T3" fmla="*/ 9 h 8"/>
                  <a:gd name="T4" fmla="*/ 0 w 2"/>
                  <a:gd name="T5" fmla="*/ 5 h 8"/>
                  <a:gd name="T6" fmla="*/ 1 w 2"/>
                  <a:gd name="T7" fmla="*/ 0 h 8"/>
                  <a:gd name="T8" fmla="*/ 2 w 2"/>
                  <a:gd name="T9" fmla="*/ 6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8"/>
                  <a:gd name="T17" fmla="*/ 2 w 2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8">
                    <a:moveTo>
                      <a:pt x="2" y="5"/>
                    </a:moveTo>
                    <a:cubicBezTo>
                      <a:pt x="2" y="6"/>
                      <a:pt x="1" y="8"/>
                      <a:pt x="1" y="7"/>
                    </a:cubicBezTo>
                    <a:cubicBezTo>
                      <a:pt x="0" y="7"/>
                      <a:pt x="0" y="5"/>
                      <a:pt x="0" y="4"/>
                    </a:cubicBezTo>
                    <a:cubicBezTo>
                      <a:pt x="0" y="3"/>
                      <a:pt x="0" y="0"/>
                      <a:pt x="1" y="0"/>
                    </a:cubicBezTo>
                    <a:cubicBezTo>
                      <a:pt x="2" y="1"/>
                      <a:pt x="2" y="3"/>
                      <a:pt x="2" y="5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10" name="Freeform 2947"/>
              <p:cNvSpPr>
                <a:spLocks noChangeAspect="1"/>
              </p:cNvSpPr>
              <p:nvPr/>
            </p:nvSpPr>
            <p:spPr bwMode="auto">
              <a:xfrm>
                <a:off x="7282876" y="3156316"/>
                <a:ext cx="2237" cy="6645"/>
              </a:xfrm>
              <a:custGeom>
                <a:avLst/>
                <a:gdLst>
                  <a:gd name="T0" fmla="*/ 2 w 2"/>
                  <a:gd name="T1" fmla="*/ 5 h 6"/>
                  <a:gd name="T2" fmla="*/ 1 w 2"/>
                  <a:gd name="T3" fmla="*/ 8 h 6"/>
                  <a:gd name="T4" fmla="*/ 0 w 2"/>
                  <a:gd name="T5" fmla="*/ 4 h 6"/>
                  <a:gd name="T6" fmla="*/ 1 w 2"/>
                  <a:gd name="T7" fmla="*/ 0 h 6"/>
                  <a:gd name="T8" fmla="*/ 2 w 2"/>
                  <a:gd name="T9" fmla="*/ 5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6"/>
                  <a:gd name="T17" fmla="*/ 2 w 2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6">
                    <a:moveTo>
                      <a:pt x="2" y="4"/>
                    </a:moveTo>
                    <a:cubicBezTo>
                      <a:pt x="2" y="4"/>
                      <a:pt x="1" y="6"/>
                      <a:pt x="1" y="6"/>
                    </a:cubicBezTo>
                    <a:cubicBezTo>
                      <a:pt x="0" y="6"/>
                      <a:pt x="0" y="4"/>
                      <a:pt x="0" y="3"/>
                    </a:cubicBezTo>
                    <a:cubicBezTo>
                      <a:pt x="0" y="2"/>
                      <a:pt x="0" y="0"/>
                      <a:pt x="1" y="0"/>
                    </a:cubicBezTo>
                    <a:cubicBezTo>
                      <a:pt x="2" y="0"/>
                      <a:pt x="2" y="2"/>
                      <a:pt x="2" y="4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11" name="Freeform 2948"/>
              <p:cNvSpPr>
                <a:spLocks noChangeAspect="1"/>
              </p:cNvSpPr>
              <p:nvPr/>
            </p:nvSpPr>
            <p:spPr bwMode="auto">
              <a:xfrm>
                <a:off x="7440585" y="3204495"/>
                <a:ext cx="5593" cy="4984"/>
              </a:xfrm>
              <a:custGeom>
                <a:avLst/>
                <a:gdLst>
                  <a:gd name="T0" fmla="*/ 3 w 4"/>
                  <a:gd name="T1" fmla="*/ 4 h 5"/>
                  <a:gd name="T2" fmla="*/ 1 w 4"/>
                  <a:gd name="T3" fmla="*/ 5 h 5"/>
                  <a:gd name="T4" fmla="*/ 3 w 4"/>
                  <a:gd name="T5" fmla="*/ 2 h 5"/>
                  <a:gd name="T6" fmla="*/ 5 w 4"/>
                  <a:gd name="T7" fmla="*/ 1 h 5"/>
                  <a:gd name="T8" fmla="*/ 3 w 4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5"/>
                  <a:gd name="T17" fmla="*/ 4 w 4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5">
                    <a:moveTo>
                      <a:pt x="2" y="3"/>
                    </a:moveTo>
                    <a:cubicBezTo>
                      <a:pt x="2" y="4"/>
                      <a:pt x="1" y="5"/>
                      <a:pt x="1" y="4"/>
                    </a:cubicBezTo>
                    <a:cubicBezTo>
                      <a:pt x="0" y="4"/>
                      <a:pt x="1" y="3"/>
                      <a:pt x="2" y="2"/>
                    </a:cubicBezTo>
                    <a:cubicBezTo>
                      <a:pt x="2" y="2"/>
                      <a:pt x="4" y="0"/>
                      <a:pt x="4" y="1"/>
                    </a:cubicBezTo>
                    <a:cubicBezTo>
                      <a:pt x="4" y="2"/>
                      <a:pt x="3" y="3"/>
                      <a:pt x="2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12" name="Freeform 2949"/>
              <p:cNvSpPr>
                <a:spLocks noChangeAspect="1"/>
              </p:cNvSpPr>
              <p:nvPr/>
            </p:nvSpPr>
            <p:spPr bwMode="auto">
              <a:xfrm>
                <a:off x="6569278" y="2780024"/>
                <a:ext cx="3356" cy="8307"/>
              </a:xfrm>
              <a:custGeom>
                <a:avLst/>
                <a:gdLst>
                  <a:gd name="T0" fmla="*/ 3 w 2"/>
                  <a:gd name="T1" fmla="*/ 7 h 9"/>
                  <a:gd name="T2" fmla="*/ 2 w 2"/>
                  <a:gd name="T3" fmla="*/ 10 h 9"/>
                  <a:gd name="T4" fmla="*/ 0 w 2"/>
                  <a:gd name="T5" fmla="*/ 6 h 9"/>
                  <a:gd name="T6" fmla="*/ 2 w 2"/>
                  <a:gd name="T7" fmla="*/ 1 h 9"/>
                  <a:gd name="T8" fmla="*/ 3 w 2"/>
                  <a:gd name="T9" fmla="*/ 7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9"/>
                  <a:gd name="T17" fmla="*/ 2 w 2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9">
                    <a:moveTo>
                      <a:pt x="2" y="6"/>
                    </a:moveTo>
                    <a:cubicBezTo>
                      <a:pt x="2" y="7"/>
                      <a:pt x="2" y="9"/>
                      <a:pt x="1" y="9"/>
                    </a:cubicBezTo>
                    <a:cubicBezTo>
                      <a:pt x="0" y="8"/>
                      <a:pt x="0" y="6"/>
                      <a:pt x="0" y="5"/>
                    </a:cubicBezTo>
                    <a:cubicBezTo>
                      <a:pt x="0" y="3"/>
                      <a:pt x="0" y="0"/>
                      <a:pt x="1" y="1"/>
                    </a:cubicBezTo>
                    <a:cubicBezTo>
                      <a:pt x="2" y="1"/>
                      <a:pt x="2" y="4"/>
                      <a:pt x="2" y="6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13" name="Freeform 2950"/>
              <p:cNvSpPr>
                <a:spLocks noChangeAspect="1"/>
              </p:cNvSpPr>
              <p:nvPr/>
            </p:nvSpPr>
            <p:spPr bwMode="auto">
              <a:xfrm>
                <a:off x="6521184" y="2741814"/>
                <a:ext cx="4474" cy="4153"/>
              </a:xfrm>
              <a:custGeom>
                <a:avLst/>
                <a:gdLst>
                  <a:gd name="T0" fmla="*/ 4 w 3"/>
                  <a:gd name="T1" fmla="*/ 3 h 4"/>
                  <a:gd name="T2" fmla="*/ 4 w 3"/>
                  <a:gd name="T3" fmla="*/ 5 h 4"/>
                  <a:gd name="T4" fmla="*/ 1 w 3"/>
                  <a:gd name="T5" fmla="*/ 3 h 4"/>
                  <a:gd name="T6" fmla="*/ 1 w 3"/>
                  <a:gd name="T7" fmla="*/ 0 h 4"/>
                  <a:gd name="T8" fmla="*/ 4 w 3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4"/>
                  <a:gd name="T17" fmla="*/ 3 w 3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4">
                    <a:moveTo>
                      <a:pt x="3" y="2"/>
                    </a:moveTo>
                    <a:cubicBezTo>
                      <a:pt x="3" y="2"/>
                      <a:pt x="3" y="3"/>
                      <a:pt x="3" y="4"/>
                    </a:cubicBezTo>
                    <a:cubicBezTo>
                      <a:pt x="2" y="4"/>
                      <a:pt x="2" y="3"/>
                      <a:pt x="1" y="2"/>
                    </a:cubicBezTo>
                    <a:cubicBezTo>
                      <a:pt x="1" y="1"/>
                      <a:pt x="0" y="0"/>
                      <a:pt x="1" y="0"/>
                    </a:cubicBezTo>
                    <a:cubicBezTo>
                      <a:pt x="1" y="0"/>
                      <a:pt x="2" y="1"/>
                      <a:pt x="3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14" name="Freeform 2951"/>
              <p:cNvSpPr>
                <a:spLocks noChangeAspect="1"/>
              </p:cNvSpPr>
              <p:nvPr/>
            </p:nvSpPr>
            <p:spPr bwMode="auto">
              <a:xfrm>
                <a:off x="6505526" y="2750120"/>
                <a:ext cx="2237" cy="4984"/>
              </a:xfrm>
              <a:custGeom>
                <a:avLst/>
                <a:gdLst>
                  <a:gd name="T0" fmla="*/ 1 w 2"/>
                  <a:gd name="T1" fmla="*/ 5 h 5"/>
                  <a:gd name="T2" fmla="*/ 0 w 2"/>
                  <a:gd name="T3" fmla="*/ 6 h 5"/>
                  <a:gd name="T4" fmla="*/ 0 w 2"/>
                  <a:gd name="T5" fmla="*/ 4 h 5"/>
                  <a:gd name="T6" fmla="*/ 1 w 2"/>
                  <a:gd name="T7" fmla="*/ 1 h 5"/>
                  <a:gd name="T8" fmla="*/ 1 w 2"/>
                  <a:gd name="T9" fmla="*/ 5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5"/>
                  <a:gd name="T17" fmla="*/ 2 w 2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5">
                    <a:moveTo>
                      <a:pt x="1" y="4"/>
                    </a:moveTo>
                    <a:cubicBezTo>
                      <a:pt x="1" y="4"/>
                      <a:pt x="1" y="5"/>
                      <a:pt x="0" y="5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2"/>
                      <a:pt x="0" y="0"/>
                      <a:pt x="1" y="1"/>
                    </a:cubicBezTo>
                    <a:cubicBezTo>
                      <a:pt x="2" y="1"/>
                      <a:pt x="1" y="3"/>
                      <a:pt x="1" y="4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15" name="Freeform 2952"/>
              <p:cNvSpPr>
                <a:spLocks noChangeAspect="1"/>
              </p:cNvSpPr>
              <p:nvPr/>
            </p:nvSpPr>
            <p:spPr bwMode="auto">
              <a:xfrm>
                <a:off x="7025623" y="3058296"/>
                <a:ext cx="6712" cy="3322"/>
              </a:xfrm>
              <a:custGeom>
                <a:avLst/>
                <a:gdLst>
                  <a:gd name="T0" fmla="*/ 4 w 5"/>
                  <a:gd name="T1" fmla="*/ 2 h 4"/>
                  <a:gd name="T2" fmla="*/ 5 w 5"/>
                  <a:gd name="T3" fmla="*/ 3 h 4"/>
                  <a:gd name="T4" fmla="*/ 2 w 5"/>
                  <a:gd name="T5" fmla="*/ 2 h 4"/>
                  <a:gd name="T6" fmla="*/ 1 w 5"/>
                  <a:gd name="T7" fmla="*/ 0 h 4"/>
                  <a:gd name="T8" fmla="*/ 4 w 5"/>
                  <a:gd name="T9" fmla="*/ 2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4"/>
                  <a:gd name="T17" fmla="*/ 5 w 5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4">
                    <a:moveTo>
                      <a:pt x="3" y="2"/>
                    </a:moveTo>
                    <a:cubicBezTo>
                      <a:pt x="4" y="2"/>
                      <a:pt x="5" y="3"/>
                      <a:pt x="4" y="3"/>
                    </a:cubicBezTo>
                    <a:cubicBezTo>
                      <a:pt x="4" y="4"/>
                      <a:pt x="3" y="3"/>
                      <a:pt x="2" y="2"/>
                    </a:cubicBezTo>
                    <a:cubicBezTo>
                      <a:pt x="2" y="2"/>
                      <a:pt x="0" y="0"/>
                      <a:pt x="1" y="0"/>
                    </a:cubicBezTo>
                    <a:cubicBezTo>
                      <a:pt x="2" y="0"/>
                      <a:pt x="3" y="1"/>
                      <a:pt x="3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16" name="Freeform 2953"/>
              <p:cNvSpPr>
                <a:spLocks noChangeAspect="1"/>
              </p:cNvSpPr>
              <p:nvPr/>
            </p:nvSpPr>
            <p:spPr bwMode="auto">
              <a:xfrm>
                <a:off x="7025623" y="3058296"/>
                <a:ext cx="6712" cy="3322"/>
              </a:xfrm>
              <a:custGeom>
                <a:avLst/>
                <a:gdLst>
                  <a:gd name="T0" fmla="*/ 4 w 5"/>
                  <a:gd name="T1" fmla="*/ 2 h 4"/>
                  <a:gd name="T2" fmla="*/ 5 w 5"/>
                  <a:gd name="T3" fmla="*/ 3 h 4"/>
                  <a:gd name="T4" fmla="*/ 2 w 5"/>
                  <a:gd name="T5" fmla="*/ 2 h 4"/>
                  <a:gd name="T6" fmla="*/ 1 w 5"/>
                  <a:gd name="T7" fmla="*/ 0 h 4"/>
                  <a:gd name="T8" fmla="*/ 4 w 5"/>
                  <a:gd name="T9" fmla="*/ 2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4"/>
                  <a:gd name="T17" fmla="*/ 5 w 5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4">
                    <a:moveTo>
                      <a:pt x="3" y="2"/>
                    </a:moveTo>
                    <a:cubicBezTo>
                      <a:pt x="4" y="2"/>
                      <a:pt x="5" y="3"/>
                      <a:pt x="4" y="3"/>
                    </a:cubicBezTo>
                    <a:cubicBezTo>
                      <a:pt x="4" y="4"/>
                      <a:pt x="3" y="3"/>
                      <a:pt x="2" y="2"/>
                    </a:cubicBezTo>
                    <a:cubicBezTo>
                      <a:pt x="2" y="2"/>
                      <a:pt x="0" y="0"/>
                      <a:pt x="1" y="0"/>
                    </a:cubicBezTo>
                    <a:cubicBezTo>
                      <a:pt x="2" y="0"/>
                      <a:pt x="3" y="1"/>
                      <a:pt x="3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17" name="Freeform 2954"/>
              <p:cNvSpPr>
                <a:spLocks noChangeAspect="1"/>
              </p:cNvSpPr>
              <p:nvPr/>
            </p:nvSpPr>
            <p:spPr bwMode="auto">
              <a:xfrm>
                <a:off x="7039045" y="3094015"/>
                <a:ext cx="6712" cy="2493"/>
              </a:xfrm>
              <a:custGeom>
                <a:avLst/>
                <a:gdLst>
                  <a:gd name="T0" fmla="*/ 4 w 5"/>
                  <a:gd name="T1" fmla="*/ 1 h 3"/>
                  <a:gd name="T2" fmla="*/ 5 w 5"/>
                  <a:gd name="T3" fmla="*/ 3 h 3"/>
                  <a:gd name="T4" fmla="*/ 2 w 5"/>
                  <a:gd name="T5" fmla="*/ 2 h 3"/>
                  <a:gd name="T6" fmla="*/ 0 w 5"/>
                  <a:gd name="T7" fmla="*/ 1 h 3"/>
                  <a:gd name="T8" fmla="*/ 4 w 5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3"/>
                  <a:gd name="T17" fmla="*/ 5 w 5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3">
                    <a:moveTo>
                      <a:pt x="3" y="1"/>
                    </a:moveTo>
                    <a:cubicBezTo>
                      <a:pt x="4" y="1"/>
                      <a:pt x="5" y="2"/>
                      <a:pt x="4" y="3"/>
                    </a:cubicBezTo>
                    <a:cubicBezTo>
                      <a:pt x="4" y="3"/>
                      <a:pt x="3" y="3"/>
                      <a:pt x="2" y="2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1" y="0"/>
                      <a:pt x="2" y="1"/>
                      <a:pt x="3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18" name="Freeform 2955"/>
              <p:cNvSpPr>
                <a:spLocks noChangeAspect="1"/>
              </p:cNvSpPr>
              <p:nvPr/>
            </p:nvSpPr>
            <p:spPr bwMode="auto">
              <a:xfrm>
                <a:off x="6996543" y="3070758"/>
                <a:ext cx="5593" cy="4153"/>
              </a:xfrm>
              <a:custGeom>
                <a:avLst/>
                <a:gdLst>
                  <a:gd name="T0" fmla="*/ 4 w 4"/>
                  <a:gd name="T1" fmla="*/ 3 h 4"/>
                  <a:gd name="T2" fmla="*/ 5 w 4"/>
                  <a:gd name="T3" fmla="*/ 4 h 4"/>
                  <a:gd name="T4" fmla="*/ 1 w 4"/>
                  <a:gd name="T5" fmla="*/ 3 h 4"/>
                  <a:gd name="T6" fmla="*/ 0 w 4"/>
                  <a:gd name="T7" fmla="*/ 0 h 4"/>
                  <a:gd name="T8" fmla="*/ 4 w 4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3" y="2"/>
                    </a:moveTo>
                    <a:cubicBezTo>
                      <a:pt x="3" y="2"/>
                      <a:pt x="4" y="3"/>
                      <a:pt x="4" y="3"/>
                    </a:cubicBezTo>
                    <a:cubicBezTo>
                      <a:pt x="3" y="4"/>
                      <a:pt x="2" y="3"/>
                      <a:pt x="1" y="2"/>
                    </a:cubicBezTo>
                    <a:cubicBezTo>
                      <a:pt x="1" y="2"/>
                      <a:pt x="0" y="0"/>
                      <a:pt x="0" y="0"/>
                    </a:cubicBezTo>
                    <a:cubicBezTo>
                      <a:pt x="1" y="0"/>
                      <a:pt x="2" y="1"/>
                      <a:pt x="3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19" name="Freeform 2956"/>
              <p:cNvSpPr>
                <a:spLocks noChangeAspect="1"/>
              </p:cNvSpPr>
              <p:nvPr/>
            </p:nvSpPr>
            <p:spPr bwMode="auto">
              <a:xfrm>
                <a:off x="7065889" y="3000982"/>
                <a:ext cx="3356" cy="4984"/>
              </a:xfrm>
              <a:custGeom>
                <a:avLst/>
                <a:gdLst>
                  <a:gd name="T0" fmla="*/ 3 w 2"/>
                  <a:gd name="T1" fmla="*/ 5 h 5"/>
                  <a:gd name="T2" fmla="*/ 2 w 2"/>
                  <a:gd name="T3" fmla="*/ 6 h 5"/>
                  <a:gd name="T4" fmla="*/ 0 w 2"/>
                  <a:gd name="T5" fmla="*/ 4 h 5"/>
                  <a:gd name="T6" fmla="*/ 2 w 2"/>
                  <a:gd name="T7" fmla="*/ 1 h 5"/>
                  <a:gd name="T8" fmla="*/ 3 w 2"/>
                  <a:gd name="T9" fmla="*/ 5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5"/>
                  <a:gd name="T17" fmla="*/ 2 w 2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5">
                    <a:moveTo>
                      <a:pt x="2" y="4"/>
                    </a:moveTo>
                    <a:cubicBezTo>
                      <a:pt x="2" y="4"/>
                      <a:pt x="1" y="5"/>
                      <a:pt x="1" y="5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2"/>
                      <a:pt x="0" y="0"/>
                      <a:pt x="1" y="1"/>
                    </a:cubicBezTo>
                    <a:cubicBezTo>
                      <a:pt x="2" y="1"/>
                      <a:pt x="2" y="3"/>
                      <a:pt x="2" y="4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20" name="Freeform 2957"/>
              <p:cNvSpPr>
                <a:spLocks noChangeAspect="1"/>
              </p:cNvSpPr>
              <p:nvPr/>
            </p:nvSpPr>
            <p:spPr bwMode="auto">
              <a:xfrm>
                <a:off x="6660995" y="3045837"/>
                <a:ext cx="5593" cy="4984"/>
              </a:xfrm>
              <a:custGeom>
                <a:avLst/>
                <a:gdLst>
                  <a:gd name="T0" fmla="*/ 3 w 4"/>
                  <a:gd name="T1" fmla="*/ 5 h 5"/>
                  <a:gd name="T2" fmla="*/ 0 w 4"/>
                  <a:gd name="T3" fmla="*/ 5 h 5"/>
                  <a:gd name="T4" fmla="*/ 1 w 4"/>
                  <a:gd name="T5" fmla="*/ 2 h 5"/>
                  <a:gd name="T6" fmla="*/ 4 w 4"/>
                  <a:gd name="T7" fmla="*/ 1 h 5"/>
                  <a:gd name="T8" fmla="*/ 3 w 4"/>
                  <a:gd name="T9" fmla="*/ 5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5"/>
                  <a:gd name="T17" fmla="*/ 4 w 4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5">
                    <a:moveTo>
                      <a:pt x="2" y="4"/>
                    </a:moveTo>
                    <a:cubicBezTo>
                      <a:pt x="1" y="4"/>
                      <a:pt x="1" y="5"/>
                      <a:pt x="0" y="4"/>
                    </a:cubicBezTo>
                    <a:cubicBezTo>
                      <a:pt x="0" y="4"/>
                      <a:pt x="1" y="3"/>
                      <a:pt x="1" y="2"/>
                    </a:cubicBezTo>
                    <a:cubicBezTo>
                      <a:pt x="2" y="2"/>
                      <a:pt x="3" y="0"/>
                      <a:pt x="3" y="1"/>
                    </a:cubicBezTo>
                    <a:cubicBezTo>
                      <a:pt x="4" y="2"/>
                      <a:pt x="3" y="3"/>
                      <a:pt x="2" y="4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21" name="Freeform 2958"/>
              <p:cNvSpPr>
                <a:spLocks noChangeAspect="1"/>
              </p:cNvSpPr>
              <p:nvPr/>
            </p:nvSpPr>
            <p:spPr bwMode="auto">
              <a:xfrm>
                <a:off x="6700142" y="3004304"/>
                <a:ext cx="3356" cy="6645"/>
              </a:xfrm>
              <a:custGeom>
                <a:avLst/>
                <a:gdLst>
                  <a:gd name="T0" fmla="*/ 2 w 3"/>
                  <a:gd name="T1" fmla="*/ 6 h 7"/>
                  <a:gd name="T2" fmla="*/ 1 w 3"/>
                  <a:gd name="T3" fmla="*/ 8 h 7"/>
                  <a:gd name="T4" fmla="*/ 1 w 3"/>
                  <a:gd name="T5" fmla="*/ 5 h 7"/>
                  <a:gd name="T6" fmla="*/ 3 w 3"/>
                  <a:gd name="T7" fmla="*/ 1 h 7"/>
                  <a:gd name="T8" fmla="*/ 2 w 3"/>
                  <a:gd name="T9" fmla="*/ 6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7"/>
                  <a:gd name="T17" fmla="*/ 3 w 3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7">
                    <a:moveTo>
                      <a:pt x="2" y="5"/>
                    </a:moveTo>
                    <a:cubicBezTo>
                      <a:pt x="2" y="6"/>
                      <a:pt x="1" y="7"/>
                      <a:pt x="1" y="7"/>
                    </a:cubicBezTo>
                    <a:cubicBezTo>
                      <a:pt x="0" y="7"/>
                      <a:pt x="1" y="5"/>
                      <a:pt x="1" y="4"/>
                    </a:cubicBezTo>
                    <a:cubicBezTo>
                      <a:pt x="1" y="3"/>
                      <a:pt x="2" y="0"/>
                      <a:pt x="3" y="1"/>
                    </a:cubicBezTo>
                    <a:cubicBezTo>
                      <a:pt x="3" y="1"/>
                      <a:pt x="3" y="4"/>
                      <a:pt x="2" y="5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22" name="Freeform 2959"/>
              <p:cNvSpPr>
                <a:spLocks noChangeAspect="1"/>
              </p:cNvSpPr>
              <p:nvPr/>
            </p:nvSpPr>
            <p:spPr bwMode="auto">
              <a:xfrm>
                <a:off x="6614019" y="2977722"/>
                <a:ext cx="5593" cy="4153"/>
              </a:xfrm>
              <a:custGeom>
                <a:avLst/>
                <a:gdLst>
                  <a:gd name="T0" fmla="*/ 3 w 4"/>
                  <a:gd name="T1" fmla="*/ 4 h 4"/>
                  <a:gd name="T2" fmla="*/ 0 w 4"/>
                  <a:gd name="T3" fmla="*/ 5 h 4"/>
                  <a:gd name="T4" fmla="*/ 1 w 4"/>
                  <a:gd name="T5" fmla="*/ 3 h 4"/>
                  <a:gd name="T6" fmla="*/ 5 w 4"/>
                  <a:gd name="T7" fmla="*/ 1 h 4"/>
                  <a:gd name="T8" fmla="*/ 3 w 4"/>
                  <a:gd name="T9" fmla="*/ 4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2" y="3"/>
                    </a:moveTo>
                    <a:cubicBezTo>
                      <a:pt x="1" y="4"/>
                      <a:pt x="0" y="4"/>
                      <a:pt x="0" y="4"/>
                    </a:cubicBezTo>
                    <a:cubicBezTo>
                      <a:pt x="0" y="3"/>
                      <a:pt x="1" y="2"/>
                      <a:pt x="1" y="2"/>
                    </a:cubicBezTo>
                    <a:cubicBezTo>
                      <a:pt x="2" y="1"/>
                      <a:pt x="4" y="0"/>
                      <a:pt x="4" y="1"/>
                    </a:cubicBezTo>
                    <a:cubicBezTo>
                      <a:pt x="4" y="2"/>
                      <a:pt x="3" y="3"/>
                      <a:pt x="2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23" name="Freeform 2960"/>
              <p:cNvSpPr>
                <a:spLocks noChangeAspect="1"/>
              </p:cNvSpPr>
              <p:nvPr/>
            </p:nvSpPr>
            <p:spPr bwMode="auto">
              <a:xfrm>
                <a:off x="6637508" y="2927882"/>
                <a:ext cx="6712" cy="3322"/>
              </a:xfrm>
              <a:custGeom>
                <a:avLst/>
                <a:gdLst>
                  <a:gd name="T0" fmla="*/ 4 w 5"/>
                  <a:gd name="T1" fmla="*/ 1 h 3"/>
                  <a:gd name="T2" fmla="*/ 5 w 5"/>
                  <a:gd name="T3" fmla="*/ 4 h 3"/>
                  <a:gd name="T4" fmla="*/ 2 w 5"/>
                  <a:gd name="T5" fmla="*/ 3 h 3"/>
                  <a:gd name="T6" fmla="*/ 0 w 5"/>
                  <a:gd name="T7" fmla="*/ 0 h 3"/>
                  <a:gd name="T8" fmla="*/ 4 w 5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3"/>
                  <a:gd name="T17" fmla="*/ 5 w 5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3">
                    <a:moveTo>
                      <a:pt x="3" y="1"/>
                    </a:moveTo>
                    <a:cubicBezTo>
                      <a:pt x="4" y="2"/>
                      <a:pt x="5" y="2"/>
                      <a:pt x="4" y="3"/>
                    </a:cubicBezTo>
                    <a:cubicBezTo>
                      <a:pt x="4" y="3"/>
                      <a:pt x="3" y="3"/>
                      <a:pt x="2" y="2"/>
                    </a:cubicBezTo>
                    <a:cubicBezTo>
                      <a:pt x="1" y="2"/>
                      <a:pt x="0" y="1"/>
                      <a:pt x="0" y="0"/>
                    </a:cubicBezTo>
                    <a:cubicBezTo>
                      <a:pt x="1" y="0"/>
                      <a:pt x="2" y="1"/>
                      <a:pt x="3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24" name="Freeform 2961"/>
              <p:cNvSpPr>
                <a:spLocks noChangeAspect="1"/>
              </p:cNvSpPr>
              <p:nvPr/>
            </p:nvSpPr>
            <p:spPr bwMode="auto">
              <a:xfrm>
                <a:off x="6579345" y="2956956"/>
                <a:ext cx="2237" cy="4984"/>
              </a:xfrm>
              <a:custGeom>
                <a:avLst/>
                <a:gdLst>
                  <a:gd name="T0" fmla="*/ 2 w 2"/>
                  <a:gd name="T1" fmla="*/ 4 h 5"/>
                  <a:gd name="T2" fmla="*/ 2 w 2"/>
                  <a:gd name="T3" fmla="*/ 6 h 5"/>
                  <a:gd name="T4" fmla="*/ 1 w 2"/>
                  <a:gd name="T5" fmla="*/ 4 h 5"/>
                  <a:gd name="T6" fmla="*/ 1 w 2"/>
                  <a:gd name="T7" fmla="*/ 0 h 5"/>
                  <a:gd name="T8" fmla="*/ 2 w 2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5"/>
                  <a:gd name="T17" fmla="*/ 2 w 2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5">
                    <a:moveTo>
                      <a:pt x="2" y="3"/>
                    </a:moveTo>
                    <a:cubicBezTo>
                      <a:pt x="2" y="4"/>
                      <a:pt x="2" y="5"/>
                      <a:pt x="2" y="5"/>
                    </a:cubicBezTo>
                    <a:cubicBezTo>
                      <a:pt x="1" y="5"/>
                      <a:pt x="1" y="3"/>
                      <a:pt x="1" y="3"/>
                    </a:cubicBezTo>
                    <a:cubicBezTo>
                      <a:pt x="0" y="2"/>
                      <a:pt x="0" y="0"/>
                      <a:pt x="1" y="0"/>
                    </a:cubicBezTo>
                    <a:cubicBezTo>
                      <a:pt x="2" y="0"/>
                      <a:pt x="2" y="2"/>
                      <a:pt x="2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25" name="Freeform 2962"/>
              <p:cNvSpPr>
                <a:spLocks noChangeAspect="1"/>
              </p:cNvSpPr>
              <p:nvPr/>
            </p:nvSpPr>
            <p:spPr bwMode="auto">
              <a:xfrm>
                <a:off x="6526776" y="3083217"/>
                <a:ext cx="5593" cy="3322"/>
              </a:xfrm>
              <a:custGeom>
                <a:avLst/>
                <a:gdLst>
                  <a:gd name="T0" fmla="*/ 3 w 4"/>
                  <a:gd name="T1" fmla="*/ 3 h 4"/>
                  <a:gd name="T2" fmla="*/ 0 w 4"/>
                  <a:gd name="T3" fmla="*/ 4 h 4"/>
                  <a:gd name="T4" fmla="*/ 1 w 4"/>
                  <a:gd name="T5" fmla="*/ 2 h 4"/>
                  <a:gd name="T6" fmla="*/ 5 w 4"/>
                  <a:gd name="T7" fmla="*/ 0 h 4"/>
                  <a:gd name="T8" fmla="*/ 3 w 4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2" y="3"/>
                    </a:moveTo>
                    <a:cubicBezTo>
                      <a:pt x="1" y="4"/>
                      <a:pt x="0" y="4"/>
                      <a:pt x="0" y="4"/>
                    </a:cubicBezTo>
                    <a:cubicBezTo>
                      <a:pt x="0" y="3"/>
                      <a:pt x="0" y="2"/>
                      <a:pt x="1" y="2"/>
                    </a:cubicBezTo>
                    <a:cubicBezTo>
                      <a:pt x="2" y="1"/>
                      <a:pt x="3" y="0"/>
                      <a:pt x="4" y="0"/>
                    </a:cubicBezTo>
                    <a:cubicBezTo>
                      <a:pt x="4" y="1"/>
                      <a:pt x="3" y="2"/>
                      <a:pt x="2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26" name="Freeform 2963"/>
              <p:cNvSpPr>
                <a:spLocks noChangeAspect="1"/>
              </p:cNvSpPr>
              <p:nvPr/>
            </p:nvSpPr>
            <p:spPr bwMode="auto">
              <a:xfrm>
                <a:off x="7277283" y="3163792"/>
                <a:ext cx="5593" cy="2493"/>
              </a:xfrm>
              <a:custGeom>
                <a:avLst/>
                <a:gdLst>
                  <a:gd name="T0" fmla="*/ 3 w 4"/>
                  <a:gd name="T1" fmla="*/ 3 h 3"/>
                  <a:gd name="T2" fmla="*/ 0 w 4"/>
                  <a:gd name="T3" fmla="*/ 2 h 3"/>
                  <a:gd name="T4" fmla="*/ 3 w 4"/>
                  <a:gd name="T5" fmla="*/ 1 h 3"/>
                  <a:gd name="T6" fmla="*/ 4 w 4"/>
                  <a:gd name="T7" fmla="*/ 1 h 3"/>
                  <a:gd name="T8" fmla="*/ 3 w 4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2" y="3"/>
                    </a:moveTo>
                    <a:cubicBezTo>
                      <a:pt x="1" y="3"/>
                      <a:pt x="1" y="3"/>
                      <a:pt x="0" y="2"/>
                    </a:cubicBezTo>
                    <a:cubicBezTo>
                      <a:pt x="0" y="2"/>
                      <a:pt x="1" y="1"/>
                      <a:pt x="2" y="1"/>
                    </a:cubicBezTo>
                    <a:cubicBezTo>
                      <a:pt x="2" y="1"/>
                      <a:pt x="3" y="0"/>
                      <a:pt x="3" y="1"/>
                    </a:cubicBezTo>
                    <a:cubicBezTo>
                      <a:pt x="4" y="2"/>
                      <a:pt x="3" y="3"/>
                      <a:pt x="2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27" name="Freeform 2964"/>
              <p:cNvSpPr>
                <a:spLocks noChangeAspect="1"/>
              </p:cNvSpPr>
              <p:nvPr/>
            </p:nvSpPr>
            <p:spPr bwMode="auto">
              <a:xfrm>
                <a:off x="7289587" y="3199511"/>
                <a:ext cx="4474" cy="4153"/>
              </a:xfrm>
              <a:custGeom>
                <a:avLst/>
                <a:gdLst>
                  <a:gd name="T0" fmla="*/ 2 w 4"/>
                  <a:gd name="T1" fmla="*/ 4 h 4"/>
                  <a:gd name="T2" fmla="*/ 0 w 4"/>
                  <a:gd name="T3" fmla="*/ 4 h 4"/>
                  <a:gd name="T4" fmla="*/ 1 w 4"/>
                  <a:gd name="T5" fmla="*/ 0 h 4"/>
                  <a:gd name="T6" fmla="*/ 3 w 4"/>
                  <a:gd name="T7" fmla="*/ 1 h 4"/>
                  <a:gd name="T8" fmla="*/ 2 w 4"/>
                  <a:gd name="T9" fmla="*/ 4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2" y="3"/>
                    </a:moveTo>
                    <a:cubicBezTo>
                      <a:pt x="1" y="4"/>
                      <a:pt x="0" y="4"/>
                      <a:pt x="0" y="3"/>
                    </a:cubicBezTo>
                    <a:cubicBezTo>
                      <a:pt x="0" y="2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4" y="3"/>
                      <a:pt x="2" y="3"/>
                      <a:pt x="2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28" name="Freeform 2965"/>
              <p:cNvSpPr>
                <a:spLocks noChangeAspect="1"/>
              </p:cNvSpPr>
              <p:nvPr/>
            </p:nvSpPr>
            <p:spPr bwMode="auto">
              <a:xfrm>
                <a:off x="7280639" y="3170438"/>
                <a:ext cx="4474" cy="3322"/>
              </a:xfrm>
              <a:custGeom>
                <a:avLst/>
                <a:gdLst>
                  <a:gd name="T0" fmla="*/ 1 w 3"/>
                  <a:gd name="T1" fmla="*/ 4 h 3"/>
                  <a:gd name="T2" fmla="*/ 0 w 3"/>
                  <a:gd name="T3" fmla="*/ 3 h 3"/>
                  <a:gd name="T4" fmla="*/ 1 w 3"/>
                  <a:gd name="T5" fmla="*/ 1 h 3"/>
                  <a:gd name="T6" fmla="*/ 4 w 3"/>
                  <a:gd name="T7" fmla="*/ 1 h 3"/>
                  <a:gd name="T8" fmla="*/ 1 w 3"/>
                  <a:gd name="T9" fmla="*/ 4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1" y="3"/>
                    </a:moveTo>
                    <a:cubicBezTo>
                      <a:pt x="1" y="3"/>
                      <a:pt x="0" y="3"/>
                      <a:pt x="0" y="2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3" y="0"/>
                      <a:pt x="3" y="1"/>
                    </a:cubicBezTo>
                    <a:cubicBezTo>
                      <a:pt x="3" y="2"/>
                      <a:pt x="2" y="2"/>
                      <a:pt x="1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29" name="Freeform 2966"/>
              <p:cNvSpPr>
                <a:spLocks noChangeAspect="1"/>
              </p:cNvSpPr>
              <p:nvPr/>
            </p:nvSpPr>
            <p:spPr bwMode="auto">
              <a:xfrm>
                <a:off x="7280639" y="3185390"/>
                <a:ext cx="4474" cy="3322"/>
              </a:xfrm>
              <a:custGeom>
                <a:avLst/>
                <a:gdLst>
                  <a:gd name="T0" fmla="*/ 1 w 3"/>
                  <a:gd name="T1" fmla="*/ 3 h 3"/>
                  <a:gd name="T2" fmla="*/ 0 w 3"/>
                  <a:gd name="T3" fmla="*/ 3 h 3"/>
                  <a:gd name="T4" fmla="*/ 1 w 3"/>
                  <a:gd name="T5" fmla="*/ 0 h 3"/>
                  <a:gd name="T6" fmla="*/ 4 w 3"/>
                  <a:gd name="T7" fmla="*/ 1 h 3"/>
                  <a:gd name="T8" fmla="*/ 1 w 3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1" y="2"/>
                    </a:moveTo>
                    <a:cubicBezTo>
                      <a:pt x="1" y="3"/>
                      <a:pt x="0" y="3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3" y="0"/>
                      <a:pt x="3" y="1"/>
                    </a:cubicBezTo>
                    <a:cubicBezTo>
                      <a:pt x="3" y="2"/>
                      <a:pt x="2" y="2"/>
                      <a:pt x="1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30" name="Freeform 2967"/>
              <p:cNvSpPr>
                <a:spLocks noChangeAspect="1"/>
              </p:cNvSpPr>
              <p:nvPr/>
            </p:nvSpPr>
            <p:spPr bwMode="auto">
              <a:xfrm>
                <a:off x="6492104" y="2656255"/>
                <a:ext cx="2237" cy="2493"/>
              </a:xfrm>
              <a:custGeom>
                <a:avLst/>
                <a:gdLst>
                  <a:gd name="T0" fmla="*/ 2 w 2"/>
                  <a:gd name="T1" fmla="*/ 2 h 3"/>
                  <a:gd name="T2" fmla="*/ 1 w 2"/>
                  <a:gd name="T3" fmla="*/ 3 h 3"/>
                  <a:gd name="T4" fmla="*/ 0 w 2"/>
                  <a:gd name="T5" fmla="*/ 2 h 3"/>
                  <a:gd name="T6" fmla="*/ 1 w 2"/>
                  <a:gd name="T7" fmla="*/ 0 h 3"/>
                  <a:gd name="T8" fmla="*/ 2 w 2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1" y="2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31" name="Freeform 2968"/>
              <p:cNvSpPr>
                <a:spLocks noChangeAspect="1"/>
              </p:cNvSpPr>
              <p:nvPr/>
            </p:nvSpPr>
            <p:spPr bwMode="auto">
              <a:xfrm>
                <a:off x="6534607" y="2796638"/>
                <a:ext cx="4474" cy="3322"/>
              </a:xfrm>
              <a:custGeom>
                <a:avLst/>
                <a:gdLst>
                  <a:gd name="T0" fmla="*/ 4 w 3"/>
                  <a:gd name="T1" fmla="*/ 3 h 3"/>
                  <a:gd name="T2" fmla="*/ 1 w 3"/>
                  <a:gd name="T3" fmla="*/ 4 h 3"/>
                  <a:gd name="T4" fmla="*/ 0 w 3"/>
                  <a:gd name="T5" fmla="*/ 1 h 3"/>
                  <a:gd name="T6" fmla="*/ 3 w 3"/>
                  <a:gd name="T7" fmla="*/ 0 h 3"/>
                  <a:gd name="T8" fmla="*/ 4 w 3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3" y="2"/>
                    </a:moveTo>
                    <a:cubicBezTo>
                      <a:pt x="3" y="2"/>
                      <a:pt x="2" y="3"/>
                      <a:pt x="1" y="3"/>
                    </a:cubicBezTo>
                    <a:cubicBezTo>
                      <a:pt x="0" y="3"/>
                      <a:pt x="0" y="2"/>
                      <a:pt x="0" y="1"/>
                    </a:cubicBezTo>
                    <a:cubicBezTo>
                      <a:pt x="0" y="1"/>
                      <a:pt x="0" y="0"/>
                      <a:pt x="2" y="0"/>
                    </a:cubicBezTo>
                    <a:cubicBezTo>
                      <a:pt x="3" y="0"/>
                      <a:pt x="3" y="1"/>
                      <a:pt x="3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32" name="Freeform 2969"/>
              <p:cNvSpPr>
                <a:spLocks noChangeAspect="1"/>
              </p:cNvSpPr>
              <p:nvPr/>
            </p:nvSpPr>
            <p:spPr bwMode="auto">
              <a:xfrm>
                <a:off x="6502170" y="2736830"/>
                <a:ext cx="5593" cy="4153"/>
              </a:xfrm>
              <a:custGeom>
                <a:avLst/>
                <a:gdLst>
                  <a:gd name="T0" fmla="*/ 5 w 4"/>
                  <a:gd name="T1" fmla="*/ 3 h 4"/>
                  <a:gd name="T2" fmla="*/ 3 w 4"/>
                  <a:gd name="T3" fmla="*/ 5 h 4"/>
                  <a:gd name="T4" fmla="*/ 0 w 4"/>
                  <a:gd name="T5" fmla="*/ 3 h 4"/>
                  <a:gd name="T6" fmla="*/ 3 w 4"/>
                  <a:gd name="T7" fmla="*/ 0 h 4"/>
                  <a:gd name="T8" fmla="*/ 5 w 4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4" y="2"/>
                    </a:moveTo>
                    <a:cubicBezTo>
                      <a:pt x="4" y="3"/>
                      <a:pt x="3" y="4"/>
                      <a:pt x="2" y="4"/>
                    </a:cubicBezTo>
                    <a:cubicBezTo>
                      <a:pt x="0" y="3"/>
                      <a:pt x="0" y="3"/>
                      <a:pt x="0" y="2"/>
                    </a:cubicBezTo>
                    <a:cubicBezTo>
                      <a:pt x="0" y="1"/>
                      <a:pt x="0" y="0"/>
                      <a:pt x="2" y="0"/>
                    </a:cubicBezTo>
                    <a:cubicBezTo>
                      <a:pt x="4" y="1"/>
                      <a:pt x="4" y="2"/>
                      <a:pt x="4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33" name="Freeform 2970"/>
              <p:cNvSpPr>
                <a:spLocks noChangeAspect="1"/>
              </p:cNvSpPr>
              <p:nvPr/>
            </p:nvSpPr>
            <p:spPr bwMode="auto">
              <a:xfrm>
                <a:off x="7250439" y="3084048"/>
                <a:ext cx="5593" cy="2493"/>
              </a:xfrm>
              <a:custGeom>
                <a:avLst/>
                <a:gdLst>
                  <a:gd name="T0" fmla="*/ 3 w 4"/>
                  <a:gd name="T1" fmla="*/ 2 h 3"/>
                  <a:gd name="T2" fmla="*/ 1 w 4"/>
                  <a:gd name="T3" fmla="*/ 2 h 3"/>
                  <a:gd name="T4" fmla="*/ 1 w 4"/>
                  <a:gd name="T5" fmla="*/ 1 h 3"/>
                  <a:gd name="T6" fmla="*/ 4 w 4"/>
                  <a:gd name="T7" fmla="*/ 0 h 3"/>
                  <a:gd name="T8" fmla="*/ 3 w 4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2" y="2"/>
                    </a:moveTo>
                    <a:cubicBezTo>
                      <a:pt x="2" y="3"/>
                      <a:pt x="1" y="3"/>
                      <a:pt x="1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4" y="1"/>
                      <a:pt x="3" y="2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34" name="Freeform 2971"/>
              <p:cNvSpPr>
                <a:spLocks noChangeAspect="1"/>
              </p:cNvSpPr>
              <p:nvPr/>
            </p:nvSpPr>
            <p:spPr bwMode="auto">
              <a:xfrm>
                <a:off x="6993187" y="3064942"/>
                <a:ext cx="4474" cy="4153"/>
              </a:xfrm>
              <a:custGeom>
                <a:avLst/>
                <a:gdLst>
                  <a:gd name="T0" fmla="*/ 3 w 3"/>
                  <a:gd name="T1" fmla="*/ 3 h 4"/>
                  <a:gd name="T2" fmla="*/ 4 w 3"/>
                  <a:gd name="T3" fmla="*/ 4 h 4"/>
                  <a:gd name="T4" fmla="*/ 1 w 3"/>
                  <a:gd name="T5" fmla="*/ 4 h 4"/>
                  <a:gd name="T6" fmla="*/ 0 w 3"/>
                  <a:gd name="T7" fmla="*/ 1 h 4"/>
                  <a:gd name="T8" fmla="*/ 3 w 3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4"/>
                  <a:gd name="T17" fmla="*/ 3 w 3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4">
                    <a:moveTo>
                      <a:pt x="2" y="2"/>
                    </a:moveTo>
                    <a:cubicBezTo>
                      <a:pt x="3" y="2"/>
                      <a:pt x="3" y="3"/>
                      <a:pt x="3" y="3"/>
                    </a:cubicBezTo>
                    <a:cubicBezTo>
                      <a:pt x="2" y="4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1"/>
                    </a:cubicBezTo>
                    <a:cubicBezTo>
                      <a:pt x="1" y="0"/>
                      <a:pt x="2" y="1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35" name="Freeform 2972"/>
              <p:cNvSpPr>
                <a:spLocks noChangeAspect="1"/>
              </p:cNvSpPr>
              <p:nvPr/>
            </p:nvSpPr>
            <p:spPr bwMode="auto">
              <a:xfrm>
                <a:off x="6988712" y="2961940"/>
                <a:ext cx="4474" cy="3322"/>
              </a:xfrm>
              <a:custGeom>
                <a:avLst/>
                <a:gdLst>
                  <a:gd name="T0" fmla="*/ 2 w 4"/>
                  <a:gd name="T1" fmla="*/ 3 h 3"/>
                  <a:gd name="T2" fmla="*/ 0 w 4"/>
                  <a:gd name="T3" fmla="*/ 3 h 3"/>
                  <a:gd name="T4" fmla="*/ 2 w 4"/>
                  <a:gd name="T5" fmla="*/ 0 h 3"/>
                  <a:gd name="T6" fmla="*/ 4 w 4"/>
                  <a:gd name="T7" fmla="*/ 1 h 3"/>
                  <a:gd name="T8" fmla="*/ 2 w 4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2" y="2"/>
                    </a:moveTo>
                    <a:cubicBezTo>
                      <a:pt x="1" y="3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3" y="0"/>
                      <a:pt x="4" y="0"/>
                      <a:pt x="4" y="1"/>
                    </a:cubicBezTo>
                    <a:cubicBezTo>
                      <a:pt x="4" y="2"/>
                      <a:pt x="3" y="2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36" name="Oval 2973"/>
              <p:cNvSpPr>
                <a:spLocks noChangeAspect="1" noChangeArrowheads="1"/>
              </p:cNvSpPr>
              <p:nvPr/>
            </p:nvSpPr>
            <p:spPr bwMode="auto">
              <a:xfrm>
                <a:off x="6663231" y="2941173"/>
                <a:ext cx="4474" cy="4984"/>
              </a:xfrm>
              <a:prstGeom prst="ellipse">
                <a:avLst/>
              </a:pr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37" name="Freeform 2974"/>
              <p:cNvSpPr>
                <a:spLocks noChangeAspect="1"/>
              </p:cNvSpPr>
              <p:nvPr/>
            </p:nvSpPr>
            <p:spPr bwMode="auto">
              <a:xfrm>
                <a:off x="6530133" y="2986029"/>
                <a:ext cx="4474" cy="3322"/>
              </a:xfrm>
              <a:custGeom>
                <a:avLst/>
                <a:gdLst>
                  <a:gd name="T0" fmla="*/ 3 w 3"/>
                  <a:gd name="T1" fmla="*/ 1 h 3"/>
                  <a:gd name="T2" fmla="*/ 4 w 3"/>
                  <a:gd name="T3" fmla="*/ 4 h 3"/>
                  <a:gd name="T4" fmla="*/ 1 w 3"/>
                  <a:gd name="T5" fmla="*/ 3 h 3"/>
                  <a:gd name="T6" fmla="*/ 0 w 3"/>
                  <a:gd name="T7" fmla="*/ 0 h 3"/>
                  <a:gd name="T8" fmla="*/ 3 w 3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1"/>
                    </a:moveTo>
                    <a:cubicBezTo>
                      <a:pt x="3" y="2"/>
                      <a:pt x="3" y="2"/>
                      <a:pt x="3" y="3"/>
                    </a:cubicBezTo>
                    <a:cubicBezTo>
                      <a:pt x="2" y="3"/>
                      <a:pt x="1" y="3"/>
                      <a:pt x="1" y="2"/>
                    </a:cubicBezTo>
                    <a:cubicBezTo>
                      <a:pt x="0" y="2"/>
                      <a:pt x="0" y="1"/>
                      <a:pt x="0" y="0"/>
                    </a:cubicBezTo>
                    <a:cubicBezTo>
                      <a:pt x="1" y="0"/>
                      <a:pt x="2" y="1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38" name="Freeform 2975"/>
              <p:cNvSpPr>
                <a:spLocks noChangeAspect="1"/>
              </p:cNvSpPr>
              <p:nvPr/>
            </p:nvSpPr>
            <p:spPr bwMode="auto">
              <a:xfrm>
                <a:off x="6379136" y="3229414"/>
                <a:ext cx="2237" cy="4153"/>
              </a:xfrm>
              <a:custGeom>
                <a:avLst/>
                <a:gdLst>
                  <a:gd name="T0" fmla="*/ 2 w 2"/>
                  <a:gd name="T1" fmla="*/ 3 h 4"/>
                  <a:gd name="T2" fmla="*/ 1 w 2"/>
                  <a:gd name="T3" fmla="*/ 4 h 4"/>
                  <a:gd name="T4" fmla="*/ 0 w 2"/>
                  <a:gd name="T5" fmla="*/ 3 h 4"/>
                  <a:gd name="T6" fmla="*/ 2 w 2"/>
                  <a:gd name="T7" fmla="*/ 0 h 4"/>
                  <a:gd name="T8" fmla="*/ 2 w 2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4"/>
                  <a:gd name="T17" fmla="*/ 2 w 2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4">
                    <a:moveTo>
                      <a:pt x="2" y="2"/>
                    </a:moveTo>
                    <a:cubicBezTo>
                      <a:pt x="2" y="3"/>
                      <a:pt x="1" y="4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1" y="1"/>
                      <a:pt x="1" y="0"/>
                      <a:pt x="2" y="0"/>
                    </a:cubicBezTo>
                    <a:cubicBezTo>
                      <a:pt x="2" y="0"/>
                      <a:pt x="2" y="2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39" name="Freeform 2976"/>
              <p:cNvSpPr>
                <a:spLocks noChangeAspect="1"/>
              </p:cNvSpPr>
              <p:nvPr/>
            </p:nvSpPr>
            <p:spPr bwMode="auto">
              <a:xfrm>
                <a:off x="6842190" y="3511841"/>
                <a:ext cx="1119" cy="2493"/>
              </a:xfrm>
              <a:custGeom>
                <a:avLst/>
                <a:gdLst>
                  <a:gd name="T0" fmla="*/ 1 w 1"/>
                  <a:gd name="T1" fmla="*/ 2 h 3"/>
                  <a:gd name="T2" fmla="*/ 0 w 1"/>
                  <a:gd name="T3" fmla="*/ 2 h 3"/>
                  <a:gd name="T4" fmla="*/ 0 w 1"/>
                  <a:gd name="T5" fmla="*/ 1 h 3"/>
                  <a:gd name="T6" fmla="*/ 0 w 1"/>
                  <a:gd name="T7" fmla="*/ 0 h 3"/>
                  <a:gd name="T8" fmla="*/ 1 w 1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3"/>
                  <a:gd name="T17" fmla="*/ 1 w 1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3">
                    <a:moveTo>
                      <a:pt x="1" y="2"/>
                    </a:moveTo>
                    <a:cubicBezTo>
                      <a:pt x="1" y="2"/>
                      <a:pt x="1" y="3"/>
                      <a:pt x="0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1" y="0"/>
                      <a:pt x="1" y="1"/>
                      <a:pt x="1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40" name="Freeform 2977"/>
              <p:cNvSpPr>
                <a:spLocks noChangeAspect="1"/>
              </p:cNvSpPr>
              <p:nvPr/>
            </p:nvSpPr>
            <p:spPr bwMode="auto">
              <a:xfrm>
                <a:off x="6835480" y="3583278"/>
                <a:ext cx="2237" cy="3322"/>
              </a:xfrm>
              <a:custGeom>
                <a:avLst/>
                <a:gdLst>
                  <a:gd name="T0" fmla="*/ 2 w 2"/>
                  <a:gd name="T1" fmla="*/ 3 h 3"/>
                  <a:gd name="T2" fmla="*/ 1 w 2"/>
                  <a:gd name="T3" fmla="*/ 3 h 3"/>
                  <a:gd name="T4" fmla="*/ 0 w 2"/>
                  <a:gd name="T5" fmla="*/ 1 h 3"/>
                  <a:gd name="T6" fmla="*/ 1 w 2"/>
                  <a:gd name="T7" fmla="*/ 0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1" y="2"/>
                      <a:pt x="1" y="3"/>
                      <a:pt x="1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41" name="Freeform 2978"/>
              <p:cNvSpPr>
                <a:spLocks noChangeAspect="1"/>
              </p:cNvSpPr>
              <p:nvPr/>
            </p:nvSpPr>
            <p:spPr bwMode="auto">
              <a:xfrm>
                <a:off x="6686720" y="3089862"/>
                <a:ext cx="2237" cy="3322"/>
              </a:xfrm>
              <a:custGeom>
                <a:avLst/>
                <a:gdLst>
                  <a:gd name="T0" fmla="*/ 2 w 2"/>
                  <a:gd name="T1" fmla="*/ 3 h 3"/>
                  <a:gd name="T2" fmla="*/ 1 w 2"/>
                  <a:gd name="T3" fmla="*/ 4 h 3"/>
                  <a:gd name="T4" fmla="*/ 0 w 2"/>
                  <a:gd name="T5" fmla="*/ 3 h 3"/>
                  <a:gd name="T6" fmla="*/ 1 w 2"/>
                  <a:gd name="T7" fmla="*/ 0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2" y="3"/>
                      <a:pt x="1" y="3"/>
                    </a:cubicBezTo>
                    <a:cubicBezTo>
                      <a:pt x="1" y="3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1"/>
                      <a:pt x="2" y="1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42" name="Freeform 2979"/>
              <p:cNvSpPr>
                <a:spLocks noChangeAspect="1"/>
              </p:cNvSpPr>
              <p:nvPr/>
            </p:nvSpPr>
            <p:spPr bwMode="auto">
              <a:xfrm>
                <a:off x="7297417" y="3222768"/>
                <a:ext cx="2237" cy="2493"/>
              </a:xfrm>
              <a:custGeom>
                <a:avLst/>
                <a:gdLst>
                  <a:gd name="T0" fmla="*/ 2 w 2"/>
                  <a:gd name="T1" fmla="*/ 2 h 3"/>
                  <a:gd name="T2" fmla="*/ 1 w 2"/>
                  <a:gd name="T3" fmla="*/ 3 h 3"/>
                  <a:gd name="T4" fmla="*/ 0 w 2"/>
                  <a:gd name="T5" fmla="*/ 2 h 3"/>
                  <a:gd name="T6" fmla="*/ 1 w 2"/>
                  <a:gd name="T7" fmla="*/ 0 h 3"/>
                  <a:gd name="T8" fmla="*/ 2 w 2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2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1"/>
                      <a:pt x="2" y="1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43" name="Freeform 2980"/>
              <p:cNvSpPr>
                <a:spLocks noChangeAspect="1"/>
              </p:cNvSpPr>
              <p:nvPr/>
            </p:nvSpPr>
            <p:spPr bwMode="auto">
              <a:xfrm>
                <a:off x="7252678" y="3259318"/>
                <a:ext cx="3356" cy="3322"/>
              </a:xfrm>
              <a:custGeom>
                <a:avLst/>
                <a:gdLst>
                  <a:gd name="T0" fmla="*/ 3 w 2"/>
                  <a:gd name="T1" fmla="*/ 3 h 3"/>
                  <a:gd name="T2" fmla="*/ 2 w 2"/>
                  <a:gd name="T3" fmla="*/ 4 h 3"/>
                  <a:gd name="T4" fmla="*/ 0 w 2"/>
                  <a:gd name="T5" fmla="*/ 1 h 3"/>
                  <a:gd name="T6" fmla="*/ 2 w 2"/>
                  <a:gd name="T7" fmla="*/ 0 h 3"/>
                  <a:gd name="T8" fmla="*/ 3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44" name="Oval 2981"/>
              <p:cNvSpPr>
                <a:spLocks noChangeAspect="1" noChangeArrowheads="1"/>
              </p:cNvSpPr>
              <p:nvPr/>
            </p:nvSpPr>
            <p:spPr bwMode="auto">
              <a:xfrm>
                <a:off x="7272810" y="3129735"/>
                <a:ext cx="1119" cy="1661"/>
              </a:xfrm>
              <a:prstGeom prst="ellipse">
                <a:avLst/>
              </a:pr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45" name="Freeform 2982"/>
              <p:cNvSpPr>
                <a:spLocks noChangeAspect="1"/>
              </p:cNvSpPr>
              <p:nvPr/>
            </p:nvSpPr>
            <p:spPr bwMode="auto">
              <a:xfrm>
                <a:off x="7271691" y="3135550"/>
                <a:ext cx="1119" cy="3322"/>
              </a:xfrm>
              <a:custGeom>
                <a:avLst/>
                <a:gdLst>
                  <a:gd name="T0" fmla="*/ 1 w 1"/>
                  <a:gd name="T1" fmla="*/ 3 h 3"/>
                  <a:gd name="T2" fmla="*/ 0 w 1"/>
                  <a:gd name="T3" fmla="*/ 4 h 3"/>
                  <a:gd name="T4" fmla="*/ 0 w 1"/>
                  <a:gd name="T5" fmla="*/ 3 h 3"/>
                  <a:gd name="T6" fmla="*/ 0 w 1"/>
                  <a:gd name="T7" fmla="*/ 0 h 3"/>
                  <a:gd name="T8" fmla="*/ 1 w 1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3"/>
                  <a:gd name="T17" fmla="*/ 1 w 1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3">
                    <a:moveTo>
                      <a:pt x="1" y="2"/>
                    </a:moveTo>
                    <a:cubicBezTo>
                      <a:pt x="1" y="2"/>
                      <a:pt x="1" y="3"/>
                      <a:pt x="0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46" name="Freeform 2983"/>
              <p:cNvSpPr>
                <a:spLocks noChangeAspect="1"/>
              </p:cNvSpPr>
              <p:nvPr/>
            </p:nvSpPr>
            <p:spPr bwMode="auto">
              <a:xfrm>
                <a:off x="7290707" y="3211139"/>
                <a:ext cx="3356" cy="4153"/>
              </a:xfrm>
              <a:custGeom>
                <a:avLst/>
                <a:gdLst>
                  <a:gd name="T0" fmla="*/ 2 w 3"/>
                  <a:gd name="T1" fmla="*/ 3 h 4"/>
                  <a:gd name="T2" fmla="*/ 1 w 3"/>
                  <a:gd name="T3" fmla="*/ 5 h 4"/>
                  <a:gd name="T4" fmla="*/ 0 w 3"/>
                  <a:gd name="T5" fmla="*/ 3 h 4"/>
                  <a:gd name="T6" fmla="*/ 1 w 3"/>
                  <a:gd name="T7" fmla="*/ 0 h 4"/>
                  <a:gd name="T8" fmla="*/ 2 w 3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4"/>
                  <a:gd name="T17" fmla="*/ 3 w 3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4">
                    <a:moveTo>
                      <a:pt x="2" y="2"/>
                    </a:moveTo>
                    <a:cubicBezTo>
                      <a:pt x="2" y="3"/>
                      <a:pt x="2" y="4"/>
                      <a:pt x="1" y="4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3" y="0"/>
                      <a:pt x="2" y="1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47" name="Freeform 2984"/>
              <p:cNvSpPr>
                <a:spLocks noChangeAspect="1"/>
              </p:cNvSpPr>
              <p:nvPr/>
            </p:nvSpPr>
            <p:spPr bwMode="auto">
              <a:xfrm>
                <a:off x="7276165" y="3152993"/>
                <a:ext cx="2237" cy="2493"/>
              </a:xfrm>
              <a:custGeom>
                <a:avLst/>
                <a:gdLst>
                  <a:gd name="T0" fmla="*/ 1 w 2"/>
                  <a:gd name="T1" fmla="*/ 2 h 3"/>
                  <a:gd name="T2" fmla="*/ 0 w 2"/>
                  <a:gd name="T3" fmla="*/ 2 h 3"/>
                  <a:gd name="T4" fmla="*/ 0 w 2"/>
                  <a:gd name="T5" fmla="*/ 1 h 3"/>
                  <a:gd name="T6" fmla="*/ 2 w 2"/>
                  <a:gd name="T7" fmla="*/ 1 h 3"/>
                  <a:gd name="T8" fmla="*/ 1 w 2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2"/>
                    </a:moveTo>
                    <a:cubicBezTo>
                      <a:pt x="1" y="3"/>
                      <a:pt x="0" y="3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1" y="1"/>
                      <a:pt x="2" y="0"/>
                      <a:pt x="2" y="1"/>
                    </a:cubicBezTo>
                    <a:cubicBezTo>
                      <a:pt x="2" y="2"/>
                      <a:pt x="2" y="2"/>
                      <a:pt x="1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48" name="Freeform 2985"/>
              <p:cNvSpPr>
                <a:spLocks noChangeAspect="1"/>
              </p:cNvSpPr>
              <p:nvPr/>
            </p:nvSpPr>
            <p:spPr bwMode="auto">
              <a:xfrm>
                <a:off x="7464070" y="3191203"/>
                <a:ext cx="1119" cy="2493"/>
              </a:xfrm>
              <a:custGeom>
                <a:avLst/>
                <a:gdLst>
                  <a:gd name="T0" fmla="*/ 0 w 1"/>
                  <a:gd name="T1" fmla="*/ 2 h 2"/>
                  <a:gd name="T2" fmla="*/ 0 w 1"/>
                  <a:gd name="T3" fmla="*/ 3 h 2"/>
                  <a:gd name="T4" fmla="*/ 1 w 1"/>
                  <a:gd name="T5" fmla="*/ 2 h 2"/>
                  <a:gd name="T6" fmla="*/ 0 w 1"/>
                  <a:gd name="T7" fmla="*/ 0 h 2"/>
                  <a:gd name="T8" fmla="*/ 0 w 1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2"/>
                  <a:gd name="T17" fmla="*/ 1 w 1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2">
                    <a:moveTo>
                      <a:pt x="0" y="1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1" y="2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49" name="Freeform 2986"/>
              <p:cNvSpPr>
                <a:spLocks noChangeAspect="1"/>
              </p:cNvSpPr>
              <p:nvPr/>
            </p:nvSpPr>
            <p:spPr bwMode="auto">
              <a:xfrm>
                <a:off x="7467428" y="3179575"/>
                <a:ext cx="3356" cy="3322"/>
              </a:xfrm>
              <a:custGeom>
                <a:avLst/>
                <a:gdLst>
                  <a:gd name="T0" fmla="*/ 3 w 2"/>
                  <a:gd name="T1" fmla="*/ 3 h 3"/>
                  <a:gd name="T2" fmla="*/ 2 w 2"/>
                  <a:gd name="T3" fmla="*/ 4 h 3"/>
                  <a:gd name="T4" fmla="*/ 0 w 2"/>
                  <a:gd name="T5" fmla="*/ 3 h 3"/>
                  <a:gd name="T6" fmla="*/ 2 w 2"/>
                  <a:gd name="T7" fmla="*/ 0 h 3"/>
                  <a:gd name="T8" fmla="*/ 3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1"/>
                      <a:pt x="2" y="1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50" name="Freeform 2987"/>
              <p:cNvSpPr>
                <a:spLocks noChangeAspect="1"/>
              </p:cNvSpPr>
              <p:nvPr/>
            </p:nvSpPr>
            <p:spPr bwMode="auto">
              <a:xfrm>
                <a:off x="7478613" y="3173760"/>
                <a:ext cx="2237" cy="1661"/>
              </a:xfrm>
              <a:custGeom>
                <a:avLst/>
                <a:gdLst>
                  <a:gd name="T0" fmla="*/ 1 w 2"/>
                  <a:gd name="T1" fmla="*/ 2 h 2"/>
                  <a:gd name="T2" fmla="*/ 0 w 2"/>
                  <a:gd name="T3" fmla="*/ 2 h 2"/>
                  <a:gd name="T4" fmla="*/ 0 w 2"/>
                  <a:gd name="T5" fmla="*/ 1 h 2"/>
                  <a:gd name="T6" fmla="*/ 2 w 2"/>
                  <a:gd name="T7" fmla="*/ 0 h 2"/>
                  <a:gd name="T8" fmla="*/ 1 w 2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1" y="2"/>
                    </a:moveTo>
                    <a:cubicBezTo>
                      <a:pt x="1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2" y="0"/>
                    </a:cubicBezTo>
                    <a:cubicBezTo>
                      <a:pt x="2" y="1"/>
                      <a:pt x="1" y="1"/>
                      <a:pt x="1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51" name="Freeform 2988"/>
              <p:cNvSpPr>
                <a:spLocks noChangeAspect="1"/>
              </p:cNvSpPr>
              <p:nvPr/>
            </p:nvSpPr>
            <p:spPr bwMode="auto">
              <a:xfrm>
                <a:off x="7474138" y="3170438"/>
                <a:ext cx="3356" cy="3322"/>
              </a:xfrm>
              <a:custGeom>
                <a:avLst/>
                <a:gdLst>
                  <a:gd name="T0" fmla="*/ 2 w 2"/>
                  <a:gd name="T1" fmla="*/ 3 h 3"/>
                  <a:gd name="T2" fmla="*/ 0 w 2"/>
                  <a:gd name="T3" fmla="*/ 3 h 3"/>
                  <a:gd name="T4" fmla="*/ 0 w 2"/>
                  <a:gd name="T5" fmla="*/ 1 h 3"/>
                  <a:gd name="T6" fmla="*/ 3 w 2"/>
                  <a:gd name="T7" fmla="*/ 1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2"/>
                    </a:moveTo>
                    <a:cubicBezTo>
                      <a:pt x="1" y="2"/>
                      <a:pt x="0" y="3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1" y="1"/>
                      <a:pt x="1" y="0"/>
                      <a:pt x="2" y="1"/>
                    </a:cubicBezTo>
                    <a:cubicBezTo>
                      <a:pt x="2" y="1"/>
                      <a:pt x="2" y="2"/>
                      <a:pt x="1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52" name="Freeform 2989"/>
              <p:cNvSpPr>
                <a:spLocks noChangeAspect="1"/>
              </p:cNvSpPr>
              <p:nvPr/>
            </p:nvSpPr>
            <p:spPr bwMode="auto">
              <a:xfrm>
                <a:off x="6590530" y="2523347"/>
                <a:ext cx="2237" cy="3322"/>
              </a:xfrm>
              <a:custGeom>
                <a:avLst/>
                <a:gdLst>
                  <a:gd name="T0" fmla="*/ 2 w 1"/>
                  <a:gd name="T1" fmla="*/ 3 h 3"/>
                  <a:gd name="T2" fmla="*/ 0 w 1"/>
                  <a:gd name="T3" fmla="*/ 4 h 3"/>
                  <a:gd name="T4" fmla="*/ 0 w 1"/>
                  <a:gd name="T5" fmla="*/ 3 h 3"/>
                  <a:gd name="T6" fmla="*/ 2 w 1"/>
                  <a:gd name="T7" fmla="*/ 0 h 3"/>
                  <a:gd name="T8" fmla="*/ 2 w 1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3"/>
                  <a:gd name="T17" fmla="*/ 1 w 1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3">
                    <a:moveTo>
                      <a:pt x="1" y="2"/>
                    </a:moveTo>
                    <a:cubicBezTo>
                      <a:pt x="1" y="2"/>
                      <a:pt x="1" y="3"/>
                      <a:pt x="0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1" y="1"/>
                      <a:pt x="1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53" name="Freeform 2990"/>
              <p:cNvSpPr>
                <a:spLocks noChangeAspect="1"/>
              </p:cNvSpPr>
              <p:nvPr/>
            </p:nvSpPr>
            <p:spPr bwMode="auto">
              <a:xfrm>
                <a:off x="6483155" y="2648779"/>
                <a:ext cx="3356" cy="2493"/>
              </a:xfrm>
              <a:custGeom>
                <a:avLst/>
                <a:gdLst>
                  <a:gd name="T0" fmla="*/ 3 w 2"/>
                  <a:gd name="T1" fmla="*/ 3 h 2"/>
                  <a:gd name="T2" fmla="*/ 2 w 2"/>
                  <a:gd name="T3" fmla="*/ 3 h 2"/>
                  <a:gd name="T4" fmla="*/ 0 w 2"/>
                  <a:gd name="T5" fmla="*/ 2 h 2"/>
                  <a:gd name="T6" fmla="*/ 2 w 2"/>
                  <a:gd name="T7" fmla="*/ 0 h 2"/>
                  <a:gd name="T8" fmla="*/ 3 w 2"/>
                  <a:gd name="T9" fmla="*/ 3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2" y="2"/>
                    </a:moveTo>
                    <a:cubicBezTo>
                      <a:pt x="2" y="2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54" name="Freeform 2991"/>
              <p:cNvSpPr>
                <a:spLocks noChangeAspect="1"/>
              </p:cNvSpPr>
              <p:nvPr/>
            </p:nvSpPr>
            <p:spPr bwMode="auto">
              <a:xfrm>
                <a:off x="6469734" y="2777532"/>
                <a:ext cx="3356" cy="3322"/>
              </a:xfrm>
              <a:custGeom>
                <a:avLst/>
                <a:gdLst>
                  <a:gd name="T0" fmla="*/ 2 w 2"/>
                  <a:gd name="T1" fmla="*/ 4 h 3"/>
                  <a:gd name="T2" fmla="*/ 0 w 2"/>
                  <a:gd name="T3" fmla="*/ 4 h 3"/>
                  <a:gd name="T4" fmla="*/ 0 w 2"/>
                  <a:gd name="T5" fmla="*/ 3 h 3"/>
                  <a:gd name="T6" fmla="*/ 3 w 2"/>
                  <a:gd name="T7" fmla="*/ 1 h 3"/>
                  <a:gd name="T8" fmla="*/ 2 w 2"/>
                  <a:gd name="T9" fmla="*/ 4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3"/>
                    </a:moveTo>
                    <a:cubicBezTo>
                      <a:pt x="1" y="3"/>
                      <a:pt x="1" y="3"/>
                      <a:pt x="0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1" y="1"/>
                      <a:pt x="1" y="0"/>
                      <a:pt x="2" y="1"/>
                    </a:cubicBezTo>
                    <a:cubicBezTo>
                      <a:pt x="2" y="1"/>
                      <a:pt x="2" y="2"/>
                      <a:pt x="1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55" name="Freeform 2992"/>
              <p:cNvSpPr>
                <a:spLocks noChangeAspect="1"/>
              </p:cNvSpPr>
              <p:nvPr/>
            </p:nvSpPr>
            <p:spPr bwMode="auto">
              <a:xfrm>
                <a:off x="6523421" y="2727692"/>
                <a:ext cx="4474" cy="2493"/>
              </a:xfrm>
              <a:custGeom>
                <a:avLst/>
                <a:gdLst>
                  <a:gd name="T0" fmla="*/ 3 w 3"/>
                  <a:gd name="T1" fmla="*/ 2 h 2"/>
                  <a:gd name="T2" fmla="*/ 3 w 3"/>
                  <a:gd name="T3" fmla="*/ 3 h 2"/>
                  <a:gd name="T4" fmla="*/ 1 w 3"/>
                  <a:gd name="T5" fmla="*/ 3 h 2"/>
                  <a:gd name="T6" fmla="*/ 0 w 3"/>
                  <a:gd name="T7" fmla="*/ 0 h 2"/>
                  <a:gd name="T8" fmla="*/ 3 w 3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1"/>
                    </a:moveTo>
                    <a:cubicBezTo>
                      <a:pt x="2" y="1"/>
                      <a:pt x="3" y="1"/>
                      <a:pt x="2" y="2"/>
                    </a:cubicBezTo>
                    <a:cubicBezTo>
                      <a:pt x="2" y="2"/>
                      <a:pt x="1" y="2"/>
                      <a:pt x="1" y="2"/>
                    </a:cubicBezTo>
                    <a:cubicBezTo>
                      <a:pt x="1" y="1"/>
                      <a:pt x="0" y="1"/>
                      <a:pt x="0" y="0"/>
                    </a:cubicBezTo>
                    <a:cubicBezTo>
                      <a:pt x="1" y="0"/>
                      <a:pt x="2" y="0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56" name="Freeform 2993"/>
              <p:cNvSpPr>
                <a:spLocks noChangeAspect="1"/>
              </p:cNvSpPr>
              <p:nvPr/>
            </p:nvSpPr>
            <p:spPr bwMode="auto">
              <a:xfrm>
                <a:off x="6575990" y="2787501"/>
                <a:ext cx="3356" cy="4153"/>
              </a:xfrm>
              <a:custGeom>
                <a:avLst/>
                <a:gdLst>
                  <a:gd name="T0" fmla="*/ 3 w 2"/>
                  <a:gd name="T1" fmla="*/ 3 h 4"/>
                  <a:gd name="T2" fmla="*/ 2 w 2"/>
                  <a:gd name="T3" fmla="*/ 4 h 4"/>
                  <a:gd name="T4" fmla="*/ 0 w 2"/>
                  <a:gd name="T5" fmla="*/ 3 h 4"/>
                  <a:gd name="T6" fmla="*/ 2 w 2"/>
                  <a:gd name="T7" fmla="*/ 1 h 4"/>
                  <a:gd name="T8" fmla="*/ 3 w 2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4"/>
                  <a:gd name="T17" fmla="*/ 2 w 2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4">
                    <a:moveTo>
                      <a:pt x="2" y="2"/>
                    </a:moveTo>
                    <a:cubicBezTo>
                      <a:pt x="2" y="3"/>
                      <a:pt x="1" y="4"/>
                      <a:pt x="1" y="3"/>
                    </a:cubicBezTo>
                    <a:cubicBezTo>
                      <a:pt x="0" y="3"/>
                      <a:pt x="0" y="3"/>
                      <a:pt x="0" y="2"/>
                    </a:cubicBezTo>
                    <a:cubicBezTo>
                      <a:pt x="0" y="2"/>
                      <a:pt x="0" y="0"/>
                      <a:pt x="1" y="1"/>
                    </a:cubicBezTo>
                    <a:cubicBezTo>
                      <a:pt x="2" y="1"/>
                      <a:pt x="2" y="2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57" name="Freeform 2994"/>
              <p:cNvSpPr>
                <a:spLocks noChangeAspect="1"/>
              </p:cNvSpPr>
              <p:nvPr/>
            </p:nvSpPr>
            <p:spPr bwMode="auto">
              <a:xfrm>
                <a:off x="6530133" y="2747628"/>
                <a:ext cx="4474" cy="3322"/>
              </a:xfrm>
              <a:custGeom>
                <a:avLst/>
                <a:gdLst>
                  <a:gd name="T0" fmla="*/ 3 w 3"/>
                  <a:gd name="T1" fmla="*/ 3 h 3"/>
                  <a:gd name="T2" fmla="*/ 3 w 3"/>
                  <a:gd name="T3" fmla="*/ 4 h 3"/>
                  <a:gd name="T4" fmla="*/ 1 w 3"/>
                  <a:gd name="T5" fmla="*/ 3 h 3"/>
                  <a:gd name="T6" fmla="*/ 1 w 3"/>
                  <a:gd name="T7" fmla="*/ 1 h 3"/>
                  <a:gd name="T8" fmla="*/ 3 w 3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2"/>
                    </a:moveTo>
                    <a:cubicBezTo>
                      <a:pt x="3" y="2"/>
                      <a:pt x="3" y="3"/>
                      <a:pt x="2" y="3"/>
                    </a:cubicBezTo>
                    <a:cubicBezTo>
                      <a:pt x="2" y="3"/>
                      <a:pt x="1" y="3"/>
                      <a:pt x="1" y="2"/>
                    </a:cubicBezTo>
                    <a:cubicBezTo>
                      <a:pt x="1" y="2"/>
                      <a:pt x="0" y="1"/>
                      <a:pt x="1" y="1"/>
                    </a:cubicBezTo>
                    <a:cubicBezTo>
                      <a:pt x="2" y="0"/>
                      <a:pt x="2" y="1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58" name="Freeform 2995"/>
              <p:cNvSpPr>
                <a:spLocks noChangeAspect="1"/>
              </p:cNvSpPr>
              <p:nvPr/>
            </p:nvSpPr>
            <p:spPr bwMode="auto">
              <a:xfrm>
                <a:off x="6471970" y="2731015"/>
                <a:ext cx="3356" cy="2493"/>
              </a:xfrm>
              <a:custGeom>
                <a:avLst/>
                <a:gdLst>
                  <a:gd name="T0" fmla="*/ 2 w 3"/>
                  <a:gd name="T1" fmla="*/ 1 h 3"/>
                  <a:gd name="T2" fmla="*/ 3 w 3"/>
                  <a:gd name="T3" fmla="*/ 3 h 3"/>
                  <a:gd name="T4" fmla="*/ 1 w 3"/>
                  <a:gd name="T5" fmla="*/ 2 h 3"/>
                  <a:gd name="T6" fmla="*/ 1 w 3"/>
                  <a:gd name="T7" fmla="*/ 1 h 3"/>
                  <a:gd name="T8" fmla="*/ 2 w 3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1"/>
                    </a:moveTo>
                    <a:cubicBezTo>
                      <a:pt x="3" y="2"/>
                      <a:pt x="3" y="2"/>
                      <a:pt x="3" y="3"/>
                    </a:cubicBezTo>
                    <a:cubicBezTo>
                      <a:pt x="2" y="3"/>
                      <a:pt x="2" y="3"/>
                      <a:pt x="1" y="2"/>
                    </a:cubicBezTo>
                    <a:cubicBezTo>
                      <a:pt x="1" y="2"/>
                      <a:pt x="0" y="1"/>
                      <a:pt x="1" y="1"/>
                    </a:cubicBezTo>
                    <a:cubicBezTo>
                      <a:pt x="1" y="0"/>
                      <a:pt x="2" y="1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59" name="Freeform 2996"/>
              <p:cNvSpPr>
                <a:spLocks noChangeAspect="1"/>
              </p:cNvSpPr>
              <p:nvPr/>
            </p:nvSpPr>
            <p:spPr bwMode="auto">
              <a:xfrm>
                <a:off x="6550265" y="2796638"/>
                <a:ext cx="3356" cy="3322"/>
              </a:xfrm>
              <a:custGeom>
                <a:avLst/>
                <a:gdLst>
                  <a:gd name="T0" fmla="*/ 3 w 2"/>
                  <a:gd name="T1" fmla="*/ 1 h 3"/>
                  <a:gd name="T2" fmla="*/ 3 w 2"/>
                  <a:gd name="T3" fmla="*/ 3 h 3"/>
                  <a:gd name="T4" fmla="*/ 2 w 2"/>
                  <a:gd name="T5" fmla="*/ 3 h 3"/>
                  <a:gd name="T6" fmla="*/ 0 w 2"/>
                  <a:gd name="T7" fmla="*/ 0 h 3"/>
                  <a:gd name="T8" fmla="*/ 3 w 2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1"/>
                    </a:moveTo>
                    <a:cubicBezTo>
                      <a:pt x="2" y="1"/>
                      <a:pt x="2" y="2"/>
                      <a:pt x="2" y="2"/>
                    </a:cubicBezTo>
                    <a:cubicBezTo>
                      <a:pt x="2" y="3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0"/>
                    </a:cubicBezTo>
                    <a:cubicBezTo>
                      <a:pt x="1" y="0"/>
                      <a:pt x="2" y="1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60" name="Freeform 2997"/>
              <p:cNvSpPr>
                <a:spLocks noChangeAspect="1"/>
              </p:cNvSpPr>
              <p:nvPr/>
            </p:nvSpPr>
            <p:spPr bwMode="auto">
              <a:xfrm>
                <a:off x="6466378" y="2762579"/>
                <a:ext cx="2237" cy="3322"/>
              </a:xfrm>
              <a:custGeom>
                <a:avLst/>
                <a:gdLst>
                  <a:gd name="T0" fmla="*/ 2 w 2"/>
                  <a:gd name="T1" fmla="*/ 3 h 3"/>
                  <a:gd name="T2" fmla="*/ 1 w 2"/>
                  <a:gd name="T3" fmla="*/ 4 h 3"/>
                  <a:gd name="T4" fmla="*/ 0 w 2"/>
                  <a:gd name="T5" fmla="*/ 1 h 3"/>
                  <a:gd name="T6" fmla="*/ 2 w 2"/>
                  <a:gd name="T7" fmla="*/ 0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3"/>
                      <a:pt x="1" y="3"/>
                      <a:pt x="1" y="3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1" y="1"/>
                      <a:pt x="1" y="0"/>
                      <a:pt x="2" y="0"/>
                    </a:cubicBezTo>
                    <a:cubicBezTo>
                      <a:pt x="2" y="1"/>
                      <a:pt x="2" y="2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61" name="Freeform 2998"/>
              <p:cNvSpPr>
                <a:spLocks noChangeAspect="1"/>
              </p:cNvSpPr>
              <p:nvPr/>
            </p:nvSpPr>
            <p:spPr bwMode="auto">
              <a:xfrm>
                <a:off x="6488747" y="2773379"/>
                <a:ext cx="3356" cy="3322"/>
              </a:xfrm>
              <a:custGeom>
                <a:avLst/>
                <a:gdLst>
                  <a:gd name="T0" fmla="*/ 2 w 2"/>
                  <a:gd name="T1" fmla="*/ 3 h 3"/>
                  <a:gd name="T2" fmla="*/ 2 w 2"/>
                  <a:gd name="T3" fmla="*/ 4 h 3"/>
                  <a:gd name="T4" fmla="*/ 0 w 2"/>
                  <a:gd name="T5" fmla="*/ 3 h 3"/>
                  <a:gd name="T6" fmla="*/ 2 w 2"/>
                  <a:gd name="T7" fmla="*/ 1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2"/>
                    </a:moveTo>
                    <a:cubicBezTo>
                      <a:pt x="1" y="2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1"/>
                    </a:cubicBezTo>
                    <a:cubicBezTo>
                      <a:pt x="2" y="1"/>
                      <a:pt x="2" y="2"/>
                      <a:pt x="1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62" name="Freeform 2999"/>
              <p:cNvSpPr>
                <a:spLocks noChangeAspect="1"/>
              </p:cNvSpPr>
              <p:nvPr/>
            </p:nvSpPr>
            <p:spPr bwMode="auto">
              <a:xfrm>
                <a:off x="7263862" y="3098169"/>
                <a:ext cx="3356" cy="2493"/>
              </a:xfrm>
              <a:custGeom>
                <a:avLst/>
                <a:gdLst>
                  <a:gd name="T0" fmla="*/ 2 w 3"/>
                  <a:gd name="T1" fmla="*/ 1 h 3"/>
                  <a:gd name="T2" fmla="*/ 2 w 3"/>
                  <a:gd name="T3" fmla="*/ 2 h 3"/>
                  <a:gd name="T4" fmla="*/ 1 w 3"/>
                  <a:gd name="T5" fmla="*/ 2 h 3"/>
                  <a:gd name="T6" fmla="*/ 1 w 3"/>
                  <a:gd name="T7" fmla="*/ 1 h 3"/>
                  <a:gd name="T8" fmla="*/ 2 w 3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1"/>
                    </a:moveTo>
                    <a:cubicBezTo>
                      <a:pt x="2" y="2"/>
                      <a:pt x="3" y="2"/>
                      <a:pt x="2" y="2"/>
                    </a:cubicBezTo>
                    <a:cubicBezTo>
                      <a:pt x="2" y="3"/>
                      <a:pt x="1" y="2"/>
                      <a:pt x="1" y="2"/>
                    </a:cubicBezTo>
                    <a:cubicBezTo>
                      <a:pt x="1" y="2"/>
                      <a:pt x="0" y="1"/>
                      <a:pt x="1" y="1"/>
                    </a:cubicBezTo>
                    <a:cubicBezTo>
                      <a:pt x="1" y="0"/>
                      <a:pt x="2" y="1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63" name="Freeform 3000"/>
              <p:cNvSpPr>
                <a:spLocks noChangeAspect="1"/>
              </p:cNvSpPr>
              <p:nvPr/>
            </p:nvSpPr>
            <p:spPr bwMode="auto">
              <a:xfrm>
                <a:off x="7259388" y="3091524"/>
                <a:ext cx="3356" cy="2493"/>
              </a:xfrm>
              <a:custGeom>
                <a:avLst/>
                <a:gdLst>
                  <a:gd name="T0" fmla="*/ 3 w 2"/>
                  <a:gd name="T1" fmla="*/ 2 h 2"/>
                  <a:gd name="T2" fmla="*/ 2 w 2"/>
                  <a:gd name="T3" fmla="*/ 3 h 2"/>
                  <a:gd name="T4" fmla="*/ 0 w 2"/>
                  <a:gd name="T5" fmla="*/ 2 h 2"/>
                  <a:gd name="T6" fmla="*/ 2 w 2"/>
                  <a:gd name="T7" fmla="*/ 0 h 2"/>
                  <a:gd name="T8" fmla="*/ 3 w 2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2" y="1"/>
                    </a:moveTo>
                    <a:cubicBezTo>
                      <a:pt x="2" y="2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64" name="Freeform 3001"/>
              <p:cNvSpPr>
                <a:spLocks noChangeAspect="1"/>
              </p:cNvSpPr>
              <p:nvPr/>
            </p:nvSpPr>
            <p:spPr bwMode="auto">
              <a:xfrm>
                <a:off x="7178857" y="3068266"/>
                <a:ext cx="3356" cy="2493"/>
              </a:xfrm>
              <a:custGeom>
                <a:avLst/>
                <a:gdLst>
                  <a:gd name="T0" fmla="*/ 3 w 2"/>
                  <a:gd name="T1" fmla="*/ 2 h 3"/>
                  <a:gd name="T2" fmla="*/ 2 w 2"/>
                  <a:gd name="T3" fmla="*/ 3 h 3"/>
                  <a:gd name="T4" fmla="*/ 0 w 2"/>
                  <a:gd name="T5" fmla="*/ 2 h 3"/>
                  <a:gd name="T6" fmla="*/ 2 w 2"/>
                  <a:gd name="T7" fmla="*/ 0 h 3"/>
                  <a:gd name="T8" fmla="*/ 3 w 2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65" name="Freeform 3002"/>
              <p:cNvSpPr>
                <a:spLocks noChangeAspect="1"/>
              </p:cNvSpPr>
              <p:nvPr/>
            </p:nvSpPr>
            <p:spPr bwMode="auto">
              <a:xfrm>
                <a:off x="7118457" y="3051652"/>
                <a:ext cx="3356" cy="3322"/>
              </a:xfrm>
              <a:custGeom>
                <a:avLst/>
                <a:gdLst>
                  <a:gd name="T0" fmla="*/ 3 w 2"/>
                  <a:gd name="T1" fmla="*/ 3 h 3"/>
                  <a:gd name="T2" fmla="*/ 2 w 2"/>
                  <a:gd name="T3" fmla="*/ 4 h 3"/>
                  <a:gd name="T4" fmla="*/ 0 w 2"/>
                  <a:gd name="T5" fmla="*/ 3 h 3"/>
                  <a:gd name="T6" fmla="*/ 3 w 2"/>
                  <a:gd name="T7" fmla="*/ 0 h 3"/>
                  <a:gd name="T8" fmla="*/ 3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3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1" y="1"/>
                      <a:pt x="1" y="0"/>
                      <a:pt x="2" y="0"/>
                    </a:cubicBezTo>
                    <a:cubicBezTo>
                      <a:pt x="2" y="1"/>
                      <a:pt x="2" y="2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66" name="Freeform 3003"/>
              <p:cNvSpPr>
                <a:spLocks noChangeAspect="1"/>
              </p:cNvSpPr>
              <p:nvPr/>
            </p:nvSpPr>
            <p:spPr bwMode="auto">
              <a:xfrm>
                <a:off x="7105036" y="3053314"/>
                <a:ext cx="2237" cy="2493"/>
              </a:xfrm>
              <a:custGeom>
                <a:avLst/>
                <a:gdLst>
                  <a:gd name="T0" fmla="*/ 2 w 2"/>
                  <a:gd name="T1" fmla="*/ 2 h 3"/>
                  <a:gd name="T2" fmla="*/ 1 w 2"/>
                  <a:gd name="T3" fmla="*/ 2 h 3"/>
                  <a:gd name="T4" fmla="*/ 0 w 2"/>
                  <a:gd name="T5" fmla="*/ 1 h 3"/>
                  <a:gd name="T6" fmla="*/ 2 w 2"/>
                  <a:gd name="T7" fmla="*/ 0 h 3"/>
                  <a:gd name="T8" fmla="*/ 2 w 2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1" y="3"/>
                      <a:pt x="1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1" y="1"/>
                      <a:pt x="1" y="0"/>
                      <a:pt x="2" y="0"/>
                    </a:cubicBezTo>
                    <a:cubicBezTo>
                      <a:pt x="2" y="0"/>
                      <a:pt x="2" y="1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67" name="Freeform 3004"/>
              <p:cNvSpPr>
                <a:spLocks noChangeAspect="1"/>
              </p:cNvSpPr>
              <p:nvPr/>
            </p:nvSpPr>
            <p:spPr bwMode="auto">
              <a:xfrm>
                <a:off x="7089377" y="3025901"/>
                <a:ext cx="2237" cy="3322"/>
              </a:xfrm>
              <a:custGeom>
                <a:avLst/>
                <a:gdLst>
                  <a:gd name="T0" fmla="*/ 1 w 2"/>
                  <a:gd name="T1" fmla="*/ 3 h 3"/>
                  <a:gd name="T2" fmla="*/ 0 w 2"/>
                  <a:gd name="T3" fmla="*/ 4 h 3"/>
                  <a:gd name="T4" fmla="*/ 0 w 2"/>
                  <a:gd name="T5" fmla="*/ 1 h 3"/>
                  <a:gd name="T6" fmla="*/ 1 w 2"/>
                  <a:gd name="T7" fmla="*/ 0 h 3"/>
                  <a:gd name="T8" fmla="*/ 1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2"/>
                    </a:moveTo>
                    <a:cubicBezTo>
                      <a:pt x="1" y="2"/>
                      <a:pt x="1" y="3"/>
                      <a:pt x="0" y="3"/>
                    </a:cubicBezTo>
                    <a:cubicBezTo>
                      <a:pt x="0" y="3"/>
                      <a:pt x="0" y="2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1"/>
                      <a:pt x="2" y="2"/>
                      <a:pt x="1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68" name="Freeform 3005"/>
              <p:cNvSpPr>
                <a:spLocks noChangeAspect="1"/>
              </p:cNvSpPr>
              <p:nvPr/>
            </p:nvSpPr>
            <p:spPr bwMode="auto">
              <a:xfrm>
                <a:off x="7080429" y="3030055"/>
                <a:ext cx="3356" cy="3322"/>
              </a:xfrm>
              <a:custGeom>
                <a:avLst/>
                <a:gdLst>
                  <a:gd name="T0" fmla="*/ 3 w 2"/>
                  <a:gd name="T1" fmla="*/ 3 h 3"/>
                  <a:gd name="T2" fmla="*/ 2 w 2"/>
                  <a:gd name="T3" fmla="*/ 4 h 3"/>
                  <a:gd name="T4" fmla="*/ 0 w 2"/>
                  <a:gd name="T5" fmla="*/ 1 h 3"/>
                  <a:gd name="T6" fmla="*/ 2 w 2"/>
                  <a:gd name="T7" fmla="*/ 0 h 3"/>
                  <a:gd name="T8" fmla="*/ 3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1" y="3"/>
                      <a:pt x="1" y="3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1"/>
                      <a:pt x="2" y="1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69" name="Freeform 3006"/>
              <p:cNvSpPr>
                <a:spLocks noChangeAspect="1"/>
              </p:cNvSpPr>
              <p:nvPr/>
            </p:nvSpPr>
            <p:spPr bwMode="auto">
              <a:xfrm>
                <a:off x="7145301" y="3051652"/>
                <a:ext cx="4474" cy="3322"/>
              </a:xfrm>
              <a:custGeom>
                <a:avLst/>
                <a:gdLst>
                  <a:gd name="T0" fmla="*/ 3 w 3"/>
                  <a:gd name="T1" fmla="*/ 1 h 3"/>
                  <a:gd name="T2" fmla="*/ 3 w 3"/>
                  <a:gd name="T3" fmla="*/ 3 h 3"/>
                  <a:gd name="T4" fmla="*/ 1 w 3"/>
                  <a:gd name="T5" fmla="*/ 3 h 3"/>
                  <a:gd name="T6" fmla="*/ 0 w 3"/>
                  <a:gd name="T7" fmla="*/ 1 h 3"/>
                  <a:gd name="T8" fmla="*/ 3 w 3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1"/>
                    </a:moveTo>
                    <a:cubicBezTo>
                      <a:pt x="2" y="1"/>
                      <a:pt x="3" y="2"/>
                      <a:pt x="2" y="2"/>
                    </a:cubicBezTo>
                    <a:cubicBezTo>
                      <a:pt x="2" y="3"/>
                      <a:pt x="1" y="2"/>
                      <a:pt x="1" y="2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1" y="0"/>
                      <a:pt x="1" y="1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70" name="Freeform 3007"/>
              <p:cNvSpPr>
                <a:spLocks noChangeAspect="1"/>
              </p:cNvSpPr>
              <p:nvPr/>
            </p:nvSpPr>
            <p:spPr bwMode="auto">
              <a:xfrm>
                <a:off x="7110629" y="3054144"/>
                <a:ext cx="3356" cy="2493"/>
              </a:xfrm>
              <a:custGeom>
                <a:avLst/>
                <a:gdLst>
                  <a:gd name="T0" fmla="*/ 2 w 3"/>
                  <a:gd name="T1" fmla="*/ 1 h 3"/>
                  <a:gd name="T2" fmla="*/ 3 w 3"/>
                  <a:gd name="T3" fmla="*/ 2 h 3"/>
                  <a:gd name="T4" fmla="*/ 1 w 3"/>
                  <a:gd name="T5" fmla="*/ 2 h 3"/>
                  <a:gd name="T6" fmla="*/ 1 w 3"/>
                  <a:gd name="T7" fmla="*/ 1 h 3"/>
                  <a:gd name="T8" fmla="*/ 2 w 3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1"/>
                    </a:moveTo>
                    <a:cubicBezTo>
                      <a:pt x="3" y="2"/>
                      <a:pt x="3" y="2"/>
                      <a:pt x="3" y="2"/>
                    </a:cubicBezTo>
                    <a:cubicBezTo>
                      <a:pt x="2" y="3"/>
                      <a:pt x="2" y="3"/>
                      <a:pt x="1" y="2"/>
                    </a:cubicBezTo>
                    <a:cubicBezTo>
                      <a:pt x="1" y="2"/>
                      <a:pt x="0" y="2"/>
                      <a:pt x="1" y="1"/>
                    </a:cubicBezTo>
                    <a:cubicBezTo>
                      <a:pt x="1" y="0"/>
                      <a:pt x="2" y="1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71" name="Freeform 3008"/>
              <p:cNvSpPr>
                <a:spLocks noChangeAspect="1"/>
              </p:cNvSpPr>
              <p:nvPr/>
            </p:nvSpPr>
            <p:spPr bwMode="auto">
              <a:xfrm>
                <a:off x="7097206" y="3040023"/>
                <a:ext cx="2237" cy="3322"/>
              </a:xfrm>
              <a:custGeom>
                <a:avLst/>
                <a:gdLst>
                  <a:gd name="T0" fmla="*/ 1 w 2"/>
                  <a:gd name="T1" fmla="*/ 3 h 3"/>
                  <a:gd name="T2" fmla="*/ 1 w 2"/>
                  <a:gd name="T3" fmla="*/ 4 h 3"/>
                  <a:gd name="T4" fmla="*/ 0 w 2"/>
                  <a:gd name="T5" fmla="*/ 3 h 3"/>
                  <a:gd name="T6" fmla="*/ 0 w 2"/>
                  <a:gd name="T7" fmla="*/ 1 h 3"/>
                  <a:gd name="T8" fmla="*/ 1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2"/>
                    </a:moveTo>
                    <a:cubicBezTo>
                      <a:pt x="2" y="2"/>
                      <a:pt x="2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1" y="0"/>
                      <a:pt x="1" y="1"/>
                      <a:pt x="1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72" name="Freeform 3009"/>
              <p:cNvSpPr>
                <a:spLocks noChangeAspect="1"/>
              </p:cNvSpPr>
              <p:nvPr/>
            </p:nvSpPr>
            <p:spPr bwMode="auto">
              <a:xfrm>
                <a:off x="6988712" y="3061620"/>
                <a:ext cx="2237" cy="3322"/>
              </a:xfrm>
              <a:custGeom>
                <a:avLst/>
                <a:gdLst>
                  <a:gd name="T0" fmla="*/ 2 w 2"/>
                  <a:gd name="T1" fmla="*/ 3 h 3"/>
                  <a:gd name="T2" fmla="*/ 1 w 2"/>
                  <a:gd name="T3" fmla="*/ 4 h 3"/>
                  <a:gd name="T4" fmla="*/ 0 w 2"/>
                  <a:gd name="T5" fmla="*/ 3 h 3"/>
                  <a:gd name="T6" fmla="*/ 1 w 2"/>
                  <a:gd name="T7" fmla="*/ 0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1"/>
                      <a:pt x="2" y="1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73" name="Freeform 3010"/>
              <p:cNvSpPr>
                <a:spLocks noChangeAspect="1"/>
              </p:cNvSpPr>
              <p:nvPr/>
            </p:nvSpPr>
            <p:spPr bwMode="auto">
              <a:xfrm>
                <a:off x="6982002" y="2945326"/>
                <a:ext cx="3356" cy="831"/>
              </a:xfrm>
              <a:custGeom>
                <a:avLst/>
                <a:gdLst>
                  <a:gd name="T0" fmla="*/ 1 w 3"/>
                  <a:gd name="T1" fmla="*/ 1 h 1"/>
                  <a:gd name="T2" fmla="*/ 0 w 3"/>
                  <a:gd name="T3" fmla="*/ 1 h 1"/>
                  <a:gd name="T4" fmla="*/ 1 w 3"/>
                  <a:gd name="T5" fmla="*/ 0 h 1"/>
                  <a:gd name="T6" fmla="*/ 3 w 3"/>
                  <a:gd name="T7" fmla="*/ 1 h 1"/>
                  <a:gd name="T8" fmla="*/ 1 w 3"/>
                  <a:gd name="T9" fmla="*/ 1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1"/>
                  <a:gd name="T17" fmla="*/ 3 w 3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1">
                    <a:moveTo>
                      <a:pt x="1" y="1"/>
                    </a:moveTo>
                    <a:cubicBezTo>
                      <a:pt x="1" y="1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2" y="1"/>
                      <a:pt x="2" y="1"/>
                      <a:pt x="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74" name="Freeform 3011"/>
              <p:cNvSpPr>
                <a:spLocks noChangeAspect="1"/>
              </p:cNvSpPr>
              <p:nvPr/>
            </p:nvSpPr>
            <p:spPr bwMode="auto">
              <a:xfrm>
                <a:off x="7060297" y="2991013"/>
                <a:ext cx="2237" cy="1661"/>
              </a:xfrm>
              <a:custGeom>
                <a:avLst/>
                <a:gdLst>
                  <a:gd name="T0" fmla="*/ 0 w 1"/>
                  <a:gd name="T1" fmla="*/ 1 h 2"/>
                  <a:gd name="T2" fmla="*/ 0 w 1"/>
                  <a:gd name="T3" fmla="*/ 0 h 2"/>
                  <a:gd name="T4" fmla="*/ 2 w 1"/>
                  <a:gd name="T5" fmla="*/ 1 h 2"/>
                  <a:gd name="T6" fmla="*/ 2 w 1"/>
                  <a:gd name="T7" fmla="*/ 2 h 2"/>
                  <a:gd name="T8" fmla="*/ 0 w 1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2"/>
                  <a:gd name="T17" fmla="*/ 1 w 1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2">
                    <a:moveTo>
                      <a:pt x="0" y="1"/>
                    </a:moveTo>
                    <a:cubicBezTo>
                      <a:pt x="0" y="1"/>
                      <a:pt x="0" y="0"/>
                      <a:pt x="0" y="0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1" y="1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75" name="Freeform 3012"/>
              <p:cNvSpPr>
                <a:spLocks noChangeAspect="1"/>
              </p:cNvSpPr>
              <p:nvPr/>
            </p:nvSpPr>
            <p:spPr bwMode="auto">
              <a:xfrm>
                <a:off x="6794096" y="3049160"/>
                <a:ext cx="2237" cy="1661"/>
              </a:xfrm>
              <a:custGeom>
                <a:avLst/>
                <a:gdLst>
                  <a:gd name="T0" fmla="*/ 1 w 2"/>
                  <a:gd name="T1" fmla="*/ 2 h 2"/>
                  <a:gd name="T2" fmla="*/ 0 w 2"/>
                  <a:gd name="T3" fmla="*/ 1 h 2"/>
                  <a:gd name="T4" fmla="*/ 1 w 2"/>
                  <a:gd name="T5" fmla="*/ 0 h 2"/>
                  <a:gd name="T6" fmla="*/ 2 w 2"/>
                  <a:gd name="T7" fmla="*/ 1 h 2"/>
                  <a:gd name="T8" fmla="*/ 1 w 2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1" y="2"/>
                    </a:moveTo>
                    <a:cubicBezTo>
                      <a:pt x="1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2" y="0"/>
                      <a:pt x="2" y="1"/>
                    </a:cubicBezTo>
                    <a:cubicBezTo>
                      <a:pt x="2" y="1"/>
                      <a:pt x="2" y="2"/>
                      <a:pt x="1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76" name="Freeform 3013"/>
              <p:cNvSpPr>
                <a:spLocks noChangeAspect="1"/>
              </p:cNvSpPr>
              <p:nvPr/>
            </p:nvSpPr>
            <p:spPr bwMode="auto">
              <a:xfrm>
                <a:off x="6731460" y="2942004"/>
                <a:ext cx="3356" cy="3322"/>
              </a:xfrm>
              <a:custGeom>
                <a:avLst/>
                <a:gdLst>
                  <a:gd name="T0" fmla="*/ 2 w 2"/>
                  <a:gd name="T1" fmla="*/ 3 h 3"/>
                  <a:gd name="T2" fmla="*/ 2 w 2"/>
                  <a:gd name="T3" fmla="*/ 4 h 3"/>
                  <a:gd name="T4" fmla="*/ 0 w 2"/>
                  <a:gd name="T5" fmla="*/ 3 h 3"/>
                  <a:gd name="T6" fmla="*/ 2 w 2"/>
                  <a:gd name="T7" fmla="*/ 0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2"/>
                    </a:moveTo>
                    <a:cubicBezTo>
                      <a:pt x="1" y="2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1" y="1"/>
                      <a:pt x="1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77" name="Freeform 3014"/>
              <p:cNvSpPr>
                <a:spLocks noChangeAspect="1"/>
              </p:cNvSpPr>
              <p:nvPr/>
            </p:nvSpPr>
            <p:spPr bwMode="auto">
              <a:xfrm>
                <a:off x="6706854" y="2989353"/>
                <a:ext cx="3356" cy="1661"/>
              </a:xfrm>
              <a:custGeom>
                <a:avLst/>
                <a:gdLst>
                  <a:gd name="T0" fmla="*/ 2 w 3"/>
                  <a:gd name="T1" fmla="*/ 0 h 2"/>
                  <a:gd name="T2" fmla="*/ 2 w 3"/>
                  <a:gd name="T3" fmla="*/ 1 h 2"/>
                  <a:gd name="T4" fmla="*/ 1 w 3"/>
                  <a:gd name="T5" fmla="*/ 2 h 2"/>
                  <a:gd name="T6" fmla="*/ 0 w 3"/>
                  <a:gd name="T7" fmla="*/ 0 h 2"/>
                  <a:gd name="T8" fmla="*/ 2 w 3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0"/>
                    </a:moveTo>
                    <a:cubicBezTo>
                      <a:pt x="2" y="0"/>
                      <a:pt x="3" y="1"/>
                      <a:pt x="2" y="1"/>
                    </a:cubicBezTo>
                    <a:cubicBezTo>
                      <a:pt x="2" y="2"/>
                      <a:pt x="1" y="2"/>
                      <a:pt x="1" y="2"/>
                    </a:cubicBezTo>
                    <a:cubicBezTo>
                      <a:pt x="1" y="1"/>
                      <a:pt x="0" y="1"/>
                      <a:pt x="0" y="0"/>
                    </a:cubicBezTo>
                    <a:cubicBezTo>
                      <a:pt x="0" y="0"/>
                      <a:pt x="1" y="0"/>
                      <a:pt x="2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78" name="Oval 3015"/>
              <p:cNvSpPr>
                <a:spLocks noChangeAspect="1" noChangeArrowheads="1"/>
              </p:cNvSpPr>
              <p:nvPr/>
            </p:nvSpPr>
            <p:spPr bwMode="auto">
              <a:xfrm>
                <a:off x="6621848" y="3030886"/>
                <a:ext cx="2237" cy="3322"/>
              </a:xfrm>
              <a:prstGeom prst="ellipse">
                <a:avLst/>
              </a:pr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79" name="Freeform 3016"/>
              <p:cNvSpPr>
                <a:spLocks noChangeAspect="1"/>
              </p:cNvSpPr>
              <p:nvPr/>
            </p:nvSpPr>
            <p:spPr bwMode="auto">
              <a:xfrm>
                <a:off x="6599479" y="3045006"/>
                <a:ext cx="1119" cy="1661"/>
              </a:xfrm>
              <a:custGeom>
                <a:avLst/>
                <a:gdLst>
                  <a:gd name="T0" fmla="*/ 1 w 1"/>
                  <a:gd name="T1" fmla="*/ 1 h 2"/>
                  <a:gd name="T2" fmla="*/ 0 w 1"/>
                  <a:gd name="T3" fmla="*/ 2 h 2"/>
                  <a:gd name="T4" fmla="*/ 0 w 1"/>
                  <a:gd name="T5" fmla="*/ 1 h 2"/>
                  <a:gd name="T6" fmla="*/ 0 w 1"/>
                  <a:gd name="T7" fmla="*/ 0 h 2"/>
                  <a:gd name="T8" fmla="*/ 1 w 1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2"/>
                  <a:gd name="T17" fmla="*/ 1 w 1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2">
                    <a:moveTo>
                      <a:pt x="1" y="1"/>
                    </a:moveTo>
                    <a:cubicBezTo>
                      <a:pt x="1" y="2"/>
                      <a:pt x="1" y="2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1"/>
                      <a:pt x="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80" name="Freeform 3017"/>
              <p:cNvSpPr>
                <a:spLocks noChangeAspect="1"/>
              </p:cNvSpPr>
              <p:nvPr/>
            </p:nvSpPr>
            <p:spPr bwMode="auto">
              <a:xfrm>
                <a:off x="6640863" y="3041684"/>
                <a:ext cx="2237" cy="3322"/>
              </a:xfrm>
              <a:custGeom>
                <a:avLst/>
                <a:gdLst>
                  <a:gd name="T0" fmla="*/ 1 w 2"/>
                  <a:gd name="T1" fmla="*/ 3 h 3"/>
                  <a:gd name="T2" fmla="*/ 0 w 2"/>
                  <a:gd name="T3" fmla="*/ 4 h 3"/>
                  <a:gd name="T4" fmla="*/ 0 w 2"/>
                  <a:gd name="T5" fmla="*/ 1 h 3"/>
                  <a:gd name="T6" fmla="*/ 1 w 2"/>
                  <a:gd name="T7" fmla="*/ 1 h 3"/>
                  <a:gd name="T8" fmla="*/ 1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2"/>
                    </a:moveTo>
                    <a:cubicBezTo>
                      <a:pt x="1" y="3"/>
                      <a:pt x="0" y="3"/>
                      <a:pt x="0" y="3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1" y="0"/>
                      <a:pt x="1" y="1"/>
                    </a:cubicBezTo>
                    <a:cubicBezTo>
                      <a:pt x="2" y="1"/>
                      <a:pt x="1" y="2"/>
                      <a:pt x="1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81" name="Freeform 3018"/>
              <p:cNvSpPr>
                <a:spLocks noChangeAspect="1"/>
              </p:cNvSpPr>
              <p:nvPr/>
            </p:nvSpPr>
            <p:spPr bwMode="auto">
              <a:xfrm>
                <a:off x="6641981" y="3045006"/>
                <a:ext cx="2237" cy="3322"/>
              </a:xfrm>
              <a:custGeom>
                <a:avLst/>
                <a:gdLst>
                  <a:gd name="T0" fmla="*/ 1 w 2"/>
                  <a:gd name="T1" fmla="*/ 3 h 3"/>
                  <a:gd name="T2" fmla="*/ 0 w 2"/>
                  <a:gd name="T3" fmla="*/ 4 h 3"/>
                  <a:gd name="T4" fmla="*/ 0 w 2"/>
                  <a:gd name="T5" fmla="*/ 1 h 3"/>
                  <a:gd name="T6" fmla="*/ 1 w 2"/>
                  <a:gd name="T7" fmla="*/ 0 h 3"/>
                  <a:gd name="T8" fmla="*/ 1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2"/>
                    </a:moveTo>
                    <a:cubicBezTo>
                      <a:pt x="1" y="2"/>
                      <a:pt x="1" y="3"/>
                      <a:pt x="0" y="3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1"/>
                      <a:pt x="2" y="2"/>
                      <a:pt x="1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82" name="Freeform 3019"/>
              <p:cNvSpPr>
                <a:spLocks noChangeAspect="1"/>
              </p:cNvSpPr>
              <p:nvPr/>
            </p:nvSpPr>
            <p:spPr bwMode="auto">
              <a:xfrm>
                <a:off x="6610664" y="2969417"/>
                <a:ext cx="4474" cy="2493"/>
              </a:xfrm>
              <a:custGeom>
                <a:avLst/>
                <a:gdLst>
                  <a:gd name="T0" fmla="*/ 3 w 3"/>
                  <a:gd name="T1" fmla="*/ 2 h 3"/>
                  <a:gd name="T2" fmla="*/ 1 w 3"/>
                  <a:gd name="T3" fmla="*/ 3 h 3"/>
                  <a:gd name="T4" fmla="*/ 1 w 3"/>
                  <a:gd name="T5" fmla="*/ 1 h 3"/>
                  <a:gd name="T6" fmla="*/ 3 w 3"/>
                  <a:gd name="T7" fmla="*/ 1 h 3"/>
                  <a:gd name="T8" fmla="*/ 3 w 3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2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0" y="2"/>
                      <a:pt x="0" y="2"/>
                      <a:pt x="1" y="1"/>
                    </a:cubicBezTo>
                    <a:cubicBezTo>
                      <a:pt x="1" y="1"/>
                      <a:pt x="1" y="0"/>
                      <a:pt x="2" y="1"/>
                    </a:cubicBezTo>
                    <a:cubicBezTo>
                      <a:pt x="3" y="1"/>
                      <a:pt x="2" y="2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83" name="Freeform 3020"/>
              <p:cNvSpPr>
                <a:spLocks noChangeAspect="1"/>
              </p:cNvSpPr>
              <p:nvPr/>
            </p:nvSpPr>
            <p:spPr bwMode="auto">
              <a:xfrm>
                <a:off x="6647573" y="2932867"/>
                <a:ext cx="2237" cy="3322"/>
              </a:xfrm>
              <a:custGeom>
                <a:avLst/>
                <a:gdLst>
                  <a:gd name="T0" fmla="*/ 2 w 2"/>
                  <a:gd name="T1" fmla="*/ 3 h 3"/>
                  <a:gd name="T2" fmla="*/ 1 w 2"/>
                  <a:gd name="T3" fmla="*/ 4 h 3"/>
                  <a:gd name="T4" fmla="*/ 0 w 2"/>
                  <a:gd name="T5" fmla="*/ 3 h 3"/>
                  <a:gd name="T6" fmla="*/ 1 w 2"/>
                  <a:gd name="T7" fmla="*/ 0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84" name="Freeform 3021"/>
              <p:cNvSpPr>
                <a:spLocks noChangeAspect="1"/>
              </p:cNvSpPr>
              <p:nvPr/>
            </p:nvSpPr>
            <p:spPr bwMode="auto">
              <a:xfrm>
                <a:off x="6545791" y="3011780"/>
                <a:ext cx="2237" cy="2493"/>
              </a:xfrm>
              <a:custGeom>
                <a:avLst/>
                <a:gdLst>
                  <a:gd name="T0" fmla="*/ 2 w 2"/>
                  <a:gd name="T1" fmla="*/ 2 h 2"/>
                  <a:gd name="T2" fmla="*/ 1 w 2"/>
                  <a:gd name="T3" fmla="*/ 3 h 2"/>
                  <a:gd name="T4" fmla="*/ 0 w 2"/>
                  <a:gd name="T5" fmla="*/ 2 h 2"/>
                  <a:gd name="T6" fmla="*/ 1 w 2"/>
                  <a:gd name="T7" fmla="*/ 0 h 2"/>
                  <a:gd name="T8" fmla="*/ 2 w 2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2" y="1"/>
                    </a:moveTo>
                    <a:cubicBezTo>
                      <a:pt x="2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85" name="Freeform 3022"/>
              <p:cNvSpPr>
                <a:spLocks noChangeAspect="1"/>
              </p:cNvSpPr>
              <p:nvPr/>
            </p:nvSpPr>
            <p:spPr bwMode="auto">
              <a:xfrm>
                <a:off x="6540198" y="3005135"/>
                <a:ext cx="2237" cy="1661"/>
              </a:xfrm>
              <a:custGeom>
                <a:avLst/>
                <a:gdLst>
                  <a:gd name="T0" fmla="*/ 1 w 2"/>
                  <a:gd name="T1" fmla="*/ 1 h 2"/>
                  <a:gd name="T2" fmla="*/ 1 w 2"/>
                  <a:gd name="T3" fmla="*/ 2 h 2"/>
                  <a:gd name="T4" fmla="*/ 0 w 2"/>
                  <a:gd name="T5" fmla="*/ 1 h 2"/>
                  <a:gd name="T6" fmla="*/ 0 w 2"/>
                  <a:gd name="T7" fmla="*/ 0 h 2"/>
                  <a:gd name="T8" fmla="*/ 1 w 2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1" y="1"/>
                    </a:moveTo>
                    <a:cubicBezTo>
                      <a:pt x="2" y="1"/>
                      <a:pt x="2" y="2"/>
                      <a:pt x="1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86" name="Freeform 3023"/>
              <p:cNvSpPr>
                <a:spLocks noChangeAspect="1"/>
              </p:cNvSpPr>
              <p:nvPr/>
            </p:nvSpPr>
            <p:spPr bwMode="auto">
              <a:xfrm>
                <a:off x="6602834" y="2920406"/>
                <a:ext cx="3356" cy="2493"/>
              </a:xfrm>
              <a:custGeom>
                <a:avLst/>
                <a:gdLst>
                  <a:gd name="T0" fmla="*/ 3 w 2"/>
                  <a:gd name="T1" fmla="*/ 2 h 3"/>
                  <a:gd name="T2" fmla="*/ 2 w 2"/>
                  <a:gd name="T3" fmla="*/ 3 h 3"/>
                  <a:gd name="T4" fmla="*/ 0 w 2"/>
                  <a:gd name="T5" fmla="*/ 2 h 3"/>
                  <a:gd name="T6" fmla="*/ 2 w 2"/>
                  <a:gd name="T7" fmla="*/ 1 h 3"/>
                  <a:gd name="T8" fmla="*/ 3 w 2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3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1"/>
                    </a:cubicBezTo>
                    <a:cubicBezTo>
                      <a:pt x="2" y="1"/>
                      <a:pt x="2" y="2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87" name="Freeform 3024"/>
              <p:cNvSpPr>
                <a:spLocks noChangeAspect="1"/>
              </p:cNvSpPr>
              <p:nvPr/>
            </p:nvSpPr>
            <p:spPr bwMode="auto">
              <a:xfrm>
                <a:off x="6601715" y="2916253"/>
                <a:ext cx="2237" cy="1661"/>
              </a:xfrm>
              <a:custGeom>
                <a:avLst/>
                <a:gdLst>
                  <a:gd name="T0" fmla="*/ 2 w 2"/>
                  <a:gd name="T1" fmla="*/ 1 h 2"/>
                  <a:gd name="T2" fmla="*/ 1 w 2"/>
                  <a:gd name="T3" fmla="*/ 2 h 2"/>
                  <a:gd name="T4" fmla="*/ 0 w 2"/>
                  <a:gd name="T5" fmla="*/ 1 h 2"/>
                  <a:gd name="T6" fmla="*/ 1 w 2"/>
                  <a:gd name="T7" fmla="*/ 0 h 2"/>
                  <a:gd name="T8" fmla="*/ 2 w 2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2" y="1"/>
                    </a:moveTo>
                    <a:cubicBezTo>
                      <a:pt x="2" y="2"/>
                      <a:pt x="2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88" name="Freeform 3025"/>
              <p:cNvSpPr>
                <a:spLocks noChangeAspect="1"/>
              </p:cNvSpPr>
              <p:nvPr/>
            </p:nvSpPr>
            <p:spPr bwMode="auto">
              <a:xfrm>
                <a:off x="6606189" y="2927052"/>
                <a:ext cx="2237" cy="3322"/>
              </a:xfrm>
              <a:custGeom>
                <a:avLst/>
                <a:gdLst>
                  <a:gd name="T0" fmla="*/ 1 w 2"/>
                  <a:gd name="T1" fmla="*/ 3 h 3"/>
                  <a:gd name="T2" fmla="*/ 1 w 2"/>
                  <a:gd name="T3" fmla="*/ 4 h 3"/>
                  <a:gd name="T4" fmla="*/ 0 w 2"/>
                  <a:gd name="T5" fmla="*/ 3 h 3"/>
                  <a:gd name="T6" fmla="*/ 1 w 2"/>
                  <a:gd name="T7" fmla="*/ 0 h 3"/>
                  <a:gd name="T8" fmla="*/ 1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2"/>
                    </a:moveTo>
                    <a:cubicBezTo>
                      <a:pt x="1" y="2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1" y="1"/>
                      <a:pt x="1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89" name="Freeform 3026"/>
              <p:cNvSpPr>
                <a:spLocks noChangeAspect="1"/>
              </p:cNvSpPr>
              <p:nvPr/>
            </p:nvSpPr>
            <p:spPr bwMode="auto">
              <a:xfrm>
                <a:off x="6532370" y="2952803"/>
                <a:ext cx="2237" cy="3322"/>
              </a:xfrm>
              <a:custGeom>
                <a:avLst/>
                <a:gdLst>
                  <a:gd name="T0" fmla="*/ 2 w 2"/>
                  <a:gd name="T1" fmla="*/ 3 h 3"/>
                  <a:gd name="T2" fmla="*/ 1 w 2"/>
                  <a:gd name="T3" fmla="*/ 4 h 3"/>
                  <a:gd name="T4" fmla="*/ 0 w 2"/>
                  <a:gd name="T5" fmla="*/ 3 h 3"/>
                  <a:gd name="T6" fmla="*/ 1 w 2"/>
                  <a:gd name="T7" fmla="*/ 1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1"/>
                    </a:cubicBezTo>
                    <a:cubicBezTo>
                      <a:pt x="2" y="1"/>
                      <a:pt x="2" y="2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90" name="Freeform 3027"/>
              <p:cNvSpPr>
                <a:spLocks noChangeAspect="1"/>
              </p:cNvSpPr>
              <p:nvPr/>
            </p:nvSpPr>
            <p:spPr bwMode="auto">
              <a:xfrm>
                <a:off x="6542434" y="2954464"/>
                <a:ext cx="3356" cy="1661"/>
              </a:xfrm>
              <a:custGeom>
                <a:avLst/>
                <a:gdLst>
                  <a:gd name="T0" fmla="*/ 3 w 2"/>
                  <a:gd name="T1" fmla="*/ 1 h 2"/>
                  <a:gd name="T2" fmla="*/ 2 w 2"/>
                  <a:gd name="T3" fmla="*/ 2 h 2"/>
                  <a:gd name="T4" fmla="*/ 2 w 2"/>
                  <a:gd name="T5" fmla="*/ 1 h 2"/>
                  <a:gd name="T6" fmla="*/ 2 w 2"/>
                  <a:gd name="T7" fmla="*/ 0 h 2"/>
                  <a:gd name="T8" fmla="*/ 3 w 2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2" y="1"/>
                    </a:moveTo>
                    <a:cubicBezTo>
                      <a:pt x="2" y="2"/>
                      <a:pt x="2" y="2"/>
                      <a:pt x="1" y="2"/>
                    </a:cubicBezTo>
                    <a:cubicBezTo>
                      <a:pt x="1" y="2"/>
                      <a:pt x="0" y="1"/>
                      <a:pt x="1" y="1"/>
                    </a:cubicBezTo>
                    <a:cubicBezTo>
                      <a:pt x="1" y="1"/>
                      <a:pt x="1" y="0"/>
                      <a:pt x="1" y="0"/>
                    </a:cubicBezTo>
                    <a:cubicBezTo>
                      <a:pt x="2" y="0"/>
                      <a:pt x="2" y="1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91" name="Freeform 3028"/>
              <p:cNvSpPr>
                <a:spLocks noChangeAspect="1"/>
              </p:cNvSpPr>
              <p:nvPr/>
            </p:nvSpPr>
            <p:spPr bwMode="auto">
              <a:xfrm>
                <a:off x="6602834" y="2932036"/>
                <a:ext cx="1119" cy="2493"/>
              </a:xfrm>
              <a:custGeom>
                <a:avLst/>
                <a:gdLst>
                  <a:gd name="T0" fmla="*/ 1 w 1"/>
                  <a:gd name="T1" fmla="*/ 2 h 2"/>
                  <a:gd name="T2" fmla="*/ 0 w 1"/>
                  <a:gd name="T3" fmla="*/ 3 h 2"/>
                  <a:gd name="T4" fmla="*/ 0 w 1"/>
                  <a:gd name="T5" fmla="*/ 2 h 2"/>
                  <a:gd name="T6" fmla="*/ 1 w 1"/>
                  <a:gd name="T7" fmla="*/ 0 h 2"/>
                  <a:gd name="T8" fmla="*/ 1 w 1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2"/>
                  <a:gd name="T17" fmla="*/ 1 w 1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2">
                    <a:moveTo>
                      <a:pt x="1" y="1"/>
                    </a:moveTo>
                    <a:cubicBezTo>
                      <a:pt x="1" y="2"/>
                      <a:pt x="1" y="2"/>
                      <a:pt x="0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1" y="1"/>
                      <a:pt x="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92" name="Freeform 3029"/>
              <p:cNvSpPr>
                <a:spLocks noChangeAspect="1"/>
              </p:cNvSpPr>
              <p:nvPr/>
            </p:nvSpPr>
            <p:spPr bwMode="auto">
              <a:xfrm>
                <a:off x="6601715" y="2937020"/>
                <a:ext cx="2237" cy="3322"/>
              </a:xfrm>
              <a:custGeom>
                <a:avLst/>
                <a:gdLst>
                  <a:gd name="T0" fmla="*/ 1 w 2"/>
                  <a:gd name="T1" fmla="*/ 3 h 3"/>
                  <a:gd name="T2" fmla="*/ 0 w 2"/>
                  <a:gd name="T3" fmla="*/ 4 h 3"/>
                  <a:gd name="T4" fmla="*/ 0 w 2"/>
                  <a:gd name="T5" fmla="*/ 1 h 3"/>
                  <a:gd name="T6" fmla="*/ 1 w 2"/>
                  <a:gd name="T7" fmla="*/ 0 h 3"/>
                  <a:gd name="T8" fmla="*/ 1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2"/>
                    </a:moveTo>
                    <a:cubicBezTo>
                      <a:pt x="1" y="2"/>
                      <a:pt x="1" y="3"/>
                      <a:pt x="0" y="3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1" y="1"/>
                      <a:pt x="1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93" name="Oval 3030"/>
              <p:cNvSpPr>
                <a:spLocks noChangeAspect="1" noChangeArrowheads="1"/>
              </p:cNvSpPr>
              <p:nvPr/>
            </p:nvSpPr>
            <p:spPr bwMode="auto">
              <a:xfrm>
                <a:off x="6530133" y="2977722"/>
                <a:ext cx="3356" cy="3322"/>
              </a:xfrm>
              <a:prstGeom prst="ellipse">
                <a:avLst/>
              </a:pr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94" name="Freeform 3031"/>
              <p:cNvSpPr>
                <a:spLocks noChangeAspect="1"/>
              </p:cNvSpPr>
              <p:nvPr/>
            </p:nvSpPr>
            <p:spPr bwMode="auto">
              <a:xfrm>
                <a:off x="6545791" y="3049160"/>
                <a:ext cx="2237" cy="2493"/>
              </a:xfrm>
              <a:custGeom>
                <a:avLst/>
                <a:gdLst>
                  <a:gd name="T0" fmla="*/ 2 w 2"/>
                  <a:gd name="T1" fmla="*/ 2 h 3"/>
                  <a:gd name="T2" fmla="*/ 1 w 2"/>
                  <a:gd name="T3" fmla="*/ 3 h 3"/>
                  <a:gd name="T4" fmla="*/ 0 w 2"/>
                  <a:gd name="T5" fmla="*/ 2 h 3"/>
                  <a:gd name="T6" fmla="*/ 1 w 2"/>
                  <a:gd name="T7" fmla="*/ 1 h 3"/>
                  <a:gd name="T8" fmla="*/ 2 w 2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3"/>
                      <a:pt x="2" y="3"/>
                      <a:pt x="1" y="3"/>
                    </a:cubicBezTo>
                    <a:cubicBezTo>
                      <a:pt x="1" y="3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1"/>
                    </a:cubicBezTo>
                    <a:cubicBezTo>
                      <a:pt x="2" y="1"/>
                      <a:pt x="2" y="2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95" name="Freeform 3032"/>
              <p:cNvSpPr>
                <a:spLocks noChangeAspect="1"/>
              </p:cNvSpPr>
              <p:nvPr/>
            </p:nvSpPr>
            <p:spPr bwMode="auto">
              <a:xfrm>
                <a:off x="6505526" y="3079895"/>
                <a:ext cx="2237" cy="3322"/>
              </a:xfrm>
              <a:custGeom>
                <a:avLst/>
                <a:gdLst>
                  <a:gd name="T0" fmla="*/ 2 w 2"/>
                  <a:gd name="T1" fmla="*/ 3 h 3"/>
                  <a:gd name="T2" fmla="*/ 0 w 2"/>
                  <a:gd name="T3" fmla="*/ 4 h 3"/>
                  <a:gd name="T4" fmla="*/ 0 w 2"/>
                  <a:gd name="T5" fmla="*/ 1 h 3"/>
                  <a:gd name="T6" fmla="*/ 2 w 2"/>
                  <a:gd name="T7" fmla="*/ 1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1" y="3"/>
                      <a:pt x="1" y="3"/>
                      <a:pt x="0" y="3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1" y="1"/>
                      <a:pt x="1" y="0"/>
                      <a:pt x="2" y="1"/>
                    </a:cubicBezTo>
                    <a:cubicBezTo>
                      <a:pt x="2" y="1"/>
                      <a:pt x="2" y="2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96" name="Freeform 3033"/>
              <p:cNvSpPr>
                <a:spLocks noChangeAspect="1"/>
              </p:cNvSpPr>
              <p:nvPr/>
            </p:nvSpPr>
            <p:spPr bwMode="auto">
              <a:xfrm>
                <a:off x="6533488" y="3046667"/>
                <a:ext cx="8948" cy="6645"/>
              </a:xfrm>
              <a:custGeom>
                <a:avLst/>
                <a:gdLst>
                  <a:gd name="T0" fmla="*/ 7 w 7"/>
                  <a:gd name="T1" fmla="*/ 1 h 6"/>
                  <a:gd name="T2" fmla="*/ 5 w 7"/>
                  <a:gd name="T3" fmla="*/ 7 h 6"/>
                  <a:gd name="T4" fmla="*/ 1 w 7"/>
                  <a:gd name="T5" fmla="*/ 7 h 6"/>
                  <a:gd name="T6" fmla="*/ 3 w 7"/>
                  <a:gd name="T7" fmla="*/ 1 h 6"/>
                  <a:gd name="T8" fmla="*/ 7 w 7"/>
                  <a:gd name="T9" fmla="*/ 1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6"/>
                  <a:gd name="T17" fmla="*/ 7 w 7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6">
                    <a:moveTo>
                      <a:pt x="6" y="1"/>
                    </a:moveTo>
                    <a:cubicBezTo>
                      <a:pt x="7" y="3"/>
                      <a:pt x="5" y="4"/>
                      <a:pt x="4" y="5"/>
                    </a:cubicBezTo>
                    <a:cubicBezTo>
                      <a:pt x="3" y="6"/>
                      <a:pt x="1" y="6"/>
                      <a:pt x="1" y="5"/>
                    </a:cubicBezTo>
                    <a:cubicBezTo>
                      <a:pt x="0" y="3"/>
                      <a:pt x="2" y="2"/>
                      <a:pt x="3" y="1"/>
                    </a:cubicBezTo>
                    <a:cubicBezTo>
                      <a:pt x="4" y="0"/>
                      <a:pt x="6" y="0"/>
                      <a:pt x="6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97" name="Freeform 3034"/>
              <p:cNvSpPr>
                <a:spLocks noChangeAspect="1"/>
              </p:cNvSpPr>
              <p:nvPr/>
            </p:nvSpPr>
            <p:spPr bwMode="auto">
              <a:xfrm>
                <a:off x="6552501" y="3045837"/>
                <a:ext cx="14540" cy="4984"/>
              </a:xfrm>
              <a:custGeom>
                <a:avLst/>
                <a:gdLst>
                  <a:gd name="T0" fmla="*/ 1 w 11"/>
                  <a:gd name="T1" fmla="*/ 1 h 5"/>
                  <a:gd name="T2" fmla="*/ 12 w 11"/>
                  <a:gd name="T3" fmla="*/ 1 h 5"/>
                  <a:gd name="T4" fmla="*/ 12 w 11"/>
                  <a:gd name="T5" fmla="*/ 5 h 5"/>
                  <a:gd name="T6" fmla="*/ 2 w 11"/>
                  <a:gd name="T7" fmla="*/ 4 h 5"/>
                  <a:gd name="T8" fmla="*/ 1 w 11"/>
                  <a:gd name="T9" fmla="*/ 1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"/>
                  <a:gd name="T16" fmla="*/ 0 h 5"/>
                  <a:gd name="T17" fmla="*/ 11 w 11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" h="5">
                    <a:moveTo>
                      <a:pt x="1" y="1"/>
                    </a:moveTo>
                    <a:cubicBezTo>
                      <a:pt x="4" y="0"/>
                      <a:pt x="7" y="0"/>
                      <a:pt x="10" y="1"/>
                    </a:cubicBezTo>
                    <a:cubicBezTo>
                      <a:pt x="11" y="2"/>
                      <a:pt x="11" y="4"/>
                      <a:pt x="10" y="4"/>
                    </a:cubicBezTo>
                    <a:cubicBezTo>
                      <a:pt x="7" y="5"/>
                      <a:pt x="4" y="4"/>
                      <a:pt x="2" y="3"/>
                    </a:cubicBezTo>
                    <a:cubicBezTo>
                      <a:pt x="1" y="3"/>
                      <a:pt x="0" y="1"/>
                      <a:pt x="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98" name="Freeform 3035"/>
              <p:cNvSpPr>
                <a:spLocks noChangeAspect="1"/>
              </p:cNvSpPr>
              <p:nvPr/>
            </p:nvSpPr>
            <p:spPr bwMode="auto">
              <a:xfrm>
                <a:off x="6573753" y="3038361"/>
                <a:ext cx="20133" cy="6645"/>
              </a:xfrm>
              <a:custGeom>
                <a:avLst/>
                <a:gdLst>
                  <a:gd name="T0" fmla="*/ 4 w 15"/>
                  <a:gd name="T1" fmla="*/ 1 h 7"/>
                  <a:gd name="T2" fmla="*/ 1 w 15"/>
                  <a:gd name="T3" fmla="*/ 7 h 7"/>
                  <a:gd name="T4" fmla="*/ 6 w 15"/>
                  <a:gd name="T5" fmla="*/ 6 h 7"/>
                  <a:gd name="T6" fmla="*/ 13 w 15"/>
                  <a:gd name="T7" fmla="*/ 7 h 7"/>
                  <a:gd name="T8" fmla="*/ 18 w 15"/>
                  <a:gd name="T9" fmla="*/ 2 h 7"/>
                  <a:gd name="T10" fmla="*/ 13 w 15"/>
                  <a:gd name="T11" fmla="*/ 1 h 7"/>
                  <a:gd name="T12" fmla="*/ 7 w 15"/>
                  <a:gd name="T13" fmla="*/ 2 h 7"/>
                  <a:gd name="T14" fmla="*/ 4 w 15"/>
                  <a:gd name="T15" fmla="*/ 1 h 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5"/>
                  <a:gd name="T25" fmla="*/ 0 h 7"/>
                  <a:gd name="T26" fmla="*/ 15 w 15"/>
                  <a:gd name="T27" fmla="*/ 7 h 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5" h="7">
                    <a:moveTo>
                      <a:pt x="3" y="1"/>
                    </a:moveTo>
                    <a:cubicBezTo>
                      <a:pt x="1" y="2"/>
                      <a:pt x="0" y="5"/>
                      <a:pt x="1" y="6"/>
                    </a:cubicBezTo>
                    <a:cubicBezTo>
                      <a:pt x="2" y="7"/>
                      <a:pt x="3" y="5"/>
                      <a:pt x="5" y="5"/>
                    </a:cubicBezTo>
                    <a:cubicBezTo>
                      <a:pt x="7" y="5"/>
                      <a:pt x="9" y="6"/>
                      <a:pt x="11" y="6"/>
                    </a:cubicBezTo>
                    <a:cubicBezTo>
                      <a:pt x="13" y="5"/>
                      <a:pt x="15" y="4"/>
                      <a:pt x="15" y="2"/>
                    </a:cubicBezTo>
                    <a:cubicBezTo>
                      <a:pt x="15" y="1"/>
                      <a:pt x="12" y="1"/>
                      <a:pt x="11" y="1"/>
                    </a:cubicBezTo>
                    <a:cubicBezTo>
                      <a:pt x="9" y="1"/>
                      <a:pt x="8" y="2"/>
                      <a:pt x="6" y="2"/>
                    </a:cubicBezTo>
                    <a:cubicBezTo>
                      <a:pt x="5" y="2"/>
                      <a:pt x="4" y="0"/>
                      <a:pt x="3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99" name="Freeform 3036"/>
              <p:cNvSpPr>
                <a:spLocks noChangeAspect="1"/>
              </p:cNvSpPr>
              <p:nvPr/>
            </p:nvSpPr>
            <p:spPr bwMode="auto">
              <a:xfrm>
                <a:off x="6516710" y="2994336"/>
                <a:ext cx="10067" cy="12461"/>
              </a:xfrm>
              <a:custGeom>
                <a:avLst/>
                <a:gdLst>
                  <a:gd name="T0" fmla="*/ 6 w 7"/>
                  <a:gd name="T1" fmla="*/ 1 h 13"/>
                  <a:gd name="T2" fmla="*/ 8 w 7"/>
                  <a:gd name="T3" fmla="*/ 6 h 13"/>
                  <a:gd name="T4" fmla="*/ 5 w 7"/>
                  <a:gd name="T5" fmla="*/ 14 h 13"/>
                  <a:gd name="T6" fmla="*/ 1 w 7"/>
                  <a:gd name="T7" fmla="*/ 13 h 13"/>
                  <a:gd name="T8" fmla="*/ 1 w 7"/>
                  <a:gd name="T9" fmla="*/ 5 h 13"/>
                  <a:gd name="T10" fmla="*/ 6 w 7"/>
                  <a:gd name="T11" fmla="*/ 1 h 1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13"/>
                  <a:gd name="T20" fmla="*/ 7 w 7"/>
                  <a:gd name="T21" fmla="*/ 13 h 1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13">
                    <a:moveTo>
                      <a:pt x="5" y="1"/>
                    </a:moveTo>
                    <a:cubicBezTo>
                      <a:pt x="7" y="1"/>
                      <a:pt x="6" y="4"/>
                      <a:pt x="6" y="5"/>
                    </a:cubicBezTo>
                    <a:cubicBezTo>
                      <a:pt x="5" y="8"/>
                      <a:pt x="5" y="10"/>
                      <a:pt x="4" y="12"/>
                    </a:cubicBezTo>
                    <a:cubicBezTo>
                      <a:pt x="3" y="13"/>
                      <a:pt x="1" y="12"/>
                      <a:pt x="1" y="11"/>
                    </a:cubicBezTo>
                    <a:cubicBezTo>
                      <a:pt x="0" y="9"/>
                      <a:pt x="0" y="6"/>
                      <a:pt x="1" y="4"/>
                    </a:cubicBezTo>
                    <a:cubicBezTo>
                      <a:pt x="2" y="2"/>
                      <a:pt x="4" y="0"/>
                      <a:pt x="5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00" name="Freeform 3037"/>
              <p:cNvSpPr>
                <a:spLocks noChangeAspect="1"/>
              </p:cNvSpPr>
              <p:nvPr/>
            </p:nvSpPr>
            <p:spPr bwMode="auto">
              <a:xfrm>
                <a:off x="6508882" y="3002643"/>
                <a:ext cx="6712" cy="4153"/>
              </a:xfrm>
              <a:custGeom>
                <a:avLst/>
                <a:gdLst>
                  <a:gd name="T0" fmla="*/ 4 w 5"/>
                  <a:gd name="T1" fmla="*/ 0 h 4"/>
                  <a:gd name="T2" fmla="*/ 5 w 5"/>
                  <a:gd name="T3" fmla="*/ 4 h 4"/>
                  <a:gd name="T4" fmla="*/ 1 w 5"/>
                  <a:gd name="T5" fmla="*/ 5 h 4"/>
                  <a:gd name="T6" fmla="*/ 4 w 5"/>
                  <a:gd name="T7" fmla="*/ 0 h 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"/>
                  <a:gd name="T13" fmla="*/ 0 h 4"/>
                  <a:gd name="T14" fmla="*/ 5 w 5"/>
                  <a:gd name="T15" fmla="*/ 4 h 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" h="4">
                    <a:moveTo>
                      <a:pt x="3" y="0"/>
                    </a:moveTo>
                    <a:cubicBezTo>
                      <a:pt x="4" y="0"/>
                      <a:pt x="5" y="2"/>
                      <a:pt x="4" y="3"/>
                    </a:cubicBezTo>
                    <a:cubicBezTo>
                      <a:pt x="4" y="4"/>
                      <a:pt x="2" y="4"/>
                      <a:pt x="1" y="4"/>
                    </a:cubicBezTo>
                    <a:cubicBezTo>
                      <a:pt x="0" y="2"/>
                      <a:pt x="2" y="0"/>
                      <a:pt x="3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01" name="Freeform 3038"/>
              <p:cNvSpPr>
                <a:spLocks noChangeAspect="1"/>
              </p:cNvSpPr>
              <p:nvPr/>
            </p:nvSpPr>
            <p:spPr bwMode="auto">
              <a:xfrm>
                <a:off x="6523421" y="2991013"/>
                <a:ext cx="12304" cy="19936"/>
              </a:xfrm>
              <a:custGeom>
                <a:avLst/>
                <a:gdLst>
                  <a:gd name="T0" fmla="*/ 10 w 9"/>
                  <a:gd name="T1" fmla="*/ 1 h 20"/>
                  <a:gd name="T2" fmla="*/ 10 w 9"/>
                  <a:gd name="T3" fmla="*/ 5 h 20"/>
                  <a:gd name="T4" fmla="*/ 6 w 9"/>
                  <a:gd name="T5" fmla="*/ 5 h 20"/>
                  <a:gd name="T6" fmla="*/ 5 w 9"/>
                  <a:gd name="T7" fmla="*/ 14 h 20"/>
                  <a:gd name="T8" fmla="*/ 9 w 9"/>
                  <a:gd name="T9" fmla="*/ 16 h 20"/>
                  <a:gd name="T10" fmla="*/ 7 w 9"/>
                  <a:gd name="T11" fmla="*/ 19 h 20"/>
                  <a:gd name="T12" fmla="*/ 4 w 9"/>
                  <a:gd name="T13" fmla="*/ 19 h 20"/>
                  <a:gd name="T14" fmla="*/ 1 w 9"/>
                  <a:gd name="T15" fmla="*/ 23 h 20"/>
                  <a:gd name="T16" fmla="*/ 1 w 9"/>
                  <a:gd name="T17" fmla="*/ 17 h 20"/>
                  <a:gd name="T18" fmla="*/ 4 w 9"/>
                  <a:gd name="T19" fmla="*/ 6 h 20"/>
                  <a:gd name="T20" fmla="*/ 5 w 9"/>
                  <a:gd name="T21" fmla="*/ 1 h 20"/>
                  <a:gd name="T22" fmla="*/ 10 w 9"/>
                  <a:gd name="T23" fmla="*/ 1 h 2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9"/>
                  <a:gd name="T37" fmla="*/ 0 h 20"/>
                  <a:gd name="T38" fmla="*/ 9 w 9"/>
                  <a:gd name="T39" fmla="*/ 20 h 20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9" h="20">
                    <a:moveTo>
                      <a:pt x="8" y="1"/>
                    </a:moveTo>
                    <a:cubicBezTo>
                      <a:pt x="9" y="1"/>
                      <a:pt x="9" y="3"/>
                      <a:pt x="8" y="4"/>
                    </a:cubicBezTo>
                    <a:cubicBezTo>
                      <a:pt x="7" y="5"/>
                      <a:pt x="6" y="3"/>
                      <a:pt x="5" y="4"/>
                    </a:cubicBezTo>
                    <a:cubicBezTo>
                      <a:pt x="4" y="6"/>
                      <a:pt x="3" y="9"/>
                      <a:pt x="4" y="12"/>
                    </a:cubicBezTo>
                    <a:cubicBezTo>
                      <a:pt x="4" y="13"/>
                      <a:pt x="7" y="12"/>
                      <a:pt x="7" y="13"/>
                    </a:cubicBezTo>
                    <a:cubicBezTo>
                      <a:pt x="8" y="13"/>
                      <a:pt x="7" y="15"/>
                      <a:pt x="6" y="16"/>
                    </a:cubicBezTo>
                    <a:cubicBezTo>
                      <a:pt x="5" y="16"/>
                      <a:pt x="4" y="15"/>
                      <a:pt x="3" y="16"/>
                    </a:cubicBezTo>
                    <a:cubicBezTo>
                      <a:pt x="2" y="17"/>
                      <a:pt x="2" y="20"/>
                      <a:pt x="1" y="19"/>
                    </a:cubicBezTo>
                    <a:cubicBezTo>
                      <a:pt x="0" y="18"/>
                      <a:pt x="1" y="16"/>
                      <a:pt x="1" y="14"/>
                    </a:cubicBezTo>
                    <a:cubicBezTo>
                      <a:pt x="2" y="11"/>
                      <a:pt x="3" y="8"/>
                      <a:pt x="3" y="5"/>
                    </a:cubicBezTo>
                    <a:cubicBezTo>
                      <a:pt x="4" y="4"/>
                      <a:pt x="3" y="2"/>
                      <a:pt x="4" y="1"/>
                    </a:cubicBezTo>
                    <a:cubicBezTo>
                      <a:pt x="5" y="0"/>
                      <a:pt x="7" y="0"/>
                      <a:pt x="8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02" name="Freeform 3039"/>
              <p:cNvSpPr>
                <a:spLocks noChangeAspect="1"/>
              </p:cNvSpPr>
              <p:nvPr/>
            </p:nvSpPr>
            <p:spPr bwMode="auto">
              <a:xfrm>
                <a:off x="6560332" y="3049160"/>
                <a:ext cx="39148" cy="16614"/>
              </a:xfrm>
              <a:custGeom>
                <a:avLst/>
                <a:gdLst>
                  <a:gd name="T0" fmla="*/ 4 w 29"/>
                  <a:gd name="T1" fmla="*/ 20 h 17"/>
                  <a:gd name="T2" fmla="*/ 10 w 29"/>
                  <a:gd name="T3" fmla="*/ 18 h 17"/>
                  <a:gd name="T4" fmla="*/ 16 w 29"/>
                  <a:gd name="T5" fmla="*/ 14 h 17"/>
                  <a:gd name="T6" fmla="*/ 24 w 29"/>
                  <a:gd name="T7" fmla="*/ 11 h 17"/>
                  <a:gd name="T8" fmla="*/ 28 w 29"/>
                  <a:gd name="T9" fmla="*/ 8 h 17"/>
                  <a:gd name="T10" fmla="*/ 34 w 29"/>
                  <a:gd name="T11" fmla="*/ 4 h 17"/>
                  <a:gd name="T12" fmla="*/ 35 w 29"/>
                  <a:gd name="T13" fmla="*/ 1 h 17"/>
                  <a:gd name="T14" fmla="*/ 29 w 29"/>
                  <a:gd name="T15" fmla="*/ 1 h 17"/>
                  <a:gd name="T16" fmla="*/ 17 w 29"/>
                  <a:gd name="T17" fmla="*/ 2 h 17"/>
                  <a:gd name="T18" fmla="*/ 5 w 29"/>
                  <a:gd name="T19" fmla="*/ 5 h 17"/>
                  <a:gd name="T20" fmla="*/ 0 w 29"/>
                  <a:gd name="T21" fmla="*/ 11 h 17"/>
                  <a:gd name="T22" fmla="*/ 4 w 29"/>
                  <a:gd name="T23" fmla="*/ 14 h 17"/>
                  <a:gd name="T24" fmla="*/ 4 w 29"/>
                  <a:gd name="T25" fmla="*/ 20 h 1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9"/>
                  <a:gd name="T40" fmla="*/ 0 h 17"/>
                  <a:gd name="T41" fmla="*/ 29 w 29"/>
                  <a:gd name="T42" fmla="*/ 17 h 17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9" h="17">
                    <a:moveTo>
                      <a:pt x="3" y="17"/>
                    </a:moveTo>
                    <a:cubicBezTo>
                      <a:pt x="4" y="17"/>
                      <a:pt x="6" y="16"/>
                      <a:pt x="8" y="15"/>
                    </a:cubicBezTo>
                    <a:cubicBezTo>
                      <a:pt x="9" y="14"/>
                      <a:pt x="11" y="13"/>
                      <a:pt x="13" y="12"/>
                    </a:cubicBezTo>
                    <a:cubicBezTo>
                      <a:pt x="15" y="11"/>
                      <a:pt x="18" y="10"/>
                      <a:pt x="20" y="9"/>
                    </a:cubicBezTo>
                    <a:cubicBezTo>
                      <a:pt x="21" y="9"/>
                      <a:pt x="22" y="7"/>
                      <a:pt x="23" y="7"/>
                    </a:cubicBezTo>
                    <a:cubicBezTo>
                      <a:pt x="24" y="5"/>
                      <a:pt x="27" y="5"/>
                      <a:pt x="28" y="3"/>
                    </a:cubicBezTo>
                    <a:cubicBezTo>
                      <a:pt x="29" y="3"/>
                      <a:pt x="29" y="1"/>
                      <a:pt x="29" y="1"/>
                    </a:cubicBezTo>
                    <a:cubicBezTo>
                      <a:pt x="27" y="0"/>
                      <a:pt x="26" y="1"/>
                      <a:pt x="24" y="1"/>
                    </a:cubicBezTo>
                    <a:cubicBezTo>
                      <a:pt x="21" y="1"/>
                      <a:pt x="17" y="2"/>
                      <a:pt x="14" y="2"/>
                    </a:cubicBezTo>
                    <a:cubicBezTo>
                      <a:pt x="10" y="3"/>
                      <a:pt x="7" y="3"/>
                      <a:pt x="4" y="4"/>
                    </a:cubicBezTo>
                    <a:cubicBezTo>
                      <a:pt x="2" y="5"/>
                      <a:pt x="1" y="8"/>
                      <a:pt x="0" y="9"/>
                    </a:cubicBezTo>
                    <a:cubicBezTo>
                      <a:pt x="1" y="10"/>
                      <a:pt x="2" y="11"/>
                      <a:pt x="3" y="12"/>
                    </a:cubicBezTo>
                    <a:cubicBezTo>
                      <a:pt x="3" y="14"/>
                      <a:pt x="3" y="16"/>
                      <a:pt x="3" y="17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03" name="Freeform 3040"/>
              <p:cNvSpPr>
                <a:spLocks noChangeAspect="1"/>
              </p:cNvSpPr>
              <p:nvPr/>
            </p:nvSpPr>
            <p:spPr bwMode="auto">
              <a:xfrm>
                <a:off x="6553620" y="2951142"/>
                <a:ext cx="19015" cy="6645"/>
              </a:xfrm>
              <a:custGeom>
                <a:avLst/>
                <a:gdLst>
                  <a:gd name="T0" fmla="*/ 4 w 14"/>
                  <a:gd name="T1" fmla="*/ 1 h 7"/>
                  <a:gd name="T2" fmla="*/ 13 w 14"/>
                  <a:gd name="T3" fmla="*/ 1 h 7"/>
                  <a:gd name="T4" fmla="*/ 17 w 14"/>
                  <a:gd name="T5" fmla="*/ 3 h 7"/>
                  <a:gd name="T6" fmla="*/ 13 w 14"/>
                  <a:gd name="T7" fmla="*/ 6 h 7"/>
                  <a:gd name="T8" fmla="*/ 6 w 14"/>
                  <a:gd name="T9" fmla="*/ 6 h 7"/>
                  <a:gd name="T10" fmla="*/ 1 w 14"/>
                  <a:gd name="T11" fmla="*/ 7 h 7"/>
                  <a:gd name="T12" fmla="*/ 4 w 14"/>
                  <a:gd name="T13" fmla="*/ 1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4"/>
                  <a:gd name="T22" fmla="*/ 0 h 7"/>
                  <a:gd name="T23" fmla="*/ 14 w 14"/>
                  <a:gd name="T24" fmla="*/ 7 h 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4" h="7">
                    <a:moveTo>
                      <a:pt x="3" y="1"/>
                    </a:moveTo>
                    <a:cubicBezTo>
                      <a:pt x="5" y="0"/>
                      <a:pt x="8" y="1"/>
                      <a:pt x="11" y="1"/>
                    </a:cubicBezTo>
                    <a:cubicBezTo>
                      <a:pt x="12" y="1"/>
                      <a:pt x="14" y="2"/>
                      <a:pt x="14" y="3"/>
                    </a:cubicBezTo>
                    <a:cubicBezTo>
                      <a:pt x="14" y="4"/>
                      <a:pt x="12" y="5"/>
                      <a:pt x="11" y="5"/>
                    </a:cubicBezTo>
                    <a:cubicBezTo>
                      <a:pt x="9" y="5"/>
                      <a:pt x="7" y="5"/>
                      <a:pt x="5" y="5"/>
                    </a:cubicBezTo>
                    <a:cubicBezTo>
                      <a:pt x="3" y="5"/>
                      <a:pt x="2" y="7"/>
                      <a:pt x="1" y="6"/>
                    </a:cubicBezTo>
                    <a:cubicBezTo>
                      <a:pt x="0" y="4"/>
                      <a:pt x="1" y="1"/>
                      <a:pt x="3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04" name="Freeform 3041"/>
              <p:cNvSpPr>
                <a:spLocks noChangeAspect="1"/>
              </p:cNvSpPr>
              <p:nvPr/>
            </p:nvSpPr>
            <p:spPr bwMode="auto">
              <a:xfrm>
                <a:off x="6527895" y="2944496"/>
                <a:ext cx="17895" cy="7476"/>
              </a:xfrm>
              <a:custGeom>
                <a:avLst/>
                <a:gdLst>
                  <a:gd name="T0" fmla="*/ 9 w 13"/>
                  <a:gd name="T1" fmla="*/ 3 h 8"/>
                  <a:gd name="T2" fmla="*/ 12 w 13"/>
                  <a:gd name="T3" fmla="*/ 1 h 8"/>
                  <a:gd name="T4" fmla="*/ 15 w 13"/>
                  <a:gd name="T5" fmla="*/ 7 h 8"/>
                  <a:gd name="T6" fmla="*/ 10 w 13"/>
                  <a:gd name="T7" fmla="*/ 6 h 8"/>
                  <a:gd name="T8" fmla="*/ 6 w 13"/>
                  <a:gd name="T9" fmla="*/ 7 h 8"/>
                  <a:gd name="T10" fmla="*/ 5 w 13"/>
                  <a:gd name="T11" fmla="*/ 6 h 8"/>
                  <a:gd name="T12" fmla="*/ 1 w 13"/>
                  <a:gd name="T13" fmla="*/ 7 h 8"/>
                  <a:gd name="T14" fmla="*/ 1 w 13"/>
                  <a:gd name="T15" fmla="*/ 2 h 8"/>
                  <a:gd name="T16" fmla="*/ 9 w 13"/>
                  <a:gd name="T17" fmla="*/ 3 h 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3"/>
                  <a:gd name="T28" fmla="*/ 0 h 8"/>
                  <a:gd name="T29" fmla="*/ 13 w 13"/>
                  <a:gd name="T30" fmla="*/ 8 h 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3" h="8">
                    <a:moveTo>
                      <a:pt x="7" y="3"/>
                    </a:moveTo>
                    <a:cubicBezTo>
                      <a:pt x="8" y="3"/>
                      <a:pt x="9" y="0"/>
                      <a:pt x="10" y="1"/>
                    </a:cubicBezTo>
                    <a:cubicBezTo>
                      <a:pt x="12" y="2"/>
                      <a:pt x="13" y="5"/>
                      <a:pt x="12" y="6"/>
                    </a:cubicBezTo>
                    <a:cubicBezTo>
                      <a:pt x="11" y="8"/>
                      <a:pt x="9" y="5"/>
                      <a:pt x="8" y="5"/>
                    </a:cubicBezTo>
                    <a:cubicBezTo>
                      <a:pt x="7" y="5"/>
                      <a:pt x="6" y="7"/>
                      <a:pt x="5" y="6"/>
                    </a:cubicBezTo>
                    <a:cubicBezTo>
                      <a:pt x="4" y="6"/>
                      <a:pt x="5" y="5"/>
                      <a:pt x="4" y="5"/>
                    </a:cubicBezTo>
                    <a:cubicBezTo>
                      <a:pt x="3" y="5"/>
                      <a:pt x="2" y="6"/>
                      <a:pt x="1" y="6"/>
                    </a:cubicBezTo>
                    <a:cubicBezTo>
                      <a:pt x="1" y="5"/>
                      <a:pt x="0" y="2"/>
                      <a:pt x="1" y="2"/>
                    </a:cubicBezTo>
                    <a:cubicBezTo>
                      <a:pt x="3" y="1"/>
                      <a:pt x="5" y="3"/>
                      <a:pt x="7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05" name="Freeform 3042"/>
              <p:cNvSpPr>
                <a:spLocks noChangeAspect="1"/>
              </p:cNvSpPr>
              <p:nvPr/>
            </p:nvSpPr>
            <p:spPr bwMode="auto">
              <a:xfrm>
                <a:off x="6573753" y="2952803"/>
                <a:ext cx="16779" cy="2493"/>
              </a:xfrm>
              <a:custGeom>
                <a:avLst/>
                <a:gdLst>
                  <a:gd name="T0" fmla="*/ 0 w 13"/>
                  <a:gd name="T1" fmla="*/ 0 h 2"/>
                  <a:gd name="T2" fmla="*/ 0 w 13"/>
                  <a:gd name="T3" fmla="*/ 3 h 2"/>
                  <a:gd name="T4" fmla="*/ 15 w 13"/>
                  <a:gd name="T5" fmla="*/ 2 h 2"/>
                  <a:gd name="T6" fmla="*/ 0 w 13"/>
                  <a:gd name="T7" fmla="*/ 0 h 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"/>
                  <a:gd name="T13" fmla="*/ 0 h 2"/>
                  <a:gd name="T14" fmla="*/ 13 w 13"/>
                  <a:gd name="T15" fmla="*/ 2 h 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" h="2">
                    <a:moveTo>
                      <a:pt x="0" y="0"/>
                    </a:moveTo>
                    <a:cubicBezTo>
                      <a:pt x="0" y="0"/>
                      <a:pt x="0" y="2"/>
                      <a:pt x="0" y="2"/>
                    </a:cubicBezTo>
                    <a:cubicBezTo>
                      <a:pt x="4" y="2"/>
                      <a:pt x="9" y="2"/>
                      <a:pt x="13" y="1"/>
                    </a:cubicBezTo>
                    <a:cubicBezTo>
                      <a:pt x="9" y="0"/>
                      <a:pt x="4" y="0"/>
                      <a:pt x="0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06" name="Freeform 3043"/>
              <p:cNvSpPr>
                <a:spLocks noChangeAspect="1"/>
              </p:cNvSpPr>
              <p:nvPr/>
            </p:nvSpPr>
            <p:spPr bwMode="auto">
              <a:xfrm>
                <a:off x="6581582" y="2971909"/>
                <a:ext cx="22370" cy="12461"/>
              </a:xfrm>
              <a:custGeom>
                <a:avLst/>
                <a:gdLst>
                  <a:gd name="T0" fmla="*/ 2 w 17"/>
                  <a:gd name="T1" fmla="*/ 3 h 12"/>
                  <a:gd name="T2" fmla="*/ 13 w 17"/>
                  <a:gd name="T3" fmla="*/ 1 h 12"/>
                  <a:gd name="T4" fmla="*/ 18 w 17"/>
                  <a:gd name="T5" fmla="*/ 4 h 12"/>
                  <a:gd name="T6" fmla="*/ 15 w 17"/>
                  <a:gd name="T7" fmla="*/ 6 h 12"/>
                  <a:gd name="T8" fmla="*/ 19 w 17"/>
                  <a:gd name="T9" fmla="*/ 11 h 12"/>
                  <a:gd name="T10" fmla="*/ 12 w 17"/>
                  <a:gd name="T11" fmla="*/ 15 h 12"/>
                  <a:gd name="T12" fmla="*/ 1 w 17"/>
                  <a:gd name="T13" fmla="*/ 9 h 12"/>
                  <a:gd name="T14" fmla="*/ 2 w 17"/>
                  <a:gd name="T15" fmla="*/ 3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7"/>
                  <a:gd name="T25" fmla="*/ 0 h 12"/>
                  <a:gd name="T26" fmla="*/ 17 w 17"/>
                  <a:gd name="T27" fmla="*/ 12 h 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7" h="12">
                    <a:moveTo>
                      <a:pt x="2" y="2"/>
                    </a:moveTo>
                    <a:cubicBezTo>
                      <a:pt x="5" y="0"/>
                      <a:pt x="8" y="0"/>
                      <a:pt x="11" y="1"/>
                    </a:cubicBezTo>
                    <a:cubicBezTo>
                      <a:pt x="13" y="1"/>
                      <a:pt x="14" y="1"/>
                      <a:pt x="15" y="3"/>
                    </a:cubicBezTo>
                    <a:cubicBezTo>
                      <a:pt x="16" y="4"/>
                      <a:pt x="13" y="4"/>
                      <a:pt x="13" y="5"/>
                    </a:cubicBezTo>
                    <a:cubicBezTo>
                      <a:pt x="14" y="6"/>
                      <a:pt x="17" y="7"/>
                      <a:pt x="16" y="9"/>
                    </a:cubicBezTo>
                    <a:cubicBezTo>
                      <a:pt x="15" y="11"/>
                      <a:pt x="12" y="10"/>
                      <a:pt x="10" y="12"/>
                    </a:cubicBezTo>
                    <a:cubicBezTo>
                      <a:pt x="6" y="11"/>
                      <a:pt x="3" y="10"/>
                      <a:pt x="1" y="7"/>
                    </a:cubicBezTo>
                    <a:cubicBezTo>
                      <a:pt x="0" y="6"/>
                      <a:pt x="1" y="3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07" name="Freeform 3044"/>
              <p:cNvSpPr>
                <a:spLocks noChangeAspect="1"/>
              </p:cNvSpPr>
              <p:nvPr/>
            </p:nvSpPr>
            <p:spPr bwMode="auto">
              <a:xfrm>
                <a:off x="6603953" y="2946988"/>
                <a:ext cx="15658" cy="5815"/>
              </a:xfrm>
              <a:custGeom>
                <a:avLst/>
                <a:gdLst>
                  <a:gd name="T0" fmla="*/ 6 w 11"/>
                  <a:gd name="T1" fmla="*/ 0 h 6"/>
                  <a:gd name="T2" fmla="*/ 14 w 11"/>
                  <a:gd name="T3" fmla="*/ 5 h 6"/>
                  <a:gd name="T4" fmla="*/ 11 w 11"/>
                  <a:gd name="T5" fmla="*/ 7 h 6"/>
                  <a:gd name="T6" fmla="*/ 5 w 11"/>
                  <a:gd name="T7" fmla="*/ 7 h 6"/>
                  <a:gd name="T8" fmla="*/ 0 w 11"/>
                  <a:gd name="T9" fmla="*/ 5 h 6"/>
                  <a:gd name="T10" fmla="*/ 6 w 11"/>
                  <a:gd name="T11" fmla="*/ 0 h 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"/>
                  <a:gd name="T19" fmla="*/ 0 h 6"/>
                  <a:gd name="T20" fmla="*/ 11 w 11"/>
                  <a:gd name="T21" fmla="*/ 6 h 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" h="6">
                    <a:moveTo>
                      <a:pt x="5" y="0"/>
                    </a:moveTo>
                    <a:cubicBezTo>
                      <a:pt x="7" y="1"/>
                      <a:pt x="9" y="3"/>
                      <a:pt x="11" y="4"/>
                    </a:cubicBezTo>
                    <a:cubicBezTo>
                      <a:pt x="11" y="5"/>
                      <a:pt x="10" y="6"/>
                      <a:pt x="9" y="6"/>
                    </a:cubicBezTo>
                    <a:cubicBezTo>
                      <a:pt x="7" y="6"/>
                      <a:pt x="6" y="6"/>
                      <a:pt x="4" y="6"/>
                    </a:cubicBezTo>
                    <a:cubicBezTo>
                      <a:pt x="3" y="5"/>
                      <a:pt x="0" y="5"/>
                      <a:pt x="0" y="4"/>
                    </a:cubicBezTo>
                    <a:cubicBezTo>
                      <a:pt x="0" y="2"/>
                      <a:pt x="3" y="0"/>
                      <a:pt x="5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08" name="Freeform 3045"/>
              <p:cNvSpPr>
                <a:spLocks noChangeAspect="1"/>
              </p:cNvSpPr>
              <p:nvPr/>
            </p:nvSpPr>
            <p:spPr bwMode="auto">
              <a:xfrm>
                <a:off x="6606189" y="2896317"/>
                <a:ext cx="24606" cy="44026"/>
              </a:xfrm>
              <a:custGeom>
                <a:avLst/>
                <a:gdLst>
                  <a:gd name="T0" fmla="*/ 9 w 19"/>
                  <a:gd name="T1" fmla="*/ 1 h 44"/>
                  <a:gd name="T2" fmla="*/ 6 w 19"/>
                  <a:gd name="T3" fmla="*/ 6 h 44"/>
                  <a:gd name="T4" fmla="*/ 8 w 19"/>
                  <a:gd name="T5" fmla="*/ 13 h 44"/>
                  <a:gd name="T6" fmla="*/ 3 w 19"/>
                  <a:gd name="T7" fmla="*/ 22 h 44"/>
                  <a:gd name="T8" fmla="*/ 8 w 19"/>
                  <a:gd name="T9" fmla="*/ 24 h 44"/>
                  <a:gd name="T10" fmla="*/ 12 w 19"/>
                  <a:gd name="T11" fmla="*/ 17 h 44"/>
                  <a:gd name="T12" fmla="*/ 19 w 19"/>
                  <a:gd name="T13" fmla="*/ 12 h 44"/>
                  <a:gd name="T14" fmla="*/ 20 w 19"/>
                  <a:gd name="T15" fmla="*/ 20 h 44"/>
                  <a:gd name="T16" fmla="*/ 13 w 19"/>
                  <a:gd name="T17" fmla="*/ 23 h 44"/>
                  <a:gd name="T18" fmla="*/ 13 w 19"/>
                  <a:gd name="T19" fmla="*/ 25 h 44"/>
                  <a:gd name="T20" fmla="*/ 21 w 19"/>
                  <a:gd name="T21" fmla="*/ 31 h 44"/>
                  <a:gd name="T22" fmla="*/ 19 w 19"/>
                  <a:gd name="T23" fmla="*/ 31 h 44"/>
                  <a:gd name="T24" fmla="*/ 8 w 19"/>
                  <a:gd name="T25" fmla="*/ 30 h 44"/>
                  <a:gd name="T26" fmla="*/ 8 w 19"/>
                  <a:gd name="T27" fmla="*/ 35 h 44"/>
                  <a:gd name="T28" fmla="*/ 7 w 19"/>
                  <a:gd name="T29" fmla="*/ 42 h 44"/>
                  <a:gd name="T30" fmla="*/ 15 w 19"/>
                  <a:gd name="T31" fmla="*/ 53 h 44"/>
                  <a:gd name="T32" fmla="*/ 8 w 19"/>
                  <a:gd name="T33" fmla="*/ 51 h 44"/>
                  <a:gd name="T34" fmla="*/ 5 w 19"/>
                  <a:gd name="T35" fmla="*/ 40 h 44"/>
                  <a:gd name="T36" fmla="*/ 3 w 19"/>
                  <a:gd name="T37" fmla="*/ 33 h 44"/>
                  <a:gd name="T38" fmla="*/ 1 w 19"/>
                  <a:gd name="T39" fmla="*/ 23 h 44"/>
                  <a:gd name="T40" fmla="*/ 1 w 19"/>
                  <a:gd name="T41" fmla="*/ 8 h 44"/>
                  <a:gd name="T42" fmla="*/ 7 w 19"/>
                  <a:gd name="T43" fmla="*/ 0 h 44"/>
                  <a:gd name="T44" fmla="*/ 9 w 19"/>
                  <a:gd name="T45" fmla="*/ 1 h 44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19"/>
                  <a:gd name="T70" fmla="*/ 0 h 44"/>
                  <a:gd name="T71" fmla="*/ 19 w 19"/>
                  <a:gd name="T72" fmla="*/ 44 h 44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19" h="44">
                    <a:moveTo>
                      <a:pt x="8" y="1"/>
                    </a:moveTo>
                    <a:cubicBezTo>
                      <a:pt x="8" y="3"/>
                      <a:pt x="5" y="4"/>
                      <a:pt x="5" y="5"/>
                    </a:cubicBezTo>
                    <a:cubicBezTo>
                      <a:pt x="5" y="8"/>
                      <a:pt x="8" y="9"/>
                      <a:pt x="7" y="11"/>
                    </a:cubicBezTo>
                    <a:cubicBezTo>
                      <a:pt x="7" y="14"/>
                      <a:pt x="3" y="15"/>
                      <a:pt x="3" y="18"/>
                    </a:cubicBezTo>
                    <a:cubicBezTo>
                      <a:pt x="3" y="19"/>
                      <a:pt x="6" y="20"/>
                      <a:pt x="7" y="20"/>
                    </a:cubicBezTo>
                    <a:cubicBezTo>
                      <a:pt x="9" y="18"/>
                      <a:pt x="8" y="15"/>
                      <a:pt x="10" y="14"/>
                    </a:cubicBezTo>
                    <a:cubicBezTo>
                      <a:pt x="12" y="12"/>
                      <a:pt x="14" y="9"/>
                      <a:pt x="16" y="10"/>
                    </a:cubicBezTo>
                    <a:cubicBezTo>
                      <a:pt x="19" y="10"/>
                      <a:pt x="18" y="15"/>
                      <a:pt x="17" y="17"/>
                    </a:cubicBezTo>
                    <a:cubicBezTo>
                      <a:pt x="16" y="18"/>
                      <a:pt x="13" y="18"/>
                      <a:pt x="11" y="19"/>
                    </a:cubicBezTo>
                    <a:cubicBezTo>
                      <a:pt x="11" y="20"/>
                      <a:pt x="11" y="21"/>
                      <a:pt x="11" y="21"/>
                    </a:cubicBezTo>
                    <a:cubicBezTo>
                      <a:pt x="13" y="23"/>
                      <a:pt x="16" y="24"/>
                      <a:pt x="18" y="26"/>
                    </a:cubicBezTo>
                    <a:cubicBezTo>
                      <a:pt x="18" y="26"/>
                      <a:pt x="16" y="26"/>
                      <a:pt x="16" y="26"/>
                    </a:cubicBezTo>
                    <a:cubicBezTo>
                      <a:pt x="13" y="26"/>
                      <a:pt x="10" y="24"/>
                      <a:pt x="7" y="25"/>
                    </a:cubicBezTo>
                    <a:cubicBezTo>
                      <a:pt x="6" y="26"/>
                      <a:pt x="8" y="28"/>
                      <a:pt x="7" y="29"/>
                    </a:cubicBezTo>
                    <a:cubicBezTo>
                      <a:pt x="7" y="31"/>
                      <a:pt x="6" y="33"/>
                      <a:pt x="6" y="35"/>
                    </a:cubicBezTo>
                    <a:cubicBezTo>
                      <a:pt x="8" y="38"/>
                      <a:pt x="12" y="40"/>
                      <a:pt x="13" y="44"/>
                    </a:cubicBezTo>
                    <a:cubicBezTo>
                      <a:pt x="11" y="43"/>
                      <a:pt x="9" y="43"/>
                      <a:pt x="7" y="42"/>
                    </a:cubicBezTo>
                    <a:cubicBezTo>
                      <a:pt x="5" y="39"/>
                      <a:pt x="5" y="36"/>
                      <a:pt x="4" y="33"/>
                    </a:cubicBezTo>
                    <a:cubicBezTo>
                      <a:pt x="4" y="31"/>
                      <a:pt x="4" y="29"/>
                      <a:pt x="3" y="27"/>
                    </a:cubicBezTo>
                    <a:cubicBezTo>
                      <a:pt x="3" y="24"/>
                      <a:pt x="1" y="21"/>
                      <a:pt x="1" y="19"/>
                    </a:cubicBezTo>
                    <a:cubicBezTo>
                      <a:pt x="0" y="15"/>
                      <a:pt x="0" y="11"/>
                      <a:pt x="1" y="7"/>
                    </a:cubicBezTo>
                    <a:cubicBezTo>
                      <a:pt x="1" y="4"/>
                      <a:pt x="3" y="2"/>
                      <a:pt x="6" y="0"/>
                    </a:cubicBezTo>
                    <a:cubicBezTo>
                      <a:pt x="6" y="0"/>
                      <a:pt x="8" y="0"/>
                      <a:pt x="8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09" name="Freeform 3046"/>
              <p:cNvSpPr>
                <a:spLocks noChangeAspect="1"/>
              </p:cNvSpPr>
              <p:nvPr/>
            </p:nvSpPr>
            <p:spPr bwMode="auto">
              <a:xfrm>
                <a:off x="6619611" y="2890503"/>
                <a:ext cx="8948" cy="9138"/>
              </a:xfrm>
              <a:custGeom>
                <a:avLst/>
                <a:gdLst>
                  <a:gd name="T0" fmla="*/ 6 w 7"/>
                  <a:gd name="T1" fmla="*/ 1 h 9"/>
                  <a:gd name="T2" fmla="*/ 7 w 7"/>
                  <a:gd name="T3" fmla="*/ 9 h 9"/>
                  <a:gd name="T4" fmla="*/ 2 w 7"/>
                  <a:gd name="T5" fmla="*/ 10 h 9"/>
                  <a:gd name="T6" fmla="*/ 2 w 7"/>
                  <a:gd name="T7" fmla="*/ 4 h 9"/>
                  <a:gd name="T8" fmla="*/ 6 w 7"/>
                  <a:gd name="T9" fmla="*/ 1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9"/>
                  <a:gd name="T17" fmla="*/ 7 w 7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9">
                    <a:moveTo>
                      <a:pt x="5" y="1"/>
                    </a:moveTo>
                    <a:cubicBezTo>
                      <a:pt x="7" y="2"/>
                      <a:pt x="7" y="5"/>
                      <a:pt x="6" y="7"/>
                    </a:cubicBezTo>
                    <a:cubicBezTo>
                      <a:pt x="6" y="8"/>
                      <a:pt x="3" y="9"/>
                      <a:pt x="2" y="8"/>
                    </a:cubicBezTo>
                    <a:cubicBezTo>
                      <a:pt x="0" y="7"/>
                      <a:pt x="1" y="5"/>
                      <a:pt x="2" y="3"/>
                    </a:cubicBezTo>
                    <a:cubicBezTo>
                      <a:pt x="2" y="2"/>
                      <a:pt x="4" y="0"/>
                      <a:pt x="5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10" name="Freeform 3047"/>
              <p:cNvSpPr>
                <a:spLocks noChangeAspect="1"/>
              </p:cNvSpPr>
              <p:nvPr/>
            </p:nvSpPr>
            <p:spPr bwMode="auto">
              <a:xfrm>
                <a:off x="6606189" y="2932867"/>
                <a:ext cx="4474" cy="6645"/>
              </a:xfrm>
              <a:custGeom>
                <a:avLst/>
                <a:gdLst>
                  <a:gd name="T0" fmla="*/ 4 w 4"/>
                  <a:gd name="T1" fmla="*/ 3 h 6"/>
                  <a:gd name="T2" fmla="*/ 4 w 4"/>
                  <a:gd name="T3" fmla="*/ 7 h 6"/>
                  <a:gd name="T4" fmla="*/ 1 w 4"/>
                  <a:gd name="T5" fmla="*/ 7 h 6"/>
                  <a:gd name="T6" fmla="*/ 1 w 4"/>
                  <a:gd name="T7" fmla="*/ 1 h 6"/>
                  <a:gd name="T8" fmla="*/ 4 w 4"/>
                  <a:gd name="T9" fmla="*/ 3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6"/>
                  <a:gd name="T17" fmla="*/ 4 w 4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6">
                    <a:moveTo>
                      <a:pt x="4" y="2"/>
                    </a:moveTo>
                    <a:cubicBezTo>
                      <a:pt x="4" y="2"/>
                      <a:pt x="4" y="4"/>
                      <a:pt x="4" y="5"/>
                    </a:cubicBezTo>
                    <a:cubicBezTo>
                      <a:pt x="3" y="6"/>
                      <a:pt x="1" y="6"/>
                      <a:pt x="1" y="5"/>
                    </a:cubicBezTo>
                    <a:cubicBezTo>
                      <a:pt x="0" y="4"/>
                      <a:pt x="0" y="2"/>
                      <a:pt x="1" y="1"/>
                    </a:cubicBezTo>
                    <a:cubicBezTo>
                      <a:pt x="1" y="0"/>
                      <a:pt x="3" y="1"/>
                      <a:pt x="4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11" name="Freeform 3048"/>
              <p:cNvSpPr>
                <a:spLocks noChangeAspect="1"/>
              </p:cNvSpPr>
              <p:nvPr/>
            </p:nvSpPr>
            <p:spPr bwMode="auto">
              <a:xfrm>
                <a:off x="6617373" y="2966924"/>
                <a:ext cx="46977" cy="15783"/>
              </a:xfrm>
              <a:custGeom>
                <a:avLst/>
                <a:gdLst>
                  <a:gd name="T0" fmla="*/ 1 w 35"/>
                  <a:gd name="T1" fmla="*/ 1 h 16"/>
                  <a:gd name="T2" fmla="*/ 13 w 35"/>
                  <a:gd name="T3" fmla="*/ 2 h 16"/>
                  <a:gd name="T4" fmla="*/ 18 w 35"/>
                  <a:gd name="T5" fmla="*/ 4 h 16"/>
                  <a:gd name="T6" fmla="*/ 22 w 35"/>
                  <a:gd name="T7" fmla="*/ 1 h 16"/>
                  <a:gd name="T8" fmla="*/ 31 w 35"/>
                  <a:gd name="T9" fmla="*/ 6 h 16"/>
                  <a:gd name="T10" fmla="*/ 37 w 35"/>
                  <a:gd name="T11" fmla="*/ 6 h 16"/>
                  <a:gd name="T12" fmla="*/ 41 w 35"/>
                  <a:gd name="T13" fmla="*/ 14 h 16"/>
                  <a:gd name="T14" fmla="*/ 40 w 35"/>
                  <a:gd name="T15" fmla="*/ 18 h 16"/>
                  <a:gd name="T16" fmla="*/ 34 w 35"/>
                  <a:gd name="T17" fmla="*/ 15 h 16"/>
                  <a:gd name="T18" fmla="*/ 24 w 35"/>
                  <a:gd name="T19" fmla="*/ 11 h 16"/>
                  <a:gd name="T20" fmla="*/ 19 w 35"/>
                  <a:gd name="T21" fmla="*/ 12 h 16"/>
                  <a:gd name="T22" fmla="*/ 11 w 35"/>
                  <a:gd name="T23" fmla="*/ 11 h 16"/>
                  <a:gd name="T24" fmla="*/ 7 w 35"/>
                  <a:gd name="T25" fmla="*/ 12 h 16"/>
                  <a:gd name="T26" fmla="*/ 0 w 35"/>
                  <a:gd name="T27" fmla="*/ 6 h 16"/>
                  <a:gd name="T28" fmla="*/ 1 w 35"/>
                  <a:gd name="T29" fmla="*/ 1 h 1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35"/>
                  <a:gd name="T46" fmla="*/ 0 h 16"/>
                  <a:gd name="T47" fmla="*/ 35 w 35"/>
                  <a:gd name="T48" fmla="*/ 16 h 1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35" h="16">
                    <a:moveTo>
                      <a:pt x="1" y="1"/>
                    </a:moveTo>
                    <a:cubicBezTo>
                      <a:pt x="4" y="0"/>
                      <a:pt x="8" y="1"/>
                      <a:pt x="11" y="2"/>
                    </a:cubicBezTo>
                    <a:cubicBezTo>
                      <a:pt x="13" y="2"/>
                      <a:pt x="14" y="3"/>
                      <a:pt x="15" y="3"/>
                    </a:cubicBezTo>
                    <a:cubicBezTo>
                      <a:pt x="16" y="3"/>
                      <a:pt x="17" y="1"/>
                      <a:pt x="18" y="1"/>
                    </a:cubicBezTo>
                    <a:cubicBezTo>
                      <a:pt x="21" y="2"/>
                      <a:pt x="24" y="4"/>
                      <a:pt x="26" y="5"/>
                    </a:cubicBezTo>
                    <a:cubicBezTo>
                      <a:pt x="28" y="6"/>
                      <a:pt x="30" y="5"/>
                      <a:pt x="31" y="5"/>
                    </a:cubicBezTo>
                    <a:cubicBezTo>
                      <a:pt x="33" y="7"/>
                      <a:pt x="34" y="9"/>
                      <a:pt x="34" y="12"/>
                    </a:cubicBezTo>
                    <a:cubicBezTo>
                      <a:pt x="35" y="13"/>
                      <a:pt x="34" y="15"/>
                      <a:pt x="33" y="15"/>
                    </a:cubicBezTo>
                    <a:cubicBezTo>
                      <a:pt x="31" y="16"/>
                      <a:pt x="29" y="14"/>
                      <a:pt x="28" y="13"/>
                    </a:cubicBezTo>
                    <a:cubicBezTo>
                      <a:pt x="25" y="12"/>
                      <a:pt x="23" y="10"/>
                      <a:pt x="20" y="9"/>
                    </a:cubicBezTo>
                    <a:cubicBezTo>
                      <a:pt x="19" y="8"/>
                      <a:pt x="17" y="10"/>
                      <a:pt x="16" y="10"/>
                    </a:cubicBezTo>
                    <a:cubicBezTo>
                      <a:pt x="14" y="10"/>
                      <a:pt x="11" y="9"/>
                      <a:pt x="9" y="9"/>
                    </a:cubicBezTo>
                    <a:cubicBezTo>
                      <a:pt x="8" y="9"/>
                      <a:pt x="7" y="11"/>
                      <a:pt x="6" y="10"/>
                    </a:cubicBezTo>
                    <a:cubicBezTo>
                      <a:pt x="3" y="9"/>
                      <a:pt x="1" y="7"/>
                      <a:pt x="0" y="5"/>
                    </a:cubicBezTo>
                    <a:cubicBezTo>
                      <a:pt x="0" y="4"/>
                      <a:pt x="0" y="2"/>
                      <a:pt x="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12" name="Freeform 3049"/>
              <p:cNvSpPr>
                <a:spLocks noChangeAspect="1"/>
              </p:cNvSpPr>
              <p:nvPr/>
            </p:nvSpPr>
            <p:spPr bwMode="auto">
              <a:xfrm>
                <a:off x="6644217" y="2951972"/>
                <a:ext cx="13422" cy="4984"/>
              </a:xfrm>
              <a:custGeom>
                <a:avLst/>
                <a:gdLst>
                  <a:gd name="T0" fmla="*/ 4 w 10"/>
                  <a:gd name="T1" fmla="*/ 1 h 5"/>
                  <a:gd name="T2" fmla="*/ 1 w 10"/>
                  <a:gd name="T3" fmla="*/ 2 h 5"/>
                  <a:gd name="T4" fmla="*/ 6 w 10"/>
                  <a:gd name="T5" fmla="*/ 5 h 5"/>
                  <a:gd name="T6" fmla="*/ 11 w 10"/>
                  <a:gd name="T7" fmla="*/ 5 h 5"/>
                  <a:gd name="T8" fmla="*/ 11 w 10"/>
                  <a:gd name="T9" fmla="*/ 1 h 5"/>
                  <a:gd name="T10" fmla="*/ 4 w 10"/>
                  <a:gd name="T11" fmla="*/ 1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"/>
                  <a:gd name="T19" fmla="*/ 0 h 5"/>
                  <a:gd name="T20" fmla="*/ 10 w 10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" h="5">
                    <a:moveTo>
                      <a:pt x="3" y="1"/>
                    </a:moveTo>
                    <a:cubicBezTo>
                      <a:pt x="2" y="1"/>
                      <a:pt x="0" y="2"/>
                      <a:pt x="1" y="2"/>
                    </a:cubicBezTo>
                    <a:cubicBezTo>
                      <a:pt x="2" y="4"/>
                      <a:pt x="4" y="4"/>
                      <a:pt x="5" y="4"/>
                    </a:cubicBezTo>
                    <a:cubicBezTo>
                      <a:pt x="7" y="5"/>
                      <a:pt x="8" y="5"/>
                      <a:pt x="9" y="4"/>
                    </a:cubicBezTo>
                    <a:cubicBezTo>
                      <a:pt x="10" y="3"/>
                      <a:pt x="10" y="2"/>
                      <a:pt x="9" y="1"/>
                    </a:cubicBezTo>
                    <a:cubicBezTo>
                      <a:pt x="7" y="0"/>
                      <a:pt x="5" y="1"/>
                      <a:pt x="3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13" name="Freeform 3050"/>
              <p:cNvSpPr>
                <a:spLocks noChangeAspect="1"/>
              </p:cNvSpPr>
              <p:nvPr/>
            </p:nvSpPr>
            <p:spPr bwMode="auto">
              <a:xfrm>
                <a:off x="6655403" y="2927882"/>
                <a:ext cx="20133" cy="7476"/>
              </a:xfrm>
              <a:custGeom>
                <a:avLst/>
                <a:gdLst>
                  <a:gd name="T0" fmla="*/ 2 w 15"/>
                  <a:gd name="T1" fmla="*/ 0 h 7"/>
                  <a:gd name="T2" fmla="*/ 16 w 15"/>
                  <a:gd name="T3" fmla="*/ 1 h 7"/>
                  <a:gd name="T4" fmla="*/ 17 w 15"/>
                  <a:gd name="T5" fmla="*/ 8 h 7"/>
                  <a:gd name="T6" fmla="*/ 4 w 15"/>
                  <a:gd name="T7" fmla="*/ 5 h 7"/>
                  <a:gd name="T8" fmla="*/ 1 w 15"/>
                  <a:gd name="T9" fmla="*/ 1 h 7"/>
                  <a:gd name="T10" fmla="*/ 2 w 15"/>
                  <a:gd name="T11" fmla="*/ 0 h 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5"/>
                  <a:gd name="T19" fmla="*/ 0 h 7"/>
                  <a:gd name="T20" fmla="*/ 15 w 15"/>
                  <a:gd name="T21" fmla="*/ 7 h 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5" h="7">
                    <a:moveTo>
                      <a:pt x="2" y="0"/>
                    </a:moveTo>
                    <a:cubicBezTo>
                      <a:pt x="6" y="0"/>
                      <a:pt x="10" y="0"/>
                      <a:pt x="13" y="1"/>
                    </a:cubicBezTo>
                    <a:cubicBezTo>
                      <a:pt x="14" y="2"/>
                      <a:pt x="15" y="5"/>
                      <a:pt x="14" y="6"/>
                    </a:cubicBezTo>
                    <a:cubicBezTo>
                      <a:pt x="10" y="7"/>
                      <a:pt x="6" y="5"/>
                      <a:pt x="3" y="4"/>
                    </a:cubicBezTo>
                    <a:cubicBezTo>
                      <a:pt x="2" y="4"/>
                      <a:pt x="1" y="2"/>
                      <a:pt x="1" y="1"/>
                    </a:cubicBezTo>
                    <a:cubicBezTo>
                      <a:pt x="0" y="0"/>
                      <a:pt x="2" y="0"/>
                      <a:pt x="2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14" name="Freeform 3051"/>
              <p:cNvSpPr>
                <a:spLocks noChangeAspect="1"/>
              </p:cNvSpPr>
              <p:nvPr/>
            </p:nvSpPr>
            <p:spPr bwMode="auto">
              <a:xfrm>
                <a:off x="6610664" y="2972739"/>
                <a:ext cx="6712" cy="6645"/>
              </a:xfrm>
              <a:custGeom>
                <a:avLst/>
                <a:gdLst>
                  <a:gd name="T0" fmla="*/ 1 w 5"/>
                  <a:gd name="T1" fmla="*/ 1 h 6"/>
                  <a:gd name="T2" fmla="*/ 1 w 5"/>
                  <a:gd name="T3" fmla="*/ 8 h 6"/>
                  <a:gd name="T4" fmla="*/ 4 w 5"/>
                  <a:gd name="T5" fmla="*/ 7 h 6"/>
                  <a:gd name="T6" fmla="*/ 6 w 5"/>
                  <a:gd name="T7" fmla="*/ 1 h 6"/>
                  <a:gd name="T8" fmla="*/ 1 w 5"/>
                  <a:gd name="T9" fmla="*/ 1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6"/>
                  <a:gd name="T17" fmla="*/ 5 w 5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6">
                    <a:moveTo>
                      <a:pt x="1" y="1"/>
                    </a:moveTo>
                    <a:cubicBezTo>
                      <a:pt x="0" y="2"/>
                      <a:pt x="1" y="4"/>
                      <a:pt x="1" y="6"/>
                    </a:cubicBezTo>
                    <a:cubicBezTo>
                      <a:pt x="1" y="6"/>
                      <a:pt x="3" y="5"/>
                      <a:pt x="3" y="5"/>
                    </a:cubicBezTo>
                    <a:cubicBezTo>
                      <a:pt x="4" y="4"/>
                      <a:pt x="5" y="3"/>
                      <a:pt x="5" y="1"/>
                    </a:cubicBezTo>
                    <a:cubicBezTo>
                      <a:pt x="4" y="0"/>
                      <a:pt x="2" y="0"/>
                      <a:pt x="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15" name="Freeform 3052"/>
              <p:cNvSpPr>
                <a:spLocks noChangeAspect="1"/>
              </p:cNvSpPr>
              <p:nvPr/>
            </p:nvSpPr>
            <p:spPr bwMode="auto">
              <a:xfrm>
                <a:off x="6666588" y="3033377"/>
                <a:ext cx="10067" cy="12461"/>
              </a:xfrm>
              <a:custGeom>
                <a:avLst/>
                <a:gdLst>
                  <a:gd name="T0" fmla="*/ 8 w 8"/>
                  <a:gd name="T1" fmla="*/ 1 h 13"/>
                  <a:gd name="T2" fmla="*/ 8 w 8"/>
                  <a:gd name="T3" fmla="*/ 7 h 13"/>
                  <a:gd name="T4" fmla="*/ 3 w 8"/>
                  <a:gd name="T5" fmla="*/ 14 h 13"/>
                  <a:gd name="T6" fmla="*/ 0 w 8"/>
                  <a:gd name="T7" fmla="*/ 13 h 13"/>
                  <a:gd name="T8" fmla="*/ 3 w 8"/>
                  <a:gd name="T9" fmla="*/ 5 h 13"/>
                  <a:gd name="T10" fmla="*/ 8 w 8"/>
                  <a:gd name="T11" fmla="*/ 1 h 1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13"/>
                  <a:gd name="T20" fmla="*/ 8 w 8"/>
                  <a:gd name="T21" fmla="*/ 13 h 1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13">
                    <a:moveTo>
                      <a:pt x="7" y="1"/>
                    </a:moveTo>
                    <a:cubicBezTo>
                      <a:pt x="8" y="2"/>
                      <a:pt x="7" y="4"/>
                      <a:pt x="7" y="6"/>
                    </a:cubicBezTo>
                    <a:cubicBezTo>
                      <a:pt x="6" y="8"/>
                      <a:pt x="5" y="11"/>
                      <a:pt x="3" y="12"/>
                    </a:cubicBezTo>
                    <a:cubicBezTo>
                      <a:pt x="2" y="13"/>
                      <a:pt x="0" y="12"/>
                      <a:pt x="0" y="11"/>
                    </a:cubicBezTo>
                    <a:cubicBezTo>
                      <a:pt x="0" y="9"/>
                      <a:pt x="2" y="6"/>
                      <a:pt x="3" y="4"/>
                    </a:cubicBezTo>
                    <a:cubicBezTo>
                      <a:pt x="4" y="3"/>
                      <a:pt x="5" y="0"/>
                      <a:pt x="7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16" name="Freeform 3053"/>
              <p:cNvSpPr>
                <a:spLocks noChangeAspect="1"/>
              </p:cNvSpPr>
              <p:nvPr/>
            </p:nvSpPr>
            <p:spPr bwMode="auto">
              <a:xfrm>
                <a:off x="6742646" y="2937020"/>
                <a:ext cx="19015" cy="9138"/>
              </a:xfrm>
              <a:custGeom>
                <a:avLst/>
                <a:gdLst>
                  <a:gd name="T0" fmla="*/ 2 w 14"/>
                  <a:gd name="T1" fmla="*/ 0 h 9"/>
                  <a:gd name="T2" fmla="*/ 16 w 14"/>
                  <a:gd name="T3" fmla="*/ 9 h 9"/>
                  <a:gd name="T4" fmla="*/ 6 w 14"/>
                  <a:gd name="T5" fmla="*/ 10 h 9"/>
                  <a:gd name="T6" fmla="*/ 5 w 14"/>
                  <a:gd name="T7" fmla="*/ 4 h 9"/>
                  <a:gd name="T8" fmla="*/ 0 w 14"/>
                  <a:gd name="T9" fmla="*/ 2 h 9"/>
                  <a:gd name="T10" fmla="*/ 2 w 14"/>
                  <a:gd name="T11" fmla="*/ 0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4"/>
                  <a:gd name="T19" fmla="*/ 0 h 9"/>
                  <a:gd name="T20" fmla="*/ 14 w 14"/>
                  <a:gd name="T21" fmla="*/ 9 h 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4" h="9">
                    <a:moveTo>
                      <a:pt x="2" y="0"/>
                    </a:moveTo>
                    <a:cubicBezTo>
                      <a:pt x="6" y="1"/>
                      <a:pt x="11" y="3"/>
                      <a:pt x="13" y="7"/>
                    </a:cubicBezTo>
                    <a:cubicBezTo>
                      <a:pt x="14" y="9"/>
                      <a:pt x="8" y="9"/>
                      <a:pt x="5" y="8"/>
                    </a:cubicBezTo>
                    <a:cubicBezTo>
                      <a:pt x="4" y="7"/>
                      <a:pt x="5" y="4"/>
                      <a:pt x="4" y="3"/>
                    </a:cubicBezTo>
                    <a:cubicBezTo>
                      <a:pt x="3" y="2"/>
                      <a:pt x="1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17" name="Freeform 3054"/>
              <p:cNvSpPr>
                <a:spLocks noChangeAspect="1"/>
              </p:cNvSpPr>
              <p:nvPr/>
            </p:nvSpPr>
            <p:spPr bwMode="auto">
              <a:xfrm>
                <a:off x="6743765" y="2951972"/>
                <a:ext cx="19015" cy="3322"/>
              </a:xfrm>
              <a:custGeom>
                <a:avLst/>
                <a:gdLst>
                  <a:gd name="T0" fmla="*/ 9 w 14"/>
                  <a:gd name="T1" fmla="*/ 0 h 3"/>
                  <a:gd name="T2" fmla="*/ 17 w 14"/>
                  <a:gd name="T3" fmla="*/ 3 h 3"/>
                  <a:gd name="T4" fmla="*/ 9 w 14"/>
                  <a:gd name="T5" fmla="*/ 4 h 3"/>
                  <a:gd name="T6" fmla="*/ 0 w 14"/>
                  <a:gd name="T7" fmla="*/ 1 h 3"/>
                  <a:gd name="T8" fmla="*/ 9 w 14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"/>
                  <a:gd name="T16" fmla="*/ 0 h 3"/>
                  <a:gd name="T17" fmla="*/ 14 w 1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" h="3">
                    <a:moveTo>
                      <a:pt x="7" y="0"/>
                    </a:moveTo>
                    <a:cubicBezTo>
                      <a:pt x="10" y="0"/>
                      <a:pt x="12" y="2"/>
                      <a:pt x="14" y="2"/>
                    </a:cubicBezTo>
                    <a:cubicBezTo>
                      <a:pt x="12" y="3"/>
                      <a:pt x="10" y="3"/>
                      <a:pt x="7" y="3"/>
                    </a:cubicBezTo>
                    <a:cubicBezTo>
                      <a:pt x="5" y="3"/>
                      <a:pt x="2" y="2"/>
                      <a:pt x="0" y="1"/>
                    </a:cubicBezTo>
                    <a:cubicBezTo>
                      <a:pt x="2" y="0"/>
                      <a:pt x="5" y="0"/>
                      <a:pt x="7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18" name="Freeform 3055"/>
              <p:cNvSpPr>
                <a:spLocks noChangeAspect="1"/>
              </p:cNvSpPr>
              <p:nvPr/>
            </p:nvSpPr>
            <p:spPr bwMode="auto">
              <a:xfrm>
                <a:off x="6776200" y="3035039"/>
                <a:ext cx="24606" cy="16614"/>
              </a:xfrm>
              <a:custGeom>
                <a:avLst/>
                <a:gdLst>
                  <a:gd name="T0" fmla="*/ 12 w 18"/>
                  <a:gd name="T1" fmla="*/ 1 h 17"/>
                  <a:gd name="T2" fmla="*/ 20 w 18"/>
                  <a:gd name="T3" fmla="*/ 1 h 17"/>
                  <a:gd name="T4" fmla="*/ 21 w 18"/>
                  <a:gd name="T5" fmla="*/ 6 h 17"/>
                  <a:gd name="T6" fmla="*/ 16 w 18"/>
                  <a:gd name="T7" fmla="*/ 14 h 17"/>
                  <a:gd name="T8" fmla="*/ 12 w 18"/>
                  <a:gd name="T9" fmla="*/ 19 h 17"/>
                  <a:gd name="T10" fmla="*/ 4 w 18"/>
                  <a:gd name="T11" fmla="*/ 19 h 17"/>
                  <a:gd name="T12" fmla="*/ 0 w 18"/>
                  <a:gd name="T13" fmla="*/ 18 h 17"/>
                  <a:gd name="T14" fmla="*/ 7 w 18"/>
                  <a:gd name="T15" fmla="*/ 6 h 17"/>
                  <a:gd name="T16" fmla="*/ 12 w 18"/>
                  <a:gd name="T17" fmla="*/ 1 h 1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8"/>
                  <a:gd name="T28" fmla="*/ 0 h 17"/>
                  <a:gd name="T29" fmla="*/ 18 w 18"/>
                  <a:gd name="T30" fmla="*/ 17 h 1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8" h="17">
                    <a:moveTo>
                      <a:pt x="10" y="1"/>
                    </a:moveTo>
                    <a:cubicBezTo>
                      <a:pt x="12" y="1"/>
                      <a:pt x="14" y="0"/>
                      <a:pt x="16" y="1"/>
                    </a:cubicBezTo>
                    <a:cubicBezTo>
                      <a:pt x="17" y="2"/>
                      <a:pt x="18" y="4"/>
                      <a:pt x="17" y="5"/>
                    </a:cubicBezTo>
                    <a:cubicBezTo>
                      <a:pt x="17" y="8"/>
                      <a:pt x="15" y="10"/>
                      <a:pt x="13" y="12"/>
                    </a:cubicBezTo>
                    <a:cubicBezTo>
                      <a:pt x="12" y="13"/>
                      <a:pt x="11" y="15"/>
                      <a:pt x="10" y="16"/>
                    </a:cubicBezTo>
                    <a:cubicBezTo>
                      <a:pt x="8" y="17"/>
                      <a:pt x="5" y="16"/>
                      <a:pt x="3" y="16"/>
                    </a:cubicBezTo>
                    <a:cubicBezTo>
                      <a:pt x="2" y="16"/>
                      <a:pt x="0" y="16"/>
                      <a:pt x="0" y="15"/>
                    </a:cubicBezTo>
                    <a:cubicBezTo>
                      <a:pt x="2" y="12"/>
                      <a:pt x="4" y="8"/>
                      <a:pt x="6" y="5"/>
                    </a:cubicBezTo>
                    <a:cubicBezTo>
                      <a:pt x="7" y="3"/>
                      <a:pt x="8" y="2"/>
                      <a:pt x="10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19" name="Freeform 3056"/>
              <p:cNvSpPr>
                <a:spLocks noChangeAspect="1"/>
              </p:cNvSpPr>
              <p:nvPr/>
            </p:nvSpPr>
            <p:spPr bwMode="auto">
              <a:xfrm>
                <a:off x="6720276" y="3010119"/>
                <a:ext cx="10067" cy="5815"/>
              </a:xfrm>
              <a:custGeom>
                <a:avLst/>
                <a:gdLst>
                  <a:gd name="T0" fmla="*/ 5 w 8"/>
                  <a:gd name="T1" fmla="*/ 0 h 6"/>
                  <a:gd name="T2" fmla="*/ 8 w 8"/>
                  <a:gd name="T3" fmla="*/ 5 h 6"/>
                  <a:gd name="T4" fmla="*/ 1 w 8"/>
                  <a:gd name="T5" fmla="*/ 5 h 6"/>
                  <a:gd name="T6" fmla="*/ 5 w 8"/>
                  <a:gd name="T7" fmla="*/ 0 h 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"/>
                  <a:gd name="T13" fmla="*/ 0 h 6"/>
                  <a:gd name="T14" fmla="*/ 8 w 8"/>
                  <a:gd name="T15" fmla="*/ 6 h 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" h="6">
                    <a:moveTo>
                      <a:pt x="4" y="0"/>
                    </a:moveTo>
                    <a:cubicBezTo>
                      <a:pt x="5" y="0"/>
                      <a:pt x="8" y="2"/>
                      <a:pt x="7" y="4"/>
                    </a:cubicBezTo>
                    <a:cubicBezTo>
                      <a:pt x="6" y="5"/>
                      <a:pt x="3" y="6"/>
                      <a:pt x="1" y="4"/>
                    </a:cubicBezTo>
                    <a:cubicBezTo>
                      <a:pt x="0" y="3"/>
                      <a:pt x="2" y="0"/>
                      <a:pt x="4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20" name="Freeform 3057"/>
              <p:cNvSpPr>
                <a:spLocks noChangeAspect="1"/>
              </p:cNvSpPr>
              <p:nvPr/>
            </p:nvSpPr>
            <p:spPr bwMode="auto">
              <a:xfrm>
                <a:off x="6722512" y="3015102"/>
                <a:ext cx="6712" cy="4984"/>
              </a:xfrm>
              <a:custGeom>
                <a:avLst/>
                <a:gdLst>
                  <a:gd name="T0" fmla="*/ 5 w 5"/>
                  <a:gd name="T1" fmla="*/ 6 h 5"/>
                  <a:gd name="T2" fmla="*/ 6 w 5"/>
                  <a:gd name="T3" fmla="*/ 4 h 5"/>
                  <a:gd name="T4" fmla="*/ 2 w 5"/>
                  <a:gd name="T5" fmla="*/ 0 h 5"/>
                  <a:gd name="T6" fmla="*/ 0 w 5"/>
                  <a:gd name="T7" fmla="*/ 4 h 5"/>
                  <a:gd name="T8" fmla="*/ 5 w 5"/>
                  <a:gd name="T9" fmla="*/ 6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5"/>
                  <a:gd name="T17" fmla="*/ 5 w 5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5">
                    <a:moveTo>
                      <a:pt x="4" y="5"/>
                    </a:moveTo>
                    <a:cubicBezTo>
                      <a:pt x="4" y="5"/>
                      <a:pt x="5" y="4"/>
                      <a:pt x="5" y="3"/>
                    </a:cubicBezTo>
                    <a:cubicBezTo>
                      <a:pt x="4" y="2"/>
                      <a:pt x="3" y="1"/>
                      <a:pt x="2" y="0"/>
                    </a:cubicBezTo>
                    <a:cubicBezTo>
                      <a:pt x="1" y="0"/>
                      <a:pt x="0" y="2"/>
                      <a:pt x="0" y="3"/>
                    </a:cubicBezTo>
                    <a:cubicBezTo>
                      <a:pt x="1" y="4"/>
                      <a:pt x="2" y="5"/>
                      <a:pt x="4" y="5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21" name="Freeform 3058"/>
              <p:cNvSpPr>
                <a:spLocks noChangeAspect="1"/>
              </p:cNvSpPr>
              <p:nvPr/>
            </p:nvSpPr>
            <p:spPr bwMode="auto">
              <a:xfrm>
                <a:off x="6716921" y="3015933"/>
                <a:ext cx="10067" cy="13290"/>
              </a:xfrm>
              <a:custGeom>
                <a:avLst/>
                <a:gdLst>
                  <a:gd name="T0" fmla="*/ 1 w 7"/>
                  <a:gd name="T1" fmla="*/ 0 h 13"/>
                  <a:gd name="T2" fmla="*/ 8 w 7"/>
                  <a:gd name="T3" fmla="*/ 6 h 13"/>
                  <a:gd name="T4" fmla="*/ 8 w 7"/>
                  <a:gd name="T5" fmla="*/ 9 h 13"/>
                  <a:gd name="T6" fmla="*/ 3 w 7"/>
                  <a:gd name="T7" fmla="*/ 15 h 13"/>
                  <a:gd name="T8" fmla="*/ 0 w 7"/>
                  <a:gd name="T9" fmla="*/ 14 h 13"/>
                  <a:gd name="T10" fmla="*/ 1 w 7"/>
                  <a:gd name="T11" fmla="*/ 0 h 1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13"/>
                  <a:gd name="T20" fmla="*/ 7 w 7"/>
                  <a:gd name="T21" fmla="*/ 13 h 1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13">
                    <a:moveTo>
                      <a:pt x="1" y="0"/>
                    </a:moveTo>
                    <a:cubicBezTo>
                      <a:pt x="2" y="1"/>
                      <a:pt x="5" y="3"/>
                      <a:pt x="6" y="5"/>
                    </a:cubicBezTo>
                    <a:cubicBezTo>
                      <a:pt x="7" y="5"/>
                      <a:pt x="6" y="6"/>
                      <a:pt x="6" y="7"/>
                    </a:cubicBezTo>
                    <a:cubicBezTo>
                      <a:pt x="5" y="9"/>
                      <a:pt x="4" y="11"/>
                      <a:pt x="2" y="12"/>
                    </a:cubicBezTo>
                    <a:cubicBezTo>
                      <a:pt x="2" y="13"/>
                      <a:pt x="0" y="12"/>
                      <a:pt x="0" y="11"/>
                    </a:cubicBezTo>
                    <a:cubicBezTo>
                      <a:pt x="0" y="7"/>
                      <a:pt x="0" y="4"/>
                      <a:pt x="1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22" name="Freeform 3059"/>
              <p:cNvSpPr>
                <a:spLocks noChangeAspect="1"/>
              </p:cNvSpPr>
              <p:nvPr/>
            </p:nvSpPr>
            <p:spPr bwMode="auto">
              <a:xfrm>
                <a:off x="6832125" y="2966093"/>
                <a:ext cx="163300" cy="114632"/>
              </a:xfrm>
              <a:custGeom>
                <a:avLst/>
                <a:gdLst>
                  <a:gd name="T0" fmla="*/ 0 w 121"/>
                  <a:gd name="T1" fmla="*/ 114 h 115"/>
                  <a:gd name="T2" fmla="*/ 7 w 121"/>
                  <a:gd name="T3" fmla="*/ 116 h 115"/>
                  <a:gd name="T4" fmla="*/ 16 w 121"/>
                  <a:gd name="T5" fmla="*/ 115 h 115"/>
                  <a:gd name="T6" fmla="*/ 25 w 121"/>
                  <a:gd name="T7" fmla="*/ 116 h 115"/>
                  <a:gd name="T8" fmla="*/ 35 w 121"/>
                  <a:gd name="T9" fmla="*/ 114 h 115"/>
                  <a:gd name="T10" fmla="*/ 40 w 121"/>
                  <a:gd name="T11" fmla="*/ 108 h 115"/>
                  <a:gd name="T12" fmla="*/ 28 w 121"/>
                  <a:gd name="T13" fmla="*/ 102 h 115"/>
                  <a:gd name="T14" fmla="*/ 27 w 121"/>
                  <a:gd name="T15" fmla="*/ 100 h 115"/>
                  <a:gd name="T16" fmla="*/ 41 w 121"/>
                  <a:gd name="T17" fmla="*/ 98 h 115"/>
                  <a:gd name="T18" fmla="*/ 45 w 121"/>
                  <a:gd name="T19" fmla="*/ 90 h 115"/>
                  <a:gd name="T20" fmla="*/ 54 w 121"/>
                  <a:gd name="T21" fmla="*/ 86 h 115"/>
                  <a:gd name="T22" fmla="*/ 65 w 121"/>
                  <a:gd name="T23" fmla="*/ 91 h 115"/>
                  <a:gd name="T24" fmla="*/ 80 w 121"/>
                  <a:gd name="T25" fmla="*/ 101 h 115"/>
                  <a:gd name="T26" fmla="*/ 84 w 121"/>
                  <a:gd name="T27" fmla="*/ 112 h 115"/>
                  <a:gd name="T28" fmla="*/ 88 w 121"/>
                  <a:gd name="T29" fmla="*/ 115 h 115"/>
                  <a:gd name="T30" fmla="*/ 100 w 121"/>
                  <a:gd name="T31" fmla="*/ 130 h 115"/>
                  <a:gd name="T32" fmla="*/ 105 w 121"/>
                  <a:gd name="T33" fmla="*/ 132 h 115"/>
                  <a:gd name="T34" fmla="*/ 117 w 121"/>
                  <a:gd name="T35" fmla="*/ 133 h 115"/>
                  <a:gd name="T36" fmla="*/ 133 w 121"/>
                  <a:gd name="T37" fmla="*/ 136 h 115"/>
                  <a:gd name="T38" fmla="*/ 141 w 121"/>
                  <a:gd name="T39" fmla="*/ 137 h 115"/>
                  <a:gd name="T40" fmla="*/ 145 w 121"/>
                  <a:gd name="T41" fmla="*/ 133 h 115"/>
                  <a:gd name="T42" fmla="*/ 134 w 121"/>
                  <a:gd name="T43" fmla="*/ 128 h 115"/>
                  <a:gd name="T44" fmla="*/ 139 w 121"/>
                  <a:gd name="T45" fmla="*/ 124 h 115"/>
                  <a:gd name="T46" fmla="*/ 130 w 121"/>
                  <a:gd name="T47" fmla="*/ 124 h 115"/>
                  <a:gd name="T48" fmla="*/ 125 w 121"/>
                  <a:gd name="T49" fmla="*/ 119 h 115"/>
                  <a:gd name="T50" fmla="*/ 129 w 121"/>
                  <a:gd name="T51" fmla="*/ 114 h 115"/>
                  <a:gd name="T52" fmla="*/ 125 w 121"/>
                  <a:gd name="T53" fmla="*/ 113 h 115"/>
                  <a:gd name="T54" fmla="*/ 116 w 121"/>
                  <a:gd name="T55" fmla="*/ 113 h 115"/>
                  <a:gd name="T56" fmla="*/ 110 w 121"/>
                  <a:gd name="T57" fmla="*/ 107 h 115"/>
                  <a:gd name="T58" fmla="*/ 110 w 121"/>
                  <a:gd name="T59" fmla="*/ 95 h 115"/>
                  <a:gd name="T60" fmla="*/ 105 w 121"/>
                  <a:gd name="T61" fmla="*/ 94 h 115"/>
                  <a:gd name="T62" fmla="*/ 97 w 121"/>
                  <a:gd name="T63" fmla="*/ 85 h 115"/>
                  <a:gd name="T64" fmla="*/ 97 w 121"/>
                  <a:gd name="T65" fmla="*/ 79 h 115"/>
                  <a:gd name="T66" fmla="*/ 93 w 121"/>
                  <a:gd name="T67" fmla="*/ 74 h 115"/>
                  <a:gd name="T68" fmla="*/ 100 w 121"/>
                  <a:gd name="T69" fmla="*/ 71 h 115"/>
                  <a:gd name="T70" fmla="*/ 109 w 121"/>
                  <a:gd name="T71" fmla="*/ 71 h 115"/>
                  <a:gd name="T72" fmla="*/ 103 w 121"/>
                  <a:gd name="T73" fmla="*/ 59 h 115"/>
                  <a:gd name="T74" fmla="*/ 97 w 121"/>
                  <a:gd name="T75" fmla="*/ 59 h 115"/>
                  <a:gd name="T76" fmla="*/ 87 w 121"/>
                  <a:gd name="T77" fmla="*/ 54 h 115"/>
                  <a:gd name="T78" fmla="*/ 75 w 121"/>
                  <a:gd name="T79" fmla="*/ 49 h 115"/>
                  <a:gd name="T80" fmla="*/ 75 w 121"/>
                  <a:gd name="T81" fmla="*/ 43 h 115"/>
                  <a:gd name="T82" fmla="*/ 72 w 121"/>
                  <a:gd name="T83" fmla="*/ 35 h 115"/>
                  <a:gd name="T84" fmla="*/ 63 w 121"/>
                  <a:gd name="T85" fmla="*/ 29 h 115"/>
                  <a:gd name="T86" fmla="*/ 59 w 121"/>
                  <a:gd name="T87" fmla="*/ 22 h 115"/>
                  <a:gd name="T88" fmla="*/ 49 w 121"/>
                  <a:gd name="T89" fmla="*/ 20 h 115"/>
                  <a:gd name="T90" fmla="*/ 39 w 121"/>
                  <a:gd name="T91" fmla="*/ 14 h 115"/>
                  <a:gd name="T92" fmla="*/ 19 w 121"/>
                  <a:gd name="T93" fmla="*/ 7 h 115"/>
                  <a:gd name="T94" fmla="*/ 8 w 121"/>
                  <a:gd name="T95" fmla="*/ 1 h 115"/>
                  <a:gd name="T96" fmla="*/ 4 w 121"/>
                  <a:gd name="T97" fmla="*/ 1 h 115"/>
                  <a:gd name="T98" fmla="*/ 4 w 121"/>
                  <a:gd name="T99" fmla="*/ 65 h 115"/>
                  <a:gd name="T100" fmla="*/ 0 w 121"/>
                  <a:gd name="T101" fmla="*/ 71 h 115"/>
                  <a:gd name="T102" fmla="*/ 2 w 121"/>
                  <a:gd name="T103" fmla="*/ 76 h 115"/>
                  <a:gd name="T104" fmla="*/ 0 w 121"/>
                  <a:gd name="T105" fmla="*/ 114 h 115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21"/>
                  <a:gd name="T160" fmla="*/ 0 h 115"/>
                  <a:gd name="T161" fmla="*/ 121 w 121"/>
                  <a:gd name="T162" fmla="*/ 115 h 115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21" h="115">
                    <a:moveTo>
                      <a:pt x="0" y="95"/>
                    </a:moveTo>
                    <a:cubicBezTo>
                      <a:pt x="2" y="96"/>
                      <a:pt x="4" y="97"/>
                      <a:pt x="6" y="97"/>
                    </a:cubicBezTo>
                    <a:cubicBezTo>
                      <a:pt x="8" y="97"/>
                      <a:pt x="11" y="96"/>
                      <a:pt x="13" y="96"/>
                    </a:cubicBezTo>
                    <a:cubicBezTo>
                      <a:pt x="16" y="96"/>
                      <a:pt x="18" y="97"/>
                      <a:pt x="21" y="97"/>
                    </a:cubicBezTo>
                    <a:cubicBezTo>
                      <a:pt x="24" y="97"/>
                      <a:pt x="27" y="97"/>
                      <a:pt x="29" y="95"/>
                    </a:cubicBezTo>
                    <a:cubicBezTo>
                      <a:pt x="31" y="94"/>
                      <a:pt x="34" y="92"/>
                      <a:pt x="33" y="90"/>
                    </a:cubicBezTo>
                    <a:cubicBezTo>
                      <a:pt x="30" y="87"/>
                      <a:pt x="26" y="88"/>
                      <a:pt x="23" y="85"/>
                    </a:cubicBezTo>
                    <a:cubicBezTo>
                      <a:pt x="22" y="85"/>
                      <a:pt x="21" y="83"/>
                      <a:pt x="22" y="83"/>
                    </a:cubicBezTo>
                    <a:cubicBezTo>
                      <a:pt x="26" y="82"/>
                      <a:pt x="30" y="84"/>
                      <a:pt x="34" y="82"/>
                    </a:cubicBezTo>
                    <a:cubicBezTo>
                      <a:pt x="36" y="81"/>
                      <a:pt x="35" y="77"/>
                      <a:pt x="37" y="75"/>
                    </a:cubicBezTo>
                    <a:cubicBezTo>
                      <a:pt x="39" y="73"/>
                      <a:pt x="42" y="72"/>
                      <a:pt x="45" y="72"/>
                    </a:cubicBezTo>
                    <a:cubicBezTo>
                      <a:pt x="48" y="72"/>
                      <a:pt x="51" y="74"/>
                      <a:pt x="54" y="76"/>
                    </a:cubicBezTo>
                    <a:cubicBezTo>
                      <a:pt x="58" y="78"/>
                      <a:pt x="63" y="80"/>
                      <a:pt x="66" y="84"/>
                    </a:cubicBezTo>
                    <a:cubicBezTo>
                      <a:pt x="68" y="86"/>
                      <a:pt x="68" y="90"/>
                      <a:pt x="70" y="93"/>
                    </a:cubicBezTo>
                    <a:cubicBezTo>
                      <a:pt x="71" y="94"/>
                      <a:pt x="72" y="95"/>
                      <a:pt x="73" y="96"/>
                    </a:cubicBezTo>
                    <a:cubicBezTo>
                      <a:pt x="76" y="100"/>
                      <a:pt x="80" y="104"/>
                      <a:pt x="83" y="108"/>
                    </a:cubicBezTo>
                    <a:cubicBezTo>
                      <a:pt x="84" y="109"/>
                      <a:pt x="86" y="110"/>
                      <a:pt x="87" y="110"/>
                    </a:cubicBezTo>
                    <a:cubicBezTo>
                      <a:pt x="90" y="111"/>
                      <a:pt x="94" y="111"/>
                      <a:pt x="97" y="111"/>
                    </a:cubicBezTo>
                    <a:cubicBezTo>
                      <a:pt x="101" y="112"/>
                      <a:pt x="105" y="112"/>
                      <a:pt x="110" y="113"/>
                    </a:cubicBezTo>
                    <a:cubicBezTo>
                      <a:pt x="112" y="113"/>
                      <a:pt x="115" y="115"/>
                      <a:pt x="117" y="114"/>
                    </a:cubicBezTo>
                    <a:cubicBezTo>
                      <a:pt x="119" y="114"/>
                      <a:pt x="121" y="112"/>
                      <a:pt x="120" y="111"/>
                    </a:cubicBezTo>
                    <a:cubicBezTo>
                      <a:pt x="118" y="108"/>
                      <a:pt x="113" y="109"/>
                      <a:pt x="111" y="107"/>
                    </a:cubicBezTo>
                    <a:cubicBezTo>
                      <a:pt x="110" y="105"/>
                      <a:pt x="116" y="105"/>
                      <a:pt x="115" y="103"/>
                    </a:cubicBezTo>
                    <a:cubicBezTo>
                      <a:pt x="114" y="101"/>
                      <a:pt x="111" y="104"/>
                      <a:pt x="108" y="103"/>
                    </a:cubicBezTo>
                    <a:cubicBezTo>
                      <a:pt x="106" y="102"/>
                      <a:pt x="104" y="101"/>
                      <a:pt x="104" y="99"/>
                    </a:cubicBezTo>
                    <a:cubicBezTo>
                      <a:pt x="103" y="97"/>
                      <a:pt x="106" y="96"/>
                      <a:pt x="107" y="95"/>
                    </a:cubicBezTo>
                    <a:cubicBezTo>
                      <a:pt x="107" y="94"/>
                      <a:pt x="105" y="94"/>
                      <a:pt x="104" y="94"/>
                    </a:cubicBezTo>
                    <a:cubicBezTo>
                      <a:pt x="101" y="94"/>
                      <a:pt x="99" y="95"/>
                      <a:pt x="96" y="94"/>
                    </a:cubicBezTo>
                    <a:cubicBezTo>
                      <a:pt x="94" y="93"/>
                      <a:pt x="91" y="91"/>
                      <a:pt x="91" y="89"/>
                    </a:cubicBezTo>
                    <a:cubicBezTo>
                      <a:pt x="90" y="86"/>
                      <a:pt x="92" y="82"/>
                      <a:pt x="91" y="79"/>
                    </a:cubicBezTo>
                    <a:cubicBezTo>
                      <a:pt x="90" y="78"/>
                      <a:pt x="88" y="79"/>
                      <a:pt x="87" y="78"/>
                    </a:cubicBezTo>
                    <a:cubicBezTo>
                      <a:pt x="84" y="76"/>
                      <a:pt x="82" y="74"/>
                      <a:pt x="80" y="71"/>
                    </a:cubicBezTo>
                    <a:cubicBezTo>
                      <a:pt x="80" y="69"/>
                      <a:pt x="80" y="67"/>
                      <a:pt x="80" y="66"/>
                    </a:cubicBezTo>
                    <a:cubicBezTo>
                      <a:pt x="79" y="64"/>
                      <a:pt x="76" y="64"/>
                      <a:pt x="77" y="62"/>
                    </a:cubicBezTo>
                    <a:cubicBezTo>
                      <a:pt x="78" y="60"/>
                      <a:pt x="81" y="60"/>
                      <a:pt x="83" y="59"/>
                    </a:cubicBezTo>
                    <a:cubicBezTo>
                      <a:pt x="85" y="58"/>
                      <a:pt x="89" y="61"/>
                      <a:pt x="90" y="59"/>
                    </a:cubicBezTo>
                    <a:cubicBezTo>
                      <a:pt x="90" y="55"/>
                      <a:pt x="87" y="52"/>
                      <a:pt x="85" y="49"/>
                    </a:cubicBezTo>
                    <a:cubicBezTo>
                      <a:pt x="84" y="48"/>
                      <a:pt x="81" y="49"/>
                      <a:pt x="80" y="49"/>
                    </a:cubicBezTo>
                    <a:cubicBezTo>
                      <a:pt x="77" y="48"/>
                      <a:pt x="74" y="46"/>
                      <a:pt x="72" y="45"/>
                    </a:cubicBezTo>
                    <a:cubicBezTo>
                      <a:pt x="69" y="43"/>
                      <a:pt x="65" y="43"/>
                      <a:pt x="62" y="41"/>
                    </a:cubicBezTo>
                    <a:cubicBezTo>
                      <a:pt x="61" y="40"/>
                      <a:pt x="63" y="38"/>
                      <a:pt x="62" y="36"/>
                    </a:cubicBezTo>
                    <a:cubicBezTo>
                      <a:pt x="62" y="34"/>
                      <a:pt x="62" y="31"/>
                      <a:pt x="60" y="29"/>
                    </a:cubicBezTo>
                    <a:cubicBezTo>
                      <a:pt x="58" y="27"/>
                      <a:pt x="54" y="27"/>
                      <a:pt x="52" y="24"/>
                    </a:cubicBezTo>
                    <a:cubicBezTo>
                      <a:pt x="50" y="23"/>
                      <a:pt x="51" y="19"/>
                      <a:pt x="49" y="18"/>
                    </a:cubicBezTo>
                    <a:cubicBezTo>
                      <a:pt x="47" y="17"/>
                      <a:pt x="44" y="18"/>
                      <a:pt x="41" y="17"/>
                    </a:cubicBezTo>
                    <a:cubicBezTo>
                      <a:pt x="38" y="16"/>
                      <a:pt x="35" y="13"/>
                      <a:pt x="32" y="12"/>
                    </a:cubicBezTo>
                    <a:cubicBezTo>
                      <a:pt x="27" y="9"/>
                      <a:pt x="21" y="8"/>
                      <a:pt x="16" y="6"/>
                    </a:cubicBezTo>
                    <a:cubicBezTo>
                      <a:pt x="13" y="4"/>
                      <a:pt x="10" y="2"/>
                      <a:pt x="7" y="1"/>
                    </a:cubicBezTo>
                    <a:cubicBezTo>
                      <a:pt x="6" y="0"/>
                      <a:pt x="4" y="1"/>
                      <a:pt x="3" y="1"/>
                    </a:cubicBezTo>
                    <a:lnTo>
                      <a:pt x="3" y="54"/>
                    </a:lnTo>
                    <a:cubicBezTo>
                      <a:pt x="3" y="56"/>
                      <a:pt x="0" y="57"/>
                      <a:pt x="0" y="59"/>
                    </a:cubicBezTo>
                    <a:cubicBezTo>
                      <a:pt x="0" y="60"/>
                      <a:pt x="2" y="62"/>
                      <a:pt x="2" y="63"/>
                    </a:cubicBezTo>
                    <a:lnTo>
                      <a:pt x="0" y="95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23" name="Freeform 3060"/>
              <p:cNvSpPr>
                <a:spLocks noChangeAspect="1"/>
              </p:cNvSpPr>
              <p:nvPr/>
            </p:nvSpPr>
            <p:spPr bwMode="auto">
              <a:xfrm>
                <a:off x="6931671" y="2955295"/>
                <a:ext cx="13422" cy="5815"/>
              </a:xfrm>
              <a:custGeom>
                <a:avLst/>
                <a:gdLst>
                  <a:gd name="T0" fmla="*/ 1 w 10"/>
                  <a:gd name="T1" fmla="*/ 1 h 6"/>
                  <a:gd name="T2" fmla="*/ 11 w 10"/>
                  <a:gd name="T3" fmla="*/ 1 h 6"/>
                  <a:gd name="T4" fmla="*/ 11 w 10"/>
                  <a:gd name="T5" fmla="*/ 5 h 6"/>
                  <a:gd name="T6" fmla="*/ 1 w 10"/>
                  <a:gd name="T7" fmla="*/ 6 h 6"/>
                  <a:gd name="T8" fmla="*/ 1 w 10"/>
                  <a:gd name="T9" fmla="*/ 1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"/>
                  <a:gd name="T16" fmla="*/ 0 h 6"/>
                  <a:gd name="T17" fmla="*/ 10 w 10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" h="6">
                    <a:moveTo>
                      <a:pt x="1" y="1"/>
                    </a:moveTo>
                    <a:cubicBezTo>
                      <a:pt x="3" y="0"/>
                      <a:pt x="6" y="1"/>
                      <a:pt x="9" y="1"/>
                    </a:cubicBezTo>
                    <a:cubicBezTo>
                      <a:pt x="9" y="2"/>
                      <a:pt x="10" y="3"/>
                      <a:pt x="9" y="4"/>
                    </a:cubicBezTo>
                    <a:cubicBezTo>
                      <a:pt x="7" y="5"/>
                      <a:pt x="4" y="6"/>
                      <a:pt x="1" y="5"/>
                    </a:cubicBezTo>
                    <a:cubicBezTo>
                      <a:pt x="0" y="5"/>
                      <a:pt x="0" y="2"/>
                      <a:pt x="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24" name="Freeform 3061"/>
              <p:cNvSpPr>
                <a:spLocks noChangeAspect="1"/>
              </p:cNvSpPr>
              <p:nvPr/>
            </p:nvSpPr>
            <p:spPr bwMode="auto">
              <a:xfrm>
                <a:off x="6959632" y="2987691"/>
                <a:ext cx="69346" cy="31565"/>
              </a:xfrm>
              <a:custGeom>
                <a:avLst/>
                <a:gdLst>
                  <a:gd name="T0" fmla="*/ 4 w 51"/>
                  <a:gd name="T1" fmla="*/ 23 h 31"/>
                  <a:gd name="T2" fmla="*/ 18 w 51"/>
                  <a:gd name="T3" fmla="*/ 25 h 31"/>
                  <a:gd name="T4" fmla="*/ 26 w 51"/>
                  <a:gd name="T5" fmla="*/ 23 h 31"/>
                  <a:gd name="T6" fmla="*/ 26 w 51"/>
                  <a:gd name="T7" fmla="*/ 18 h 31"/>
                  <a:gd name="T8" fmla="*/ 30 w 51"/>
                  <a:gd name="T9" fmla="*/ 23 h 31"/>
                  <a:gd name="T10" fmla="*/ 39 w 51"/>
                  <a:gd name="T11" fmla="*/ 22 h 31"/>
                  <a:gd name="T12" fmla="*/ 44 w 51"/>
                  <a:gd name="T13" fmla="*/ 13 h 31"/>
                  <a:gd name="T14" fmla="*/ 51 w 51"/>
                  <a:gd name="T15" fmla="*/ 13 h 31"/>
                  <a:gd name="T16" fmla="*/ 50 w 51"/>
                  <a:gd name="T17" fmla="*/ 4 h 31"/>
                  <a:gd name="T18" fmla="*/ 56 w 51"/>
                  <a:gd name="T19" fmla="*/ 2 h 31"/>
                  <a:gd name="T20" fmla="*/ 61 w 51"/>
                  <a:gd name="T21" fmla="*/ 1 h 31"/>
                  <a:gd name="T22" fmla="*/ 61 w 51"/>
                  <a:gd name="T23" fmla="*/ 11 h 31"/>
                  <a:gd name="T24" fmla="*/ 57 w 51"/>
                  <a:gd name="T25" fmla="*/ 15 h 31"/>
                  <a:gd name="T26" fmla="*/ 57 w 51"/>
                  <a:gd name="T27" fmla="*/ 21 h 31"/>
                  <a:gd name="T28" fmla="*/ 51 w 51"/>
                  <a:gd name="T29" fmla="*/ 27 h 31"/>
                  <a:gd name="T30" fmla="*/ 47 w 51"/>
                  <a:gd name="T31" fmla="*/ 27 h 31"/>
                  <a:gd name="T32" fmla="*/ 43 w 51"/>
                  <a:gd name="T33" fmla="*/ 32 h 31"/>
                  <a:gd name="T34" fmla="*/ 27 w 51"/>
                  <a:gd name="T35" fmla="*/ 37 h 31"/>
                  <a:gd name="T36" fmla="*/ 16 w 51"/>
                  <a:gd name="T37" fmla="*/ 37 h 31"/>
                  <a:gd name="T38" fmla="*/ 2 w 51"/>
                  <a:gd name="T39" fmla="*/ 29 h 31"/>
                  <a:gd name="T40" fmla="*/ 1 w 51"/>
                  <a:gd name="T41" fmla="*/ 26 h 31"/>
                  <a:gd name="T42" fmla="*/ 4 w 51"/>
                  <a:gd name="T43" fmla="*/ 23 h 3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51"/>
                  <a:gd name="T67" fmla="*/ 0 h 31"/>
                  <a:gd name="T68" fmla="*/ 51 w 51"/>
                  <a:gd name="T69" fmla="*/ 31 h 31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51" h="31">
                    <a:moveTo>
                      <a:pt x="3" y="19"/>
                    </a:moveTo>
                    <a:cubicBezTo>
                      <a:pt x="7" y="19"/>
                      <a:pt x="11" y="20"/>
                      <a:pt x="15" y="20"/>
                    </a:cubicBezTo>
                    <a:cubicBezTo>
                      <a:pt x="17" y="20"/>
                      <a:pt x="19" y="20"/>
                      <a:pt x="21" y="19"/>
                    </a:cubicBezTo>
                    <a:cubicBezTo>
                      <a:pt x="21" y="18"/>
                      <a:pt x="20" y="15"/>
                      <a:pt x="21" y="15"/>
                    </a:cubicBezTo>
                    <a:cubicBezTo>
                      <a:pt x="23" y="16"/>
                      <a:pt x="23" y="19"/>
                      <a:pt x="25" y="19"/>
                    </a:cubicBezTo>
                    <a:cubicBezTo>
                      <a:pt x="28" y="20"/>
                      <a:pt x="30" y="19"/>
                      <a:pt x="32" y="18"/>
                    </a:cubicBezTo>
                    <a:cubicBezTo>
                      <a:pt x="35" y="16"/>
                      <a:pt x="34" y="13"/>
                      <a:pt x="36" y="11"/>
                    </a:cubicBezTo>
                    <a:cubicBezTo>
                      <a:pt x="38" y="10"/>
                      <a:pt x="41" y="12"/>
                      <a:pt x="42" y="11"/>
                    </a:cubicBezTo>
                    <a:cubicBezTo>
                      <a:pt x="43" y="8"/>
                      <a:pt x="39" y="5"/>
                      <a:pt x="41" y="3"/>
                    </a:cubicBezTo>
                    <a:cubicBezTo>
                      <a:pt x="41" y="2"/>
                      <a:pt x="44" y="3"/>
                      <a:pt x="46" y="2"/>
                    </a:cubicBezTo>
                    <a:cubicBezTo>
                      <a:pt x="47" y="2"/>
                      <a:pt x="49" y="0"/>
                      <a:pt x="50" y="1"/>
                    </a:cubicBezTo>
                    <a:cubicBezTo>
                      <a:pt x="51" y="3"/>
                      <a:pt x="50" y="6"/>
                      <a:pt x="50" y="9"/>
                    </a:cubicBezTo>
                    <a:cubicBezTo>
                      <a:pt x="49" y="10"/>
                      <a:pt x="47" y="11"/>
                      <a:pt x="47" y="12"/>
                    </a:cubicBezTo>
                    <a:cubicBezTo>
                      <a:pt x="46" y="14"/>
                      <a:pt x="48" y="16"/>
                      <a:pt x="47" y="17"/>
                    </a:cubicBezTo>
                    <a:cubicBezTo>
                      <a:pt x="46" y="19"/>
                      <a:pt x="44" y="21"/>
                      <a:pt x="42" y="22"/>
                    </a:cubicBezTo>
                    <a:cubicBezTo>
                      <a:pt x="41" y="23"/>
                      <a:pt x="40" y="21"/>
                      <a:pt x="39" y="22"/>
                    </a:cubicBezTo>
                    <a:cubicBezTo>
                      <a:pt x="38" y="23"/>
                      <a:pt x="37" y="25"/>
                      <a:pt x="35" y="26"/>
                    </a:cubicBezTo>
                    <a:cubicBezTo>
                      <a:pt x="31" y="28"/>
                      <a:pt x="27" y="29"/>
                      <a:pt x="22" y="30"/>
                    </a:cubicBezTo>
                    <a:cubicBezTo>
                      <a:pt x="19" y="31"/>
                      <a:pt x="16" y="31"/>
                      <a:pt x="13" y="30"/>
                    </a:cubicBezTo>
                    <a:cubicBezTo>
                      <a:pt x="9" y="29"/>
                      <a:pt x="5" y="26"/>
                      <a:pt x="2" y="24"/>
                    </a:cubicBezTo>
                    <a:cubicBezTo>
                      <a:pt x="1" y="23"/>
                      <a:pt x="0" y="22"/>
                      <a:pt x="1" y="21"/>
                    </a:cubicBezTo>
                    <a:cubicBezTo>
                      <a:pt x="1" y="20"/>
                      <a:pt x="2" y="19"/>
                      <a:pt x="3" y="19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25" name="Freeform 3062"/>
              <p:cNvSpPr>
                <a:spLocks noChangeAspect="1"/>
              </p:cNvSpPr>
              <p:nvPr/>
            </p:nvSpPr>
            <p:spPr bwMode="auto">
              <a:xfrm>
                <a:off x="7002135" y="2962771"/>
                <a:ext cx="38029" cy="34889"/>
              </a:xfrm>
              <a:custGeom>
                <a:avLst/>
                <a:gdLst>
                  <a:gd name="T0" fmla="*/ 34 w 29"/>
                  <a:gd name="T1" fmla="*/ 35 h 35"/>
                  <a:gd name="T2" fmla="*/ 32 w 29"/>
                  <a:gd name="T3" fmla="*/ 42 h 35"/>
                  <a:gd name="T4" fmla="*/ 28 w 29"/>
                  <a:gd name="T5" fmla="*/ 41 h 35"/>
                  <a:gd name="T6" fmla="*/ 27 w 29"/>
                  <a:gd name="T7" fmla="*/ 30 h 35"/>
                  <a:gd name="T8" fmla="*/ 20 w 29"/>
                  <a:gd name="T9" fmla="*/ 20 h 35"/>
                  <a:gd name="T10" fmla="*/ 11 w 29"/>
                  <a:gd name="T11" fmla="*/ 13 h 35"/>
                  <a:gd name="T12" fmla="*/ 1 w 29"/>
                  <a:gd name="T13" fmla="*/ 4 h 35"/>
                  <a:gd name="T14" fmla="*/ 2 w 29"/>
                  <a:gd name="T15" fmla="*/ 1 h 35"/>
                  <a:gd name="T16" fmla="*/ 13 w 29"/>
                  <a:gd name="T17" fmla="*/ 10 h 35"/>
                  <a:gd name="T18" fmla="*/ 20 w 29"/>
                  <a:gd name="T19" fmla="*/ 17 h 35"/>
                  <a:gd name="T20" fmla="*/ 26 w 29"/>
                  <a:gd name="T21" fmla="*/ 26 h 35"/>
                  <a:gd name="T22" fmla="*/ 30 w 29"/>
                  <a:gd name="T23" fmla="*/ 28 h 35"/>
                  <a:gd name="T24" fmla="*/ 34 w 29"/>
                  <a:gd name="T25" fmla="*/ 35 h 3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9"/>
                  <a:gd name="T40" fmla="*/ 0 h 35"/>
                  <a:gd name="T41" fmla="*/ 29 w 29"/>
                  <a:gd name="T42" fmla="*/ 35 h 35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9" h="35">
                    <a:moveTo>
                      <a:pt x="29" y="29"/>
                    </a:moveTo>
                    <a:cubicBezTo>
                      <a:pt x="29" y="31"/>
                      <a:pt x="28" y="33"/>
                      <a:pt x="27" y="35"/>
                    </a:cubicBezTo>
                    <a:cubicBezTo>
                      <a:pt x="26" y="35"/>
                      <a:pt x="24" y="34"/>
                      <a:pt x="24" y="34"/>
                    </a:cubicBezTo>
                    <a:cubicBezTo>
                      <a:pt x="23" y="31"/>
                      <a:pt x="24" y="28"/>
                      <a:pt x="23" y="25"/>
                    </a:cubicBezTo>
                    <a:cubicBezTo>
                      <a:pt x="22" y="22"/>
                      <a:pt x="19" y="19"/>
                      <a:pt x="17" y="17"/>
                    </a:cubicBezTo>
                    <a:cubicBezTo>
                      <a:pt x="15" y="14"/>
                      <a:pt x="12" y="13"/>
                      <a:pt x="9" y="11"/>
                    </a:cubicBezTo>
                    <a:cubicBezTo>
                      <a:pt x="6" y="8"/>
                      <a:pt x="3" y="6"/>
                      <a:pt x="1" y="3"/>
                    </a:cubicBezTo>
                    <a:cubicBezTo>
                      <a:pt x="0" y="2"/>
                      <a:pt x="1" y="0"/>
                      <a:pt x="2" y="1"/>
                    </a:cubicBezTo>
                    <a:cubicBezTo>
                      <a:pt x="5" y="2"/>
                      <a:pt x="8" y="5"/>
                      <a:pt x="11" y="8"/>
                    </a:cubicBezTo>
                    <a:cubicBezTo>
                      <a:pt x="13" y="10"/>
                      <a:pt x="15" y="11"/>
                      <a:pt x="17" y="14"/>
                    </a:cubicBezTo>
                    <a:cubicBezTo>
                      <a:pt x="19" y="16"/>
                      <a:pt x="20" y="19"/>
                      <a:pt x="22" y="22"/>
                    </a:cubicBezTo>
                    <a:cubicBezTo>
                      <a:pt x="23" y="23"/>
                      <a:pt x="25" y="22"/>
                      <a:pt x="26" y="23"/>
                    </a:cubicBezTo>
                    <a:cubicBezTo>
                      <a:pt x="27" y="25"/>
                      <a:pt x="29" y="27"/>
                      <a:pt x="29" y="29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26" name="Freeform 3063"/>
              <p:cNvSpPr>
                <a:spLocks noChangeAspect="1"/>
              </p:cNvSpPr>
              <p:nvPr/>
            </p:nvSpPr>
            <p:spPr bwMode="auto">
              <a:xfrm>
                <a:off x="7067007" y="3006796"/>
                <a:ext cx="20133" cy="19936"/>
              </a:xfrm>
              <a:custGeom>
                <a:avLst/>
                <a:gdLst>
                  <a:gd name="T0" fmla="*/ 1 w 15"/>
                  <a:gd name="T1" fmla="*/ 2 h 20"/>
                  <a:gd name="T2" fmla="*/ 1 w 15"/>
                  <a:gd name="T3" fmla="*/ 8 h 20"/>
                  <a:gd name="T4" fmla="*/ 7 w 15"/>
                  <a:gd name="T5" fmla="*/ 16 h 20"/>
                  <a:gd name="T6" fmla="*/ 7 w 15"/>
                  <a:gd name="T7" fmla="*/ 22 h 20"/>
                  <a:gd name="T8" fmla="*/ 14 w 15"/>
                  <a:gd name="T9" fmla="*/ 23 h 20"/>
                  <a:gd name="T10" fmla="*/ 17 w 15"/>
                  <a:gd name="T11" fmla="*/ 17 h 20"/>
                  <a:gd name="T12" fmla="*/ 10 w 15"/>
                  <a:gd name="T13" fmla="*/ 11 h 20"/>
                  <a:gd name="T14" fmla="*/ 6 w 15"/>
                  <a:gd name="T15" fmla="*/ 5 h 20"/>
                  <a:gd name="T16" fmla="*/ 1 w 15"/>
                  <a:gd name="T17" fmla="*/ 2 h 2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5"/>
                  <a:gd name="T28" fmla="*/ 0 h 20"/>
                  <a:gd name="T29" fmla="*/ 15 w 15"/>
                  <a:gd name="T30" fmla="*/ 20 h 2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5" h="20">
                    <a:moveTo>
                      <a:pt x="1" y="2"/>
                    </a:moveTo>
                    <a:cubicBezTo>
                      <a:pt x="0" y="3"/>
                      <a:pt x="0" y="6"/>
                      <a:pt x="1" y="7"/>
                    </a:cubicBezTo>
                    <a:cubicBezTo>
                      <a:pt x="2" y="10"/>
                      <a:pt x="5" y="11"/>
                      <a:pt x="6" y="13"/>
                    </a:cubicBezTo>
                    <a:cubicBezTo>
                      <a:pt x="7" y="15"/>
                      <a:pt x="5" y="17"/>
                      <a:pt x="6" y="18"/>
                    </a:cubicBezTo>
                    <a:cubicBezTo>
                      <a:pt x="7" y="20"/>
                      <a:pt x="10" y="20"/>
                      <a:pt x="12" y="19"/>
                    </a:cubicBezTo>
                    <a:cubicBezTo>
                      <a:pt x="14" y="18"/>
                      <a:pt x="15" y="15"/>
                      <a:pt x="14" y="14"/>
                    </a:cubicBezTo>
                    <a:cubicBezTo>
                      <a:pt x="13" y="11"/>
                      <a:pt x="10" y="10"/>
                      <a:pt x="8" y="9"/>
                    </a:cubicBezTo>
                    <a:cubicBezTo>
                      <a:pt x="7" y="7"/>
                      <a:pt x="6" y="5"/>
                      <a:pt x="5" y="4"/>
                    </a:cubicBezTo>
                    <a:cubicBezTo>
                      <a:pt x="5" y="4"/>
                      <a:pt x="2" y="0"/>
                      <a:pt x="1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27" name="Freeform 3064"/>
              <p:cNvSpPr>
                <a:spLocks noChangeAspect="1"/>
              </p:cNvSpPr>
              <p:nvPr/>
            </p:nvSpPr>
            <p:spPr bwMode="auto">
              <a:xfrm>
                <a:off x="7096089" y="3025070"/>
                <a:ext cx="15658" cy="11630"/>
              </a:xfrm>
              <a:custGeom>
                <a:avLst/>
                <a:gdLst>
                  <a:gd name="T0" fmla="*/ 2 w 12"/>
                  <a:gd name="T1" fmla="*/ 0 h 12"/>
                  <a:gd name="T2" fmla="*/ 1 w 12"/>
                  <a:gd name="T3" fmla="*/ 1 h 12"/>
                  <a:gd name="T4" fmla="*/ 7 w 12"/>
                  <a:gd name="T5" fmla="*/ 11 h 12"/>
                  <a:gd name="T6" fmla="*/ 13 w 12"/>
                  <a:gd name="T7" fmla="*/ 13 h 12"/>
                  <a:gd name="T8" fmla="*/ 11 w 12"/>
                  <a:gd name="T9" fmla="*/ 6 h 12"/>
                  <a:gd name="T10" fmla="*/ 2 w 12"/>
                  <a:gd name="T11" fmla="*/ 0 h 1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2"/>
                  <a:gd name="T19" fmla="*/ 0 h 12"/>
                  <a:gd name="T20" fmla="*/ 12 w 12"/>
                  <a:gd name="T21" fmla="*/ 12 h 1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2" h="12">
                    <a:moveTo>
                      <a:pt x="2" y="0"/>
                    </a:moveTo>
                    <a:cubicBezTo>
                      <a:pt x="2" y="0"/>
                      <a:pt x="0" y="1"/>
                      <a:pt x="1" y="1"/>
                    </a:cubicBezTo>
                    <a:cubicBezTo>
                      <a:pt x="2" y="4"/>
                      <a:pt x="4" y="7"/>
                      <a:pt x="6" y="9"/>
                    </a:cubicBezTo>
                    <a:cubicBezTo>
                      <a:pt x="7" y="10"/>
                      <a:pt x="10" y="12"/>
                      <a:pt x="11" y="11"/>
                    </a:cubicBezTo>
                    <a:cubicBezTo>
                      <a:pt x="12" y="9"/>
                      <a:pt x="11" y="6"/>
                      <a:pt x="9" y="5"/>
                    </a:cubicBezTo>
                    <a:cubicBezTo>
                      <a:pt x="7" y="3"/>
                      <a:pt x="5" y="1"/>
                      <a:pt x="2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28" name="Freeform 3065"/>
              <p:cNvSpPr>
                <a:spLocks noChangeAspect="1"/>
              </p:cNvSpPr>
              <p:nvPr/>
            </p:nvSpPr>
            <p:spPr bwMode="auto">
              <a:xfrm>
                <a:off x="7128524" y="3039193"/>
                <a:ext cx="24606" cy="12461"/>
              </a:xfrm>
              <a:custGeom>
                <a:avLst/>
                <a:gdLst>
                  <a:gd name="T0" fmla="*/ 3 w 19"/>
                  <a:gd name="T1" fmla="*/ 0 h 13"/>
                  <a:gd name="T2" fmla="*/ 0 w 19"/>
                  <a:gd name="T3" fmla="*/ 1 h 13"/>
                  <a:gd name="T4" fmla="*/ 3 w 19"/>
                  <a:gd name="T5" fmla="*/ 7 h 13"/>
                  <a:gd name="T6" fmla="*/ 13 w 19"/>
                  <a:gd name="T7" fmla="*/ 13 h 13"/>
                  <a:gd name="T8" fmla="*/ 20 w 19"/>
                  <a:gd name="T9" fmla="*/ 15 h 13"/>
                  <a:gd name="T10" fmla="*/ 21 w 19"/>
                  <a:gd name="T11" fmla="*/ 12 h 13"/>
                  <a:gd name="T12" fmla="*/ 15 w 19"/>
                  <a:gd name="T13" fmla="*/ 7 h 13"/>
                  <a:gd name="T14" fmla="*/ 7 w 19"/>
                  <a:gd name="T15" fmla="*/ 5 h 13"/>
                  <a:gd name="T16" fmla="*/ 3 w 19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9"/>
                  <a:gd name="T28" fmla="*/ 0 h 13"/>
                  <a:gd name="T29" fmla="*/ 19 w 19"/>
                  <a:gd name="T30" fmla="*/ 13 h 1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9" h="13">
                    <a:moveTo>
                      <a:pt x="3" y="0"/>
                    </a:moveTo>
                    <a:cubicBezTo>
                      <a:pt x="2" y="0"/>
                      <a:pt x="0" y="0"/>
                      <a:pt x="0" y="1"/>
                    </a:cubicBezTo>
                    <a:cubicBezTo>
                      <a:pt x="0" y="3"/>
                      <a:pt x="2" y="4"/>
                      <a:pt x="3" y="6"/>
                    </a:cubicBezTo>
                    <a:cubicBezTo>
                      <a:pt x="6" y="8"/>
                      <a:pt x="8" y="9"/>
                      <a:pt x="11" y="11"/>
                    </a:cubicBezTo>
                    <a:cubicBezTo>
                      <a:pt x="13" y="12"/>
                      <a:pt x="15" y="13"/>
                      <a:pt x="17" y="13"/>
                    </a:cubicBezTo>
                    <a:cubicBezTo>
                      <a:pt x="18" y="13"/>
                      <a:pt x="19" y="11"/>
                      <a:pt x="18" y="10"/>
                    </a:cubicBezTo>
                    <a:cubicBezTo>
                      <a:pt x="17" y="8"/>
                      <a:pt x="15" y="7"/>
                      <a:pt x="13" y="6"/>
                    </a:cubicBezTo>
                    <a:cubicBezTo>
                      <a:pt x="11" y="5"/>
                      <a:pt x="8" y="5"/>
                      <a:pt x="6" y="4"/>
                    </a:cubicBezTo>
                    <a:cubicBezTo>
                      <a:pt x="5" y="3"/>
                      <a:pt x="4" y="1"/>
                      <a:pt x="3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29" name="Freeform 3066"/>
              <p:cNvSpPr>
                <a:spLocks noChangeAspect="1"/>
              </p:cNvSpPr>
              <p:nvPr/>
            </p:nvSpPr>
            <p:spPr bwMode="auto">
              <a:xfrm>
                <a:off x="7164316" y="3048329"/>
                <a:ext cx="14540" cy="20766"/>
              </a:xfrm>
              <a:custGeom>
                <a:avLst/>
                <a:gdLst>
                  <a:gd name="T0" fmla="*/ 5 w 11"/>
                  <a:gd name="T1" fmla="*/ 1 h 21"/>
                  <a:gd name="T2" fmla="*/ 1 w 11"/>
                  <a:gd name="T3" fmla="*/ 1 h 21"/>
                  <a:gd name="T4" fmla="*/ 2 w 11"/>
                  <a:gd name="T5" fmla="*/ 6 h 21"/>
                  <a:gd name="T6" fmla="*/ 4 w 11"/>
                  <a:gd name="T7" fmla="*/ 15 h 21"/>
                  <a:gd name="T8" fmla="*/ 11 w 11"/>
                  <a:gd name="T9" fmla="*/ 25 h 21"/>
                  <a:gd name="T10" fmla="*/ 11 w 11"/>
                  <a:gd name="T11" fmla="*/ 17 h 21"/>
                  <a:gd name="T12" fmla="*/ 6 w 11"/>
                  <a:gd name="T13" fmla="*/ 10 h 21"/>
                  <a:gd name="T14" fmla="*/ 6 w 11"/>
                  <a:gd name="T15" fmla="*/ 5 h 21"/>
                  <a:gd name="T16" fmla="*/ 5 w 11"/>
                  <a:gd name="T17" fmla="*/ 1 h 2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"/>
                  <a:gd name="T28" fmla="*/ 0 h 21"/>
                  <a:gd name="T29" fmla="*/ 11 w 11"/>
                  <a:gd name="T30" fmla="*/ 21 h 2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" h="21">
                    <a:moveTo>
                      <a:pt x="4" y="1"/>
                    </a:moveTo>
                    <a:cubicBezTo>
                      <a:pt x="3" y="0"/>
                      <a:pt x="1" y="0"/>
                      <a:pt x="1" y="1"/>
                    </a:cubicBezTo>
                    <a:cubicBezTo>
                      <a:pt x="0" y="2"/>
                      <a:pt x="2" y="4"/>
                      <a:pt x="2" y="5"/>
                    </a:cubicBezTo>
                    <a:cubicBezTo>
                      <a:pt x="2" y="8"/>
                      <a:pt x="2" y="11"/>
                      <a:pt x="3" y="13"/>
                    </a:cubicBezTo>
                    <a:cubicBezTo>
                      <a:pt x="4" y="16"/>
                      <a:pt x="6" y="20"/>
                      <a:pt x="9" y="21"/>
                    </a:cubicBezTo>
                    <a:cubicBezTo>
                      <a:pt x="11" y="21"/>
                      <a:pt x="10" y="16"/>
                      <a:pt x="9" y="14"/>
                    </a:cubicBezTo>
                    <a:cubicBezTo>
                      <a:pt x="9" y="12"/>
                      <a:pt x="6" y="10"/>
                      <a:pt x="5" y="8"/>
                    </a:cubicBezTo>
                    <a:cubicBezTo>
                      <a:pt x="5" y="6"/>
                      <a:pt x="6" y="5"/>
                      <a:pt x="5" y="4"/>
                    </a:cubicBezTo>
                    <a:cubicBezTo>
                      <a:pt x="5" y="3"/>
                      <a:pt x="5" y="1"/>
                      <a:pt x="4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30" name="Freeform 3067"/>
              <p:cNvSpPr>
                <a:spLocks noChangeAspect="1"/>
              </p:cNvSpPr>
              <p:nvPr/>
            </p:nvSpPr>
            <p:spPr bwMode="auto">
              <a:xfrm>
                <a:off x="7175500" y="3078234"/>
                <a:ext cx="16779" cy="8307"/>
              </a:xfrm>
              <a:custGeom>
                <a:avLst/>
                <a:gdLst>
                  <a:gd name="T0" fmla="*/ 3 w 13"/>
                  <a:gd name="T1" fmla="*/ 0 h 9"/>
                  <a:gd name="T2" fmla="*/ 0 w 13"/>
                  <a:gd name="T3" fmla="*/ 2 h 9"/>
                  <a:gd name="T4" fmla="*/ 3 w 13"/>
                  <a:gd name="T5" fmla="*/ 4 h 9"/>
                  <a:gd name="T6" fmla="*/ 8 w 13"/>
                  <a:gd name="T7" fmla="*/ 9 h 9"/>
                  <a:gd name="T8" fmla="*/ 13 w 13"/>
                  <a:gd name="T9" fmla="*/ 10 h 9"/>
                  <a:gd name="T10" fmla="*/ 15 w 13"/>
                  <a:gd name="T11" fmla="*/ 8 h 9"/>
                  <a:gd name="T12" fmla="*/ 13 w 13"/>
                  <a:gd name="T13" fmla="*/ 4 h 9"/>
                  <a:gd name="T14" fmla="*/ 7 w 13"/>
                  <a:gd name="T15" fmla="*/ 2 h 9"/>
                  <a:gd name="T16" fmla="*/ 3 w 13"/>
                  <a:gd name="T17" fmla="*/ 0 h 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3"/>
                  <a:gd name="T28" fmla="*/ 0 h 9"/>
                  <a:gd name="T29" fmla="*/ 13 w 13"/>
                  <a:gd name="T30" fmla="*/ 9 h 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3" h="9">
                    <a:moveTo>
                      <a:pt x="3" y="0"/>
                    </a:moveTo>
                    <a:cubicBezTo>
                      <a:pt x="2" y="0"/>
                      <a:pt x="0" y="1"/>
                      <a:pt x="0" y="2"/>
                    </a:cubicBezTo>
                    <a:cubicBezTo>
                      <a:pt x="0" y="3"/>
                      <a:pt x="2" y="3"/>
                      <a:pt x="3" y="4"/>
                    </a:cubicBezTo>
                    <a:cubicBezTo>
                      <a:pt x="5" y="5"/>
                      <a:pt x="6" y="7"/>
                      <a:pt x="7" y="8"/>
                    </a:cubicBezTo>
                    <a:cubicBezTo>
                      <a:pt x="9" y="9"/>
                      <a:pt x="10" y="9"/>
                      <a:pt x="11" y="9"/>
                    </a:cubicBezTo>
                    <a:cubicBezTo>
                      <a:pt x="12" y="9"/>
                      <a:pt x="13" y="8"/>
                      <a:pt x="13" y="7"/>
                    </a:cubicBezTo>
                    <a:cubicBezTo>
                      <a:pt x="13" y="6"/>
                      <a:pt x="12" y="5"/>
                      <a:pt x="11" y="4"/>
                    </a:cubicBezTo>
                    <a:cubicBezTo>
                      <a:pt x="9" y="3"/>
                      <a:pt x="8" y="3"/>
                      <a:pt x="6" y="2"/>
                    </a:cubicBezTo>
                    <a:cubicBezTo>
                      <a:pt x="5" y="1"/>
                      <a:pt x="4" y="0"/>
                      <a:pt x="3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31" name="Freeform 3068"/>
              <p:cNvSpPr>
                <a:spLocks noChangeAspect="1"/>
              </p:cNvSpPr>
              <p:nvPr/>
            </p:nvSpPr>
            <p:spPr bwMode="auto">
              <a:xfrm>
                <a:off x="7106154" y="3044176"/>
                <a:ext cx="11186" cy="7476"/>
              </a:xfrm>
              <a:custGeom>
                <a:avLst/>
                <a:gdLst>
                  <a:gd name="T0" fmla="*/ 7 w 8"/>
                  <a:gd name="T1" fmla="*/ 1 h 8"/>
                  <a:gd name="T2" fmla="*/ 4 w 8"/>
                  <a:gd name="T3" fmla="*/ 1 h 8"/>
                  <a:gd name="T4" fmla="*/ 1 w 8"/>
                  <a:gd name="T5" fmla="*/ 6 h 8"/>
                  <a:gd name="T6" fmla="*/ 7 w 8"/>
                  <a:gd name="T7" fmla="*/ 9 h 8"/>
                  <a:gd name="T8" fmla="*/ 10 w 8"/>
                  <a:gd name="T9" fmla="*/ 8 h 8"/>
                  <a:gd name="T10" fmla="*/ 7 w 8"/>
                  <a:gd name="T11" fmla="*/ 3 h 8"/>
                  <a:gd name="T12" fmla="*/ 7 w 8"/>
                  <a:gd name="T13" fmla="*/ 1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8"/>
                  <a:gd name="T22" fmla="*/ 0 h 8"/>
                  <a:gd name="T23" fmla="*/ 8 w 8"/>
                  <a:gd name="T24" fmla="*/ 8 h 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8" h="8">
                    <a:moveTo>
                      <a:pt x="6" y="1"/>
                    </a:moveTo>
                    <a:cubicBezTo>
                      <a:pt x="5" y="0"/>
                      <a:pt x="4" y="0"/>
                      <a:pt x="3" y="1"/>
                    </a:cubicBezTo>
                    <a:cubicBezTo>
                      <a:pt x="2" y="2"/>
                      <a:pt x="0" y="4"/>
                      <a:pt x="1" y="5"/>
                    </a:cubicBezTo>
                    <a:cubicBezTo>
                      <a:pt x="1" y="7"/>
                      <a:pt x="4" y="7"/>
                      <a:pt x="6" y="8"/>
                    </a:cubicBezTo>
                    <a:cubicBezTo>
                      <a:pt x="6" y="8"/>
                      <a:pt x="8" y="8"/>
                      <a:pt x="8" y="7"/>
                    </a:cubicBezTo>
                    <a:cubicBezTo>
                      <a:pt x="8" y="6"/>
                      <a:pt x="6" y="5"/>
                      <a:pt x="6" y="3"/>
                    </a:cubicBezTo>
                    <a:cubicBezTo>
                      <a:pt x="6" y="3"/>
                      <a:pt x="6" y="1"/>
                      <a:pt x="6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32" name="Freeform 3069"/>
              <p:cNvSpPr>
                <a:spLocks noChangeAspect="1"/>
              </p:cNvSpPr>
              <p:nvPr/>
            </p:nvSpPr>
            <p:spPr bwMode="auto">
              <a:xfrm>
                <a:off x="7146420" y="3064942"/>
                <a:ext cx="22370" cy="9138"/>
              </a:xfrm>
              <a:custGeom>
                <a:avLst/>
                <a:gdLst>
                  <a:gd name="T0" fmla="*/ 4 w 16"/>
                  <a:gd name="T1" fmla="*/ 0 h 9"/>
                  <a:gd name="T2" fmla="*/ 0 w 16"/>
                  <a:gd name="T3" fmla="*/ 1 h 9"/>
                  <a:gd name="T4" fmla="*/ 1 w 16"/>
                  <a:gd name="T5" fmla="*/ 7 h 9"/>
                  <a:gd name="T6" fmla="*/ 14 w 16"/>
                  <a:gd name="T7" fmla="*/ 10 h 9"/>
                  <a:gd name="T8" fmla="*/ 19 w 16"/>
                  <a:gd name="T9" fmla="*/ 10 h 9"/>
                  <a:gd name="T10" fmla="*/ 17 w 16"/>
                  <a:gd name="T11" fmla="*/ 6 h 9"/>
                  <a:gd name="T12" fmla="*/ 14 w 16"/>
                  <a:gd name="T13" fmla="*/ 1 h 9"/>
                  <a:gd name="T14" fmla="*/ 7 w 16"/>
                  <a:gd name="T15" fmla="*/ 1 h 9"/>
                  <a:gd name="T16" fmla="*/ 4 w 16"/>
                  <a:gd name="T17" fmla="*/ 0 h 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6"/>
                  <a:gd name="T28" fmla="*/ 0 h 9"/>
                  <a:gd name="T29" fmla="*/ 16 w 16"/>
                  <a:gd name="T30" fmla="*/ 9 h 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6" h="9">
                    <a:moveTo>
                      <a:pt x="3" y="0"/>
                    </a:moveTo>
                    <a:cubicBezTo>
                      <a:pt x="2" y="0"/>
                      <a:pt x="1" y="0"/>
                      <a:pt x="0" y="1"/>
                    </a:cubicBezTo>
                    <a:cubicBezTo>
                      <a:pt x="0" y="2"/>
                      <a:pt x="0" y="5"/>
                      <a:pt x="1" y="6"/>
                    </a:cubicBezTo>
                    <a:cubicBezTo>
                      <a:pt x="4" y="8"/>
                      <a:pt x="7" y="7"/>
                      <a:pt x="11" y="8"/>
                    </a:cubicBezTo>
                    <a:cubicBezTo>
                      <a:pt x="12" y="8"/>
                      <a:pt x="14" y="9"/>
                      <a:pt x="15" y="8"/>
                    </a:cubicBezTo>
                    <a:cubicBezTo>
                      <a:pt x="16" y="8"/>
                      <a:pt x="15" y="6"/>
                      <a:pt x="14" y="5"/>
                    </a:cubicBezTo>
                    <a:cubicBezTo>
                      <a:pt x="13" y="4"/>
                      <a:pt x="12" y="2"/>
                      <a:pt x="11" y="1"/>
                    </a:cubicBezTo>
                    <a:cubicBezTo>
                      <a:pt x="9" y="0"/>
                      <a:pt x="8" y="1"/>
                      <a:pt x="6" y="1"/>
                    </a:cubicBezTo>
                    <a:cubicBezTo>
                      <a:pt x="5" y="1"/>
                      <a:pt x="4" y="0"/>
                      <a:pt x="3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33" name="Freeform 3070"/>
              <p:cNvSpPr>
                <a:spLocks noChangeAspect="1"/>
              </p:cNvSpPr>
              <p:nvPr/>
            </p:nvSpPr>
            <p:spPr bwMode="auto">
              <a:xfrm>
                <a:off x="7148656" y="3098169"/>
                <a:ext cx="14540" cy="3322"/>
              </a:xfrm>
              <a:custGeom>
                <a:avLst/>
                <a:gdLst>
                  <a:gd name="T0" fmla="*/ 2 w 11"/>
                  <a:gd name="T1" fmla="*/ 0 h 4"/>
                  <a:gd name="T2" fmla="*/ 1 w 11"/>
                  <a:gd name="T3" fmla="*/ 2 h 4"/>
                  <a:gd name="T4" fmla="*/ 12 w 11"/>
                  <a:gd name="T5" fmla="*/ 4 h 4"/>
                  <a:gd name="T6" fmla="*/ 12 w 11"/>
                  <a:gd name="T7" fmla="*/ 2 h 4"/>
                  <a:gd name="T8" fmla="*/ 2 w 11"/>
                  <a:gd name="T9" fmla="*/ 0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"/>
                  <a:gd name="T16" fmla="*/ 0 h 4"/>
                  <a:gd name="T17" fmla="*/ 11 w 11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" h="4">
                    <a:moveTo>
                      <a:pt x="2" y="0"/>
                    </a:moveTo>
                    <a:cubicBezTo>
                      <a:pt x="1" y="0"/>
                      <a:pt x="0" y="2"/>
                      <a:pt x="1" y="2"/>
                    </a:cubicBezTo>
                    <a:cubicBezTo>
                      <a:pt x="4" y="3"/>
                      <a:pt x="7" y="4"/>
                      <a:pt x="10" y="4"/>
                    </a:cubicBezTo>
                    <a:cubicBezTo>
                      <a:pt x="11" y="4"/>
                      <a:pt x="11" y="2"/>
                      <a:pt x="10" y="2"/>
                    </a:cubicBezTo>
                    <a:cubicBezTo>
                      <a:pt x="7" y="0"/>
                      <a:pt x="5" y="0"/>
                      <a:pt x="2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34" name="Freeform 3071"/>
              <p:cNvSpPr>
                <a:spLocks noChangeAspect="1"/>
              </p:cNvSpPr>
              <p:nvPr/>
            </p:nvSpPr>
            <p:spPr bwMode="auto">
              <a:xfrm>
                <a:off x="6460785" y="2660409"/>
                <a:ext cx="80531" cy="87219"/>
              </a:xfrm>
              <a:custGeom>
                <a:avLst/>
                <a:gdLst>
                  <a:gd name="T0" fmla="*/ 35 w 60"/>
                  <a:gd name="T1" fmla="*/ 1 h 88"/>
                  <a:gd name="T2" fmla="*/ 38 w 60"/>
                  <a:gd name="T3" fmla="*/ 6 h 88"/>
                  <a:gd name="T4" fmla="*/ 35 w 60"/>
                  <a:gd name="T5" fmla="*/ 17 h 88"/>
                  <a:gd name="T6" fmla="*/ 42 w 60"/>
                  <a:gd name="T7" fmla="*/ 27 h 88"/>
                  <a:gd name="T8" fmla="*/ 38 w 60"/>
                  <a:gd name="T9" fmla="*/ 43 h 88"/>
                  <a:gd name="T10" fmla="*/ 29 w 60"/>
                  <a:gd name="T11" fmla="*/ 54 h 88"/>
                  <a:gd name="T12" fmla="*/ 29 w 60"/>
                  <a:gd name="T13" fmla="*/ 61 h 88"/>
                  <a:gd name="T14" fmla="*/ 34 w 60"/>
                  <a:gd name="T15" fmla="*/ 70 h 88"/>
                  <a:gd name="T16" fmla="*/ 29 w 60"/>
                  <a:gd name="T17" fmla="*/ 76 h 88"/>
                  <a:gd name="T18" fmla="*/ 43 w 60"/>
                  <a:gd name="T19" fmla="*/ 85 h 88"/>
                  <a:gd name="T20" fmla="*/ 48 w 60"/>
                  <a:gd name="T21" fmla="*/ 79 h 88"/>
                  <a:gd name="T22" fmla="*/ 58 w 60"/>
                  <a:gd name="T23" fmla="*/ 89 h 88"/>
                  <a:gd name="T24" fmla="*/ 60 w 60"/>
                  <a:gd name="T25" fmla="*/ 82 h 88"/>
                  <a:gd name="T26" fmla="*/ 71 w 60"/>
                  <a:gd name="T27" fmla="*/ 86 h 88"/>
                  <a:gd name="T28" fmla="*/ 62 w 60"/>
                  <a:gd name="T29" fmla="*/ 89 h 88"/>
                  <a:gd name="T30" fmla="*/ 70 w 60"/>
                  <a:gd name="T31" fmla="*/ 99 h 88"/>
                  <a:gd name="T32" fmla="*/ 70 w 60"/>
                  <a:gd name="T33" fmla="*/ 105 h 88"/>
                  <a:gd name="T34" fmla="*/ 61 w 60"/>
                  <a:gd name="T35" fmla="*/ 99 h 88"/>
                  <a:gd name="T36" fmla="*/ 52 w 60"/>
                  <a:gd name="T37" fmla="*/ 91 h 88"/>
                  <a:gd name="T38" fmla="*/ 47 w 60"/>
                  <a:gd name="T39" fmla="*/ 86 h 88"/>
                  <a:gd name="T40" fmla="*/ 46 w 60"/>
                  <a:gd name="T41" fmla="*/ 88 h 88"/>
                  <a:gd name="T42" fmla="*/ 47 w 60"/>
                  <a:gd name="T43" fmla="*/ 94 h 88"/>
                  <a:gd name="T44" fmla="*/ 41 w 60"/>
                  <a:gd name="T45" fmla="*/ 88 h 88"/>
                  <a:gd name="T46" fmla="*/ 31 w 60"/>
                  <a:gd name="T47" fmla="*/ 85 h 88"/>
                  <a:gd name="T48" fmla="*/ 30 w 60"/>
                  <a:gd name="T49" fmla="*/ 87 h 88"/>
                  <a:gd name="T50" fmla="*/ 19 w 60"/>
                  <a:gd name="T51" fmla="*/ 85 h 88"/>
                  <a:gd name="T52" fmla="*/ 16 w 60"/>
                  <a:gd name="T53" fmla="*/ 80 h 88"/>
                  <a:gd name="T54" fmla="*/ 20 w 60"/>
                  <a:gd name="T55" fmla="*/ 78 h 88"/>
                  <a:gd name="T56" fmla="*/ 28 w 60"/>
                  <a:gd name="T57" fmla="*/ 78 h 88"/>
                  <a:gd name="T58" fmla="*/ 19 w 60"/>
                  <a:gd name="T59" fmla="*/ 72 h 88"/>
                  <a:gd name="T60" fmla="*/ 14 w 60"/>
                  <a:gd name="T61" fmla="*/ 70 h 88"/>
                  <a:gd name="T62" fmla="*/ 14 w 60"/>
                  <a:gd name="T63" fmla="*/ 76 h 88"/>
                  <a:gd name="T64" fmla="*/ 8 w 60"/>
                  <a:gd name="T65" fmla="*/ 72 h 88"/>
                  <a:gd name="T66" fmla="*/ 6 w 60"/>
                  <a:gd name="T67" fmla="*/ 63 h 88"/>
                  <a:gd name="T68" fmla="*/ 4 w 60"/>
                  <a:gd name="T69" fmla="*/ 58 h 88"/>
                  <a:gd name="T70" fmla="*/ 5 w 60"/>
                  <a:gd name="T71" fmla="*/ 51 h 88"/>
                  <a:gd name="T72" fmla="*/ 0 w 60"/>
                  <a:gd name="T73" fmla="*/ 45 h 88"/>
                  <a:gd name="T74" fmla="*/ 2 w 60"/>
                  <a:gd name="T75" fmla="*/ 39 h 88"/>
                  <a:gd name="T76" fmla="*/ 8 w 60"/>
                  <a:gd name="T77" fmla="*/ 47 h 88"/>
                  <a:gd name="T78" fmla="*/ 8 w 60"/>
                  <a:gd name="T79" fmla="*/ 33 h 88"/>
                  <a:gd name="T80" fmla="*/ 5 w 60"/>
                  <a:gd name="T81" fmla="*/ 19 h 88"/>
                  <a:gd name="T82" fmla="*/ 10 w 60"/>
                  <a:gd name="T83" fmla="*/ 2 h 88"/>
                  <a:gd name="T84" fmla="*/ 20 w 60"/>
                  <a:gd name="T85" fmla="*/ 4 h 88"/>
                  <a:gd name="T86" fmla="*/ 31 w 60"/>
                  <a:gd name="T87" fmla="*/ 7 h 88"/>
                  <a:gd name="T88" fmla="*/ 35 w 60"/>
                  <a:gd name="T89" fmla="*/ 1 h 88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60"/>
                  <a:gd name="T136" fmla="*/ 0 h 88"/>
                  <a:gd name="T137" fmla="*/ 60 w 60"/>
                  <a:gd name="T138" fmla="*/ 88 h 88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60" h="88">
                    <a:moveTo>
                      <a:pt x="29" y="1"/>
                    </a:moveTo>
                    <a:cubicBezTo>
                      <a:pt x="30" y="1"/>
                      <a:pt x="32" y="4"/>
                      <a:pt x="32" y="5"/>
                    </a:cubicBezTo>
                    <a:cubicBezTo>
                      <a:pt x="32" y="8"/>
                      <a:pt x="29" y="11"/>
                      <a:pt x="29" y="14"/>
                    </a:cubicBezTo>
                    <a:cubicBezTo>
                      <a:pt x="30" y="18"/>
                      <a:pt x="35" y="20"/>
                      <a:pt x="35" y="23"/>
                    </a:cubicBezTo>
                    <a:cubicBezTo>
                      <a:pt x="35" y="28"/>
                      <a:pt x="34" y="32"/>
                      <a:pt x="32" y="36"/>
                    </a:cubicBezTo>
                    <a:cubicBezTo>
                      <a:pt x="28" y="38"/>
                      <a:pt x="26" y="41"/>
                      <a:pt x="24" y="45"/>
                    </a:cubicBezTo>
                    <a:cubicBezTo>
                      <a:pt x="23" y="47"/>
                      <a:pt x="23" y="49"/>
                      <a:pt x="24" y="51"/>
                    </a:cubicBezTo>
                    <a:cubicBezTo>
                      <a:pt x="24" y="54"/>
                      <a:pt x="28" y="56"/>
                      <a:pt x="28" y="59"/>
                    </a:cubicBezTo>
                    <a:cubicBezTo>
                      <a:pt x="28" y="61"/>
                      <a:pt x="23" y="63"/>
                      <a:pt x="24" y="64"/>
                    </a:cubicBezTo>
                    <a:cubicBezTo>
                      <a:pt x="27" y="68"/>
                      <a:pt x="31" y="70"/>
                      <a:pt x="36" y="71"/>
                    </a:cubicBezTo>
                    <a:cubicBezTo>
                      <a:pt x="38" y="71"/>
                      <a:pt x="38" y="65"/>
                      <a:pt x="40" y="66"/>
                    </a:cubicBezTo>
                    <a:cubicBezTo>
                      <a:pt x="44" y="67"/>
                      <a:pt x="44" y="74"/>
                      <a:pt x="48" y="75"/>
                    </a:cubicBezTo>
                    <a:cubicBezTo>
                      <a:pt x="50" y="76"/>
                      <a:pt x="48" y="70"/>
                      <a:pt x="50" y="69"/>
                    </a:cubicBezTo>
                    <a:cubicBezTo>
                      <a:pt x="53" y="69"/>
                      <a:pt x="58" y="69"/>
                      <a:pt x="59" y="72"/>
                    </a:cubicBezTo>
                    <a:cubicBezTo>
                      <a:pt x="60" y="74"/>
                      <a:pt x="52" y="73"/>
                      <a:pt x="52" y="75"/>
                    </a:cubicBezTo>
                    <a:cubicBezTo>
                      <a:pt x="52" y="79"/>
                      <a:pt x="57" y="80"/>
                      <a:pt x="58" y="83"/>
                    </a:cubicBezTo>
                    <a:cubicBezTo>
                      <a:pt x="59" y="85"/>
                      <a:pt x="60" y="88"/>
                      <a:pt x="58" y="88"/>
                    </a:cubicBezTo>
                    <a:cubicBezTo>
                      <a:pt x="55" y="88"/>
                      <a:pt x="53" y="85"/>
                      <a:pt x="51" y="83"/>
                    </a:cubicBezTo>
                    <a:cubicBezTo>
                      <a:pt x="48" y="81"/>
                      <a:pt x="46" y="78"/>
                      <a:pt x="43" y="76"/>
                    </a:cubicBezTo>
                    <a:cubicBezTo>
                      <a:pt x="42" y="74"/>
                      <a:pt x="41" y="72"/>
                      <a:pt x="39" y="72"/>
                    </a:cubicBezTo>
                    <a:cubicBezTo>
                      <a:pt x="38" y="72"/>
                      <a:pt x="38" y="73"/>
                      <a:pt x="38" y="74"/>
                    </a:cubicBezTo>
                    <a:cubicBezTo>
                      <a:pt x="38" y="76"/>
                      <a:pt x="41" y="79"/>
                      <a:pt x="39" y="79"/>
                    </a:cubicBezTo>
                    <a:cubicBezTo>
                      <a:pt x="37" y="79"/>
                      <a:pt x="36" y="76"/>
                      <a:pt x="34" y="74"/>
                    </a:cubicBezTo>
                    <a:cubicBezTo>
                      <a:pt x="31" y="73"/>
                      <a:pt x="29" y="71"/>
                      <a:pt x="26" y="71"/>
                    </a:cubicBezTo>
                    <a:cubicBezTo>
                      <a:pt x="25" y="70"/>
                      <a:pt x="26" y="73"/>
                      <a:pt x="25" y="73"/>
                    </a:cubicBezTo>
                    <a:cubicBezTo>
                      <a:pt x="22" y="73"/>
                      <a:pt x="19" y="72"/>
                      <a:pt x="16" y="71"/>
                    </a:cubicBezTo>
                    <a:cubicBezTo>
                      <a:pt x="15" y="70"/>
                      <a:pt x="13" y="69"/>
                      <a:pt x="13" y="67"/>
                    </a:cubicBezTo>
                    <a:cubicBezTo>
                      <a:pt x="14" y="66"/>
                      <a:pt x="16" y="65"/>
                      <a:pt x="17" y="65"/>
                    </a:cubicBezTo>
                    <a:cubicBezTo>
                      <a:pt x="19" y="64"/>
                      <a:pt x="23" y="66"/>
                      <a:pt x="23" y="65"/>
                    </a:cubicBezTo>
                    <a:cubicBezTo>
                      <a:pt x="22" y="62"/>
                      <a:pt x="18" y="61"/>
                      <a:pt x="16" y="60"/>
                    </a:cubicBezTo>
                    <a:cubicBezTo>
                      <a:pt x="15" y="59"/>
                      <a:pt x="13" y="58"/>
                      <a:pt x="12" y="59"/>
                    </a:cubicBezTo>
                    <a:cubicBezTo>
                      <a:pt x="11" y="61"/>
                      <a:pt x="14" y="64"/>
                      <a:pt x="12" y="64"/>
                    </a:cubicBezTo>
                    <a:cubicBezTo>
                      <a:pt x="10" y="64"/>
                      <a:pt x="9" y="62"/>
                      <a:pt x="7" y="60"/>
                    </a:cubicBezTo>
                    <a:cubicBezTo>
                      <a:pt x="6" y="58"/>
                      <a:pt x="6" y="55"/>
                      <a:pt x="5" y="53"/>
                    </a:cubicBezTo>
                    <a:cubicBezTo>
                      <a:pt x="5" y="51"/>
                      <a:pt x="3" y="50"/>
                      <a:pt x="3" y="49"/>
                    </a:cubicBezTo>
                    <a:cubicBezTo>
                      <a:pt x="2" y="47"/>
                      <a:pt x="4" y="45"/>
                      <a:pt x="4" y="43"/>
                    </a:cubicBezTo>
                    <a:cubicBezTo>
                      <a:pt x="3" y="41"/>
                      <a:pt x="0" y="40"/>
                      <a:pt x="0" y="38"/>
                    </a:cubicBezTo>
                    <a:cubicBezTo>
                      <a:pt x="0" y="36"/>
                      <a:pt x="0" y="33"/>
                      <a:pt x="2" y="33"/>
                    </a:cubicBezTo>
                    <a:cubicBezTo>
                      <a:pt x="4" y="33"/>
                      <a:pt x="6" y="40"/>
                      <a:pt x="7" y="39"/>
                    </a:cubicBezTo>
                    <a:cubicBezTo>
                      <a:pt x="10" y="36"/>
                      <a:pt x="8" y="32"/>
                      <a:pt x="7" y="28"/>
                    </a:cubicBezTo>
                    <a:cubicBezTo>
                      <a:pt x="7" y="24"/>
                      <a:pt x="7" y="20"/>
                      <a:pt x="4" y="16"/>
                    </a:cubicBezTo>
                    <a:cubicBezTo>
                      <a:pt x="4" y="11"/>
                      <a:pt x="5" y="6"/>
                      <a:pt x="8" y="2"/>
                    </a:cubicBezTo>
                    <a:cubicBezTo>
                      <a:pt x="10" y="0"/>
                      <a:pt x="14" y="2"/>
                      <a:pt x="17" y="3"/>
                    </a:cubicBezTo>
                    <a:cubicBezTo>
                      <a:pt x="20" y="3"/>
                      <a:pt x="23" y="6"/>
                      <a:pt x="26" y="6"/>
                    </a:cubicBezTo>
                    <a:cubicBezTo>
                      <a:pt x="28" y="5"/>
                      <a:pt x="27" y="1"/>
                      <a:pt x="29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35" name="Freeform 3072"/>
              <p:cNvSpPr>
                <a:spLocks noChangeAspect="1"/>
              </p:cNvSpPr>
              <p:nvPr/>
            </p:nvSpPr>
            <p:spPr bwMode="auto">
              <a:xfrm>
                <a:off x="6473089" y="2735168"/>
                <a:ext cx="27962" cy="20766"/>
              </a:xfrm>
              <a:custGeom>
                <a:avLst/>
                <a:gdLst>
                  <a:gd name="T0" fmla="*/ 11 w 21"/>
                  <a:gd name="T1" fmla="*/ 1 h 21"/>
                  <a:gd name="T2" fmla="*/ 23 w 21"/>
                  <a:gd name="T3" fmla="*/ 6 h 21"/>
                  <a:gd name="T4" fmla="*/ 23 w 21"/>
                  <a:gd name="T5" fmla="*/ 10 h 21"/>
                  <a:gd name="T6" fmla="*/ 23 w 21"/>
                  <a:gd name="T7" fmla="*/ 23 h 21"/>
                  <a:gd name="T8" fmla="*/ 14 w 21"/>
                  <a:gd name="T9" fmla="*/ 23 h 21"/>
                  <a:gd name="T10" fmla="*/ 8 w 21"/>
                  <a:gd name="T11" fmla="*/ 8 h 21"/>
                  <a:gd name="T12" fmla="*/ 0 w 21"/>
                  <a:gd name="T13" fmla="*/ 5 h 21"/>
                  <a:gd name="T14" fmla="*/ 4 w 21"/>
                  <a:gd name="T15" fmla="*/ 1 h 21"/>
                  <a:gd name="T16" fmla="*/ 11 w 21"/>
                  <a:gd name="T17" fmla="*/ 1 h 2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1"/>
                  <a:gd name="T28" fmla="*/ 0 h 21"/>
                  <a:gd name="T29" fmla="*/ 21 w 21"/>
                  <a:gd name="T30" fmla="*/ 21 h 2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1" h="21">
                    <a:moveTo>
                      <a:pt x="9" y="1"/>
                    </a:moveTo>
                    <a:cubicBezTo>
                      <a:pt x="12" y="2"/>
                      <a:pt x="16" y="3"/>
                      <a:pt x="19" y="5"/>
                    </a:cubicBezTo>
                    <a:cubicBezTo>
                      <a:pt x="20" y="5"/>
                      <a:pt x="19" y="7"/>
                      <a:pt x="19" y="8"/>
                    </a:cubicBezTo>
                    <a:cubicBezTo>
                      <a:pt x="19" y="12"/>
                      <a:pt x="21" y="16"/>
                      <a:pt x="19" y="19"/>
                    </a:cubicBezTo>
                    <a:cubicBezTo>
                      <a:pt x="18" y="21"/>
                      <a:pt x="14" y="20"/>
                      <a:pt x="12" y="19"/>
                    </a:cubicBezTo>
                    <a:cubicBezTo>
                      <a:pt x="9" y="16"/>
                      <a:pt x="9" y="11"/>
                      <a:pt x="7" y="7"/>
                    </a:cubicBezTo>
                    <a:cubicBezTo>
                      <a:pt x="5" y="5"/>
                      <a:pt x="2" y="6"/>
                      <a:pt x="0" y="4"/>
                    </a:cubicBezTo>
                    <a:cubicBezTo>
                      <a:pt x="0" y="3"/>
                      <a:pt x="2" y="1"/>
                      <a:pt x="3" y="1"/>
                    </a:cubicBezTo>
                    <a:cubicBezTo>
                      <a:pt x="5" y="0"/>
                      <a:pt x="7" y="1"/>
                      <a:pt x="9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36" name="Freeform 3073"/>
              <p:cNvSpPr>
                <a:spLocks noChangeAspect="1"/>
              </p:cNvSpPr>
              <p:nvPr/>
            </p:nvSpPr>
            <p:spPr bwMode="auto">
              <a:xfrm>
                <a:off x="6543554" y="2750120"/>
                <a:ext cx="26844" cy="21597"/>
              </a:xfrm>
              <a:custGeom>
                <a:avLst/>
                <a:gdLst>
                  <a:gd name="T0" fmla="*/ 2 w 20"/>
                  <a:gd name="T1" fmla="*/ 0 h 22"/>
                  <a:gd name="T2" fmla="*/ 0 w 20"/>
                  <a:gd name="T3" fmla="*/ 2 h 22"/>
                  <a:gd name="T4" fmla="*/ 6 w 20"/>
                  <a:gd name="T5" fmla="*/ 12 h 22"/>
                  <a:gd name="T6" fmla="*/ 10 w 20"/>
                  <a:gd name="T7" fmla="*/ 13 h 22"/>
                  <a:gd name="T8" fmla="*/ 11 w 20"/>
                  <a:gd name="T9" fmla="*/ 20 h 22"/>
                  <a:gd name="T10" fmla="*/ 18 w 20"/>
                  <a:gd name="T11" fmla="*/ 24 h 22"/>
                  <a:gd name="T12" fmla="*/ 23 w 20"/>
                  <a:gd name="T13" fmla="*/ 25 h 22"/>
                  <a:gd name="T14" fmla="*/ 20 w 20"/>
                  <a:gd name="T15" fmla="*/ 20 h 22"/>
                  <a:gd name="T16" fmla="*/ 23 w 20"/>
                  <a:gd name="T17" fmla="*/ 18 h 22"/>
                  <a:gd name="T18" fmla="*/ 19 w 20"/>
                  <a:gd name="T19" fmla="*/ 12 h 22"/>
                  <a:gd name="T20" fmla="*/ 19 w 20"/>
                  <a:gd name="T21" fmla="*/ 5 h 22"/>
                  <a:gd name="T22" fmla="*/ 14 w 20"/>
                  <a:gd name="T23" fmla="*/ 0 h 22"/>
                  <a:gd name="T24" fmla="*/ 6 w 20"/>
                  <a:gd name="T25" fmla="*/ 0 h 22"/>
                  <a:gd name="T26" fmla="*/ 2 w 20"/>
                  <a:gd name="T27" fmla="*/ 0 h 2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0"/>
                  <a:gd name="T43" fmla="*/ 0 h 22"/>
                  <a:gd name="T44" fmla="*/ 20 w 20"/>
                  <a:gd name="T45" fmla="*/ 22 h 22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0" h="22">
                    <a:moveTo>
                      <a:pt x="2" y="0"/>
                    </a:moveTo>
                    <a:cubicBezTo>
                      <a:pt x="1" y="1"/>
                      <a:pt x="0" y="1"/>
                      <a:pt x="0" y="2"/>
                    </a:cubicBezTo>
                    <a:cubicBezTo>
                      <a:pt x="1" y="5"/>
                      <a:pt x="3" y="8"/>
                      <a:pt x="5" y="10"/>
                    </a:cubicBezTo>
                    <a:cubicBezTo>
                      <a:pt x="6" y="11"/>
                      <a:pt x="8" y="10"/>
                      <a:pt x="8" y="11"/>
                    </a:cubicBezTo>
                    <a:cubicBezTo>
                      <a:pt x="9" y="13"/>
                      <a:pt x="8" y="15"/>
                      <a:pt x="9" y="17"/>
                    </a:cubicBezTo>
                    <a:cubicBezTo>
                      <a:pt x="10" y="19"/>
                      <a:pt x="12" y="19"/>
                      <a:pt x="15" y="20"/>
                    </a:cubicBezTo>
                    <a:cubicBezTo>
                      <a:pt x="16" y="21"/>
                      <a:pt x="18" y="22"/>
                      <a:pt x="19" y="21"/>
                    </a:cubicBezTo>
                    <a:cubicBezTo>
                      <a:pt x="20" y="20"/>
                      <a:pt x="17" y="19"/>
                      <a:pt x="17" y="17"/>
                    </a:cubicBezTo>
                    <a:cubicBezTo>
                      <a:pt x="17" y="16"/>
                      <a:pt x="19" y="16"/>
                      <a:pt x="19" y="15"/>
                    </a:cubicBezTo>
                    <a:cubicBezTo>
                      <a:pt x="18" y="13"/>
                      <a:pt x="16" y="12"/>
                      <a:pt x="16" y="10"/>
                    </a:cubicBezTo>
                    <a:cubicBezTo>
                      <a:pt x="16" y="8"/>
                      <a:pt x="17" y="6"/>
                      <a:pt x="16" y="4"/>
                    </a:cubicBezTo>
                    <a:cubicBezTo>
                      <a:pt x="15" y="2"/>
                      <a:pt x="14" y="1"/>
                      <a:pt x="12" y="0"/>
                    </a:cubicBezTo>
                    <a:cubicBezTo>
                      <a:pt x="10" y="0"/>
                      <a:pt x="8" y="0"/>
                      <a:pt x="5" y="0"/>
                    </a:cubicBezTo>
                    <a:cubicBezTo>
                      <a:pt x="4" y="0"/>
                      <a:pt x="3" y="0"/>
                      <a:pt x="2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37" name="Freeform 3074"/>
              <p:cNvSpPr>
                <a:spLocks noChangeAspect="1"/>
              </p:cNvSpPr>
              <p:nvPr/>
            </p:nvSpPr>
            <p:spPr bwMode="auto">
              <a:xfrm>
                <a:off x="6502170" y="2757597"/>
                <a:ext cx="25725" cy="23258"/>
              </a:xfrm>
              <a:custGeom>
                <a:avLst/>
                <a:gdLst>
                  <a:gd name="T0" fmla="*/ 4 w 19"/>
                  <a:gd name="T1" fmla="*/ 1 h 23"/>
                  <a:gd name="T2" fmla="*/ 1 w 19"/>
                  <a:gd name="T3" fmla="*/ 4 h 23"/>
                  <a:gd name="T4" fmla="*/ 7 w 19"/>
                  <a:gd name="T5" fmla="*/ 10 h 23"/>
                  <a:gd name="T6" fmla="*/ 2 w 19"/>
                  <a:gd name="T7" fmla="*/ 23 h 23"/>
                  <a:gd name="T8" fmla="*/ 2 w 19"/>
                  <a:gd name="T9" fmla="*/ 28 h 23"/>
                  <a:gd name="T10" fmla="*/ 8 w 19"/>
                  <a:gd name="T11" fmla="*/ 23 h 23"/>
                  <a:gd name="T12" fmla="*/ 15 w 19"/>
                  <a:gd name="T13" fmla="*/ 21 h 23"/>
                  <a:gd name="T14" fmla="*/ 16 w 19"/>
                  <a:gd name="T15" fmla="*/ 18 h 23"/>
                  <a:gd name="T16" fmla="*/ 22 w 19"/>
                  <a:gd name="T17" fmla="*/ 9 h 23"/>
                  <a:gd name="T18" fmla="*/ 19 w 19"/>
                  <a:gd name="T19" fmla="*/ 5 h 23"/>
                  <a:gd name="T20" fmla="*/ 15 w 19"/>
                  <a:gd name="T21" fmla="*/ 7 h 23"/>
                  <a:gd name="T22" fmla="*/ 8 w 19"/>
                  <a:gd name="T23" fmla="*/ 4 h 23"/>
                  <a:gd name="T24" fmla="*/ 4 w 19"/>
                  <a:gd name="T25" fmla="*/ 1 h 2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9"/>
                  <a:gd name="T40" fmla="*/ 0 h 23"/>
                  <a:gd name="T41" fmla="*/ 19 w 19"/>
                  <a:gd name="T42" fmla="*/ 23 h 23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9" h="23">
                    <a:moveTo>
                      <a:pt x="3" y="1"/>
                    </a:moveTo>
                    <a:cubicBezTo>
                      <a:pt x="2" y="1"/>
                      <a:pt x="1" y="2"/>
                      <a:pt x="1" y="3"/>
                    </a:cubicBezTo>
                    <a:cubicBezTo>
                      <a:pt x="2" y="6"/>
                      <a:pt x="6" y="6"/>
                      <a:pt x="6" y="8"/>
                    </a:cubicBezTo>
                    <a:cubicBezTo>
                      <a:pt x="6" y="12"/>
                      <a:pt x="3" y="15"/>
                      <a:pt x="2" y="19"/>
                    </a:cubicBezTo>
                    <a:cubicBezTo>
                      <a:pt x="2" y="20"/>
                      <a:pt x="0" y="23"/>
                      <a:pt x="2" y="23"/>
                    </a:cubicBezTo>
                    <a:cubicBezTo>
                      <a:pt x="4" y="23"/>
                      <a:pt x="5" y="20"/>
                      <a:pt x="7" y="19"/>
                    </a:cubicBezTo>
                    <a:cubicBezTo>
                      <a:pt x="9" y="18"/>
                      <a:pt x="11" y="18"/>
                      <a:pt x="12" y="17"/>
                    </a:cubicBezTo>
                    <a:cubicBezTo>
                      <a:pt x="13" y="17"/>
                      <a:pt x="12" y="15"/>
                      <a:pt x="13" y="15"/>
                    </a:cubicBezTo>
                    <a:cubicBezTo>
                      <a:pt x="14" y="12"/>
                      <a:pt x="17" y="10"/>
                      <a:pt x="18" y="7"/>
                    </a:cubicBezTo>
                    <a:cubicBezTo>
                      <a:pt x="19" y="6"/>
                      <a:pt x="17" y="4"/>
                      <a:pt x="16" y="4"/>
                    </a:cubicBezTo>
                    <a:cubicBezTo>
                      <a:pt x="15" y="3"/>
                      <a:pt x="13" y="6"/>
                      <a:pt x="12" y="6"/>
                    </a:cubicBezTo>
                    <a:cubicBezTo>
                      <a:pt x="10" y="6"/>
                      <a:pt x="9" y="3"/>
                      <a:pt x="7" y="3"/>
                    </a:cubicBezTo>
                    <a:cubicBezTo>
                      <a:pt x="6" y="2"/>
                      <a:pt x="4" y="0"/>
                      <a:pt x="3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38" name="Freeform 3075"/>
              <p:cNvSpPr>
                <a:spLocks noChangeAspect="1"/>
              </p:cNvSpPr>
              <p:nvPr/>
            </p:nvSpPr>
            <p:spPr bwMode="auto">
              <a:xfrm>
                <a:off x="6522303" y="2751781"/>
                <a:ext cx="19015" cy="9138"/>
              </a:xfrm>
              <a:custGeom>
                <a:avLst/>
                <a:gdLst>
                  <a:gd name="T0" fmla="*/ 5 w 14"/>
                  <a:gd name="T1" fmla="*/ 2 h 9"/>
                  <a:gd name="T2" fmla="*/ 5 w 14"/>
                  <a:gd name="T3" fmla="*/ 2 h 9"/>
                  <a:gd name="T4" fmla="*/ 9 w 14"/>
                  <a:gd name="T5" fmla="*/ 5 h 9"/>
                  <a:gd name="T6" fmla="*/ 16 w 14"/>
                  <a:gd name="T7" fmla="*/ 11 h 9"/>
                  <a:gd name="T8" fmla="*/ 17 w 14"/>
                  <a:gd name="T9" fmla="*/ 10 h 9"/>
                  <a:gd name="T10" fmla="*/ 15 w 14"/>
                  <a:gd name="T11" fmla="*/ 4 h 9"/>
                  <a:gd name="T12" fmla="*/ 7 w 14"/>
                  <a:gd name="T13" fmla="*/ 0 h 9"/>
                  <a:gd name="T14" fmla="*/ 4 w 14"/>
                  <a:gd name="T15" fmla="*/ 1 h 9"/>
                  <a:gd name="T16" fmla="*/ 1 w 14"/>
                  <a:gd name="T17" fmla="*/ 4 h 9"/>
                  <a:gd name="T18" fmla="*/ 5 w 14"/>
                  <a:gd name="T19" fmla="*/ 2 h 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4"/>
                  <a:gd name="T31" fmla="*/ 0 h 9"/>
                  <a:gd name="T32" fmla="*/ 14 w 14"/>
                  <a:gd name="T33" fmla="*/ 9 h 9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4" h="9">
                    <a:moveTo>
                      <a:pt x="4" y="2"/>
                    </a:moveTo>
                    <a:cubicBezTo>
                      <a:pt x="4" y="2"/>
                      <a:pt x="4" y="2"/>
                      <a:pt x="4" y="2"/>
                    </a:cubicBezTo>
                    <a:cubicBezTo>
                      <a:pt x="5" y="3"/>
                      <a:pt x="6" y="3"/>
                      <a:pt x="7" y="4"/>
                    </a:cubicBezTo>
                    <a:cubicBezTo>
                      <a:pt x="9" y="6"/>
                      <a:pt x="10" y="8"/>
                      <a:pt x="13" y="9"/>
                    </a:cubicBezTo>
                    <a:cubicBezTo>
                      <a:pt x="13" y="9"/>
                      <a:pt x="14" y="8"/>
                      <a:pt x="14" y="8"/>
                    </a:cubicBezTo>
                    <a:cubicBezTo>
                      <a:pt x="13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6" y="0"/>
                    </a:cubicBezTo>
                    <a:cubicBezTo>
                      <a:pt x="5" y="0"/>
                      <a:pt x="4" y="0"/>
                      <a:pt x="3" y="1"/>
                    </a:cubicBezTo>
                    <a:cubicBezTo>
                      <a:pt x="2" y="1"/>
                      <a:pt x="0" y="2"/>
                      <a:pt x="1" y="3"/>
                    </a:cubicBezTo>
                    <a:cubicBezTo>
                      <a:pt x="1" y="4"/>
                      <a:pt x="3" y="3"/>
                      <a:pt x="4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39" name="Freeform 3076"/>
              <p:cNvSpPr>
                <a:spLocks noChangeAspect="1"/>
              </p:cNvSpPr>
              <p:nvPr/>
            </p:nvSpPr>
            <p:spPr bwMode="auto">
              <a:xfrm>
                <a:off x="6513354" y="2771717"/>
                <a:ext cx="19015" cy="28243"/>
              </a:xfrm>
              <a:custGeom>
                <a:avLst/>
                <a:gdLst>
                  <a:gd name="T0" fmla="*/ 16 w 14"/>
                  <a:gd name="T1" fmla="*/ 2 h 28"/>
                  <a:gd name="T2" fmla="*/ 12 w 14"/>
                  <a:gd name="T3" fmla="*/ 0 h 28"/>
                  <a:gd name="T4" fmla="*/ 9 w 14"/>
                  <a:gd name="T5" fmla="*/ 4 h 28"/>
                  <a:gd name="T6" fmla="*/ 9 w 14"/>
                  <a:gd name="T7" fmla="*/ 17 h 28"/>
                  <a:gd name="T8" fmla="*/ 1 w 14"/>
                  <a:gd name="T9" fmla="*/ 19 h 28"/>
                  <a:gd name="T10" fmla="*/ 4 w 14"/>
                  <a:gd name="T11" fmla="*/ 28 h 28"/>
                  <a:gd name="T12" fmla="*/ 10 w 14"/>
                  <a:gd name="T13" fmla="*/ 34 h 28"/>
                  <a:gd name="T14" fmla="*/ 15 w 14"/>
                  <a:gd name="T15" fmla="*/ 30 h 28"/>
                  <a:gd name="T16" fmla="*/ 11 w 14"/>
                  <a:gd name="T17" fmla="*/ 22 h 28"/>
                  <a:gd name="T18" fmla="*/ 16 w 14"/>
                  <a:gd name="T19" fmla="*/ 5 h 28"/>
                  <a:gd name="T20" fmla="*/ 16 w 14"/>
                  <a:gd name="T21" fmla="*/ 2 h 2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4"/>
                  <a:gd name="T34" fmla="*/ 0 h 28"/>
                  <a:gd name="T35" fmla="*/ 14 w 14"/>
                  <a:gd name="T36" fmla="*/ 28 h 2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4" h="28">
                    <a:moveTo>
                      <a:pt x="13" y="2"/>
                    </a:moveTo>
                    <a:cubicBezTo>
                      <a:pt x="13" y="1"/>
                      <a:pt x="11" y="0"/>
                      <a:pt x="10" y="0"/>
                    </a:cubicBezTo>
                    <a:cubicBezTo>
                      <a:pt x="9" y="1"/>
                      <a:pt x="7" y="2"/>
                      <a:pt x="7" y="3"/>
                    </a:cubicBezTo>
                    <a:cubicBezTo>
                      <a:pt x="6" y="7"/>
                      <a:pt x="9" y="11"/>
                      <a:pt x="7" y="14"/>
                    </a:cubicBezTo>
                    <a:cubicBezTo>
                      <a:pt x="6" y="16"/>
                      <a:pt x="2" y="14"/>
                      <a:pt x="1" y="16"/>
                    </a:cubicBezTo>
                    <a:cubicBezTo>
                      <a:pt x="0" y="19"/>
                      <a:pt x="1" y="21"/>
                      <a:pt x="3" y="23"/>
                    </a:cubicBezTo>
                    <a:cubicBezTo>
                      <a:pt x="6" y="22"/>
                      <a:pt x="8" y="24"/>
                      <a:pt x="8" y="28"/>
                    </a:cubicBezTo>
                    <a:cubicBezTo>
                      <a:pt x="10" y="28"/>
                      <a:pt x="12" y="26"/>
                      <a:pt x="12" y="25"/>
                    </a:cubicBezTo>
                    <a:cubicBezTo>
                      <a:pt x="13" y="22"/>
                      <a:pt x="9" y="21"/>
                      <a:pt x="9" y="18"/>
                    </a:cubicBezTo>
                    <a:cubicBezTo>
                      <a:pt x="10" y="13"/>
                      <a:pt x="12" y="9"/>
                      <a:pt x="13" y="4"/>
                    </a:cubicBezTo>
                    <a:cubicBezTo>
                      <a:pt x="14" y="3"/>
                      <a:pt x="14" y="2"/>
                      <a:pt x="13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40" name="Freeform 3077"/>
              <p:cNvSpPr>
                <a:spLocks noChangeAspect="1"/>
              </p:cNvSpPr>
              <p:nvPr/>
            </p:nvSpPr>
            <p:spPr bwMode="auto">
              <a:xfrm>
                <a:off x="6530133" y="2766734"/>
                <a:ext cx="12304" cy="28243"/>
              </a:xfrm>
              <a:custGeom>
                <a:avLst/>
                <a:gdLst>
                  <a:gd name="T0" fmla="*/ 7 w 9"/>
                  <a:gd name="T1" fmla="*/ 1 h 28"/>
                  <a:gd name="T2" fmla="*/ 10 w 9"/>
                  <a:gd name="T3" fmla="*/ 2 h 28"/>
                  <a:gd name="T4" fmla="*/ 10 w 9"/>
                  <a:gd name="T5" fmla="*/ 18 h 28"/>
                  <a:gd name="T6" fmla="*/ 5 w 9"/>
                  <a:gd name="T7" fmla="*/ 23 h 28"/>
                  <a:gd name="T8" fmla="*/ 2 w 9"/>
                  <a:gd name="T9" fmla="*/ 33 h 28"/>
                  <a:gd name="T10" fmla="*/ 0 w 9"/>
                  <a:gd name="T11" fmla="*/ 32 h 28"/>
                  <a:gd name="T12" fmla="*/ 6 w 9"/>
                  <a:gd name="T13" fmla="*/ 15 h 28"/>
                  <a:gd name="T14" fmla="*/ 7 w 9"/>
                  <a:gd name="T15" fmla="*/ 1 h 2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"/>
                  <a:gd name="T25" fmla="*/ 0 h 28"/>
                  <a:gd name="T26" fmla="*/ 9 w 9"/>
                  <a:gd name="T27" fmla="*/ 28 h 2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" h="28">
                    <a:moveTo>
                      <a:pt x="6" y="1"/>
                    </a:moveTo>
                    <a:cubicBezTo>
                      <a:pt x="6" y="0"/>
                      <a:pt x="8" y="1"/>
                      <a:pt x="8" y="2"/>
                    </a:cubicBezTo>
                    <a:cubicBezTo>
                      <a:pt x="9" y="6"/>
                      <a:pt x="9" y="11"/>
                      <a:pt x="8" y="15"/>
                    </a:cubicBezTo>
                    <a:cubicBezTo>
                      <a:pt x="8" y="17"/>
                      <a:pt x="5" y="18"/>
                      <a:pt x="4" y="19"/>
                    </a:cubicBezTo>
                    <a:cubicBezTo>
                      <a:pt x="3" y="22"/>
                      <a:pt x="3" y="25"/>
                      <a:pt x="2" y="27"/>
                    </a:cubicBezTo>
                    <a:cubicBezTo>
                      <a:pt x="2" y="28"/>
                      <a:pt x="0" y="27"/>
                      <a:pt x="0" y="26"/>
                    </a:cubicBezTo>
                    <a:cubicBezTo>
                      <a:pt x="1" y="21"/>
                      <a:pt x="3" y="17"/>
                      <a:pt x="5" y="12"/>
                    </a:cubicBezTo>
                    <a:cubicBezTo>
                      <a:pt x="5" y="8"/>
                      <a:pt x="5" y="4"/>
                      <a:pt x="6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41" name="Freeform 3078"/>
              <p:cNvSpPr>
                <a:spLocks noChangeAspect="1"/>
              </p:cNvSpPr>
              <p:nvPr/>
            </p:nvSpPr>
            <p:spPr bwMode="auto">
              <a:xfrm>
                <a:off x="6543554" y="2765902"/>
                <a:ext cx="19015" cy="21597"/>
              </a:xfrm>
              <a:custGeom>
                <a:avLst/>
                <a:gdLst>
                  <a:gd name="T0" fmla="*/ 2 w 14"/>
                  <a:gd name="T1" fmla="*/ 0 h 22"/>
                  <a:gd name="T2" fmla="*/ 1 w 14"/>
                  <a:gd name="T3" fmla="*/ 1 h 22"/>
                  <a:gd name="T4" fmla="*/ 1 w 14"/>
                  <a:gd name="T5" fmla="*/ 9 h 22"/>
                  <a:gd name="T6" fmla="*/ 5 w 14"/>
                  <a:gd name="T7" fmla="*/ 11 h 22"/>
                  <a:gd name="T8" fmla="*/ 6 w 14"/>
                  <a:gd name="T9" fmla="*/ 7 h 22"/>
                  <a:gd name="T10" fmla="*/ 7 w 14"/>
                  <a:gd name="T11" fmla="*/ 9 h 22"/>
                  <a:gd name="T12" fmla="*/ 9 w 14"/>
                  <a:gd name="T13" fmla="*/ 21 h 22"/>
                  <a:gd name="T14" fmla="*/ 15 w 14"/>
                  <a:gd name="T15" fmla="*/ 25 h 22"/>
                  <a:gd name="T16" fmla="*/ 15 w 14"/>
                  <a:gd name="T17" fmla="*/ 19 h 22"/>
                  <a:gd name="T18" fmla="*/ 17 w 14"/>
                  <a:gd name="T19" fmla="*/ 18 h 22"/>
                  <a:gd name="T20" fmla="*/ 12 w 14"/>
                  <a:gd name="T21" fmla="*/ 12 h 22"/>
                  <a:gd name="T22" fmla="*/ 11 w 14"/>
                  <a:gd name="T23" fmla="*/ 4 h 22"/>
                  <a:gd name="T24" fmla="*/ 10 w 14"/>
                  <a:gd name="T25" fmla="*/ 0 h 22"/>
                  <a:gd name="T26" fmla="*/ 2 w 14"/>
                  <a:gd name="T27" fmla="*/ 0 h 2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4"/>
                  <a:gd name="T43" fmla="*/ 0 h 22"/>
                  <a:gd name="T44" fmla="*/ 14 w 14"/>
                  <a:gd name="T45" fmla="*/ 22 h 22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4" h="22">
                    <a:moveTo>
                      <a:pt x="2" y="0"/>
                    </a:moveTo>
                    <a:cubicBezTo>
                      <a:pt x="2" y="0"/>
                      <a:pt x="1" y="0"/>
                      <a:pt x="1" y="1"/>
                    </a:cubicBezTo>
                    <a:cubicBezTo>
                      <a:pt x="0" y="3"/>
                      <a:pt x="0" y="6"/>
                      <a:pt x="1" y="8"/>
                    </a:cubicBezTo>
                    <a:cubicBezTo>
                      <a:pt x="1" y="9"/>
                      <a:pt x="3" y="9"/>
                      <a:pt x="4" y="9"/>
                    </a:cubicBezTo>
                    <a:cubicBezTo>
                      <a:pt x="5" y="8"/>
                      <a:pt x="4" y="6"/>
                      <a:pt x="5" y="6"/>
                    </a:cubicBezTo>
                    <a:cubicBezTo>
                      <a:pt x="6" y="6"/>
                      <a:pt x="6" y="7"/>
                      <a:pt x="6" y="8"/>
                    </a:cubicBezTo>
                    <a:cubicBezTo>
                      <a:pt x="7" y="11"/>
                      <a:pt x="6" y="15"/>
                      <a:pt x="7" y="18"/>
                    </a:cubicBezTo>
                    <a:cubicBezTo>
                      <a:pt x="8" y="20"/>
                      <a:pt x="11" y="22"/>
                      <a:pt x="12" y="21"/>
                    </a:cubicBezTo>
                    <a:cubicBezTo>
                      <a:pt x="14" y="21"/>
                      <a:pt x="11" y="18"/>
                      <a:pt x="12" y="16"/>
                    </a:cubicBezTo>
                    <a:cubicBezTo>
                      <a:pt x="12" y="15"/>
                      <a:pt x="14" y="16"/>
                      <a:pt x="14" y="15"/>
                    </a:cubicBezTo>
                    <a:cubicBezTo>
                      <a:pt x="13" y="13"/>
                      <a:pt x="11" y="12"/>
                      <a:pt x="10" y="10"/>
                    </a:cubicBezTo>
                    <a:cubicBezTo>
                      <a:pt x="9" y="7"/>
                      <a:pt x="9" y="5"/>
                      <a:pt x="9" y="3"/>
                    </a:cubicBezTo>
                    <a:cubicBezTo>
                      <a:pt x="9" y="2"/>
                      <a:pt x="9" y="1"/>
                      <a:pt x="8" y="0"/>
                    </a:cubicBezTo>
                    <a:cubicBezTo>
                      <a:pt x="6" y="0"/>
                      <a:pt x="4" y="0"/>
                      <a:pt x="2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42" name="Freeform 3079"/>
              <p:cNvSpPr>
                <a:spLocks noChangeAspect="1"/>
              </p:cNvSpPr>
              <p:nvPr/>
            </p:nvSpPr>
            <p:spPr bwMode="auto">
              <a:xfrm>
                <a:off x="6539079" y="2783346"/>
                <a:ext cx="11186" cy="9138"/>
              </a:xfrm>
              <a:custGeom>
                <a:avLst/>
                <a:gdLst>
                  <a:gd name="T0" fmla="*/ 6 w 9"/>
                  <a:gd name="T1" fmla="*/ 1 h 9"/>
                  <a:gd name="T2" fmla="*/ 9 w 9"/>
                  <a:gd name="T3" fmla="*/ 2 h 9"/>
                  <a:gd name="T4" fmla="*/ 9 w 9"/>
                  <a:gd name="T5" fmla="*/ 9 h 9"/>
                  <a:gd name="T6" fmla="*/ 1 w 9"/>
                  <a:gd name="T7" fmla="*/ 11 h 9"/>
                  <a:gd name="T8" fmla="*/ 1 w 9"/>
                  <a:gd name="T9" fmla="*/ 9 h 9"/>
                  <a:gd name="T10" fmla="*/ 6 w 9"/>
                  <a:gd name="T11" fmla="*/ 1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9"/>
                  <a:gd name="T19" fmla="*/ 0 h 9"/>
                  <a:gd name="T20" fmla="*/ 9 w 9"/>
                  <a:gd name="T21" fmla="*/ 9 h 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9" h="9">
                    <a:moveTo>
                      <a:pt x="5" y="1"/>
                    </a:moveTo>
                    <a:cubicBezTo>
                      <a:pt x="6" y="0"/>
                      <a:pt x="7" y="1"/>
                      <a:pt x="8" y="2"/>
                    </a:cubicBezTo>
                    <a:cubicBezTo>
                      <a:pt x="9" y="4"/>
                      <a:pt x="9" y="6"/>
                      <a:pt x="8" y="7"/>
                    </a:cubicBezTo>
                    <a:cubicBezTo>
                      <a:pt x="6" y="9"/>
                      <a:pt x="3" y="9"/>
                      <a:pt x="1" y="9"/>
                    </a:cubicBezTo>
                    <a:cubicBezTo>
                      <a:pt x="0" y="9"/>
                      <a:pt x="0" y="7"/>
                      <a:pt x="1" y="7"/>
                    </a:cubicBezTo>
                    <a:cubicBezTo>
                      <a:pt x="2" y="5"/>
                      <a:pt x="3" y="2"/>
                      <a:pt x="5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43" name="Freeform 3080"/>
              <p:cNvSpPr>
                <a:spLocks noChangeAspect="1"/>
              </p:cNvSpPr>
              <p:nvPr/>
            </p:nvSpPr>
            <p:spPr bwMode="auto">
              <a:xfrm>
                <a:off x="6427232" y="2765902"/>
                <a:ext cx="41383" cy="44857"/>
              </a:xfrm>
              <a:custGeom>
                <a:avLst/>
                <a:gdLst>
                  <a:gd name="T0" fmla="*/ 33 w 31"/>
                  <a:gd name="T1" fmla="*/ 1 h 45"/>
                  <a:gd name="T2" fmla="*/ 30 w 31"/>
                  <a:gd name="T3" fmla="*/ 1 h 45"/>
                  <a:gd name="T4" fmla="*/ 30 w 31"/>
                  <a:gd name="T5" fmla="*/ 7 h 45"/>
                  <a:gd name="T6" fmla="*/ 31 w 31"/>
                  <a:gd name="T7" fmla="*/ 13 h 45"/>
                  <a:gd name="T8" fmla="*/ 29 w 31"/>
                  <a:gd name="T9" fmla="*/ 12 h 45"/>
                  <a:gd name="T10" fmla="*/ 29 w 31"/>
                  <a:gd name="T11" fmla="*/ 16 h 45"/>
                  <a:gd name="T12" fmla="*/ 24 w 31"/>
                  <a:gd name="T13" fmla="*/ 20 h 45"/>
                  <a:gd name="T14" fmla="*/ 21 w 31"/>
                  <a:gd name="T15" fmla="*/ 23 h 45"/>
                  <a:gd name="T16" fmla="*/ 17 w 31"/>
                  <a:gd name="T17" fmla="*/ 31 h 45"/>
                  <a:gd name="T18" fmla="*/ 10 w 31"/>
                  <a:gd name="T19" fmla="*/ 38 h 45"/>
                  <a:gd name="T20" fmla="*/ 1 w 31"/>
                  <a:gd name="T21" fmla="*/ 49 h 45"/>
                  <a:gd name="T22" fmla="*/ 1 w 31"/>
                  <a:gd name="T23" fmla="*/ 53 h 45"/>
                  <a:gd name="T24" fmla="*/ 6 w 31"/>
                  <a:gd name="T25" fmla="*/ 50 h 45"/>
                  <a:gd name="T26" fmla="*/ 16 w 31"/>
                  <a:gd name="T27" fmla="*/ 41 h 45"/>
                  <a:gd name="T28" fmla="*/ 19 w 31"/>
                  <a:gd name="T29" fmla="*/ 32 h 45"/>
                  <a:gd name="T30" fmla="*/ 21 w 31"/>
                  <a:gd name="T31" fmla="*/ 28 h 45"/>
                  <a:gd name="T32" fmla="*/ 29 w 31"/>
                  <a:gd name="T33" fmla="*/ 24 h 45"/>
                  <a:gd name="T34" fmla="*/ 31 w 31"/>
                  <a:gd name="T35" fmla="*/ 20 h 45"/>
                  <a:gd name="T36" fmla="*/ 36 w 31"/>
                  <a:gd name="T37" fmla="*/ 20 h 45"/>
                  <a:gd name="T38" fmla="*/ 36 w 31"/>
                  <a:gd name="T39" fmla="*/ 16 h 45"/>
                  <a:gd name="T40" fmla="*/ 32 w 31"/>
                  <a:gd name="T41" fmla="*/ 10 h 45"/>
                  <a:gd name="T42" fmla="*/ 33 w 31"/>
                  <a:gd name="T43" fmla="*/ 5 h 45"/>
                  <a:gd name="T44" fmla="*/ 33 w 31"/>
                  <a:gd name="T45" fmla="*/ 1 h 45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31"/>
                  <a:gd name="T70" fmla="*/ 0 h 45"/>
                  <a:gd name="T71" fmla="*/ 31 w 31"/>
                  <a:gd name="T72" fmla="*/ 45 h 45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31" h="45">
                    <a:moveTo>
                      <a:pt x="28" y="1"/>
                    </a:moveTo>
                    <a:cubicBezTo>
                      <a:pt x="28" y="0"/>
                      <a:pt x="26" y="0"/>
                      <a:pt x="25" y="1"/>
                    </a:cubicBezTo>
                    <a:cubicBezTo>
                      <a:pt x="25" y="3"/>
                      <a:pt x="25" y="5"/>
                      <a:pt x="25" y="6"/>
                    </a:cubicBezTo>
                    <a:cubicBezTo>
                      <a:pt x="25" y="8"/>
                      <a:pt x="26" y="10"/>
                      <a:pt x="26" y="11"/>
                    </a:cubicBezTo>
                    <a:cubicBezTo>
                      <a:pt x="26" y="12"/>
                      <a:pt x="24" y="10"/>
                      <a:pt x="24" y="10"/>
                    </a:cubicBezTo>
                    <a:cubicBezTo>
                      <a:pt x="23" y="11"/>
                      <a:pt x="24" y="12"/>
                      <a:pt x="24" y="13"/>
                    </a:cubicBezTo>
                    <a:cubicBezTo>
                      <a:pt x="23" y="14"/>
                      <a:pt x="22" y="16"/>
                      <a:pt x="20" y="17"/>
                    </a:cubicBezTo>
                    <a:cubicBezTo>
                      <a:pt x="20" y="18"/>
                      <a:pt x="18" y="18"/>
                      <a:pt x="18" y="19"/>
                    </a:cubicBezTo>
                    <a:cubicBezTo>
                      <a:pt x="16" y="21"/>
                      <a:pt x="15" y="24"/>
                      <a:pt x="14" y="26"/>
                    </a:cubicBezTo>
                    <a:cubicBezTo>
                      <a:pt x="12" y="28"/>
                      <a:pt x="10" y="30"/>
                      <a:pt x="8" y="32"/>
                    </a:cubicBezTo>
                    <a:cubicBezTo>
                      <a:pt x="6" y="35"/>
                      <a:pt x="3" y="38"/>
                      <a:pt x="1" y="41"/>
                    </a:cubicBezTo>
                    <a:cubicBezTo>
                      <a:pt x="0" y="42"/>
                      <a:pt x="0" y="44"/>
                      <a:pt x="1" y="44"/>
                    </a:cubicBezTo>
                    <a:cubicBezTo>
                      <a:pt x="3" y="45"/>
                      <a:pt x="4" y="43"/>
                      <a:pt x="5" y="42"/>
                    </a:cubicBezTo>
                    <a:cubicBezTo>
                      <a:pt x="8" y="40"/>
                      <a:pt x="11" y="37"/>
                      <a:pt x="13" y="34"/>
                    </a:cubicBezTo>
                    <a:cubicBezTo>
                      <a:pt x="14" y="32"/>
                      <a:pt x="15" y="29"/>
                      <a:pt x="16" y="27"/>
                    </a:cubicBezTo>
                    <a:cubicBezTo>
                      <a:pt x="17" y="25"/>
                      <a:pt x="17" y="24"/>
                      <a:pt x="18" y="23"/>
                    </a:cubicBezTo>
                    <a:cubicBezTo>
                      <a:pt x="20" y="21"/>
                      <a:pt x="22" y="21"/>
                      <a:pt x="24" y="20"/>
                    </a:cubicBezTo>
                    <a:cubicBezTo>
                      <a:pt x="25" y="19"/>
                      <a:pt x="25" y="17"/>
                      <a:pt x="26" y="17"/>
                    </a:cubicBezTo>
                    <a:cubicBezTo>
                      <a:pt x="27" y="16"/>
                      <a:pt x="29" y="18"/>
                      <a:pt x="30" y="17"/>
                    </a:cubicBezTo>
                    <a:cubicBezTo>
                      <a:pt x="31" y="16"/>
                      <a:pt x="31" y="14"/>
                      <a:pt x="30" y="13"/>
                    </a:cubicBezTo>
                    <a:cubicBezTo>
                      <a:pt x="30" y="11"/>
                      <a:pt x="27" y="10"/>
                      <a:pt x="27" y="8"/>
                    </a:cubicBezTo>
                    <a:cubicBezTo>
                      <a:pt x="26" y="6"/>
                      <a:pt x="27" y="5"/>
                      <a:pt x="28" y="4"/>
                    </a:cubicBezTo>
                    <a:cubicBezTo>
                      <a:pt x="28" y="3"/>
                      <a:pt x="29" y="2"/>
                      <a:pt x="28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44" name="Freeform 3081"/>
              <p:cNvSpPr>
                <a:spLocks noChangeAspect="1"/>
              </p:cNvSpPr>
              <p:nvPr/>
            </p:nvSpPr>
            <p:spPr bwMode="auto">
              <a:xfrm>
                <a:off x="6467496" y="2751781"/>
                <a:ext cx="11186" cy="6645"/>
              </a:xfrm>
              <a:custGeom>
                <a:avLst/>
                <a:gdLst>
                  <a:gd name="T0" fmla="*/ 5 w 8"/>
                  <a:gd name="T1" fmla="*/ 2 h 7"/>
                  <a:gd name="T2" fmla="*/ 10 w 8"/>
                  <a:gd name="T3" fmla="*/ 7 h 7"/>
                  <a:gd name="T4" fmla="*/ 4 w 8"/>
                  <a:gd name="T5" fmla="*/ 7 h 7"/>
                  <a:gd name="T6" fmla="*/ 0 w 8"/>
                  <a:gd name="T7" fmla="*/ 1 h 7"/>
                  <a:gd name="T8" fmla="*/ 5 w 8"/>
                  <a:gd name="T9" fmla="*/ 2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7"/>
                  <a:gd name="T17" fmla="*/ 8 w 8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7">
                    <a:moveTo>
                      <a:pt x="4" y="2"/>
                    </a:moveTo>
                    <a:cubicBezTo>
                      <a:pt x="5" y="3"/>
                      <a:pt x="8" y="4"/>
                      <a:pt x="8" y="6"/>
                    </a:cubicBezTo>
                    <a:cubicBezTo>
                      <a:pt x="7" y="7"/>
                      <a:pt x="4" y="7"/>
                      <a:pt x="3" y="6"/>
                    </a:cubicBezTo>
                    <a:cubicBezTo>
                      <a:pt x="2" y="5"/>
                      <a:pt x="0" y="3"/>
                      <a:pt x="0" y="1"/>
                    </a:cubicBezTo>
                    <a:cubicBezTo>
                      <a:pt x="0" y="0"/>
                      <a:pt x="3" y="1"/>
                      <a:pt x="4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45" name="Freeform 3082"/>
              <p:cNvSpPr>
                <a:spLocks noChangeAspect="1"/>
              </p:cNvSpPr>
              <p:nvPr/>
            </p:nvSpPr>
            <p:spPr bwMode="auto">
              <a:xfrm>
                <a:off x="6499932" y="2712740"/>
                <a:ext cx="5593" cy="7476"/>
              </a:xfrm>
              <a:custGeom>
                <a:avLst/>
                <a:gdLst>
                  <a:gd name="T0" fmla="*/ 1 w 4"/>
                  <a:gd name="T1" fmla="*/ 0 h 7"/>
                  <a:gd name="T2" fmla="*/ 5 w 4"/>
                  <a:gd name="T3" fmla="*/ 3 h 7"/>
                  <a:gd name="T4" fmla="*/ 1 w 4"/>
                  <a:gd name="T5" fmla="*/ 5 h 7"/>
                  <a:gd name="T6" fmla="*/ 4 w 4"/>
                  <a:gd name="T7" fmla="*/ 8 h 7"/>
                  <a:gd name="T8" fmla="*/ 1 w 4"/>
                  <a:gd name="T9" fmla="*/ 9 h 7"/>
                  <a:gd name="T10" fmla="*/ 0 w 4"/>
                  <a:gd name="T11" fmla="*/ 6 h 7"/>
                  <a:gd name="T12" fmla="*/ 1 w 4"/>
                  <a:gd name="T13" fmla="*/ 5 h 7"/>
                  <a:gd name="T14" fmla="*/ 0 w 4"/>
                  <a:gd name="T15" fmla="*/ 3 h 7"/>
                  <a:gd name="T16" fmla="*/ 1 w 4"/>
                  <a:gd name="T17" fmla="*/ 0 h 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"/>
                  <a:gd name="T28" fmla="*/ 0 h 7"/>
                  <a:gd name="T29" fmla="*/ 4 w 4"/>
                  <a:gd name="T30" fmla="*/ 7 h 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" h="7">
                    <a:moveTo>
                      <a:pt x="1" y="0"/>
                    </a:moveTo>
                    <a:cubicBezTo>
                      <a:pt x="2" y="0"/>
                      <a:pt x="3" y="0"/>
                      <a:pt x="4" y="2"/>
                    </a:cubicBezTo>
                    <a:cubicBezTo>
                      <a:pt x="4" y="3"/>
                      <a:pt x="2" y="3"/>
                      <a:pt x="1" y="4"/>
                    </a:cubicBezTo>
                    <a:cubicBezTo>
                      <a:pt x="1" y="5"/>
                      <a:pt x="3" y="5"/>
                      <a:pt x="3" y="6"/>
                    </a:cubicBezTo>
                    <a:cubicBezTo>
                      <a:pt x="3" y="7"/>
                      <a:pt x="2" y="7"/>
                      <a:pt x="1" y="7"/>
                    </a:cubicBezTo>
                    <a:cubicBezTo>
                      <a:pt x="0" y="7"/>
                      <a:pt x="0" y="6"/>
                      <a:pt x="0" y="5"/>
                    </a:cubicBezTo>
                    <a:cubicBezTo>
                      <a:pt x="0" y="4"/>
                      <a:pt x="1" y="4"/>
                      <a:pt x="1" y="4"/>
                    </a:cubicBezTo>
                    <a:cubicBezTo>
                      <a:pt x="1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46" name="Freeform 3083"/>
              <p:cNvSpPr>
                <a:spLocks noChangeAspect="1"/>
              </p:cNvSpPr>
              <p:nvPr/>
            </p:nvSpPr>
            <p:spPr bwMode="auto">
              <a:xfrm>
                <a:off x="6540198" y="2726862"/>
                <a:ext cx="6712" cy="8307"/>
              </a:xfrm>
              <a:custGeom>
                <a:avLst/>
                <a:gdLst>
                  <a:gd name="T0" fmla="*/ 1 w 5"/>
                  <a:gd name="T1" fmla="*/ 1 h 8"/>
                  <a:gd name="T2" fmla="*/ 4 w 5"/>
                  <a:gd name="T3" fmla="*/ 1 h 8"/>
                  <a:gd name="T4" fmla="*/ 5 w 5"/>
                  <a:gd name="T5" fmla="*/ 6 h 8"/>
                  <a:gd name="T6" fmla="*/ 1 w 5"/>
                  <a:gd name="T7" fmla="*/ 10 h 8"/>
                  <a:gd name="T8" fmla="*/ 1 w 5"/>
                  <a:gd name="T9" fmla="*/ 6 h 8"/>
                  <a:gd name="T10" fmla="*/ 1 w 5"/>
                  <a:gd name="T11" fmla="*/ 1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8"/>
                  <a:gd name="T20" fmla="*/ 5 w 5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8">
                    <a:moveTo>
                      <a:pt x="1" y="1"/>
                    </a:moveTo>
                    <a:cubicBezTo>
                      <a:pt x="1" y="0"/>
                      <a:pt x="2" y="0"/>
                      <a:pt x="3" y="1"/>
                    </a:cubicBezTo>
                    <a:cubicBezTo>
                      <a:pt x="4" y="2"/>
                      <a:pt x="5" y="4"/>
                      <a:pt x="4" y="5"/>
                    </a:cubicBezTo>
                    <a:cubicBezTo>
                      <a:pt x="4" y="6"/>
                      <a:pt x="2" y="8"/>
                      <a:pt x="1" y="8"/>
                    </a:cubicBezTo>
                    <a:cubicBezTo>
                      <a:pt x="0" y="8"/>
                      <a:pt x="1" y="6"/>
                      <a:pt x="1" y="5"/>
                    </a:cubicBezTo>
                    <a:cubicBezTo>
                      <a:pt x="1" y="3"/>
                      <a:pt x="0" y="2"/>
                      <a:pt x="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47" name="Freeform 3084"/>
              <p:cNvSpPr>
                <a:spLocks noChangeAspect="1"/>
              </p:cNvSpPr>
              <p:nvPr/>
            </p:nvSpPr>
            <p:spPr bwMode="auto">
              <a:xfrm>
                <a:off x="6573753" y="2538300"/>
                <a:ext cx="10067" cy="13290"/>
              </a:xfrm>
              <a:custGeom>
                <a:avLst/>
                <a:gdLst>
                  <a:gd name="T0" fmla="*/ 6 w 8"/>
                  <a:gd name="T1" fmla="*/ 1 h 13"/>
                  <a:gd name="T2" fmla="*/ 8 w 8"/>
                  <a:gd name="T3" fmla="*/ 2 h 13"/>
                  <a:gd name="T4" fmla="*/ 1 w 8"/>
                  <a:gd name="T5" fmla="*/ 15 h 13"/>
                  <a:gd name="T6" fmla="*/ 0 w 8"/>
                  <a:gd name="T7" fmla="*/ 14 h 13"/>
                  <a:gd name="T8" fmla="*/ 6 w 8"/>
                  <a:gd name="T9" fmla="*/ 1 h 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13"/>
                  <a:gd name="T17" fmla="*/ 8 w 8"/>
                  <a:gd name="T18" fmla="*/ 13 h 1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13">
                    <a:moveTo>
                      <a:pt x="5" y="1"/>
                    </a:moveTo>
                    <a:cubicBezTo>
                      <a:pt x="6" y="0"/>
                      <a:pt x="8" y="1"/>
                      <a:pt x="7" y="2"/>
                    </a:cubicBezTo>
                    <a:cubicBezTo>
                      <a:pt x="6" y="5"/>
                      <a:pt x="4" y="9"/>
                      <a:pt x="1" y="12"/>
                    </a:cubicBezTo>
                    <a:cubicBezTo>
                      <a:pt x="1" y="13"/>
                      <a:pt x="0" y="12"/>
                      <a:pt x="0" y="11"/>
                    </a:cubicBezTo>
                    <a:cubicBezTo>
                      <a:pt x="1" y="7"/>
                      <a:pt x="3" y="4"/>
                      <a:pt x="5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48" name="Freeform 3085"/>
              <p:cNvSpPr>
                <a:spLocks noChangeAspect="1"/>
              </p:cNvSpPr>
              <p:nvPr/>
            </p:nvSpPr>
            <p:spPr bwMode="auto">
              <a:xfrm>
                <a:off x="6595004" y="2512550"/>
                <a:ext cx="11186" cy="6645"/>
              </a:xfrm>
              <a:custGeom>
                <a:avLst/>
                <a:gdLst>
                  <a:gd name="T0" fmla="*/ 7 w 8"/>
                  <a:gd name="T1" fmla="*/ 0 h 7"/>
                  <a:gd name="T2" fmla="*/ 9 w 8"/>
                  <a:gd name="T3" fmla="*/ 1 h 7"/>
                  <a:gd name="T4" fmla="*/ 4 w 8"/>
                  <a:gd name="T5" fmla="*/ 5 h 7"/>
                  <a:gd name="T6" fmla="*/ 5 w 8"/>
                  <a:gd name="T7" fmla="*/ 8 h 7"/>
                  <a:gd name="T8" fmla="*/ 0 w 8"/>
                  <a:gd name="T9" fmla="*/ 5 h 7"/>
                  <a:gd name="T10" fmla="*/ 5 w 8"/>
                  <a:gd name="T11" fmla="*/ 1 h 7"/>
                  <a:gd name="T12" fmla="*/ 7 w 8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8"/>
                  <a:gd name="T22" fmla="*/ 0 h 7"/>
                  <a:gd name="T23" fmla="*/ 8 w 8"/>
                  <a:gd name="T24" fmla="*/ 7 h 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8" h="7">
                    <a:moveTo>
                      <a:pt x="6" y="0"/>
                    </a:moveTo>
                    <a:cubicBezTo>
                      <a:pt x="7" y="0"/>
                      <a:pt x="8" y="1"/>
                      <a:pt x="7" y="1"/>
                    </a:cubicBezTo>
                    <a:cubicBezTo>
                      <a:pt x="6" y="3"/>
                      <a:pt x="4" y="3"/>
                      <a:pt x="3" y="4"/>
                    </a:cubicBezTo>
                    <a:cubicBezTo>
                      <a:pt x="3" y="5"/>
                      <a:pt x="4" y="7"/>
                      <a:pt x="4" y="7"/>
                    </a:cubicBezTo>
                    <a:cubicBezTo>
                      <a:pt x="2" y="7"/>
                      <a:pt x="0" y="6"/>
                      <a:pt x="0" y="4"/>
                    </a:cubicBezTo>
                    <a:cubicBezTo>
                      <a:pt x="0" y="2"/>
                      <a:pt x="3" y="2"/>
                      <a:pt x="4" y="1"/>
                    </a:cubicBezTo>
                    <a:cubicBezTo>
                      <a:pt x="5" y="0"/>
                      <a:pt x="5" y="0"/>
                      <a:pt x="6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49" name="Freeform 3086"/>
              <p:cNvSpPr>
                <a:spLocks noChangeAspect="1"/>
              </p:cNvSpPr>
              <p:nvPr/>
            </p:nvSpPr>
            <p:spPr bwMode="auto">
              <a:xfrm>
                <a:off x="7428280" y="3181236"/>
                <a:ext cx="26844" cy="14122"/>
              </a:xfrm>
              <a:custGeom>
                <a:avLst/>
                <a:gdLst>
                  <a:gd name="T0" fmla="*/ 18 w 20"/>
                  <a:gd name="T1" fmla="*/ 1 h 14"/>
                  <a:gd name="T2" fmla="*/ 12 w 20"/>
                  <a:gd name="T3" fmla="*/ 1 h 14"/>
                  <a:gd name="T4" fmla="*/ 5 w 20"/>
                  <a:gd name="T5" fmla="*/ 6 h 14"/>
                  <a:gd name="T6" fmla="*/ 5 w 20"/>
                  <a:gd name="T7" fmla="*/ 7 h 14"/>
                  <a:gd name="T8" fmla="*/ 1 w 20"/>
                  <a:gd name="T9" fmla="*/ 12 h 14"/>
                  <a:gd name="T10" fmla="*/ 4 w 20"/>
                  <a:gd name="T11" fmla="*/ 16 h 14"/>
                  <a:gd name="T12" fmla="*/ 19 w 20"/>
                  <a:gd name="T13" fmla="*/ 16 h 14"/>
                  <a:gd name="T14" fmla="*/ 24 w 20"/>
                  <a:gd name="T15" fmla="*/ 12 h 14"/>
                  <a:gd name="T16" fmla="*/ 22 w 20"/>
                  <a:gd name="T17" fmla="*/ 2 h 14"/>
                  <a:gd name="T18" fmla="*/ 18 w 20"/>
                  <a:gd name="T19" fmla="*/ 1 h 1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0"/>
                  <a:gd name="T31" fmla="*/ 0 h 14"/>
                  <a:gd name="T32" fmla="*/ 20 w 20"/>
                  <a:gd name="T33" fmla="*/ 14 h 1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0" h="14">
                    <a:moveTo>
                      <a:pt x="15" y="1"/>
                    </a:moveTo>
                    <a:cubicBezTo>
                      <a:pt x="13" y="0"/>
                      <a:pt x="11" y="0"/>
                      <a:pt x="10" y="1"/>
                    </a:cubicBezTo>
                    <a:cubicBezTo>
                      <a:pt x="8" y="2"/>
                      <a:pt x="6" y="3"/>
                      <a:pt x="4" y="5"/>
                    </a:cubicBezTo>
                    <a:cubicBezTo>
                      <a:pt x="3" y="5"/>
                      <a:pt x="4" y="6"/>
                      <a:pt x="4" y="6"/>
                    </a:cubicBezTo>
                    <a:cubicBezTo>
                      <a:pt x="3" y="8"/>
                      <a:pt x="1" y="9"/>
                      <a:pt x="1" y="10"/>
                    </a:cubicBezTo>
                    <a:cubicBezTo>
                      <a:pt x="0" y="11"/>
                      <a:pt x="2" y="13"/>
                      <a:pt x="3" y="13"/>
                    </a:cubicBezTo>
                    <a:cubicBezTo>
                      <a:pt x="7" y="14"/>
                      <a:pt x="12" y="14"/>
                      <a:pt x="16" y="13"/>
                    </a:cubicBezTo>
                    <a:cubicBezTo>
                      <a:pt x="18" y="13"/>
                      <a:pt x="19" y="11"/>
                      <a:pt x="20" y="10"/>
                    </a:cubicBezTo>
                    <a:cubicBezTo>
                      <a:pt x="20" y="7"/>
                      <a:pt x="19" y="5"/>
                      <a:pt x="18" y="2"/>
                    </a:cubicBezTo>
                    <a:cubicBezTo>
                      <a:pt x="17" y="1"/>
                      <a:pt x="16" y="1"/>
                      <a:pt x="15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50" name="Freeform 3087"/>
              <p:cNvSpPr>
                <a:spLocks noChangeAspect="1"/>
              </p:cNvSpPr>
              <p:nvPr/>
            </p:nvSpPr>
            <p:spPr bwMode="auto">
              <a:xfrm>
                <a:off x="7455124" y="3164622"/>
                <a:ext cx="23489" cy="10799"/>
              </a:xfrm>
              <a:custGeom>
                <a:avLst/>
                <a:gdLst>
                  <a:gd name="T0" fmla="*/ 17 w 17"/>
                  <a:gd name="T1" fmla="*/ 0 h 11"/>
                  <a:gd name="T2" fmla="*/ 12 w 17"/>
                  <a:gd name="T3" fmla="*/ 5 h 11"/>
                  <a:gd name="T4" fmla="*/ 1 w 17"/>
                  <a:gd name="T5" fmla="*/ 8 h 11"/>
                  <a:gd name="T6" fmla="*/ 4 w 17"/>
                  <a:gd name="T7" fmla="*/ 13 h 11"/>
                  <a:gd name="T8" fmla="*/ 11 w 17"/>
                  <a:gd name="T9" fmla="*/ 11 h 11"/>
                  <a:gd name="T10" fmla="*/ 16 w 17"/>
                  <a:gd name="T11" fmla="*/ 11 h 11"/>
                  <a:gd name="T12" fmla="*/ 21 w 17"/>
                  <a:gd name="T13" fmla="*/ 2 h 11"/>
                  <a:gd name="T14" fmla="*/ 17 w 17"/>
                  <a:gd name="T15" fmla="*/ 0 h 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7"/>
                  <a:gd name="T25" fmla="*/ 0 h 11"/>
                  <a:gd name="T26" fmla="*/ 17 w 17"/>
                  <a:gd name="T27" fmla="*/ 11 h 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7" h="11">
                    <a:moveTo>
                      <a:pt x="14" y="0"/>
                    </a:moveTo>
                    <a:cubicBezTo>
                      <a:pt x="12" y="0"/>
                      <a:pt x="12" y="3"/>
                      <a:pt x="10" y="4"/>
                    </a:cubicBezTo>
                    <a:cubicBezTo>
                      <a:pt x="7" y="5"/>
                      <a:pt x="3" y="5"/>
                      <a:pt x="1" y="7"/>
                    </a:cubicBezTo>
                    <a:cubicBezTo>
                      <a:pt x="0" y="8"/>
                      <a:pt x="1" y="11"/>
                      <a:pt x="3" y="11"/>
                    </a:cubicBezTo>
                    <a:cubicBezTo>
                      <a:pt x="5" y="11"/>
                      <a:pt x="7" y="9"/>
                      <a:pt x="9" y="9"/>
                    </a:cubicBezTo>
                    <a:cubicBezTo>
                      <a:pt x="10" y="8"/>
                      <a:pt x="12" y="9"/>
                      <a:pt x="13" y="9"/>
                    </a:cubicBezTo>
                    <a:cubicBezTo>
                      <a:pt x="13" y="5"/>
                      <a:pt x="15" y="3"/>
                      <a:pt x="17" y="2"/>
                    </a:cubicBezTo>
                    <a:cubicBezTo>
                      <a:pt x="17" y="1"/>
                      <a:pt x="15" y="0"/>
                      <a:pt x="14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51" name="Freeform 3088"/>
              <p:cNvSpPr>
                <a:spLocks noChangeAspect="1"/>
              </p:cNvSpPr>
              <p:nvPr/>
            </p:nvSpPr>
            <p:spPr bwMode="auto">
              <a:xfrm>
                <a:off x="7256032" y="3141363"/>
                <a:ext cx="11186" cy="17444"/>
              </a:xfrm>
              <a:custGeom>
                <a:avLst/>
                <a:gdLst>
                  <a:gd name="T0" fmla="*/ 0 w 9"/>
                  <a:gd name="T1" fmla="*/ 1 h 17"/>
                  <a:gd name="T2" fmla="*/ 2 w 9"/>
                  <a:gd name="T3" fmla="*/ 1 h 17"/>
                  <a:gd name="T4" fmla="*/ 3 w 9"/>
                  <a:gd name="T5" fmla="*/ 10 h 17"/>
                  <a:gd name="T6" fmla="*/ 6 w 9"/>
                  <a:gd name="T7" fmla="*/ 9 h 17"/>
                  <a:gd name="T8" fmla="*/ 7 w 9"/>
                  <a:gd name="T9" fmla="*/ 4 h 17"/>
                  <a:gd name="T10" fmla="*/ 10 w 9"/>
                  <a:gd name="T11" fmla="*/ 5 h 17"/>
                  <a:gd name="T12" fmla="*/ 10 w 9"/>
                  <a:gd name="T13" fmla="*/ 12 h 17"/>
                  <a:gd name="T14" fmla="*/ 10 w 9"/>
                  <a:gd name="T15" fmla="*/ 17 h 17"/>
                  <a:gd name="T16" fmla="*/ 6 w 9"/>
                  <a:gd name="T17" fmla="*/ 19 h 17"/>
                  <a:gd name="T18" fmla="*/ 1 w 9"/>
                  <a:gd name="T19" fmla="*/ 20 h 17"/>
                  <a:gd name="T20" fmla="*/ 0 w 9"/>
                  <a:gd name="T21" fmla="*/ 15 h 17"/>
                  <a:gd name="T22" fmla="*/ 0 w 9"/>
                  <a:gd name="T23" fmla="*/ 1 h 1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9"/>
                  <a:gd name="T37" fmla="*/ 0 h 17"/>
                  <a:gd name="T38" fmla="*/ 9 w 9"/>
                  <a:gd name="T39" fmla="*/ 17 h 17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9" h="17">
                    <a:moveTo>
                      <a:pt x="0" y="1"/>
                    </a:moveTo>
                    <a:cubicBezTo>
                      <a:pt x="1" y="0"/>
                      <a:pt x="2" y="0"/>
                      <a:pt x="2" y="1"/>
                    </a:cubicBezTo>
                    <a:cubicBezTo>
                      <a:pt x="3" y="3"/>
                      <a:pt x="2" y="6"/>
                      <a:pt x="3" y="8"/>
                    </a:cubicBezTo>
                    <a:cubicBezTo>
                      <a:pt x="3" y="9"/>
                      <a:pt x="5" y="8"/>
                      <a:pt x="5" y="7"/>
                    </a:cubicBezTo>
                    <a:cubicBezTo>
                      <a:pt x="6" y="6"/>
                      <a:pt x="5" y="4"/>
                      <a:pt x="6" y="3"/>
                    </a:cubicBezTo>
                    <a:cubicBezTo>
                      <a:pt x="7" y="2"/>
                      <a:pt x="8" y="3"/>
                      <a:pt x="9" y="4"/>
                    </a:cubicBezTo>
                    <a:cubicBezTo>
                      <a:pt x="9" y="6"/>
                      <a:pt x="9" y="8"/>
                      <a:pt x="9" y="10"/>
                    </a:cubicBezTo>
                    <a:cubicBezTo>
                      <a:pt x="9" y="11"/>
                      <a:pt x="9" y="13"/>
                      <a:pt x="9" y="14"/>
                    </a:cubicBezTo>
                    <a:cubicBezTo>
                      <a:pt x="8" y="15"/>
                      <a:pt x="7" y="15"/>
                      <a:pt x="5" y="15"/>
                    </a:cubicBezTo>
                    <a:cubicBezTo>
                      <a:pt x="4" y="16"/>
                      <a:pt x="2" y="17"/>
                      <a:pt x="1" y="16"/>
                    </a:cubicBezTo>
                    <a:cubicBezTo>
                      <a:pt x="0" y="15"/>
                      <a:pt x="0" y="13"/>
                      <a:pt x="0" y="12"/>
                    </a:cubicBezTo>
                    <a:cubicBezTo>
                      <a:pt x="0" y="8"/>
                      <a:pt x="0" y="5"/>
                      <a:pt x="0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52" name="Freeform 3089"/>
              <p:cNvSpPr>
                <a:spLocks noChangeAspect="1"/>
              </p:cNvSpPr>
              <p:nvPr/>
            </p:nvSpPr>
            <p:spPr bwMode="auto">
              <a:xfrm>
                <a:off x="7263862" y="3160469"/>
                <a:ext cx="10067" cy="9968"/>
              </a:xfrm>
              <a:custGeom>
                <a:avLst/>
                <a:gdLst>
                  <a:gd name="T0" fmla="*/ 3 w 8"/>
                  <a:gd name="T1" fmla="*/ 1 h 10"/>
                  <a:gd name="T2" fmla="*/ 9 w 8"/>
                  <a:gd name="T3" fmla="*/ 11 h 10"/>
                  <a:gd name="T4" fmla="*/ 3 w 8"/>
                  <a:gd name="T5" fmla="*/ 12 h 10"/>
                  <a:gd name="T6" fmla="*/ 2 w 8"/>
                  <a:gd name="T7" fmla="*/ 8 h 10"/>
                  <a:gd name="T8" fmla="*/ 0 w 8"/>
                  <a:gd name="T9" fmla="*/ 2 h 10"/>
                  <a:gd name="T10" fmla="*/ 3 w 8"/>
                  <a:gd name="T11" fmla="*/ 1 h 1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10"/>
                  <a:gd name="T20" fmla="*/ 8 w 8"/>
                  <a:gd name="T21" fmla="*/ 10 h 1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10">
                    <a:moveTo>
                      <a:pt x="3" y="1"/>
                    </a:moveTo>
                    <a:cubicBezTo>
                      <a:pt x="5" y="3"/>
                      <a:pt x="8" y="6"/>
                      <a:pt x="8" y="9"/>
                    </a:cubicBezTo>
                    <a:cubicBezTo>
                      <a:pt x="8" y="10"/>
                      <a:pt x="4" y="10"/>
                      <a:pt x="3" y="10"/>
                    </a:cubicBezTo>
                    <a:cubicBezTo>
                      <a:pt x="2" y="9"/>
                      <a:pt x="3" y="8"/>
                      <a:pt x="2" y="7"/>
                    </a:cubicBezTo>
                    <a:cubicBezTo>
                      <a:pt x="2" y="5"/>
                      <a:pt x="0" y="4"/>
                      <a:pt x="0" y="2"/>
                    </a:cubicBezTo>
                    <a:cubicBezTo>
                      <a:pt x="0" y="1"/>
                      <a:pt x="2" y="0"/>
                      <a:pt x="3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53" name="Freeform 3090"/>
              <p:cNvSpPr>
                <a:spLocks noChangeAspect="1"/>
              </p:cNvSpPr>
              <p:nvPr/>
            </p:nvSpPr>
            <p:spPr bwMode="auto">
              <a:xfrm>
                <a:off x="7202346" y="3222768"/>
                <a:ext cx="44739" cy="34889"/>
              </a:xfrm>
              <a:custGeom>
                <a:avLst/>
                <a:gdLst>
                  <a:gd name="T0" fmla="*/ 1 w 34"/>
                  <a:gd name="T1" fmla="*/ 0 h 35"/>
                  <a:gd name="T2" fmla="*/ 0 w 34"/>
                  <a:gd name="T3" fmla="*/ 2 h 35"/>
                  <a:gd name="T4" fmla="*/ 2 w 34"/>
                  <a:gd name="T5" fmla="*/ 10 h 35"/>
                  <a:gd name="T6" fmla="*/ 7 w 34"/>
                  <a:gd name="T7" fmla="*/ 14 h 35"/>
                  <a:gd name="T8" fmla="*/ 11 w 34"/>
                  <a:gd name="T9" fmla="*/ 22 h 35"/>
                  <a:gd name="T10" fmla="*/ 20 w 34"/>
                  <a:gd name="T11" fmla="*/ 30 h 35"/>
                  <a:gd name="T12" fmla="*/ 27 w 34"/>
                  <a:gd name="T13" fmla="*/ 32 h 35"/>
                  <a:gd name="T14" fmla="*/ 28 w 34"/>
                  <a:gd name="T15" fmla="*/ 40 h 35"/>
                  <a:gd name="T16" fmla="*/ 38 w 34"/>
                  <a:gd name="T17" fmla="*/ 41 h 35"/>
                  <a:gd name="T18" fmla="*/ 38 w 34"/>
                  <a:gd name="T19" fmla="*/ 34 h 35"/>
                  <a:gd name="T20" fmla="*/ 26 w 34"/>
                  <a:gd name="T21" fmla="*/ 25 h 35"/>
                  <a:gd name="T22" fmla="*/ 19 w 34"/>
                  <a:gd name="T23" fmla="*/ 14 h 35"/>
                  <a:gd name="T24" fmla="*/ 9 w 34"/>
                  <a:gd name="T25" fmla="*/ 5 h 35"/>
                  <a:gd name="T26" fmla="*/ 1 w 34"/>
                  <a:gd name="T27" fmla="*/ 0 h 3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34"/>
                  <a:gd name="T43" fmla="*/ 0 h 35"/>
                  <a:gd name="T44" fmla="*/ 34 w 34"/>
                  <a:gd name="T45" fmla="*/ 35 h 35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34" h="35">
                    <a:moveTo>
                      <a:pt x="1" y="0"/>
                    </a:moveTo>
                    <a:cubicBezTo>
                      <a:pt x="1" y="0"/>
                      <a:pt x="0" y="1"/>
                      <a:pt x="0" y="2"/>
                    </a:cubicBezTo>
                    <a:cubicBezTo>
                      <a:pt x="0" y="4"/>
                      <a:pt x="1" y="6"/>
                      <a:pt x="2" y="8"/>
                    </a:cubicBezTo>
                    <a:cubicBezTo>
                      <a:pt x="3" y="9"/>
                      <a:pt x="5" y="10"/>
                      <a:pt x="6" y="12"/>
                    </a:cubicBezTo>
                    <a:cubicBezTo>
                      <a:pt x="8" y="14"/>
                      <a:pt x="8" y="16"/>
                      <a:pt x="9" y="18"/>
                    </a:cubicBezTo>
                    <a:cubicBezTo>
                      <a:pt x="11" y="21"/>
                      <a:pt x="14" y="23"/>
                      <a:pt x="17" y="25"/>
                    </a:cubicBezTo>
                    <a:cubicBezTo>
                      <a:pt x="19" y="26"/>
                      <a:pt x="22" y="26"/>
                      <a:pt x="23" y="27"/>
                    </a:cubicBezTo>
                    <a:cubicBezTo>
                      <a:pt x="25" y="29"/>
                      <a:pt x="23" y="32"/>
                      <a:pt x="24" y="33"/>
                    </a:cubicBezTo>
                    <a:cubicBezTo>
                      <a:pt x="26" y="34"/>
                      <a:pt x="30" y="35"/>
                      <a:pt x="32" y="34"/>
                    </a:cubicBezTo>
                    <a:cubicBezTo>
                      <a:pt x="34" y="33"/>
                      <a:pt x="33" y="29"/>
                      <a:pt x="32" y="28"/>
                    </a:cubicBezTo>
                    <a:cubicBezTo>
                      <a:pt x="30" y="24"/>
                      <a:pt x="25" y="24"/>
                      <a:pt x="22" y="21"/>
                    </a:cubicBezTo>
                    <a:cubicBezTo>
                      <a:pt x="20" y="18"/>
                      <a:pt x="19" y="14"/>
                      <a:pt x="16" y="12"/>
                    </a:cubicBezTo>
                    <a:cubicBezTo>
                      <a:pt x="14" y="9"/>
                      <a:pt x="10" y="7"/>
                      <a:pt x="8" y="4"/>
                    </a:cubicBezTo>
                    <a:cubicBezTo>
                      <a:pt x="6" y="3"/>
                      <a:pt x="4" y="1"/>
                      <a:pt x="1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54" name="Freeform 3091"/>
              <p:cNvSpPr>
                <a:spLocks noChangeAspect="1"/>
              </p:cNvSpPr>
              <p:nvPr/>
            </p:nvSpPr>
            <p:spPr bwMode="auto">
              <a:xfrm>
                <a:off x="7250439" y="3230245"/>
                <a:ext cx="7830" cy="9138"/>
              </a:xfrm>
              <a:custGeom>
                <a:avLst/>
                <a:gdLst>
                  <a:gd name="T0" fmla="*/ 5 w 6"/>
                  <a:gd name="T1" fmla="*/ 1 h 9"/>
                  <a:gd name="T2" fmla="*/ 6 w 6"/>
                  <a:gd name="T3" fmla="*/ 7 h 9"/>
                  <a:gd name="T4" fmla="*/ 6 w 6"/>
                  <a:gd name="T5" fmla="*/ 11 h 9"/>
                  <a:gd name="T6" fmla="*/ 1 w 6"/>
                  <a:gd name="T7" fmla="*/ 7 h 9"/>
                  <a:gd name="T8" fmla="*/ 2 w 6"/>
                  <a:gd name="T9" fmla="*/ 2 h 9"/>
                  <a:gd name="T10" fmla="*/ 5 w 6"/>
                  <a:gd name="T11" fmla="*/ 1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9"/>
                  <a:gd name="T20" fmla="*/ 6 w 6"/>
                  <a:gd name="T21" fmla="*/ 9 h 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9">
                    <a:moveTo>
                      <a:pt x="4" y="1"/>
                    </a:moveTo>
                    <a:cubicBezTo>
                      <a:pt x="5" y="2"/>
                      <a:pt x="5" y="4"/>
                      <a:pt x="5" y="6"/>
                    </a:cubicBezTo>
                    <a:cubicBezTo>
                      <a:pt x="5" y="7"/>
                      <a:pt x="6" y="9"/>
                      <a:pt x="5" y="9"/>
                    </a:cubicBezTo>
                    <a:cubicBezTo>
                      <a:pt x="3" y="9"/>
                      <a:pt x="2" y="8"/>
                      <a:pt x="1" y="6"/>
                    </a:cubicBezTo>
                    <a:cubicBezTo>
                      <a:pt x="0" y="5"/>
                      <a:pt x="1" y="3"/>
                      <a:pt x="2" y="2"/>
                    </a:cubicBezTo>
                    <a:cubicBezTo>
                      <a:pt x="2" y="1"/>
                      <a:pt x="3" y="0"/>
                      <a:pt x="4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55" name="Freeform 3092"/>
              <p:cNvSpPr>
                <a:spLocks noChangeAspect="1"/>
              </p:cNvSpPr>
              <p:nvPr/>
            </p:nvSpPr>
            <p:spPr bwMode="auto">
              <a:xfrm>
                <a:off x="7262743" y="3240213"/>
                <a:ext cx="6712" cy="5815"/>
              </a:xfrm>
              <a:custGeom>
                <a:avLst/>
                <a:gdLst>
                  <a:gd name="T0" fmla="*/ 2 w 5"/>
                  <a:gd name="T1" fmla="*/ 1 h 6"/>
                  <a:gd name="T2" fmla="*/ 6 w 5"/>
                  <a:gd name="T3" fmla="*/ 4 h 6"/>
                  <a:gd name="T4" fmla="*/ 2 w 5"/>
                  <a:gd name="T5" fmla="*/ 7 h 6"/>
                  <a:gd name="T6" fmla="*/ 0 w 5"/>
                  <a:gd name="T7" fmla="*/ 6 h 6"/>
                  <a:gd name="T8" fmla="*/ 2 w 5"/>
                  <a:gd name="T9" fmla="*/ 1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6"/>
                  <a:gd name="T17" fmla="*/ 5 w 5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6">
                    <a:moveTo>
                      <a:pt x="2" y="1"/>
                    </a:moveTo>
                    <a:cubicBezTo>
                      <a:pt x="3" y="0"/>
                      <a:pt x="5" y="2"/>
                      <a:pt x="5" y="3"/>
                    </a:cubicBezTo>
                    <a:cubicBezTo>
                      <a:pt x="5" y="5"/>
                      <a:pt x="3" y="6"/>
                      <a:pt x="2" y="6"/>
                    </a:cubicBezTo>
                    <a:cubicBezTo>
                      <a:pt x="1" y="6"/>
                      <a:pt x="0" y="5"/>
                      <a:pt x="0" y="5"/>
                    </a:cubicBezTo>
                    <a:cubicBezTo>
                      <a:pt x="0" y="3"/>
                      <a:pt x="1" y="1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56" name="Freeform 3093"/>
              <p:cNvSpPr>
                <a:spLocks noChangeAspect="1"/>
              </p:cNvSpPr>
              <p:nvPr/>
            </p:nvSpPr>
            <p:spPr bwMode="auto">
              <a:xfrm>
                <a:off x="6337751" y="3085710"/>
                <a:ext cx="665503" cy="426132"/>
              </a:xfrm>
              <a:custGeom>
                <a:avLst/>
                <a:gdLst>
                  <a:gd name="T0" fmla="*/ 86 w 496"/>
                  <a:gd name="T1" fmla="*/ 169 h 427"/>
                  <a:gd name="T2" fmla="*/ 130 w 496"/>
                  <a:gd name="T3" fmla="*/ 155 h 427"/>
                  <a:gd name="T4" fmla="*/ 149 w 496"/>
                  <a:gd name="T5" fmla="*/ 125 h 427"/>
                  <a:gd name="T6" fmla="*/ 163 w 496"/>
                  <a:gd name="T7" fmla="*/ 99 h 427"/>
                  <a:gd name="T8" fmla="*/ 172 w 496"/>
                  <a:gd name="T9" fmla="*/ 103 h 427"/>
                  <a:gd name="T10" fmla="*/ 190 w 496"/>
                  <a:gd name="T11" fmla="*/ 96 h 427"/>
                  <a:gd name="T12" fmla="*/ 187 w 496"/>
                  <a:gd name="T13" fmla="*/ 80 h 427"/>
                  <a:gd name="T14" fmla="*/ 197 w 496"/>
                  <a:gd name="T15" fmla="*/ 67 h 427"/>
                  <a:gd name="T16" fmla="*/ 217 w 496"/>
                  <a:gd name="T17" fmla="*/ 56 h 427"/>
                  <a:gd name="T18" fmla="*/ 241 w 496"/>
                  <a:gd name="T19" fmla="*/ 72 h 427"/>
                  <a:gd name="T20" fmla="*/ 254 w 496"/>
                  <a:gd name="T21" fmla="*/ 77 h 427"/>
                  <a:gd name="T22" fmla="*/ 272 w 496"/>
                  <a:gd name="T23" fmla="*/ 84 h 427"/>
                  <a:gd name="T24" fmla="*/ 262 w 496"/>
                  <a:gd name="T25" fmla="*/ 64 h 427"/>
                  <a:gd name="T26" fmla="*/ 288 w 496"/>
                  <a:gd name="T27" fmla="*/ 32 h 427"/>
                  <a:gd name="T28" fmla="*/ 315 w 496"/>
                  <a:gd name="T29" fmla="*/ 24 h 427"/>
                  <a:gd name="T30" fmla="*/ 309 w 496"/>
                  <a:gd name="T31" fmla="*/ 11 h 427"/>
                  <a:gd name="T32" fmla="*/ 336 w 496"/>
                  <a:gd name="T33" fmla="*/ 23 h 427"/>
                  <a:gd name="T34" fmla="*/ 365 w 496"/>
                  <a:gd name="T35" fmla="*/ 30 h 427"/>
                  <a:gd name="T36" fmla="*/ 357 w 496"/>
                  <a:gd name="T37" fmla="*/ 49 h 427"/>
                  <a:gd name="T38" fmla="*/ 384 w 496"/>
                  <a:gd name="T39" fmla="*/ 96 h 427"/>
                  <a:gd name="T40" fmla="*/ 428 w 496"/>
                  <a:gd name="T41" fmla="*/ 121 h 427"/>
                  <a:gd name="T42" fmla="*/ 447 w 496"/>
                  <a:gd name="T43" fmla="*/ 38 h 427"/>
                  <a:gd name="T44" fmla="*/ 463 w 496"/>
                  <a:gd name="T45" fmla="*/ 1 h 427"/>
                  <a:gd name="T46" fmla="*/ 473 w 496"/>
                  <a:gd name="T47" fmla="*/ 30 h 427"/>
                  <a:gd name="T48" fmla="*/ 491 w 496"/>
                  <a:gd name="T49" fmla="*/ 59 h 427"/>
                  <a:gd name="T50" fmla="*/ 506 w 496"/>
                  <a:gd name="T51" fmla="*/ 109 h 427"/>
                  <a:gd name="T52" fmla="*/ 519 w 496"/>
                  <a:gd name="T53" fmla="*/ 153 h 427"/>
                  <a:gd name="T54" fmla="*/ 541 w 496"/>
                  <a:gd name="T55" fmla="*/ 167 h 427"/>
                  <a:gd name="T56" fmla="*/ 551 w 496"/>
                  <a:gd name="T57" fmla="*/ 204 h 427"/>
                  <a:gd name="T58" fmla="*/ 569 w 496"/>
                  <a:gd name="T59" fmla="*/ 207 h 427"/>
                  <a:gd name="T60" fmla="*/ 583 w 496"/>
                  <a:gd name="T61" fmla="*/ 241 h 427"/>
                  <a:gd name="T62" fmla="*/ 595 w 496"/>
                  <a:gd name="T63" fmla="*/ 278 h 427"/>
                  <a:gd name="T64" fmla="*/ 584 w 496"/>
                  <a:gd name="T65" fmla="*/ 347 h 427"/>
                  <a:gd name="T66" fmla="*/ 547 w 496"/>
                  <a:gd name="T67" fmla="*/ 410 h 427"/>
                  <a:gd name="T68" fmla="*/ 523 w 496"/>
                  <a:gd name="T69" fmla="*/ 446 h 427"/>
                  <a:gd name="T70" fmla="*/ 477 w 496"/>
                  <a:gd name="T71" fmla="*/ 494 h 427"/>
                  <a:gd name="T72" fmla="*/ 439 w 496"/>
                  <a:gd name="T73" fmla="*/ 502 h 427"/>
                  <a:gd name="T74" fmla="*/ 422 w 496"/>
                  <a:gd name="T75" fmla="*/ 505 h 427"/>
                  <a:gd name="T76" fmla="*/ 385 w 496"/>
                  <a:gd name="T77" fmla="*/ 501 h 427"/>
                  <a:gd name="T78" fmla="*/ 365 w 496"/>
                  <a:gd name="T79" fmla="*/ 470 h 427"/>
                  <a:gd name="T80" fmla="*/ 344 w 496"/>
                  <a:gd name="T81" fmla="*/ 451 h 427"/>
                  <a:gd name="T82" fmla="*/ 344 w 496"/>
                  <a:gd name="T83" fmla="*/ 424 h 427"/>
                  <a:gd name="T84" fmla="*/ 330 w 496"/>
                  <a:gd name="T85" fmla="*/ 435 h 427"/>
                  <a:gd name="T86" fmla="*/ 348 w 496"/>
                  <a:gd name="T87" fmla="*/ 396 h 427"/>
                  <a:gd name="T88" fmla="*/ 314 w 496"/>
                  <a:gd name="T89" fmla="*/ 433 h 427"/>
                  <a:gd name="T90" fmla="*/ 300 w 496"/>
                  <a:gd name="T91" fmla="*/ 406 h 427"/>
                  <a:gd name="T92" fmla="*/ 270 w 496"/>
                  <a:gd name="T93" fmla="*/ 383 h 427"/>
                  <a:gd name="T94" fmla="*/ 178 w 496"/>
                  <a:gd name="T95" fmla="*/ 386 h 427"/>
                  <a:gd name="T96" fmla="*/ 112 w 496"/>
                  <a:gd name="T97" fmla="*/ 416 h 427"/>
                  <a:gd name="T98" fmla="*/ 50 w 496"/>
                  <a:gd name="T99" fmla="*/ 439 h 427"/>
                  <a:gd name="T100" fmla="*/ 8 w 496"/>
                  <a:gd name="T101" fmla="*/ 411 h 427"/>
                  <a:gd name="T102" fmla="*/ 18 w 496"/>
                  <a:gd name="T103" fmla="*/ 365 h 427"/>
                  <a:gd name="T104" fmla="*/ 0 w 496"/>
                  <a:gd name="T105" fmla="*/ 278 h 427"/>
                  <a:gd name="T106" fmla="*/ 14 w 496"/>
                  <a:gd name="T107" fmla="*/ 280 h 427"/>
                  <a:gd name="T108" fmla="*/ 13 w 496"/>
                  <a:gd name="T109" fmla="*/ 216 h 427"/>
                  <a:gd name="T110" fmla="*/ 20 w 496"/>
                  <a:gd name="T111" fmla="*/ 205 h 427"/>
                  <a:gd name="T112" fmla="*/ 55 w 496"/>
                  <a:gd name="T113" fmla="*/ 178 h 427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496"/>
                  <a:gd name="T172" fmla="*/ 0 h 427"/>
                  <a:gd name="T173" fmla="*/ 496 w 496"/>
                  <a:gd name="T174" fmla="*/ 427 h 427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496" h="427">
                    <a:moveTo>
                      <a:pt x="50" y="145"/>
                    </a:moveTo>
                    <a:cubicBezTo>
                      <a:pt x="52" y="145"/>
                      <a:pt x="54" y="144"/>
                      <a:pt x="56" y="144"/>
                    </a:cubicBezTo>
                    <a:cubicBezTo>
                      <a:pt x="59" y="144"/>
                      <a:pt x="62" y="147"/>
                      <a:pt x="64" y="145"/>
                    </a:cubicBezTo>
                    <a:cubicBezTo>
                      <a:pt x="66" y="143"/>
                      <a:pt x="68" y="139"/>
                      <a:pt x="72" y="141"/>
                    </a:cubicBezTo>
                    <a:cubicBezTo>
                      <a:pt x="74" y="141"/>
                      <a:pt x="77" y="140"/>
                      <a:pt x="79" y="139"/>
                    </a:cubicBezTo>
                    <a:cubicBezTo>
                      <a:pt x="81" y="138"/>
                      <a:pt x="81" y="135"/>
                      <a:pt x="83" y="134"/>
                    </a:cubicBezTo>
                    <a:cubicBezTo>
                      <a:pt x="85" y="134"/>
                      <a:pt x="89" y="135"/>
                      <a:pt x="91" y="135"/>
                    </a:cubicBezTo>
                    <a:cubicBezTo>
                      <a:pt x="97" y="133"/>
                      <a:pt x="104" y="133"/>
                      <a:pt x="108" y="129"/>
                    </a:cubicBezTo>
                    <a:cubicBezTo>
                      <a:pt x="113" y="126"/>
                      <a:pt x="114" y="121"/>
                      <a:pt x="116" y="116"/>
                    </a:cubicBezTo>
                    <a:cubicBezTo>
                      <a:pt x="117" y="115"/>
                      <a:pt x="115" y="113"/>
                      <a:pt x="116" y="112"/>
                    </a:cubicBezTo>
                    <a:cubicBezTo>
                      <a:pt x="118" y="110"/>
                      <a:pt x="122" y="111"/>
                      <a:pt x="124" y="109"/>
                    </a:cubicBezTo>
                    <a:cubicBezTo>
                      <a:pt x="125" y="108"/>
                      <a:pt x="124" y="106"/>
                      <a:pt x="124" y="104"/>
                    </a:cubicBezTo>
                    <a:cubicBezTo>
                      <a:pt x="124" y="103"/>
                      <a:pt x="122" y="101"/>
                      <a:pt x="123" y="100"/>
                    </a:cubicBezTo>
                    <a:cubicBezTo>
                      <a:pt x="124" y="95"/>
                      <a:pt x="125" y="91"/>
                      <a:pt x="128" y="87"/>
                    </a:cubicBezTo>
                    <a:cubicBezTo>
                      <a:pt x="129" y="84"/>
                      <a:pt x="132" y="82"/>
                      <a:pt x="135" y="80"/>
                    </a:cubicBezTo>
                    <a:cubicBezTo>
                      <a:pt x="135" y="79"/>
                      <a:pt x="136" y="81"/>
                      <a:pt x="136" y="82"/>
                    </a:cubicBezTo>
                    <a:cubicBezTo>
                      <a:pt x="136" y="84"/>
                      <a:pt x="135" y="85"/>
                      <a:pt x="135" y="86"/>
                    </a:cubicBezTo>
                    <a:cubicBezTo>
                      <a:pt x="136" y="90"/>
                      <a:pt x="136" y="95"/>
                      <a:pt x="139" y="97"/>
                    </a:cubicBezTo>
                    <a:cubicBezTo>
                      <a:pt x="142" y="98"/>
                      <a:pt x="145" y="94"/>
                      <a:pt x="145" y="92"/>
                    </a:cubicBezTo>
                    <a:cubicBezTo>
                      <a:pt x="146" y="90"/>
                      <a:pt x="143" y="88"/>
                      <a:pt x="143" y="86"/>
                    </a:cubicBezTo>
                    <a:cubicBezTo>
                      <a:pt x="142" y="85"/>
                      <a:pt x="142" y="83"/>
                      <a:pt x="143" y="82"/>
                    </a:cubicBezTo>
                    <a:cubicBezTo>
                      <a:pt x="143" y="81"/>
                      <a:pt x="145" y="80"/>
                      <a:pt x="146" y="80"/>
                    </a:cubicBezTo>
                    <a:cubicBezTo>
                      <a:pt x="150" y="80"/>
                      <a:pt x="154" y="83"/>
                      <a:pt x="158" y="83"/>
                    </a:cubicBezTo>
                    <a:cubicBezTo>
                      <a:pt x="158" y="83"/>
                      <a:pt x="159" y="81"/>
                      <a:pt x="158" y="80"/>
                    </a:cubicBezTo>
                    <a:cubicBezTo>
                      <a:pt x="158" y="79"/>
                      <a:pt x="156" y="80"/>
                      <a:pt x="155" y="79"/>
                    </a:cubicBezTo>
                    <a:cubicBezTo>
                      <a:pt x="155" y="78"/>
                      <a:pt x="156" y="75"/>
                      <a:pt x="155" y="74"/>
                    </a:cubicBezTo>
                    <a:cubicBezTo>
                      <a:pt x="155" y="73"/>
                      <a:pt x="153" y="73"/>
                      <a:pt x="153" y="72"/>
                    </a:cubicBezTo>
                    <a:cubicBezTo>
                      <a:pt x="153" y="70"/>
                      <a:pt x="155" y="67"/>
                      <a:pt x="156" y="67"/>
                    </a:cubicBezTo>
                    <a:cubicBezTo>
                      <a:pt x="159" y="67"/>
                      <a:pt x="160" y="72"/>
                      <a:pt x="162" y="71"/>
                    </a:cubicBezTo>
                    <a:cubicBezTo>
                      <a:pt x="165" y="70"/>
                      <a:pt x="161" y="66"/>
                      <a:pt x="162" y="64"/>
                    </a:cubicBezTo>
                    <a:cubicBezTo>
                      <a:pt x="163" y="63"/>
                      <a:pt x="167" y="66"/>
                      <a:pt x="167" y="64"/>
                    </a:cubicBezTo>
                    <a:cubicBezTo>
                      <a:pt x="168" y="61"/>
                      <a:pt x="164" y="59"/>
                      <a:pt x="164" y="56"/>
                    </a:cubicBezTo>
                    <a:cubicBezTo>
                      <a:pt x="164" y="54"/>
                      <a:pt x="167" y="51"/>
                      <a:pt x="169" y="51"/>
                    </a:cubicBezTo>
                    <a:cubicBezTo>
                      <a:pt x="172" y="51"/>
                      <a:pt x="171" y="56"/>
                      <a:pt x="173" y="56"/>
                    </a:cubicBezTo>
                    <a:cubicBezTo>
                      <a:pt x="176" y="56"/>
                      <a:pt x="175" y="51"/>
                      <a:pt x="177" y="50"/>
                    </a:cubicBezTo>
                    <a:cubicBezTo>
                      <a:pt x="178" y="48"/>
                      <a:pt x="180" y="48"/>
                      <a:pt x="181" y="47"/>
                    </a:cubicBezTo>
                    <a:cubicBezTo>
                      <a:pt x="183" y="47"/>
                      <a:pt x="184" y="49"/>
                      <a:pt x="185" y="48"/>
                    </a:cubicBezTo>
                    <a:cubicBezTo>
                      <a:pt x="186" y="47"/>
                      <a:pt x="185" y="44"/>
                      <a:pt x="186" y="43"/>
                    </a:cubicBezTo>
                    <a:cubicBezTo>
                      <a:pt x="189" y="43"/>
                      <a:pt x="191" y="46"/>
                      <a:pt x="193" y="48"/>
                    </a:cubicBezTo>
                    <a:cubicBezTo>
                      <a:pt x="196" y="51"/>
                      <a:pt x="200" y="55"/>
                      <a:pt x="201" y="60"/>
                    </a:cubicBezTo>
                    <a:cubicBezTo>
                      <a:pt x="202" y="62"/>
                      <a:pt x="197" y="68"/>
                      <a:pt x="199" y="68"/>
                    </a:cubicBezTo>
                    <a:cubicBezTo>
                      <a:pt x="203" y="69"/>
                      <a:pt x="202" y="62"/>
                      <a:pt x="205" y="61"/>
                    </a:cubicBezTo>
                    <a:cubicBezTo>
                      <a:pt x="207" y="59"/>
                      <a:pt x="209" y="59"/>
                      <a:pt x="212" y="60"/>
                    </a:cubicBezTo>
                    <a:cubicBezTo>
                      <a:pt x="213" y="61"/>
                      <a:pt x="211" y="64"/>
                      <a:pt x="212" y="64"/>
                    </a:cubicBezTo>
                    <a:cubicBezTo>
                      <a:pt x="214" y="64"/>
                      <a:pt x="213" y="60"/>
                      <a:pt x="214" y="60"/>
                    </a:cubicBezTo>
                    <a:cubicBezTo>
                      <a:pt x="216" y="60"/>
                      <a:pt x="218" y="61"/>
                      <a:pt x="219" y="63"/>
                    </a:cubicBezTo>
                    <a:cubicBezTo>
                      <a:pt x="220" y="64"/>
                      <a:pt x="220" y="66"/>
                      <a:pt x="221" y="67"/>
                    </a:cubicBezTo>
                    <a:cubicBezTo>
                      <a:pt x="222" y="69"/>
                      <a:pt x="225" y="71"/>
                      <a:pt x="227" y="70"/>
                    </a:cubicBezTo>
                    <a:cubicBezTo>
                      <a:pt x="229" y="70"/>
                      <a:pt x="223" y="68"/>
                      <a:pt x="223" y="66"/>
                    </a:cubicBezTo>
                    <a:cubicBezTo>
                      <a:pt x="222" y="65"/>
                      <a:pt x="222" y="63"/>
                      <a:pt x="222" y="61"/>
                    </a:cubicBezTo>
                    <a:cubicBezTo>
                      <a:pt x="222" y="60"/>
                      <a:pt x="224" y="59"/>
                      <a:pt x="224" y="58"/>
                    </a:cubicBezTo>
                    <a:cubicBezTo>
                      <a:pt x="222" y="56"/>
                      <a:pt x="218" y="56"/>
                      <a:pt x="218" y="53"/>
                    </a:cubicBezTo>
                    <a:cubicBezTo>
                      <a:pt x="218" y="49"/>
                      <a:pt x="221" y="45"/>
                      <a:pt x="224" y="41"/>
                    </a:cubicBezTo>
                    <a:cubicBezTo>
                      <a:pt x="225" y="39"/>
                      <a:pt x="228" y="39"/>
                      <a:pt x="230" y="37"/>
                    </a:cubicBezTo>
                    <a:cubicBezTo>
                      <a:pt x="232" y="33"/>
                      <a:pt x="231" y="28"/>
                      <a:pt x="234" y="25"/>
                    </a:cubicBezTo>
                    <a:cubicBezTo>
                      <a:pt x="235" y="24"/>
                      <a:pt x="238" y="28"/>
                      <a:pt x="240" y="27"/>
                    </a:cubicBezTo>
                    <a:cubicBezTo>
                      <a:pt x="242" y="26"/>
                      <a:pt x="241" y="21"/>
                      <a:pt x="243" y="20"/>
                    </a:cubicBezTo>
                    <a:cubicBezTo>
                      <a:pt x="247" y="19"/>
                      <a:pt x="252" y="20"/>
                      <a:pt x="257" y="20"/>
                    </a:cubicBezTo>
                    <a:cubicBezTo>
                      <a:pt x="257" y="21"/>
                      <a:pt x="257" y="23"/>
                      <a:pt x="258" y="23"/>
                    </a:cubicBezTo>
                    <a:cubicBezTo>
                      <a:pt x="259" y="23"/>
                      <a:pt x="262" y="22"/>
                      <a:pt x="263" y="20"/>
                    </a:cubicBezTo>
                    <a:cubicBezTo>
                      <a:pt x="263" y="19"/>
                      <a:pt x="263" y="17"/>
                      <a:pt x="262" y="15"/>
                    </a:cubicBezTo>
                    <a:cubicBezTo>
                      <a:pt x="260" y="13"/>
                      <a:pt x="257" y="14"/>
                      <a:pt x="255" y="12"/>
                    </a:cubicBezTo>
                    <a:cubicBezTo>
                      <a:pt x="253" y="11"/>
                      <a:pt x="250" y="9"/>
                      <a:pt x="252" y="7"/>
                    </a:cubicBezTo>
                    <a:cubicBezTo>
                      <a:pt x="253" y="6"/>
                      <a:pt x="256" y="8"/>
                      <a:pt x="258" y="9"/>
                    </a:cubicBezTo>
                    <a:cubicBezTo>
                      <a:pt x="260" y="9"/>
                      <a:pt x="263" y="10"/>
                      <a:pt x="264" y="11"/>
                    </a:cubicBezTo>
                    <a:cubicBezTo>
                      <a:pt x="266" y="12"/>
                      <a:pt x="267" y="14"/>
                      <a:pt x="269" y="15"/>
                    </a:cubicBezTo>
                    <a:cubicBezTo>
                      <a:pt x="271" y="15"/>
                      <a:pt x="273" y="14"/>
                      <a:pt x="275" y="15"/>
                    </a:cubicBezTo>
                    <a:cubicBezTo>
                      <a:pt x="277" y="15"/>
                      <a:pt x="278" y="18"/>
                      <a:pt x="280" y="19"/>
                    </a:cubicBezTo>
                    <a:cubicBezTo>
                      <a:pt x="281" y="19"/>
                      <a:pt x="282" y="16"/>
                      <a:pt x="284" y="17"/>
                    </a:cubicBezTo>
                    <a:cubicBezTo>
                      <a:pt x="287" y="17"/>
                      <a:pt x="289" y="22"/>
                      <a:pt x="292" y="22"/>
                    </a:cubicBezTo>
                    <a:cubicBezTo>
                      <a:pt x="295" y="23"/>
                      <a:pt x="298" y="20"/>
                      <a:pt x="301" y="20"/>
                    </a:cubicBezTo>
                    <a:cubicBezTo>
                      <a:pt x="302" y="21"/>
                      <a:pt x="302" y="26"/>
                      <a:pt x="304" y="25"/>
                    </a:cubicBezTo>
                    <a:cubicBezTo>
                      <a:pt x="306" y="24"/>
                      <a:pt x="305" y="19"/>
                      <a:pt x="307" y="18"/>
                    </a:cubicBezTo>
                    <a:cubicBezTo>
                      <a:pt x="310" y="18"/>
                      <a:pt x="315" y="20"/>
                      <a:pt x="315" y="23"/>
                    </a:cubicBezTo>
                    <a:cubicBezTo>
                      <a:pt x="315" y="28"/>
                      <a:pt x="310" y="31"/>
                      <a:pt x="306" y="35"/>
                    </a:cubicBezTo>
                    <a:cubicBezTo>
                      <a:pt x="304" y="37"/>
                      <a:pt x="299" y="38"/>
                      <a:pt x="298" y="41"/>
                    </a:cubicBezTo>
                    <a:cubicBezTo>
                      <a:pt x="297" y="44"/>
                      <a:pt x="300" y="48"/>
                      <a:pt x="299" y="51"/>
                    </a:cubicBezTo>
                    <a:cubicBezTo>
                      <a:pt x="298" y="56"/>
                      <a:pt x="293" y="60"/>
                      <a:pt x="294" y="65"/>
                    </a:cubicBezTo>
                    <a:cubicBezTo>
                      <a:pt x="296" y="70"/>
                      <a:pt x="303" y="72"/>
                      <a:pt x="307" y="75"/>
                    </a:cubicBezTo>
                    <a:cubicBezTo>
                      <a:pt x="311" y="77"/>
                      <a:pt x="316" y="78"/>
                      <a:pt x="320" y="80"/>
                    </a:cubicBezTo>
                    <a:cubicBezTo>
                      <a:pt x="323" y="82"/>
                      <a:pt x="327" y="84"/>
                      <a:pt x="330" y="87"/>
                    </a:cubicBezTo>
                    <a:cubicBezTo>
                      <a:pt x="332" y="88"/>
                      <a:pt x="334" y="90"/>
                      <a:pt x="336" y="91"/>
                    </a:cubicBezTo>
                    <a:cubicBezTo>
                      <a:pt x="339" y="94"/>
                      <a:pt x="342" y="98"/>
                      <a:pt x="345" y="100"/>
                    </a:cubicBezTo>
                    <a:cubicBezTo>
                      <a:pt x="349" y="101"/>
                      <a:pt x="354" y="104"/>
                      <a:pt x="357" y="101"/>
                    </a:cubicBezTo>
                    <a:cubicBezTo>
                      <a:pt x="362" y="97"/>
                      <a:pt x="363" y="89"/>
                      <a:pt x="366" y="83"/>
                    </a:cubicBezTo>
                    <a:cubicBezTo>
                      <a:pt x="368" y="77"/>
                      <a:pt x="371" y="71"/>
                      <a:pt x="372" y="65"/>
                    </a:cubicBezTo>
                    <a:cubicBezTo>
                      <a:pt x="374" y="57"/>
                      <a:pt x="372" y="49"/>
                      <a:pt x="372" y="40"/>
                    </a:cubicBezTo>
                    <a:cubicBezTo>
                      <a:pt x="372" y="38"/>
                      <a:pt x="372" y="34"/>
                      <a:pt x="373" y="32"/>
                    </a:cubicBezTo>
                    <a:cubicBezTo>
                      <a:pt x="374" y="29"/>
                      <a:pt x="376" y="28"/>
                      <a:pt x="377" y="26"/>
                    </a:cubicBezTo>
                    <a:cubicBezTo>
                      <a:pt x="378" y="24"/>
                      <a:pt x="377" y="22"/>
                      <a:pt x="377" y="20"/>
                    </a:cubicBezTo>
                    <a:cubicBezTo>
                      <a:pt x="379" y="14"/>
                      <a:pt x="381" y="8"/>
                      <a:pt x="383" y="3"/>
                    </a:cubicBezTo>
                    <a:cubicBezTo>
                      <a:pt x="383" y="1"/>
                      <a:pt x="385" y="0"/>
                      <a:pt x="386" y="1"/>
                    </a:cubicBezTo>
                    <a:cubicBezTo>
                      <a:pt x="387" y="1"/>
                      <a:pt x="387" y="3"/>
                      <a:pt x="388" y="5"/>
                    </a:cubicBezTo>
                    <a:cubicBezTo>
                      <a:pt x="389" y="8"/>
                      <a:pt x="389" y="11"/>
                      <a:pt x="390" y="14"/>
                    </a:cubicBezTo>
                    <a:cubicBezTo>
                      <a:pt x="392" y="16"/>
                      <a:pt x="396" y="16"/>
                      <a:pt x="397" y="18"/>
                    </a:cubicBezTo>
                    <a:cubicBezTo>
                      <a:pt x="397" y="20"/>
                      <a:pt x="394" y="23"/>
                      <a:pt x="394" y="25"/>
                    </a:cubicBezTo>
                    <a:cubicBezTo>
                      <a:pt x="395" y="31"/>
                      <a:pt x="398" y="36"/>
                      <a:pt x="400" y="42"/>
                    </a:cubicBezTo>
                    <a:cubicBezTo>
                      <a:pt x="400" y="45"/>
                      <a:pt x="399" y="49"/>
                      <a:pt x="400" y="53"/>
                    </a:cubicBezTo>
                    <a:cubicBezTo>
                      <a:pt x="401" y="54"/>
                      <a:pt x="403" y="53"/>
                      <a:pt x="404" y="53"/>
                    </a:cubicBezTo>
                    <a:cubicBezTo>
                      <a:pt x="406" y="52"/>
                      <a:pt x="407" y="49"/>
                      <a:pt x="409" y="49"/>
                    </a:cubicBezTo>
                    <a:cubicBezTo>
                      <a:pt x="411" y="49"/>
                      <a:pt x="410" y="52"/>
                      <a:pt x="411" y="53"/>
                    </a:cubicBezTo>
                    <a:cubicBezTo>
                      <a:pt x="413" y="56"/>
                      <a:pt x="417" y="58"/>
                      <a:pt x="417" y="62"/>
                    </a:cubicBezTo>
                    <a:cubicBezTo>
                      <a:pt x="419" y="67"/>
                      <a:pt x="416" y="72"/>
                      <a:pt x="417" y="78"/>
                    </a:cubicBezTo>
                    <a:cubicBezTo>
                      <a:pt x="417" y="82"/>
                      <a:pt x="420" y="86"/>
                      <a:pt x="422" y="91"/>
                    </a:cubicBezTo>
                    <a:cubicBezTo>
                      <a:pt x="423" y="93"/>
                      <a:pt x="425" y="96"/>
                      <a:pt x="425" y="98"/>
                    </a:cubicBezTo>
                    <a:cubicBezTo>
                      <a:pt x="425" y="102"/>
                      <a:pt x="422" y="105"/>
                      <a:pt x="422" y="109"/>
                    </a:cubicBezTo>
                    <a:cubicBezTo>
                      <a:pt x="422" y="113"/>
                      <a:pt x="422" y="118"/>
                      <a:pt x="425" y="121"/>
                    </a:cubicBezTo>
                    <a:cubicBezTo>
                      <a:pt x="426" y="124"/>
                      <a:pt x="430" y="126"/>
                      <a:pt x="433" y="127"/>
                    </a:cubicBezTo>
                    <a:cubicBezTo>
                      <a:pt x="434" y="128"/>
                      <a:pt x="437" y="126"/>
                      <a:pt x="438" y="127"/>
                    </a:cubicBezTo>
                    <a:cubicBezTo>
                      <a:pt x="439" y="128"/>
                      <a:pt x="438" y="131"/>
                      <a:pt x="439" y="133"/>
                    </a:cubicBezTo>
                    <a:cubicBezTo>
                      <a:pt x="440" y="134"/>
                      <a:pt x="442" y="134"/>
                      <a:pt x="444" y="135"/>
                    </a:cubicBezTo>
                    <a:cubicBezTo>
                      <a:pt x="446" y="136"/>
                      <a:pt x="449" y="137"/>
                      <a:pt x="451" y="139"/>
                    </a:cubicBezTo>
                    <a:cubicBezTo>
                      <a:pt x="452" y="140"/>
                      <a:pt x="453" y="141"/>
                      <a:pt x="453" y="143"/>
                    </a:cubicBezTo>
                    <a:cubicBezTo>
                      <a:pt x="453" y="144"/>
                      <a:pt x="451" y="145"/>
                      <a:pt x="452" y="146"/>
                    </a:cubicBezTo>
                    <a:cubicBezTo>
                      <a:pt x="453" y="149"/>
                      <a:pt x="457" y="150"/>
                      <a:pt x="458" y="153"/>
                    </a:cubicBezTo>
                    <a:cubicBezTo>
                      <a:pt x="460" y="159"/>
                      <a:pt x="457" y="165"/>
                      <a:pt x="459" y="170"/>
                    </a:cubicBezTo>
                    <a:cubicBezTo>
                      <a:pt x="459" y="172"/>
                      <a:pt x="461" y="174"/>
                      <a:pt x="463" y="173"/>
                    </a:cubicBezTo>
                    <a:cubicBezTo>
                      <a:pt x="465" y="173"/>
                      <a:pt x="465" y="170"/>
                      <a:pt x="466" y="170"/>
                    </a:cubicBezTo>
                    <a:cubicBezTo>
                      <a:pt x="468" y="169"/>
                      <a:pt x="469" y="171"/>
                      <a:pt x="471" y="172"/>
                    </a:cubicBezTo>
                    <a:cubicBezTo>
                      <a:pt x="472" y="172"/>
                      <a:pt x="473" y="171"/>
                      <a:pt x="474" y="172"/>
                    </a:cubicBezTo>
                    <a:cubicBezTo>
                      <a:pt x="475" y="175"/>
                      <a:pt x="475" y="179"/>
                      <a:pt x="474" y="183"/>
                    </a:cubicBezTo>
                    <a:cubicBezTo>
                      <a:pt x="474" y="185"/>
                      <a:pt x="469" y="186"/>
                      <a:pt x="470" y="188"/>
                    </a:cubicBezTo>
                    <a:cubicBezTo>
                      <a:pt x="472" y="190"/>
                      <a:pt x="476" y="188"/>
                      <a:pt x="478" y="190"/>
                    </a:cubicBezTo>
                    <a:cubicBezTo>
                      <a:pt x="482" y="193"/>
                      <a:pt x="483" y="198"/>
                      <a:pt x="486" y="201"/>
                    </a:cubicBezTo>
                    <a:cubicBezTo>
                      <a:pt x="488" y="204"/>
                      <a:pt x="490" y="206"/>
                      <a:pt x="491" y="209"/>
                    </a:cubicBezTo>
                    <a:cubicBezTo>
                      <a:pt x="493" y="211"/>
                      <a:pt x="494" y="213"/>
                      <a:pt x="494" y="215"/>
                    </a:cubicBezTo>
                    <a:cubicBezTo>
                      <a:pt x="495" y="218"/>
                      <a:pt x="493" y="220"/>
                      <a:pt x="494" y="222"/>
                    </a:cubicBezTo>
                    <a:cubicBezTo>
                      <a:pt x="494" y="225"/>
                      <a:pt x="496" y="228"/>
                      <a:pt x="496" y="231"/>
                    </a:cubicBezTo>
                    <a:cubicBezTo>
                      <a:pt x="496" y="236"/>
                      <a:pt x="492" y="241"/>
                      <a:pt x="492" y="246"/>
                    </a:cubicBezTo>
                    <a:cubicBezTo>
                      <a:pt x="492" y="251"/>
                      <a:pt x="494" y="256"/>
                      <a:pt x="494" y="262"/>
                    </a:cubicBezTo>
                    <a:cubicBezTo>
                      <a:pt x="494" y="266"/>
                      <a:pt x="494" y="271"/>
                      <a:pt x="493" y="275"/>
                    </a:cubicBezTo>
                    <a:cubicBezTo>
                      <a:pt x="491" y="280"/>
                      <a:pt x="489" y="284"/>
                      <a:pt x="487" y="289"/>
                    </a:cubicBezTo>
                    <a:cubicBezTo>
                      <a:pt x="484" y="296"/>
                      <a:pt x="483" y="303"/>
                      <a:pt x="480" y="310"/>
                    </a:cubicBezTo>
                    <a:cubicBezTo>
                      <a:pt x="478" y="315"/>
                      <a:pt x="476" y="320"/>
                      <a:pt x="472" y="324"/>
                    </a:cubicBezTo>
                    <a:cubicBezTo>
                      <a:pt x="469" y="328"/>
                      <a:pt x="464" y="329"/>
                      <a:pt x="461" y="332"/>
                    </a:cubicBezTo>
                    <a:cubicBezTo>
                      <a:pt x="458" y="335"/>
                      <a:pt x="457" y="338"/>
                      <a:pt x="456" y="341"/>
                    </a:cubicBezTo>
                    <a:cubicBezTo>
                      <a:pt x="454" y="343"/>
                      <a:pt x="453" y="346"/>
                      <a:pt x="451" y="348"/>
                    </a:cubicBezTo>
                    <a:cubicBezTo>
                      <a:pt x="449" y="351"/>
                      <a:pt x="447" y="354"/>
                      <a:pt x="445" y="358"/>
                    </a:cubicBezTo>
                    <a:cubicBezTo>
                      <a:pt x="444" y="360"/>
                      <a:pt x="444" y="364"/>
                      <a:pt x="443" y="366"/>
                    </a:cubicBezTo>
                    <a:cubicBezTo>
                      <a:pt x="441" y="368"/>
                      <a:pt x="437" y="369"/>
                      <a:pt x="436" y="371"/>
                    </a:cubicBezTo>
                    <a:cubicBezTo>
                      <a:pt x="433" y="376"/>
                      <a:pt x="431" y="381"/>
                      <a:pt x="429" y="387"/>
                    </a:cubicBezTo>
                    <a:cubicBezTo>
                      <a:pt x="427" y="392"/>
                      <a:pt x="428" y="397"/>
                      <a:pt x="426" y="402"/>
                    </a:cubicBezTo>
                    <a:cubicBezTo>
                      <a:pt x="424" y="405"/>
                      <a:pt x="421" y="408"/>
                      <a:pt x="418" y="409"/>
                    </a:cubicBezTo>
                    <a:cubicBezTo>
                      <a:pt x="412" y="411"/>
                      <a:pt x="405" y="409"/>
                      <a:pt x="398" y="411"/>
                    </a:cubicBezTo>
                    <a:cubicBezTo>
                      <a:pt x="394" y="413"/>
                      <a:pt x="391" y="417"/>
                      <a:pt x="388" y="420"/>
                    </a:cubicBezTo>
                    <a:cubicBezTo>
                      <a:pt x="384" y="422"/>
                      <a:pt x="380" y="425"/>
                      <a:pt x="375" y="426"/>
                    </a:cubicBezTo>
                    <a:cubicBezTo>
                      <a:pt x="373" y="426"/>
                      <a:pt x="371" y="424"/>
                      <a:pt x="369" y="423"/>
                    </a:cubicBezTo>
                    <a:cubicBezTo>
                      <a:pt x="368" y="422"/>
                      <a:pt x="368" y="419"/>
                      <a:pt x="366" y="418"/>
                    </a:cubicBezTo>
                    <a:cubicBezTo>
                      <a:pt x="365" y="417"/>
                      <a:pt x="362" y="421"/>
                      <a:pt x="361" y="419"/>
                    </a:cubicBezTo>
                    <a:cubicBezTo>
                      <a:pt x="359" y="417"/>
                      <a:pt x="364" y="415"/>
                      <a:pt x="363" y="413"/>
                    </a:cubicBezTo>
                    <a:cubicBezTo>
                      <a:pt x="362" y="411"/>
                      <a:pt x="360" y="414"/>
                      <a:pt x="358" y="414"/>
                    </a:cubicBezTo>
                    <a:cubicBezTo>
                      <a:pt x="356" y="416"/>
                      <a:pt x="354" y="419"/>
                      <a:pt x="352" y="420"/>
                    </a:cubicBezTo>
                    <a:cubicBezTo>
                      <a:pt x="349" y="423"/>
                      <a:pt x="346" y="425"/>
                      <a:pt x="342" y="427"/>
                    </a:cubicBezTo>
                    <a:cubicBezTo>
                      <a:pt x="340" y="427"/>
                      <a:pt x="339" y="426"/>
                      <a:pt x="338" y="425"/>
                    </a:cubicBezTo>
                    <a:cubicBezTo>
                      <a:pt x="335" y="422"/>
                      <a:pt x="333" y="418"/>
                      <a:pt x="330" y="417"/>
                    </a:cubicBezTo>
                    <a:cubicBezTo>
                      <a:pt x="328" y="415"/>
                      <a:pt x="324" y="418"/>
                      <a:pt x="321" y="417"/>
                    </a:cubicBezTo>
                    <a:cubicBezTo>
                      <a:pt x="319" y="416"/>
                      <a:pt x="316" y="414"/>
                      <a:pt x="314" y="413"/>
                    </a:cubicBezTo>
                    <a:cubicBezTo>
                      <a:pt x="311" y="412"/>
                      <a:pt x="308" y="412"/>
                      <a:pt x="307" y="411"/>
                    </a:cubicBezTo>
                    <a:cubicBezTo>
                      <a:pt x="304" y="408"/>
                      <a:pt x="301" y="404"/>
                      <a:pt x="301" y="400"/>
                    </a:cubicBezTo>
                    <a:cubicBezTo>
                      <a:pt x="300" y="397"/>
                      <a:pt x="304" y="394"/>
                      <a:pt x="304" y="391"/>
                    </a:cubicBezTo>
                    <a:cubicBezTo>
                      <a:pt x="304" y="386"/>
                      <a:pt x="302" y="381"/>
                      <a:pt x="301" y="377"/>
                    </a:cubicBezTo>
                    <a:cubicBezTo>
                      <a:pt x="301" y="375"/>
                      <a:pt x="303" y="371"/>
                      <a:pt x="301" y="370"/>
                    </a:cubicBezTo>
                    <a:cubicBezTo>
                      <a:pt x="299" y="370"/>
                      <a:pt x="297" y="374"/>
                      <a:pt x="294" y="375"/>
                    </a:cubicBezTo>
                    <a:cubicBezTo>
                      <a:pt x="292" y="375"/>
                      <a:pt x="289" y="376"/>
                      <a:pt x="287" y="375"/>
                    </a:cubicBezTo>
                    <a:cubicBezTo>
                      <a:pt x="285" y="374"/>
                      <a:pt x="286" y="372"/>
                      <a:pt x="287" y="371"/>
                    </a:cubicBezTo>
                    <a:cubicBezTo>
                      <a:pt x="288" y="368"/>
                      <a:pt x="293" y="366"/>
                      <a:pt x="293" y="362"/>
                    </a:cubicBezTo>
                    <a:cubicBezTo>
                      <a:pt x="294" y="358"/>
                      <a:pt x="291" y="355"/>
                      <a:pt x="289" y="352"/>
                    </a:cubicBezTo>
                    <a:cubicBezTo>
                      <a:pt x="288" y="351"/>
                      <a:pt x="287" y="352"/>
                      <a:pt x="287" y="353"/>
                    </a:cubicBezTo>
                    <a:cubicBezTo>
                      <a:pt x="285" y="357"/>
                      <a:pt x="285" y="362"/>
                      <a:pt x="283" y="366"/>
                    </a:cubicBezTo>
                    <a:cubicBezTo>
                      <a:pt x="282" y="367"/>
                      <a:pt x="280" y="368"/>
                      <a:pt x="278" y="368"/>
                    </a:cubicBezTo>
                    <a:cubicBezTo>
                      <a:pt x="275" y="369"/>
                      <a:pt x="271" y="371"/>
                      <a:pt x="270" y="368"/>
                    </a:cubicBezTo>
                    <a:cubicBezTo>
                      <a:pt x="269" y="366"/>
                      <a:pt x="273" y="363"/>
                      <a:pt x="275" y="362"/>
                    </a:cubicBezTo>
                    <a:cubicBezTo>
                      <a:pt x="277" y="361"/>
                      <a:pt x="279" y="364"/>
                      <a:pt x="280" y="362"/>
                    </a:cubicBezTo>
                    <a:cubicBezTo>
                      <a:pt x="283" y="357"/>
                      <a:pt x="284" y="350"/>
                      <a:pt x="286" y="344"/>
                    </a:cubicBezTo>
                    <a:cubicBezTo>
                      <a:pt x="288" y="340"/>
                      <a:pt x="289" y="337"/>
                      <a:pt x="290" y="334"/>
                    </a:cubicBezTo>
                    <a:cubicBezTo>
                      <a:pt x="291" y="332"/>
                      <a:pt x="292" y="329"/>
                      <a:pt x="290" y="330"/>
                    </a:cubicBezTo>
                    <a:cubicBezTo>
                      <a:pt x="287" y="332"/>
                      <a:pt x="285" y="336"/>
                      <a:pt x="282" y="339"/>
                    </a:cubicBezTo>
                    <a:cubicBezTo>
                      <a:pt x="279" y="342"/>
                      <a:pt x="275" y="344"/>
                      <a:pt x="272" y="347"/>
                    </a:cubicBezTo>
                    <a:cubicBezTo>
                      <a:pt x="268" y="350"/>
                      <a:pt x="264" y="353"/>
                      <a:pt x="260" y="357"/>
                    </a:cubicBezTo>
                    <a:cubicBezTo>
                      <a:pt x="260" y="358"/>
                      <a:pt x="262" y="359"/>
                      <a:pt x="262" y="360"/>
                    </a:cubicBezTo>
                    <a:cubicBezTo>
                      <a:pt x="262" y="362"/>
                      <a:pt x="263" y="365"/>
                      <a:pt x="261" y="365"/>
                    </a:cubicBezTo>
                    <a:cubicBezTo>
                      <a:pt x="258" y="364"/>
                      <a:pt x="255" y="362"/>
                      <a:pt x="253" y="359"/>
                    </a:cubicBezTo>
                    <a:cubicBezTo>
                      <a:pt x="253" y="357"/>
                      <a:pt x="255" y="355"/>
                      <a:pt x="255" y="354"/>
                    </a:cubicBezTo>
                    <a:cubicBezTo>
                      <a:pt x="254" y="348"/>
                      <a:pt x="253" y="343"/>
                      <a:pt x="250" y="338"/>
                    </a:cubicBezTo>
                    <a:cubicBezTo>
                      <a:pt x="249" y="336"/>
                      <a:pt x="245" y="336"/>
                      <a:pt x="244" y="334"/>
                    </a:cubicBezTo>
                    <a:cubicBezTo>
                      <a:pt x="243" y="332"/>
                      <a:pt x="247" y="329"/>
                      <a:pt x="246" y="327"/>
                    </a:cubicBezTo>
                    <a:cubicBezTo>
                      <a:pt x="243" y="323"/>
                      <a:pt x="238" y="322"/>
                      <a:pt x="234" y="320"/>
                    </a:cubicBezTo>
                    <a:cubicBezTo>
                      <a:pt x="231" y="319"/>
                      <a:pt x="228" y="321"/>
                      <a:pt x="225" y="319"/>
                    </a:cubicBezTo>
                    <a:cubicBezTo>
                      <a:pt x="221" y="318"/>
                      <a:pt x="219" y="312"/>
                      <a:pt x="214" y="311"/>
                    </a:cubicBezTo>
                    <a:cubicBezTo>
                      <a:pt x="204" y="310"/>
                      <a:pt x="193" y="311"/>
                      <a:pt x="183" y="314"/>
                    </a:cubicBezTo>
                    <a:cubicBezTo>
                      <a:pt x="177" y="315"/>
                      <a:pt x="172" y="321"/>
                      <a:pt x="166" y="323"/>
                    </a:cubicBezTo>
                    <a:cubicBezTo>
                      <a:pt x="160" y="324"/>
                      <a:pt x="154" y="320"/>
                      <a:pt x="148" y="321"/>
                    </a:cubicBezTo>
                    <a:cubicBezTo>
                      <a:pt x="141" y="323"/>
                      <a:pt x="135" y="327"/>
                      <a:pt x="128" y="330"/>
                    </a:cubicBezTo>
                    <a:cubicBezTo>
                      <a:pt x="125" y="332"/>
                      <a:pt x="121" y="333"/>
                      <a:pt x="119" y="336"/>
                    </a:cubicBezTo>
                    <a:cubicBezTo>
                      <a:pt x="116" y="338"/>
                      <a:pt x="115" y="344"/>
                      <a:pt x="111" y="346"/>
                    </a:cubicBezTo>
                    <a:cubicBezTo>
                      <a:pt x="106" y="348"/>
                      <a:pt x="99" y="346"/>
                      <a:pt x="93" y="346"/>
                    </a:cubicBezTo>
                    <a:cubicBezTo>
                      <a:pt x="85" y="347"/>
                      <a:pt x="76" y="345"/>
                      <a:pt x="67" y="348"/>
                    </a:cubicBezTo>
                    <a:cubicBezTo>
                      <a:pt x="63" y="349"/>
                      <a:pt x="62" y="354"/>
                      <a:pt x="58" y="356"/>
                    </a:cubicBezTo>
                    <a:cubicBezTo>
                      <a:pt x="56" y="357"/>
                      <a:pt x="54" y="356"/>
                      <a:pt x="52" y="357"/>
                    </a:cubicBezTo>
                    <a:cubicBezTo>
                      <a:pt x="48" y="359"/>
                      <a:pt x="46" y="364"/>
                      <a:pt x="42" y="365"/>
                    </a:cubicBezTo>
                    <a:cubicBezTo>
                      <a:pt x="37" y="367"/>
                      <a:pt x="32" y="365"/>
                      <a:pt x="27" y="366"/>
                    </a:cubicBezTo>
                    <a:cubicBezTo>
                      <a:pt x="22" y="365"/>
                      <a:pt x="19" y="361"/>
                      <a:pt x="15" y="358"/>
                    </a:cubicBezTo>
                    <a:cubicBezTo>
                      <a:pt x="12" y="355"/>
                      <a:pt x="8" y="353"/>
                      <a:pt x="7" y="349"/>
                    </a:cubicBezTo>
                    <a:cubicBezTo>
                      <a:pt x="5" y="347"/>
                      <a:pt x="6" y="344"/>
                      <a:pt x="7" y="342"/>
                    </a:cubicBezTo>
                    <a:cubicBezTo>
                      <a:pt x="9" y="340"/>
                      <a:pt x="13" y="344"/>
                      <a:pt x="14" y="342"/>
                    </a:cubicBezTo>
                    <a:cubicBezTo>
                      <a:pt x="17" y="338"/>
                      <a:pt x="17" y="333"/>
                      <a:pt x="18" y="328"/>
                    </a:cubicBezTo>
                    <a:cubicBezTo>
                      <a:pt x="19" y="324"/>
                      <a:pt x="20" y="320"/>
                      <a:pt x="19" y="316"/>
                    </a:cubicBezTo>
                    <a:cubicBezTo>
                      <a:pt x="19" y="312"/>
                      <a:pt x="16" y="308"/>
                      <a:pt x="15" y="304"/>
                    </a:cubicBezTo>
                    <a:cubicBezTo>
                      <a:pt x="14" y="296"/>
                      <a:pt x="17" y="288"/>
                      <a:pt x="16" y="280"/>
                    </a:cubicBezTo>
                    <a:cubicBezTo>
                      <a:pt x="15" y="272"/>
                      <a:pt x="11" y="265"/>
                      <a:pt x="10" y="257"/>
                    </a:cubicBezTo>
                    <a:cubicBezTo>
                      <a:pt x="9" y="254"/>
                      <a:pt x="10" y="250"/>
                      <a:pt x="9" y="247"/>
                    </a:cubicBezTo>
                    <a:cubicBezTo>
                      <a:pt x="7" y="241"/>
                      <a:pt x="2" y="237"/>
                      <a:pt x="0" y="231"/>
                    </a:cubicBezTo>
                    <a:cubicBezTo>
                      <a:pt x="0" y="229"/>
                      <a:pt x="2" y="227"/>
                      <a:pt x="3" y="228"/>
                    </a:cubicBezTo>
                    <a:cubicBezTo>
                      <a:pt x="5" y="228"/>
                      <a:pt x="4" y="233"/>
                      <a:pt x="6" y="234"/>
                    </a:cubicBezTo>
                    <a:cubicBezTo>
                      <a:pt x="7" y="233"/>
                      <a:pt x="6" y="228"/>
                      <a:pt x="8" y="228"/>
                    </a:cubicBezTo>
                    <a:cubicBezTo>
                      <a:pt x="10" y="229"/>
                      <a:pt x="10" y="234"/>
                      <a:pt x="12" y="233"/>
                    </a:cubicBezTo>
                    <a:cubicBezTo>
                      <a:pt x="14" y="230"/>
                      <a:pt x="14" y="226"/>
                      <a:pt x="13" y="222"/>
                    </a:cubicBezTo>
                    <a:cubicBezTo>
                      <a:pt x="12" y="216"/>
                      <a:pt x="6" y="212"/>
                      <a:pt x="5" y="206"/>
                    </a:cubicBezTo>
                    <a:cubicBezTo>
                      <a:pt x="4" y="202"/>
                      <a:pt x="6" y="197"/>
                      <a:pt x="7" y="193"/>
                    </a:cubicBezTo>
                    <a:cubicBezTo>
                      <a:pt x="7" y="189"/>
                      <a:pt x="10" y="185"/>
                      <a:pt x="11" y="180"/>
                    </a:cubicBezTo>
                    <a:cubicBezTo>
                      <a:pt x="11" y="177"/>
                      <a:pt x="11" y="173"/>
                      <a:pt x="11" y="169"/>
                    </a:cubicBezTo>
                    <a:cubicBezTo>
                      <a:pt x="12" y="166"/>
                      <a:pt x="13" y="164"/>
                      <a:pt x="15" y="162"/>
                    </a:cubicBezTo>
                    <a:cubicBezTo>
                      <a:pt x="16" y="161"/>
                      <a:pt x="18" y="162"/>
                      <a:pt x="18" y="162"/>
                    </a:cubicBezTo>
                    <a:cubicBezTo>
                      <a:pt x="18" y="165"/>
                      <a:pt x="15" y="169"/>
                      <a:pt x="17" y="171"/>
                    </a:cubicBezTo>
                    <a:cubicBezTo>
                      <a:pt x="17" y="172"/>
                      <a:pt x="19" y="168"/>
                      <a:pt x="20" y="167"/>
                    </a:cubicBezTo>
                    <a:cubicBezTo>
                      <a:pt x="22" y="165"/>
                      <a:pt x="24" y="163"/>
                      <a:pt x="26" y="162"/>
                    </a:cubicBezTo>
                    <a:cubicBezTo>
                      <a:pt x="30" y="159"/>
                      <a:pt x="34" y="157"/>
                      <a:pt x="37" y="155"/>
                    </a:cubicBezTo>
                    <a:cubicBezTo>
                      <a:pt x="40" y="153"/>
                      <a:pt x="43" y="150"/>
                      <a:pt x="46" y="148"/>
                    </a:cubicBezTo>
                    <a:cubicBezTo>
                      <a:pt x="47" y="147"/>
                      <a:pt x="48" y="146"/>
                      <a:pt x="50" y="145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57" name="Freeform 3094"/>
              <p:cNvSpPr>
                <a:spLocks noChangeAspect="1"/>
              </p:cNvSpPr>
              <p:nvPr/>
            </p:nvSpPr>
            <p:spPr bwMode="auto">
              <a:xfrm>
                <a:off x="6650929" y="3093185"/>
                <a:ext cx="19015" cy="7476"/>
              </a:xfrm>
              <a:custGeom>
                <a:avLst/>
                <a:gdLst>
                  <a:gd name="T0" fmla="*/ 1 w 14"/>
                  <a:gd name="T1" fmla="*/ 0 h 8"/>
                  <a:gd name="T2" fmla="*/ 5 w 14"/>
                  <a:gd name="T3" fmla="*/ 5 h 8"/>
                  <a:gd name="T4" fmla="*/ 13 w 14"/>
                  <a:gd name="T5" fmla="*/ 1 h 8"/>
                  <a:gd name="T6" fmla="*/ 16 w 14"/>
                  <a:gd name="T7" fmla="*/ 5 h 8"/>
                  <a:gd name="T8" fmla="*/ 7 w 14"/>
                  <a:gd name="T9" fmla="*/ 9 h 8"/>
                  <a:gd name="T10" fmla="*/ 1 w 14"/>
                  <a:gd name="T11" fmla="*/ 7 h 8"/>
                  <a:gd name="T12" fmla="*/ 0 w 14"/>
                  <a:gd name="T13" fmla="*/ 1 h 8"/>
                  <a:gd name="T14" fmla="*/ 1 w 14"/>
                  <a:gd name="T15" fmla="*/ 0 h 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4"/>
                  <a:gd name="T25" fmla="*/ 0 h 8"/>
                  <a:gd name="T26" fmla="*/ 14 w 14"/>
                  <a:gd name="T27" fmla="*/ 8 h 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4" h="8">
                    <a:moveTo>
                      <a:pt x="1" y="0"/>
                    </a:moveTo>
                    <a:cubicBezTo>
                      <a:pt x="2" y="1"/>
                      <a:pt x="2" y="4"/>
                      <a:pt x="4" y="4"/>
                    </a:cubicBezTo>
                    <a:cubicBezTo>
                      <a:pt x="6" y="4"/>
                      <a:pt x="8" y="1"/>
                      <a:pt x="11" y="1"/>
                    </a:cubicBezTo>
                    <a:cubicBezTo>
                      <a:pt x="12" y="1"/>
                      <a:pt x="14" y="3"/>
                      <a:pt x="13" y="4"/>
                    </a:cubicBezTo>
                    <a:cubicBezTo>
                      <a:pt x="11" y="6"/>
                      <a:pt x="9" y="8"/>
                      <a:pt x="6" y="8"/>
                    </a:cubicBezTo>
                    <a:cubicBezTo>
                      <a:pt x="4" y="8"/>
                      <a:pt x="2" y="7"/>
                      <a:pt x="1" y="6"/>
                    </a:cubicBezTo>
                    <a:cubicBezTo>
                      <a:pt x="0" y="4"/>
                      <a:pt x="0" y="3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58" name="Freeform 3095"/>
              <p:cNvSpPr>
                <a:spLocks noChangeAspect="1"/>
              </p:cNvSpPr>
              <p:nvPr/>
            </p:nvSpPr>
            <p:spPr bwMode="auto">
              <a:xfrm>
                <a:off x="6644217" y="3094846"/>
                <a:ext cx="6712" cy="5815"/>
              </a:xfrm>
              <a:custGeom>
                <a:avLst/>
                <a:gdLst>
                  <a:gd name="T0" fmla="*/ 4 w 5"/>
                  <a:gd name="T1" fmla="*/ 0 h 6"/>
                  <a:gd name="T2" fmla="*/ 0 w 5"/>
                  <a:gd name="T3" fmla="*/ 6 h 6"/>
                  <a:gd name="T4" fmla="*/ 6 w 5"/>
                  <a:gd name="T5" fmla="*/ 6 h 6"/>
                  <a:gd name="T6" fmla="*/ 4 w 5"/>
                  <a:gd name="T7" fmla="*/ 0 h 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"/>
                  <a:gd name="T13" fmla="*/ 0 h 6"/>
                  <a:gd name="T14" fmla="*/ 5 w 5"/>
                  <a:gd name="T15" fmla="*/ 6 h 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" h="6">
                    <a:moveTo>
                      <a:pt x="3" y="0"/>
                    </a:moveTo>
                    <a:cubicBezTo>
                      <a:pt x="3" y="0"/>
                      <a:pt x="2" y="4"/>
                      <a:pt x="0" y="5"/>
                    </a:cubicBezTo>
                    <a:cubicBezTo>
                      <a:pt x="1" y="6"/>
                      <a:pt x="5" y="6"/>
                      <a:pt x="5" y="5"/>
                    </a:cubicBezTo>
                    <a:cubicBezTo>
                      <a:pt x="5" y="4"/>
                      <a:pt x="4" y="0"/>
                      <a:pt x="3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59" name="Freeform 3096"/>
              <p:cNvSpPr>
                <a:spLocks noChangeAspect="1"/>
              </p:cNvSpPr>
              <p:nvPr/>
            </p:nvSpPr>
            <p:spPr bwMode="auto">
              <a:xfrm>
                <a:off x="6743765" y="3129735"/>
                <a:ext cx="13422" cy="8307"/>
              </a:xfrm>
              <a:custGeom>
                <a:avLst/>
                <a:gdLst>
                  <a:gd name="T0" fmla="*/ 2 w 10"/>
                  <a:gd name="T1" fmla="*/ 1 h 8"/>
                  <a:gd name="T2" fmla="*/ 2 w 10"/>
                  <a:gd name="T3" fmla="*/ 7 h 8"/>
                  <a:gd name="T4" fmla="*/ 11 w 10"/>
                  <a:gd name="T5" fmla="*/ 9 h 8"/>
                  <a:gd name="T6" fmla="*/ 10 w 10"/>
                  <a:gd name="T7" fmla="*/ 5 h 8"/>
                  <a:gd name="T8" fmla="*/ 11 w 10"/>
                  <a:gd name="T9" fmla="*/ 1 h 8"/>
                  <a:gd name="T10" fmla="*/ 7 w 10"/>
                  <a:gd name="T11" fmla="*/ 3 h 8"/>
                  <a:gd name="T12" fmla="*/ 5 w 10"/>
                  <a:gd name="T13" fmla="*/ 0 h 8"/>
                  <a:gd name="T14" fmla="*/ 5 w 10"/>
                  <a:gd name="T15" fmla="*/ 3 h 8"/>
                  <a:gd name="T16" fmla="*/ 2 w 10"/>
                  <a:gd name="T17" fmla="*/ 1 h 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0"/>
                  <a:gd name="T28" fmla="*/ 0 h 8"/>
                  <a:gd name="T29" fmla="*/ 10 w 10"/>
                  <a:gd name="T30" fmla="*/ 8 h 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0" h="8">
                    <a:moveTo>
                      <a:pt x="2" y="1"/>
                    </a:moveTo>
                    <a:cubicBezTo>
                      <a:pt x="1" y="2"/>
                      <a:pt x="0" y="5"/>
                      <a:pt x="2" y="6"/>
                    </a:cubicBezTo>
                    <a:cubicBezTo>
                      <a:pt x="3" y="8"/>
                      <a:pt x="6" y="8"/>
                      <a:pt x="9" y="7"/>
                    </a:cubicBezTo>
                    <a:cubicBezTo>
                      <a:pt x="10" y="7"/>
                      <a:pt x="8" y="5"/>
                      <a:pt x="8" y="4"/>
                    </a:cubicBezTo>
                    <a:cubicBezTo>
                      <a:pt x="8" y="3"/>
                      <a:pt x="10" y="2"/>
                      <a:pt x="9" y="1"/>
                    </a:cubicBezTo>
                    <a:cubicBezTo>
                      <a:pt x="8" y="0"/>
                      <a:pt x="7" y="2"/>
                      <a:pt x="6" y="2"/>
                    </a:cubicBezTo>
                    <a:cubicBezTo>
                      <a:pt x="5" y="2"/>
                      <a:pt x="5" y="0"/>
                      <a:pt x="4" y="0"/>
                    </a:cubicBezTo>
                    <a:cubicBezTo>
                      <a:pt x="4" y="0"/>
                      <a:pt x="4" y="2"/>
                      <a:pt x="4" y="2"/>
                    </a:cubicBezTo>
                    <a:cubicBezTo>
                      <a:pt x="3" y="2"/>
                      <a:pt x="2" y="0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60" name="Freeform 3097"/>
              <p:cNvSpPr>
                <a:spLocks noChangeAspect="1"/>
              </p:cNvSpPr>
              <p:nvPr/>
            </p:nvSpPr>
            <p:spPr bwMode="auto">
              <a:xfrm>
                <a:off x="6754948" y="3153825"/>
                <a:ext cx="5593" cy="5815"/>
              </a:xfrm>
              <a:custGeom>
                <a:avLst/>
                <a:gdLst>
                  <a:gd name="T0" fmla="*/ 4 w 4"/>
                  <a:gd name="T1" fmla="*/ 1 h 6"/>
                  <a:gd name="T2" fmla="*/ 4 w 4"/>
                  <a:gd name="T3" fmla="*/ 7 h 6"/>
                  <a:gd name="T4" fmla="*/ 0 w 4"/>
                  <a:gd name="T5" fmla="*/ 6 h 6"/>
                  <a:gd name="T6" fmla="*/ 0 w 4"/>
                  <a:gd name="T7" fmla="*/ 2 h 6"/>
                  <a:gd name="T8" fmla="*/ 4 w 4"/>
                  <a:gd name="T9" fmla="*/ 1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6"/>
                  <a:gd name="T17" fmla="*/ 4 w 4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6">
                    <a:moveTo>
                      <a:pt x="3" y="1"/>
                    </a:moveTo>
                    <a:cubicBezTo>
                      <a:pt x="3" y="2"/>
                      <a:pt x="4" y="4"/>
                      <a:pt x="3" y="6"/>
                    </a:cubicBezTo>
                    <a:cubicBezTo>
                      <a:pt x="3" y="6"/>
                      <a:pt x="1" y="6"/>
                      <a:pt x="0" y="5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1" y="1"/>
                      <a:pt x="2" y="0"/>
                      <a:pt x="3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61" name="Freeform 3098"/>
              <p:cNvSpPr>
                <a:spLocks noChangeAspect="1"/>
              </p:cNvSpPr>
              <p:nvPr/>
            </p:nvSpPr>
            <p:spPr bwMode="auto">
              <a:xfrm>
                <a:off x="7003253" y="3294207"/>
                <a:ext cx="7830" cy="11630"/>
              </a:xfrm>
              <a:custGeom>
                <a:avLst/>
                <a:gdLst>
                  <a:gd name="T0" fmla="*/ 6 w 6"/>
                  <a:gd name="T1" fmla="*/ 0 h 12"/>
                  <a:gd name="T2" fmla="*/ 7 w 6"/>
                  <a:gd name="T3" fmla="*/ 2 h 12"/>
                  <a:gd name="T4" fmla="*/ 2 w 6"/>
                  <a:gd name="T5" fmla="*/ 14 h 12"/>
                  <a:gd name="T6" fmla="*/ 0 w 6"/>
                  <a:gd name="T7" fmla="*/ 12 h 12"/>
                  <a:gd name="T8" fmla="*/ 1 w 6"/>
                  <a:gd name="T9" fmla="*/ 5 h 12"/>
                  <a:gd name="T10" fmla="*/ 6 w 6"/>
                  <a:gd name="T11" fmla="*/ 0 h 1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12"/>
                  <a:gd name="T20" fmla="*/ 6 w 6"/>
                  <a:gd name="T21" fmla="*/ 12 h 1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12">
                    <a:moveTo>
                      <a:pt x="5" y="0"/>
                    </a:moveTo>
                    <a:cubicBezTo>
                      <a:pt x="5" y="0"/>
                      <a:pt x="6" y="1"/>
                      <a:pt x="6" y="2"/>
                    </a:cubicBezTo>
                    <a:cubicBezTo>
                      <a:pt x="5" y="5"/>
                      <a:pt x="4" y="9"/>
                      <a:pt x="2" y="12"/>
                    </a:cubicBezTo>
                    <a:cubicBezTo>
                      <a:pt x="1" y="12"/>
                      <a:pt x="0" y="11"/>
                      <a:pt x="0" y="10"/>
                    </a:cubicBezTo>
                    <a:cubicBezTo>
                      <a:pt x="0" y="8"/>
                      <a:pt x="0" y="6"/>
                      <a:pt x="1" y="4"/>
                    </a:cubicBezTo>
                    <a:cubicBezTo>
                      <a:pt x="2" y="2"/>
                      <a:pt x="3" y="1"/>
                      <a:pt x="5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62" name="Freeform 3099"/>
              <p:cNvSpPr>
                <a:spLocks noChangeAspect="1"/>
              </p:cNvSpPr>
              <p:nvPr/>
            </p:nvSpPr>
            <p:spPr bwMode="auto">
              <a:xfrm>
                <a:off x="6862324" y="3524302"/>
                <a:ext cx="6712" cy="9968"/>
              </a:xfrm>
              <a:custGeom>
                <a:avLst/>
                <a:gdLst>
                  <a:gd name="T0" fmla="*/ 0 w 5"/>
                  <a:gd name="T1" fmla="*/ 2 h 10"/>
                  <a:gd name="T2" fmla="*/ 4 w 5"/>
                  <a:gd name="T3" fmla="*/ 1 h 10"/>
                  <a:gd name="T4" fmla="*/ 6 w 5"/>
                  <a:gd name="T5" fmla="*/ 7 h 10"/>
                  <a:gd name="T6" fmla="*/ 5 w 5"/>
                  <a:gd name="T7" fmla="*/ 12 h 10"/>
                  <a:gd name="T8" fmla="*/ 1 w 5"/>
                  <a:gd name="T9" fmla="*/ 8 h 10"/>
                  <a:gd name="T10" fmla="*/ 0 w 5"/>
                  <a:gd name="T11" fmla="*/ 2 h 1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10"/>
                  <a:gd name="T20" fmla="*/ 5 w 5"/>
                  <a:gd name="T21" fmla="*/ 10 h 1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10">
                    <a:moveTo>
                      <a:pt x="0" y="2"/>
                    </a:moveTo>
                    <a:cubicBezTo>
                      <a:pt x="0" y="1"/>
                      <a:pt x="2" y="0"/>
                      <a:pt x="3" y="1"/>
                    </a:cubicBezTo>
                    <a:cubicBezTo>
                      <a:pt x="4" y="2"/>
                      <a:pt x="5" y="4"/>
                      <a:pt x="5" y="6"/>
                    </a:cubicBezTo>
                    <a:cubicBezTo>
                      <a:pt x="5" y="7"/>
                      <a:pt x="5" y="10"/>
                      <a:pt x="4" y="10"/>
                    </a:cubicBezTo>
                    <a:cubicBezTo>
                      <a:pt x="2" y="10"/>
                      <a:pt x="2" y="8"/>
                      <a:pt x="1" y="7"/>
                    </a:cubicBezTo>
                    <a:cubicBezTo>
                      <a:pt x="0" y="5"/>
                      <a:pt x="0" y="4"/>
                      <a:pt x="0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63" name="Freeform 3100"/>
              <p:cNvSpPr>
                <a:spLocks noChangeAspect="1"/>
              </p:cNvSpPr>
              <p:nvPr/>
            </p:nvSpPr>
            <p:spPr bwMode="auto">
              <a:xfrm>
                <a:off x="6805282" y="3539253"/>
                <a:ext cx="57043" cy="49840"/>
              </a:xfrm>
              <a:custGeom>
                <a:avLst/>
                <a:gdLst>
                  <a:gd name="T0" fmla="*/ 19 w 42"/>
                  <a:gd name="T1" fmla="*/ 10 h 50"/>
                  <a:gd name="T2" fmla="*/ 29 w 42"/>
                  <a:gd name="T3" fmla="*/ 10 h 50"/>
                  <a:gd name="T4" fmla="*/ 40 w 42"/>
                  <a:gd name="T5" fmla="*/ 7 h 50"/>
                  <a:gd name="T6" fmla="*/ 49 w 42"/>
                  <a:gd name="T7" fmla="*/ 5 h 50"/>
                  <a:gd name="T8" fmla="*/ 51 w 42"/>
                  <a:gd name="T9" fmla="*/ 10 h 50"/>
                  <a:gd name="T10" fmla="*/ 47 w 42"/>
                  <a:gd name="T11" fmla="*/ 28 h 50"/>
                  <a:gd name="T12" fmla="*/ 44 w 42"/>
                  <a:gd name="T13" fmla="*/ 32 h 50"/>
                  <a:gd name="T14" fmla="*/ 39 w 42"/>
                  <a:gd name="T15" fmla="*/ 43 h 50"/>
                  <a:gd name="T16" fmla="*/ 38 w 42"/>
                  <a:gd name="T17" fmla="*/ 52 h 50"/>
                  <a:gd name="T18" fmla="*/ 35 w 42"/>
                  <a:gd name="T19" fmla="*/ 52 h 50"/>
                  <a:gd name="T20" fmla="*/ 34 w 42"/>
                  <a:gd name="T21" fmla="*/ 46 h 50"/>
                  <a:gd name="T22" fmla="*/ 30 w 42"/>
                  <a:gd name="T23" fmla="*/ 48 h 50"/>
                  <a:gd name="T24" fmla="*/ 28 w 42"/>
                  <a:gd name="T25" fmla="*/ 50 h 50"/>
                  <a:gd name="T26" fmla="*/ 23 w 42"/>
                  <a:gd name="T27" fmla="*/ 53 h 50"/>
                  <a:gd name="T28" fmla="*/ 18 w 42"/>
                  <a:gd name="T29" fmla="*/ 59 h 50"/>
                  <a:gd name="T30" fmla="*/ 16 w 42"/>
                  <a:gd name="T31" fmla="*/ 56 h 50"/>
                  <a:gd name="T32" fmla="*/ 10 w 42"/>
                  <a:gd name="T33" fmla="*/ 58 h 50"/>
                  <a:gd name="T34" fmla="*/ 6 w 42"/>
                  <a:gd name="T35" fmla="*/ 52 h 50"/>
                  <a:gd name="T36" fmla="*/ 2 w 42"/>
                  <a:gd name="T37" fmla="*/ 43 h 50"/>
                  <a:gd name="T38" fmla="*/ 2 w 42"/>
                  <a:gd name="T39" fmla="*/ 34 h 50"/>
                  <a:gd name="T40" fmla="*/ 6 w 42"/>
                  <a:gd name="T41" fmla="*/ 34 h 50"/>
                  <a:gd name="T42" fmla="*/ 0 w 42"/>
                  <a:gd name="T43" fmla="*/ 18 h 50"/>
                  <a:gd name="T44" fmla="*/ 0 w 42"/>
                  <a:gd name="T45" fmla="*/ 7 h 50"/>
                  <a:gd name="T46" fmla="*/ 4 w 42"/>
                  <a:gd name="T47" fmla="*/ 1 h 50"/>
                  <a:gd name="T48" fmla="*/ 10 w 42"/>
                  <a:gd name="T49" fmla="*/ 5 h 50"/>
                  <a:gd name="T50" fmla="*/ 19 w 42"/>
                  <a:gd name="T51" fmla="*/ 10 h 5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42"/>
                  <a:gd name="T79" fmla="*/ 0 h 50"/>
                  <a:gd name="T80" fmla="*/ 42 w 42"/>
                  <a:gd name="T81" fmla="*/ 50 h 50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42" h="50">
                    <a:moveTo>
                      <a:pt x="16" y="8"/>
                    </a:moveTo>
                    <a:cubicBezTo>
                      <a:pt x="19" y="9"/>
                      <a:pt x="22" y="8"/>
                      <a:pt x="24" y="8"/>
                    </a:cubicBezTo>
                    <a:cubicBezTo>
                      <a:pt x="27" y="7"/>
                      <a:pt x="30" y="6"/>
                      <a:pt x="33" y="6"/>
                    </a:cubicBezTo>
                    <a:cubicBezTo>
                      <a:pt x="35" y="5"/>
                      <a:pt x="37" y="4"/>
                      <a:pt x="40" y="4"/>
                    </a:cubicBezTo>
                    <a:cubicBezTo>
                      <a:pt x="41" y="4"/>
                      <a:pt x="42" y="6"/>
                      <a:pt x="42" y="8"/>
                    </a:cubicBezTo>
                    <a:cubicBezTo>
                      <a:pt x="42" y="13"/>
                      <a:pt x="41" y="18"/>
                      <a:pt x="39" y="23"/>
                    </a:cubicBezTo>
                    <a:cubicBezTo>
                      <a:pt x="39" y="25"/>
                      <a:pt x="37" y="26"/>
                      <a:pt x="36" y="27"/>
                    </a:cubicBezTo>
                    <a:cubicBezTo>
                      <a:pt x="34" y="30"/>
                      <a:pt x="32" y="33"/>
                      <a:pt x="32" y="36"/>
                    </a:cubicBezTo>
                    <a:cubicBezTo>
                      <a:pt x="31" y="38"/>
                      <a:pt x="32" y="41"/>
                      <a:pt x="31" y="43"/>
                    </a:cubicBezTo>
                    <a:cubicBezTo>
                      <a:pt x="31" y="44"/>
                      <a:pt x="29" y="43"/>
                      <a:pt x="29" y="43"/>
                    </a:cubicBezTo>
                    <a:cubicBezTo>
                      <a:pt x="28" y="41"/>
                      <a:pt x="29" y="39"/>
                      <a:pt x="28" y="38"/>
                    </a:cubicBezTo>
                    <a:cubicBezTo>
                      <a:pt x="27" y="37"/>
                      <a:pt x="26" y="39"/>
                      <a:pt x="25" y="40"/>
                    </a:cubicBezTo>
                    <a:cubicBezTo>
                      <a:pt x="24" y="41"/>
                      <a:pt x="23" y="41"/>
                      <a:pt x="23" y="42"/>
                    </a:cubicBezTo>
                    <a:cubicBezTo>
                      <a:pt x="21" y="43"/>
                      <a:pt x="20" y="44"/>
                      <a:pt x="19" y="44"/>
                    </a:cubicBezTo>
                    <a:cubicBezTo>
                      <a:pt x="18" y="46"/>
                      <a:pt x="17" y="48"/>
                      <a:pt x="15" y="49"/>
                    </a:cubicBezTo>
                    <a:cubicBezTo>
                      <a:pt x="14" y="50"/>
                      <a:pt x="14" y="47"/>
                      <a:pt x="13" y="47"/>
                    </a:cubicBezTo>
                    <a:cubicBezTo>
                      <a:pt x="11" y="47"/>
                      <a:pt x="9" y="49"/>
                      <a:pt x="8" y="48"/>
                    </a:cubicBezTo>
                    <a:cubicBezTo>
                      <a:pt x="6" y="47"/>
                      <a:pt x="5" y="45"/>
                      <a:pt x="5" y="43"/>
                    </a:cubicBezTo>
                    <a:cubicBezTo>
                      <a:pt x="4" y="41"/>
                      <a:pt x="3" y="38"/>
                      <a:pt x="2" y="36"/>
                    </a:cubicBezTo>
                    <a:cubicBezTo>
                      <a:pt x="2" y="33"/>
                      <a:pt x="1" y="31"/>
                      <a:pt x="2" y="28"/>
                    </a:cubicBezTo>
                    <a:cubicBezTo>
                      <a:pt x="2" y="27"/>
                      <a:pt x="5" y="29"/>
                      <a:pt x="5" y="28"/>
                    </a:cubicBezTo>
                    <a:cubicBezTo>
                      <a:pt x="4" y="24"/>
                      <a:pt x="1" y="20"/>
                      <a:pt x="0" y="15"/>
                    </a:cubicBezTo>
                    <a:cubicBezTo>
                      <a:pt x="0" y="12"/>
                      <a:pt x="0" y="9"/>
                      <a:pt x="0" y="6"/>
                    </a:cubicBezTo>
                    <a:cubicBezTo>
                      <a:pt x="1" y="4"/>
                      <a:pt x="1" y="1"/>
                      <a:pt x="3" y="1"/>
                    </a:cubicBezTo>
                    <a:cubicBezTo>
                      <a:pt x="5" y="0"/>
                      <a:pt x="6" y="3"/>
                      <a:pt x="8" y="4"/>
                    </a:cubicBezTo>
                    <a:cubicBezTo>
                      <a:pt x="11" y="5"/>
                      <a:pt x="13" y="7"/>
                      <a:pt x="16" y="8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64" name="Freeform 3101"/>
              <p:cNvSpPr>
                <a:spLocks noChangeAspect="1"/>
              </p:cNvSpPr>
              <p:nvPr/>
            </p:nvSpPr>
            <p:spPr bwMode="auto">
              <a:xfrm>
                <a:off x="6694550" y="3458679"/>
                <a:ext cx="25725" cy="9138"/>
              </a:xfrm>
              <a:custGeom>
                <a:avLst/>
                <a:gdLst>
                  <a:gd name="T0" fmla="*/ 1 w 19"/>
                  <a:gd name="T1" fmla="*/ 2 h 9"/>
                  <a:gd name="T2" fmla="*/ 0 w 19"/>
                  <a:gd name="T3" fmla="*/ 6 h 9"/>
                  <a:gd name="T4" fmla="*/ 6 w 19"/>
                  <a:gd name="T5" fmla="*/ 10 h 9"/>
                  <a:gd name="T6" fmla="*/ 10 w 19"/>
                  <a:gd name="T7" fmla="*/ 9 h 9"/>
                  <a:gd name="T8" fmla="*/ 13 w 19"/>
                  <a:gd name="T9" fmla="*/ 10 h 9"/>
                  <a:gd name="T10" fmla="*/ 18 w 19"/>
                  <a:gd name="T11" fmla="*/ 5 h 9"/>
                  <a:gd name="T12" fmla="*/ 22 w 19"/>
                  <a:gd name="T13" fmla="*/ 6 h 9"/>
                  <a:gd name="T14" fmla="*/ 23 w 19"/>
                  <a:gd name="T15" fmla="*/ 4 h 9"/>
                  <a:gd name="T16" fmla="*/ 21 w 19"/>
                  <a:gd name="T17" fmla="*/ 4 h 9"/>
                  <a:gd name="T18" fmla="*/ 17 w 19"/>
                  <a:gd name="T19" fmla="*/ 4 h 9"/>
                  <a:gd name="T20" fmla="*/ 16 w 19"/>
                  <a:gd name="T21" fmla="*/ 2 h 9"/>
                  <a:gd name="T22" fmla="*/ 16 w 19"/>
                  <a:gd name="T23" fmla="*/ 0 h 9"/>
                  <a:gd name="T24" fmla="*/ 1 w 19"/>
                  <a:gd name="T25" fmla="*/ 2 h 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9"/>
                  <a:gd name="T40" fmla="*/ 0 h 9"/>
                  <a:gd name="T41" fmla="*/ 19 w 19"/>
                  <a:gd name="T42" fmla="*/ 9 h 9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9" h="9">
                    <a:moveTo>
                      <a:pt x="1" y="2"/>
                    </a:moveTo>
                    <a:cubicBezTo>
                      <a:pt x="0" y="3"/>
                      <a:pt x="0" y="4"/>
                      <a:pt x="0" y="5"/>
                    </a:cubicBezTo>
                    <a:cubicBezTo>
                      <a:pt x="1" y="7"/>
                      <a:pt x="3" y="8"/>
                      <a:pt x="5" y="8"/>
                    </a:cubicBezTo>
                    <a:cubicBezTo>
                      <a:pt x="6" y="8"/>
                      <a:pt x="7" y="7"/>
                      <a:pt x="8" y="7"/>
                    </a:cubicBezTo>
                    <a:cubicBezTo>
                      <a:pt x="10" y="7"/>
                      <a:pt x="10" y="9"/>
                      <a:pt x="11" y="8"/>
                    </a:cubicBezTo>
                    <a:cubicBezTo>
                      <a:pt x="13" y="8"/>
                      <a:pt x="14" y="5"/>
                      <a:pt x="15" y="4"/>
                    </a:cubicBezTo>
                    <a:cubicBezTo>
                      <a:pt x="16" y="4"/>
                      <a:pt x="17" y="5"/>
                      <a:pt x="18" y="5"/>
                    </a:cubicBezTo>
                    <a:cubicBezTo>
                      <a:pt x="19" y="5"/>
                      <a:pt x="19" y="4"/>
                      <a:pt x="19" y="3"/>
                    </a:cubicBezTo>
                    <a:cubicBezTo>
                      <a:pt x="18" y="3"/>
                      <a:pt x="17" y="3"/>
                      <a:pt x="17" y="3"/>
                    </a:cubicBezTo>
                    <a:cubicBezTo>
                      <a:pt x="16" y="3"/>
                      <a:pt x="15" y="3"/>
                      <a:pt x="14" y="3"/>
                    </a:cubicBezTo>
                    <a:cubicBezTo>
                      <a:pt x="14" y="3"/>
                      <a:pt x="13" y="3"/>
                      <a:pt x="13" y="2"/>
                    </a:cubicBezTo>
                    <a:cubicBezTo>
                      <a:pt x="13" y="1"/>
                      <a:pt x="14" y="0"/>
                      <a:pt x="13" y="0"/>
                    </a:cubicBezTo>
                    <a:cubicBezTo>
                      <a:pt x="9" y="0"/>
                      <a:pt x="4" y="0"/>
                      <a:pt x="1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65" name="Freeform 3102"/>
              <p:cNvSpPr>
                <a:spLocks noChangeAspect="1"/>
              </p:cNvSpPr>
              <p:nvPr/>
            </p:nvSpPr>
            <p:spPr bwMode="auto">
              <a:xfrm>
                <a:off x="6572635" y="3131396"/>
                <a:ext cx="2237" cy="2493"/>
              </a:xfrm>
              <a:custGeom>
                <a:avLst/>
                <a:gdLst>
                  <a:gd name="T0" fmla="*/ 2 w 2"/>
                  <a:gd name="T1" fmla="*/ 2 h 2"/>
                  <a:gd name="T2" fmla="*/ 1 w 2"/>
                  <a:gd name="T3" fmla="*/ 3 h 2"/>
                  <a:gd name="T4" fmla="*/ 0 w 2"/>
                  <a:gd name="T5" fmla="*/ 2 h 2"/>
                  <a:gd name="T6" fmla="*/ 1 w 2"/>
                  <a:gd name="T7" fmla="*/ 0 h 2"/>
                  <a:gd name="T8" fmla="*/ 2 w 2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2" y="1"/>
                    </a:moveTo>
                    <a:cubicBezTo>
                      <a:pt x="2" y="2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66" name="Freeform 3105"/>
              <p:cNvSpPr>
                <a:spLocks noChangeAspect="1"/>
              </p:cNvSpPr>
              <p:nvPr/>
            </p:nvSpPr>
            <p:spPr bwMode="auto">
              <a:xfrm>
                <a:off x="7419332" y="3589093"/>
                <a:ext cx="4474" cy="4984"/>
              </a:xfrm>
              <a:custGeom>
                <a:avLst/>
                <a:gdLst>
                  <a:gd name="T0" fmla="*/ 4 w 3"/>
                  <a:gd name="T1" fmla="*/ 4 h 5"/>
                  <a:gd name="T2" fmla="*/ 1 w 3"/>
                  <a:gd name="T3" fmla="*/ 5 h 5"/>
                  <a:gd name="T4" fmla="*/ 0 w 3"/>
                  <a:gd name="T5" fmla="*/ 2 h 5"/>
                  <a:gd name="T6" fmla="*/ 1 w 3"/>
                  <a:gd name="T7" fmla="*/ 0 h 5"/>
                  <a:gd name="T8" fmla="*/ 4 w 3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5"/>
                  <a:gd name="T17" fmla="*/ 3 w 3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5">
                    <a:moveTo>
                      <a:pt x="3" y="3"/>
                    </a:moveTo>
                    <a:cubicBezTo>
                      <a:pt x="3" y="3"/>
                      <a:pt x="2" y="5"/>
                      <a:pt x="1" y="4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3" y="0"/>
                      <a:pt x="3" y="2"/>
                      <a:pt x="3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67" name="Freeform 3117"/>
              <p:cNvSpPr>
                <a:spLocks noChangeAspect="1"/>
              </p:cNvSpPr>
              <p:nvPr/>
            </p:nvSpPr>
            <p:spPr bwMode="auto">
              <a:xfrm>
                <a:off x="5605139" y="3748582"/>
                <a:ext cx="8948" cy="4984"/>
              </a:xfrm>
              <a:custGeom>
                <a:avLst/>
                <a:gdLst>
                  <a:gd name="T0" fmla="*/ 3 w 6"/>
                  <a:gd name="T1" fmla="*/ 5 h 5"/>
                  <a:gd name="T2" fmla="*/ 1 w 6"/>
                  <a:gd name="T3" fmla="*/ 2 h 5"/>
                  <a:gd name="T4" fmla="*/ 4 w 6"/>
                  <a:gd name="T5" fmla="*/ 1 h 5"/>
                  <a:gd name="T6" fmla="*/ 8 w 6"/>
                  <a:gd name="T7" fmla="*/ 4 h 5"/>
                  <a:gd name="T8" fmla="*/ 3 w 6"/>
                  <a:gd name="T9" fmla="*/ 5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5"/>
                  <a:gd name="T17" fmla="*/ 6 w 6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5">
                    <a:moveTo>
                      <a:pt x="2" y="4"/>
                    </a:moveTo>
                    <a:cubicBezTo>
                      <a:pt x="1" y="3"/>
                      <a:pt x="0" y="3"/>
                      <a:pt x="1" y="2"/>
                    </a:cubicBezTo>
                    <a:cubicBezTo>
                      <a:pt x="1" y="0"/>
                      <a:pt x="3" y="0"/>
                      <a:pt x="3" y="1"/>
                    </a:cubicBezTo>
                    <a:cubicBezTo>
                      <a:pt x="4" y="1"/>
                      <a:pt x="6" y="2"/>
                      <a:pt x="6" y="3"/>
                    </a:cubicBezTo>
                    <a:cubicBezTo>
                      <a:pt x="5" y="5"/>
                      <a:pt x="3" y="4"/>
                      <a:pt x="2" y="4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68" name="Freeform 3118"/>
              <p:cNvSpPr>
                <a:spLocks noChangeAspect="1"/>
              </p:cNvSpPr>
              <p:nvPr/>
            </p:nvSpPr>
            <p:spPr bwMode="auto">
              <a:xfrm>
                <a:off x="7330972" y="3472799"/>
                <a:ext cx="2237" cy="4153"/>
              </a:xfrm>
              <a:custGeom>
                <a:avLst/>
                <a:gdLst>
                  <a:gd name="T0" fmla="*/ 2 w 2"/>
                  <a:gd name="T1" fmla="*/ 3 h 4"/>
                  <a:gd name="T2" fmla="*/ 1 w 2"/>
                  <a:gd name="T3" fmla="*/ 5 h 4"/>
                  <a:gd name="T4" fmla="*/ 0 w 2"/>
                  <a:gd name="T5" fmla="*/ 3 h 4"/>
                  <a:gd name="T6" fmla="*/ 1 w 2"/>
                  <a:gd name="T7" fmla="*/ 0 h 4"/>
                  <a:gd name="T8" fmla="*/ 2 w 2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4"/>
                  <a:gd name="T17" fmla="*/ 2 w 2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4">
                    <a:moveTo>
                      <a:pt x="2" y="2"/>
                    </a:moveTo>
                    <a:cubicBezTo>
                      <a:pt x="2" y="3"/>
                      <a:pt x="2" y="4"/>
                      <a:pt x="1" y="4"/>
                    </a:cubicBezTo>
                    <a:cubicBezTo>
                      <a:pt x="1" y="3"/>
                      <a:pt x="0" y="3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1"/>
                      <a:pt x="2" y="2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69" name="Freeform 3119"/>
              <p:cNvSpPr>
                <a:spLocks noChangeAspect="1"/>
              </p:cNvSpPr>
              <p:nvPr/>
            </p:nvSpPr>
            <p:spPr bwMode="auto">
              <a:xfrm>
                <a:off x="7332089" y="3465324"/>
                <a:ext cx="2237" cy="4153"/>
              </a:xfrm>
              <a:custGeom>
                <a:avLst/>
                <a:gdLst>
                  <a:gd name="T0" fmla="*/ 2 w 2"/>
                  <a:gd name="T1" fmla="*/ 4 h 4"/>
                  <a:gd name="T2" fmla="*/ 1 w 2"/>
                  <a:gd name="T3" fmla="*/ 5 h 4"/>
                  <a:gd name="T4" fmla="*/ 0 w 2"/>
                  <a:gd name="T5" fmla="*/ 3 h 4"/>
                  <a:gd name="T6" fmla="*/ 1 w 2"/>
                  <a:gd name="T7" fmla="*/ 1 h 4"/>
                  <a:gd name="T8" fmla="*/ 2 w 2"/>
                  <a:gd name="T9" fmla="*/ 4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4"/>
                  <a:gd name="T17" fmla="*/ 2 w 2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4">
                    <a:moveTo>
                      <a:pt x="2" y="3"/>
                    </a:moveTo>
                    <a:cubicBezTo>
                      <a:pt x="2" y="3"/>
                      <a:pt x="2" y="4"/>
                      <a:pt x="1" y="4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2"/>
                      <a:pt x="0" y="0"/>
                      <a:pt x="1" y="1"/>
                    </a:cubicBezTo>
                    <a:cubicBezTo>
                      <a:pt x="2" y="1"/>
                      <a:pt x="2" y="2"/>
                      <a:pt x="2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70" name="Freeform 3124"/>
              <p:cNvSpPr>
                <a:spLocks noChangeAspect="1"/>
              </p:cNvSpPr>
              <p:nvPr/>
            </p:nvSpPr>
            <p:spPr bwMode="auto">
              <a:xfrm>
                <a:off x="4020238" y="2377982"/>
                <a:ext cx="2237" cy="3322"/>
              </a:xfrm>
              <a:custGeom>
                <a:avLst/>
                <a:gdLst>
                  <a:gd name="T0" fmla="*/ 2 w 2"/>
                  <a:gd name="T1" fmla="*/ 1 h 3"/>
                  <a:gd name="T2" fmla="*/ 2 w 2"/>
                  <a:gd name="T3" fmla="*/ 3 h 3"/>
                  <a:gd name="T4" fmla="*/ 1 w 2"/>
                  <a:gd name="T5" fmla="*/ 3 h 3"/>
                  <a:gd name="T6" fmla="*/ 0 w 2"/>
                  <a:gd name="T7" fmla="*/ 0 h 3"/>
                  <a:gd name="T8" fmla="*/ 2 w 2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1"/>
                    </a:moveTo>
                    <a:cubicBezTo>
                      <a:pt x="2" y="1"/>
                      <a:pt x="2" y="2"/>
                      <a:pt x="2" y="2"/>
                    </a:cubicBezTo>
                    <a:cubicBezTo>
                      <a:pt x="1" y="3"/>
                      <a:pt x="1" y="2"/>
                      <a:pt x="1" y="2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1" y="0"/>
                      <a:pt x="2" y="1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71" name="Freeform 3126"/>
              <p:cNvSpPr>
                <a:spLocks noChangeAspect="1"/>
              </p:cNvSpPr>
              <p:nvPr/>
            </p:nvSpPr>
            <p:spPr bwMode="auto">
              <a:xfrm>
                <a:off x="4196960" y="3043345"/>
                <a:ext cx="3356" cy="2493"/>
              </a:xfrm>
              <a:custGeom>
                <a:avLst/>
                <a:gdLst>
                  <a:gd name="T0" fmla="*/ 3 w 2"/>
                  <a:gd name="T1" fmla="*/ 2 h 3"/>
                  <a:gd name="T2" fmla="*/ 2 w 2"/>
                  <a:gd name="T3" fmla="*/ 3 h 3"/>
                  <a:gd name="T4" fmla="*/ 0 w 2"/>
                  <a:gd name="T5" fmla="*/ 2 h 3"/>
                  <a:gd name="T6" fmla="*/ 2 w 2"/>
                  <a:gd name="T7" fmla="*/ 0 h 3"/>
                  <a:gd name="T8" fmla="*/ 3 w 2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2" y="3"/>
                      <a:pt x="1" y="3"/>
                    </a:cubicBezTo>
                    <a:cubicBezTo>
                      <a:pt x="1" y="3"/>
                      <a:pt x="0" y="2"/>
                      <a:pt x="0" y="2"/>
                    </a:cubicBezTo>
                    <a:cubicBezTo>
                      <a:pt x="1" y="1"/>
                      <a:pt x="1" y="0"/>
                      <a:pt x="1" y="0"/>
                    </a:cubicBezTo>
                    <a:cubicBezTo>
                      <a:pt x="2" y="1"/>
                      <a:pt x="2" y="1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72" name="Freeform 3127"/>
              <p:cNvSpPr>
                <a:spLocks noChangeAspect="1"/>
              </p:cNvSpPr>
              <p:nvPr/>
            </p:nvSpPr>
            <p:spPr bwMode="auto">
              <a:xfrm>
                <a:off x="4343482" y="3162961"/>
                <a:ext cx="2237" cy="1661"/>
              </a:xfrm>
              <a:custGeom>
                <a:avLst/>
                <a:gdLst>
                  <a:gd name="T0" fmla="*/ 2 w 2"/>
                  <a:gd name="T1" fmla="*/ 1 h 2"/>
                  <a:gd name="T2" fmla="*/ 1 w 2"/>
                  <a:gd name="T3" fmla="*/ 2 h 2"/>
                  <a:gd name="T4" fmla="*/ 0 w 2"/>
                  <a:gd name="T5" fmla="*/ 1 h 2"/>
                  <a:gd name="T6" fmla="*/ 1 w 2"/>
                  <a:gd name="T7" fmla="*/ 0 h 2"/>
                  <a:gd name="T8" fmla="*/ 2 w 2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2" y="1"/>
                    </a:moveTo>
                    <a:cubicBezTo>
                      <a:pt x="2" y="2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73" name="Freeform 3128"/>
              <p:cNvSpPr>
                <a:spLocks noChangeAspect="1"/>
              </p:cNvSpPr>
              <p:nvPr/>
            </p:nvSpPr>
            <p:spPr bwMode="auto">
              <a:xfrm>
                <a:off x="7419332" y="3594908"/>
                <a:ext cx="2237" cy="2493"/>
              </a:xfrm>
              <a:custGeom>
                <a:avLst/>
                <a:gdLst>
                  <a:gd name="T0" fmla="*/ 2 w 2"/>
                  <a:gd name="T1" fmla="*/ 2 h 2"/>
                  <a:gd name="T2" fmla="*/ 1 w 2"/>
                  <a:gd name="T3" fmla="*/ 3 h 2"/>
                  <a:gd name="T4" fmla="*/ 0 w 2"/>
                  <a:gd name="T5" fmla="*/ 2 h 2"/>
                  <a:gd name="T6" fmla="*/ 1 w 2"/>
                  <a:gd name="T7" fmla="*/ 0 h 2"/>
                  <a:gd name="T8" fmla="*/ 2 w 2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2" y="1"/>
                    </a:moveTo>
                    <a:cubicBezTo>
                      <a:pt x="2" y="1"/>
                      <a:pt x="2" y="2"/>
                      <a:pt x="1" y="2"/>
                    </a:cubicBezTo>
                    <a:cubicBezTo>
                      <a:pt x="1" y="2"/>
                      <a:pt x="1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0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74" name="Freeform 3129"/>
              <p:cNvSpPr>
                <a:spLocks noChangeAspect="1"/>
              </p:cNvSpPr>
              <p:nvPr/>
            </p:nvSpPr>
            <p:spPr bwMode="auto">
              <a:xfrm>
                <a:off x="7126287" y="3741935"/>
                <a:ext cx="2237" cy="3322"/>
              </a:xfrm>
              <a:custGeom>
                <a:avLst/>
                <a:gdLst>
                  <a:gd name="T0" fmla="*/ 2 w 1"/>
                  <a:gd name="T1" fmla="*/ 3 h 3"/>
                  <a:gd name="T2" fmla="*/ 2 w 1"/>
                  <a:gd name="T3" fmla="*/ 4 h 3"/>
                  <a:gd name="T4" fmla="*/ 0 w 1"/>
                  <a:gd name="T5" fmla="*/ 1 h 3"/>
                  <a:gd name="T6" fmla="*/ 2 w 1"/>
                  <a:gd name="T7" fmla="*/ 0 h 3"/>
                  <a:gd name="T8" fmla="*/ 2 w 1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3"/>
                  <a:gd name="T17" fmla="*/ 1 w 1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3">
                    <a:moveTo>
                      <a:pt x="1" y="2"/>
                    </a:moveTo>
                    <a:cubicBezTo>
                      <a:pt x="1" y="2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1" y="1"/>
                      <a:pt x="1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75" name="Freeform 3130"/>
              <p:cNvSpPr>
                <a:spLocks noChangeAspect="1"/>
              </p:cNvSpPr>
              <p:nvPr/>
            </p:nvSpPr>
            <p:spPr bwMode="auto">
              <a:xfrm>
                <a:off x="6945092" y="3775993"/>
                <a:ext cx="3356" cy="2493"/>
              </a:xfrm>
              <a:custGeom>
                <a:avLst/>
                <a:gdLst>
                  <a:gd name="T0" fmla="*/ 3 w 2"/>
                  <a:gd name="T1" fmla="*/ 2 h 3"/>
                  <a:gd name="T2" fmla="*/ 2 w 2"/>
                  <a:gd name="T3" fmla="*/ 3 h 3"/>
                  <a:gd name="T4" fmla="*/ 0 w 2"/>
                  <a:gd name="T5" fmla="*/ 2 h 3"/>
                  <a:gd name="T6" fmla="*/ 2 w 2"/>
                  <a:gd name="T7" fmla="*/ 0 h 3"/>
                  <a:gd name="T8" fmla="*/ 3 w 2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76" name="Oval 3131"/>
              <p:cNvSpPr>
                <a:spLocks noChangeAspect="1" noChangeArrowheads="1"/>
              </p:cNvSpPr>
              <p:nvPr/>
            </p:nvSpPr>
            <p:spPr bwMode="auto">
              <a:xfrm>
                <a:off x="7283995" y="3537592"/>
                <a:ext cx="1119" cy="2493"/>
              </a:xfrm>
              <a:prstGeom prst="ellipse">
                <a:avLst/>
              </a:pr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77" name="Freeform 3132"/>
              <p:cNvSpPr>
                <a:spLocks noChangeAspect="1"/>
              </p:cNvSpPr>
              <p:nvPr/>
            </p:nvSpPr>
            <p:spPr bwMode="auto">
              <a:xfrm>
                <a:off x="7287350" y="3476953"/>
                <a:ext cx="92834" cy="80576"/>
              </a:xfrm>
              <a:custGeom>
                <a:avLst/>
                <a:gdLst>
                  <a:gd name="T0" fmla="*/ 53 w 69"/>
                  <a:gd name="T1" fmla="*/ 23 h 81"/>
                  <a:gd name="T2" fmla="*/ 66 w 69"/>
                  <a:gd name="T3" fmla="*/ 22 h 81"/>
                  <a:gd name="T4" fmla="*/ 75 w 69"/>
                  <a:gd name="T5" fmla="*/ 14 h 81"/>
                  <a:gd name="T6" fmla="*/ 83 w 69"/>
                  <a:gd name="T7" fmla="*/ 19 h 81"/>
                  <a:gd name="T8" fmla="*/ 77 w 69"/>
                  <a:gd name="T9" fmla="*/ 24 h 81"/>
                  <a:gd name="T10" fmla="*/ 73 w 69"/>
                  <a:gd name="T11" fmla="*/ 35 h 81"/>
                  <a:gd name="T12" fmla="*/ 65 w 69"/>
                  <a:gd name="T13" fmla="*/ 36 h 81"/>
                  <a:gd name="T14" fmla="*/ 64 w 69"/>
                  <a:gd name="T15" fmla="*/ 44 h 81"/>
                  <a:gd name="T16" fmla="*/ 64 w 69"/>
                  <a:gd name="T17" fmla="*/ 47 h 81"/>
                  <a:gd name="T18" fmla="*/ 61 w 69"/>
                  <a:gd name="T19" fmla="*/ 49 h 81"/>
                  <a:gd name="T20" fmla="*/ 60 w 69"/>
                  <a:gd name="T21" fmla="*/ 46 h 81"/>
                  <a:gd name="T22" fmla="*/ 53 w 69"/>
                  <a:gd name="T23" fmla="*/ 46 h 81"/>
                  <a:gd name="T24" fmla="*/ 46 w 69"/>
                  <a:gd name="T25" fmla="*/ 53 h 81"/>
                  <a:gd name="T26" fmla="*/ 49 w 69"/>
                  <a:gd name="T27" fmla="*/ 57 h 81"/>
                  <a:gd name="T28" fmla="*/ 38 w 69"/>
                  <a:gd name="T29" fmla="*/ 69 h 81"/>
                  <a:gd name="T30" fmla="*/ 30 w 69"/>
                  <a:gd name="T31" fmla="*/ 83 h 81"/>
                  <a:gd name="T32" fmla="*/ 16 w 69"/>
                  <a:gd name="T33" fmla="*/ 96 h 81"/>
                  <a:gd name="T34" fmla="*/ 8 w 69"/>
                  <a:gd name="T35" fmla="*/ 93 h 81"/>
                  <a:gd name="T36" fmla="*/ 5 w 69"/>
                  <a:gd name="T37" fmla="*/ 89 h 81"/>
                  <a:gd name="T38" fmla="*/ 13 w 69"/>
                  <a:gd name="T39" fmla="*/ 78 h 81"/>
                  <a:gd name="T40" fmla="*/ 18 w 69"/>
                  <a:gd name="T41" fmla="*/ 71 h 81"/>
                  <a:gd name="T42" fmla="*/ 16 w 69"/>
                  <a:gd name="T43" fmla="*/ 61 h 81"/>
                  <a:gd name="T44" fmla="*/ 10 w 69"/>
                  <a:gd name="T45" fmla="*/ 59 h 81"/>
                  <a:gd name="T46" fmla="*/ 5 w 69"/>
                  <a:gd name="T47" fmla="*/ 55 h 81"/>
                  <a:gd name="T48" fmla="*/ 1 w 69"/>
                  <a:gd name="T49" fmla="*/ 51 h 81"/>
                  <a:gd name="T50" fmla="*/ 7 w 69"/>
                  <a:gd name="T51" fmla="*/ 46 h 81"/>
                  <a:gd name="T52" fmla="*/ 16 w 69"/>
                  <a:gd name="T53" fmla="*/ 42 h 81"/>
                  <a:gd name="T54" fmla="*/ 22 w 69"/>
                  <a:gd name="T55" fmla="*/ 29 h 81"/>
                  <a:gd name="T56" fmla="*/ 25 w 69"/>
                  <a:gd name="T57" fmla="*/ 24 h 81"/>
                  <a:gd name="T58" fmla="*/ 24 w 69"/>
                  <a:gd name="T59" fmla="*/ 13 h 81"/>
                  <a:gd name="T60" fmla="*/ 26 w 69"/>
                  <a:gd name="T61" fmla="*/ 6 h 81"/>
                  <a:gd name="T62" fmla="*/ 30 w 69"/>
                  <a:gd name="T63" fmla="*/ 7 h 81"/>
                  <a:gd name="T64" fmla="*/ 31 w 69"/>
                  <a:gd name="T65" fmla="*/ 4 h 81"/>
                  <a:gd name="T66" fmla="*/ 35 w 69"/>
                  <a:gd name="T67" fmla="*/ 5 h 81"/>
                  <a:gd name="T68" fmla="*/ 35 w 69"/>
                  <a:gd name="T69" fmla="*/ 10 h 81"/>
                  <a:gd name="T70" fmla="*/ 40 w 69"/>
                  <a:gd name="T71" fmla="*/ 10 h 81"/>
                  <a:gd name="T72" fmla="*/ 40 w 69"/>
                  <a:gd name="T73" fmla="*/ 2 h 81"/>
                  <a:gd name="T74" fmla="*/ 43 w 69"/>
                  <a:gd name="T75" fmla="*/ 2 h 81"/>
                  <a:gd name="T76" fmla="*/ 43 w 69"/>
                  <a:gd name="T77" fmla="*/ 18 h 81"/>
                  <a:gd name="T78" fmla="*/ 53 w 69"/>
                  <a:gd name="T79" fmla="*/ 23 h 81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69"/>
                  <a:gd name="T121" fmla="*/ 0 h 81"/>
                  <a:gd name="T122" fmla="*/ 69 w 69"/>
                  <a:gd name="T123" fmla="*/ 81 h 81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69" h="81">
                    <a:moveTo>
                      <a:pt x="44" y="19"/>
                    </a:moveTo>
                    <a:cubicBezTo>
                      <a:pt x="48" y="20"/>
                      <a:pt x="52" y="20"/>
                      <a:pt x="55" y="18"/>
                    </a:cubicBezTo>
                    <a:cubicBezTo>
                      <a:pt x="58" y="17"/>
                      <a:pt x="59" y="13"/>
                      <a:pt x="62" y="12"/>
                    </a:cubicBezTo>
                    <a:cubicBezTo>
                      <a:pt x="64" y="12"/>
                      <a:pt x="68" y="13"/>
                      <a:pt x="69" y="16"/>
                    </a:cubicBezTo>
                    <a:cubicBezTo>
                      <a:pt x="69" y="17"/>
                      <a:pt x="65" y="18"/>
                      <a:pt x="64" y="20"/>
                    </a:cubicBezTo>
                    <a:cubicBezTo>
                      <a:pt x="63" y="23"/>
                      <a:pt x="64" y="27"/>
                      <a:pt x="61" y="29"/>
                    </a:cubicBezTo>
                    <a:cubicBezTo>
                      <a:pt x="60" y="31"/>
                      <a:pt x="56" y="29"/>
                      <a:pt x="54" y="30"/>
                    </a:cubicBezTo>
                    <a:cubicBezTo>
                      <a:pt x="52" y="32"/>
                      <a:pt x="53" y="35"/>
                      <a:pt x="53" y="37"/>
                    </a:cubicBezTo>
                    <a:cubicBezTo>
                      <a:pt x="53" y="38"/>
                      <a:pt x="53" y="39"/>
                      <a:pt x="53" y="39"/>
                    </a:cubicBezTo>
                    <a:cubicBezTo>
                      <a:pt x="53" y="40"/>
                      <a:pt x="52" y="42"/>
                      <a:pt x="51" y="41"/>
                    </a:cubicBezTo>
                    <a:cubicBezTo>
                      <a:pt x="50" y="41"/>
                      <a:pt x="51" y="39"/>
                      <a:pt x="50" y="38"/>
                    </a:cubicBezTo>
                    <a:cubicBezTo>
                      <a:pt x="48" y="38"/>
                      <a:pt x="45" y="37"/>
                      <a:pt x="44" y="38"/>
                    </a:cubicBezTo>
                    <a:cubicBezTo>
                      <a:pt x="41" y="40"/>
                      <a:pt x="38" y="42"/>
                      <a:pt x="38" y="44"/>
                    </a:cubicBezTo>
                    <a:cubicBezTo>
                      <a:pt x="37" y="46"/>
                      <a:pt x="42" y="47"/>
                      <a:pt x="41" y="48"/>
                    </a:cubicBezTo>
                    <a:cubicBezTo>
                      <a:pt x="39" y="52"/>
                      <a:pt x="35" y="54"/>
                      <a:pt x="32" y="58"/>
                    </a:cubicBezTo>
                    <a:cubicBezTo>
                      <a:pt x="29" y="61"/>
                      <a:pt x="28" y="66"/>
                      <a:pt x="25" y="69"/>
                    </a:cubicBezTo>
                    <a:cubicBezTo>
                      <a:pt x="21" y="73"/>
                      <a:pt x="17" y="77"/>
                      <a:pt x="13" y="80"/>
                    </a:cubicBezTo>
                    <a:cubicBezTo>
                      <a:pt x="11" y="81"/>
                      <a:pt x="9" y="79"/>
                      <a:pt x="7" y="78"/>
                    </a:cubicBezTo>
                    <a:cubicBezTo>
                      <a:pt x="6" y="77"/>
                      <a:pt x="3" y="76"/>
                      <a:pt x="4" y="74"/>
                    </a:cubicBezTo>
                    <a:cubicBezTo>
                      <a:pt x="5" y="71"/>
                      <a:pt x="9" y="68"/>
                      <a:pt x="11" y="65"/>
                    </a:cubicBezTo>
                    <a:cubicBezTo>
                      <a:pt x="13" y="63"/>
                      <a:pt x="15" y="61"/>
                      <a:pt x="15" y="59"/>
                    </a:cubicBezTo>
                    <a:cubicBezTo>
                      <a:pt x="15" y="56"/>
                      <a:pt x="15" y="53"/>
                      <a:pt x="13" y="51"/>
                    </a:cubicBezTo>
                    <a:cubicBezTo>
                      <a:pt x="12" y="49"/>
                      <a:pt x="10" y="50"/>
                      <a:pt x="8" y="49"/>
                    </a:cubicBezTo>
                    <a:cubicBezTo>
                      <a:pt x="7" y="48"/>
                      <a:pt x="5" y="47"/>
                      <a:pt x="4" y="46"/>
                    </a:cubicBezTo>
                    <a:cubicBezTo>
                      <a:pt x="2" y="45"/>
                      <a:pt x="0" y="44"/>
                      <a:pt x="1" y="43"/>
                    </a:cubicBezTo>
                    <a:cubicBezTo>
                      <a:pt x="1" y="41"/>
                      <a:pt x="4" y="39"/>
                      <a:pt x="6" y="38"/>
                    </a:cubicBezTo>
                    <a:cubicBezTo>
                      <a:pt x="8" y="37"/>
                      <a:pt x="11" y="37"/>
                      <a:pt x="13" y="35"/>
                    </a:cubicBezTo>
                    <a:cubicBezTo>
                      <a:pt x="16" y="32"/>
                      <a:pt x="16" y="28"/>
                      <a:pt x="18" y="24"/>
                    </a:cubicBezTo>
                    <a:cubicBezTo>
                      <a:pt x="18" y="23"/>
                      <a:pt x="21" y="22"/>
                      <a:pt x="21" y="20"/>
                    </a:cubicBezTo>
                    <a:cubicBezTo>
                      <a:pt x="22" y="17"/>
                      <a:pt x="20" y="14"/>
                      <a:pt x="20" y="11"/>
                    </a:cubicBezTo>
                    <a:cubicBezTo>
                      <a:pt x="20" y="9"/>
                      <a:pt x="20" y="7"/>
                      <a:pt x="22" y="5"/>
                    </a:cubicBezTo>
                    <a:cubicBezTo>
                      <a:pt x="22" y="5"/>
                      <a:pt x="24" y="7"/>
                      <a:pt x="25" y="6"/>
                    </a:cubicBezTo>
                    <a:cubicBezTo>
                      <a:pt x="26" y="5"/>
                      <a:pt x="25" y="3"/>
                      <a:pt x="26" y="3"/>
                    </a:cubicBezTo>
                    <a:cubicBezTo>
                      <a:pt x="27" y="2"/>
                      <a:pt x="29" y="3"/>
                      <a:pt x="29" y="4"/>
                    </a:cubicBezTo>
                    <a:cubicBezTo>
                      <a:pt x="30" y="5"/>
                      <a:pt x="28" y="7"/>
                      <a:pt x="29" y="8"/>
                    </a:cubicBezTo>
                    <a:cubicBezTo>
                      <a:pt x="30" y="8"/>
                      <a:pt x="32" y="9"/>
                      <a:pt x="33" y="8"/>
                    </a:cubicBezTo>
                    <a:cubicBezTo>
                      <a:pt x="34" y="6"/>
                      <a:pt x="32" y="4"/>
                      <a:pt x="33" y="2"/>
                    </a:cubicBezTo>
                    <a:cubicBezTo>
                      <a:pt x="33" y="1"/>
                      <a:pt x="36" y="0"/>
                      <a:pt x="36" y="2"/>
                    </a:cubicBezTo>
                    <a:cubicBezTo>
                      <a:pt x="37" y="6"/>
                      <a:pt x="34" y="11"/>
                      <a:pt x="36" y="15"/>
                    </a:cubicBezTo>
                    <a:cubicBezTo>
                      <a:pt x="37" y="18"/>
                      <a:pt x="41" y="19"/>
                      <a:pt x="44" y="19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78" name="Freeform 3133"/>
              <p:cNvSpPr>
                <a:spLocks noChangeAspect="1"/>
              </p:cNvSpPr>
              <p:nvPr/>
            </p:nvSpPr>
            <p:spPr bwMode="auto">
              <a:xfrm>
                <a:off x="7296299" y="3439573"/>
                <a:ext cx="26844" cy="39872"/>
              </a:xfrm>
              <a:custGeom>
                <a:avLst/>
                <a:gdLst>
                  <a:gd name="T0" fmla="*/ 16 w 20"/>
                  <a:gd name="T1" fmla="*/ 41 h 40"/>
                  <a:gd name="T2" fmla="*/ 17 w 20"/>
                  <a:gd name="T3" fmla="*/ 47 h 40"/>
                  <a:gd name="T4" fmla="*/ 20 w 20"/>
                  <a:gd name="T5" fmla="*/ 47 h 40"/>
                  <a:gd name="T6" fmla="*/ 24 w 20"/>
                  <a:gd name="T7" fmla="*/ 35 h 40"/>
                  <a:gd name="T8" fmla="*/ 20 w 20"/>
                  <a:gd name="T9" fmla="*/ 25 h 40"/>
                  <a:gd name="T10" fmla="*/ 24 w 20"/>
                  <a:gd name="T11" fmla="*/ 25 h 40"/>
                  <a:gd name="T12" fmla="*/ 22 w 20"/>
                  <a:gd name="T13" fmla="*/ 17 h 40"/>
                  <a:gd name="T14" fmla="*/ 12 w 20"/>
                  <a:gd name="T15" fmla="*/ 10 h 40"/>
                  <a:gd name="T16" fmla="*/ 6 w 20"/>
                  <a:gd name="T17" fmla="*/ 6 h 40"/>
                  <a:gd name="T18" fmla="*/ 6 w 20"/>
                  <a:gd name="T19" fmla="*/ 2 h 40"/>
                  <a:gd name="T20" fmla="*/ 1 w 20"/>
                  <a:gd name="T21" fmla="*/ 2 h 40"/>
                  <a:gd name="T22" fmla="*/ 6 w 20"/>
                  <a:gd name="T23" fmla="*/ 12 h 40"/>
                  <a:gd name="T24" fmla="*/ 5 w 20"/>
                  <a:gd name="T25" fmla="*/ 16 h 40"/>
                  <a:gd name="T26" fmla="*/ 14 w 20"/>
                  <a:gd name="T27" fmla="*/ 35 h 40"/>
                  <a:gd name="T28" fmla="*/ 19 w 20"/>
                  <a:gd name="T29" fmla="*/ 36 h 40"/>
                  <a:gd name="T30" fmla="*/ 16 w 20"/>
                  <a:gd name="T31" fmla="*/ 41 h 40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0"/>
                  <a:gd name="T49" fmla="*/ 0 h 40"/>
                  <a:gd name="T50" fmla="*/ 20 w 20"/>
                  <a:gd name="T51" fmla="*/ 40 h 40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0" h="40">
                    <a:moveTo>
                      <a:pt x="13" y="34"/>
                    </a:moveTo>
                    <a:cubicBezTo>
                      <a:pt x="13" y="36"/>
                      <a:pt x="13" y="38"/>
                      <a:pt x="14" y="39"/>
                    </a:cubicBezTo>
                    <a:cubicBezTo>
                      <a:pt x="15" y="40"/>
                      <a:pt x="17" y="40"/>
                      <a:pt x="17" y="39"/>
                    </a:cubicBezTo>
                    <a:cubicBezTo>
                      <a:pt x="19" y="36"/>
                      <a:pt x="20" y="32"/>
                      <a:pt x="20" y="29"/>
                    </a:cubicBezTo>
                    <a:cubicBezTo>
                      <a:pt x="20" y="26"/>
                      <a:pt x="17" y="24"/>
                      <a:pt x="17" y="21"/>
                    </a:cubicBezTo>
                    <a:cubicBezTo>
                      <a:pt x="17" y="20"/>
                      <a:pt x="20" y="22"/>
                      <a:pt x="20" y="21"/>
                    </a:cubicBezTo>
                    <a:cubicBezTo>
                      <a:pt x="20" y="18"/>
                      <a:pt x="20" y="16"/>
                      <a:pt x="18" y="14"/>
                    </a:cubicBezTo>
                    <a:cubicBezTo>
                      <a:pt x="16" y="11"/>
                      <a:pt x="13" y="10"/>
                      <a:pt x="10" y="8"/>
                    </a:cubicBezTo>
                    <a:cubicBezTo>
                      <a:pt x="8" y="7"/>
                      <a:pt x="6" y="7"/>
                      <a:pt x="5" y="5"/>
                    </a:cubicBezTo>
                    <a:cubicBezTo>
                      <a:pt x="4" y="4"/>
                      <a:pt x="6" y="2"/>
                      <a:pt x="5" y="2"/>
                    </a:cubicBezTo>
                    <a:cubicBezTo>
                      <a:pt x="4" y="1"/>
                      <a:pt x="1" y="0"/>
                      <a:pt x="1" y="2"/>
                    </a:cubicBezTo>
                    <a:cubicBezTo>
                      <a:pt x="0" y="5"/>
                      <a:pt x="4" y="7"/>
                      <a:pt x="5" y="10"/>
                    </a:cubicBezTo>
                    <a:cubicBezTo>
                      <a:pt x="5" y="11"/>
                      <a:pt x="4" y="12"/>
                      <a:pt x="4" y="13"/>
                    </a:cubicBezTo>
                    <a:cubicBezTo>
                      <a:pt x="6" y="19"/>
                      <a:pt x="9" y="24"/>
                      <a:pt x="12" y="29"/>
                    </a:cubicBezTo>
                    <a:cubicBezTo>
                      <a:pt x="13" y="30"/>
                      <a:pt x="16" y="29"/>
                      <a:pt x="16" y="30"/>
                    </a:cubicBezTo>
                    <a:cubicBezTo>
                      <a:pt x="16" y="32"/>
                      <a:pt x="13" y="33"/>
                      <a:pt x="13" y="34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79" name="Freeform 3134"/>
              <p:cNvSpPr>
                <a:spLocks noChangeAspect="1"/>
              </p:cNvSpPr>
              <p:nvPr/>
            </p:nvSpPr>
            <p:spPr bwMode="auto">
              <a:xfrm>
                <a:off x="7126287" y="3537592"/>
                <a:ext cx="163300" cy="104664"/>
              </a:xfrm>
              <a:custGeom>
                <a:avLst/>
                <a:gdLst>
                  <a:gd name="T0" fmla="*/ 140 w 121"/>
                  <a:gd name="T1" fmla="*/ 28 h 105"/>
                  <a:gd name="T2" fmla="*/ 128 w 121"/>
                  <a:gd name="T3" fmla="*/ 38 h 105"/>
                  <a:gd name="T4" fmla="*/ 119 w 121"/>
                  <a:gd name="T5" fmla="*/ 49 h 105"/>
                  <a:gd name="T6" fmla="*/ 110 w 121"/>
                  <a:gd name="T7" fmla="*/ 58 h 105"/>
                  <a:gd name="T8" fmla="*/ 110 w 121"/>
                  <a:gd name="T9" fmla="*/ 61 h 105"/>
                  <a:gd name="T10" fmla="*/ 116 w 121"/>
                  <a:gd name="T11" fmla="*/ 64 h 105"/>
                  <a:gd name="T12" fmla="*/ 115 w 121"/>
                  <a:gd name="T13" fmla="*/ 67 h 105"/>
                  <a:gd name="T14" fmla="*/ 103 w 121"/>
                  <a:gd name="T15" fmla="*/ 66 h 105"/>
                  <a:gd name="T16" fmla="*/ 88 w 121"/>
                  <a:gd name="T17" fmla="*/ 72 h 105"/>
                  <a:gd name="T18" fmla="*/ 81 w 121"/>
                  <a:gd name="T19" fmla="*/ 79 h 105"/>
                  <a:gd name="T20" fmla="*/ 78 w 121"/>
                  <a:gd name="T21" fmla="*/ 90 h 105"/>
                  <a:gd name="T22" fmla="*/ 70 w 121"/>
                  <a:gd name="T23" fmla="*/ 101 h 105"/>
                  <a:gd name="T24" fmla="*/ 56 w 121"/>
                  <a:gd name="T25" fmla="*/ 113 h 105"/>
                  <a:gd name="T26" fmla="*/ 41 w 121"/>
                  <a:gd name="T27" fmla="*/ 125 h 105"/>
                  <a:gd name="T28" fmla="*/ 33 w 121"/>
                  <a:gd name="T29" fmla="*/ 124 h 105"/>
                  <a:gd name="T30" fmla="*/ 28 w 121"/>
                  <a:gd name="T31" fmla="*/ 116 h 105"/>
                  <a:gd name="T32" fmla="*/ 19 w 121"/>
                  <a:gd name="T33" fmla="*/ 114 h 105"/>
                  <a:gd name="T34" fmla="*/ 4 w 121"/>
                  <a:gd name="T35" fmla="*/ 113 h 105"/>
                  <a:gd name="T36" fmla="*/ 1 w 121"/>
                  <a:gd name="T37" fmla="*/ 107 h 105"/>
                  <a:gd name="T38" fmla="*/ 13 w 121"/>
                  <a:gd name="T39" fmla="*/ 92 h 105"/>
                  <a:gd name="T40" fmla="*/ 31 w 121"/>
                  <a:gd name="T41" fmla="*/ 78 h 105"/>
                  <a:gd name="T42" fmla="*/ 46 w 121"/>
                  <a:gd name="T43" fmla="*/ 68 h 105"/>
                  <a:gd name="T44" fmla="*/ 56 w 121"/>
                  <a:gd name="T45" fmla="*/ 66 h 105"/>
                  <a:gd name="T46" fmla="*/ 76 w 121"/>
                  <a:gd name="T47" fmla="*/ 52 h 105"/>
                  <a:gd name="T48" fmla="*/ 92 w 121"/>
                  <a:gd name="T49" fmla="*/ 42 h 105"/>
                  <a:gd name="T50" fmla="*/ 101 w 121"/>
                  <a:gd name="T51" fmla="*/ 28 h 105"/>
                  <a:gd name="T52" fmla="*/ 112 w 121"/>
                  <a:gd name="T53" fmla="*/ 16 h 105"/>
                  <a:gd name="T54" fmla="*/ 121 w 121"/>
                  <a:gd name="T55" fmla="*/ 0 h 105"/>
                  <a:gd name="T56" fmla="*/ 125 w 121"/>
                  <a:gd name="T57" fmla="*/ 0 h 105"/>
                  <a:gd name="T58" fmla="*/ 125 w 121"/>
                  <a:gd name="T59" fmla="*/ 5 h 105"/>
                  <a:gd name="T60" fmla="*/ 129 w 121"/>
                  <a:gd name="T61" fmla="*/ 7 h 105"/>
                  <a:gd name="T62" fmla="*/ 127 w 121"/>
                  <a:gd name="T63" fmla="*/ 13 h 105"/>
                  <a:gd name="T64" fmla="*/ 132 w 121"/>
                  <a:gd name="T65" fmla="*/ 17 h 105"/>
                  <a:gd name="T66" fmla="*/ 138 w 121"/>
                  <a:gd name="T67" fmla="*/ 8 h 105"/>
                  <a:gd name="T68" fmla="*/ 142 w 121"/>
                  <a:gd name="T69" fmla="*/ 6 h 105"/>
                  <a:gd name="T70" fmla="*/ 145 w 121"/>
                  <a:gd name="T71" fmla="*/ 12 h 105"/>
                  <a:gd name="T72" fmla="*/ 146 w 121"/>
                  <a:gd name="T73" fmla="*/ 17 h 105"/>
                  <a:gd name="T74" fmla="*/ 140 w 121"/>
                  <a:gd name="T75" fmla="*/ 22 h 105"/>
                  <a:gd name="T76" fmla="*/ 140 w 121"/>
                  <a:gd name="T77" fmla="*/ 28 h 105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121"/>
                  <a:gd name="T118" fmla="*/ 0 h 105"/>
                  <a:gd name="T119" fmla="*/ 121 w 121"/>
                  <a:gd name="T120" fmla="*/ 105 h 105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121" h="105">
                    <a:moveTo>
                      <a:pt x="116" y="23"/>
                    </a:moveTo>
                    <a:cubicBezTo>
                      <a:pt x="113" y="26"/>
                      <a:pt x="109" y="29"/>
                      <a:pt x="106" y="32"/>
                    </a:cubicBezTo>
                    <a:cubicBezTo>
                      <a:pt x="103" y="35"/>
                      <a:pt x="102" y="39"/>
                      <a:pt x="99" y="41"/>
                    </a:cubicBezTo>
                    <a:cubicBezTo>
                      <a:pt x="97" y="44"/>
                      <a:pt x="93" y="45"/>
                      <a:pt x="91" y="48"/>
                    </a:cubicBezTo>
                    <a:cubicBezTo>
                      <a:pt x="90" y="49"/>
                      <a:pt x="90" y="50"/>
                      <a:pt x="91" y="51"/>
                    </a:cubicBezTo>
                    <a:cubicBezTo>
                      <a:pt x="92" y="52"/>
                      <a:pt x="95" y="51"/>
                      <a:pt x="96" y="53"/>
                    </a:cubicBezTo>
                    <a:cubicBezTo>
                      <a:pt x="97" y="54"/>
                      <a:pt x="97" y="56"/>
                      <a:pt x="95" y="56"/>
                    </a:cubicBezTo>
                    <a:cubicBezTo>
                      <a:pt x="92" y="57"/>
                      <a:pt x="89" y="54"/>
                      <a:pt x="85" y="55"/>
                    </a:cubicBezTo>
                    <a:cubicBezTo>
                      <a:pt x="81" y="55"/>
                      <a:pt x="77" y="58"/>
                      <a:pt x="73" y="60"/>
                    </a:cubicBezTo>
                    <a:cubicBezTo>
                      <a:pt x="71" y="62"/>
                      <a:pt x="68" y="63"/>
                      <a:pt x="67" y="66"/>
                    </a:cubicBezTo>
                    <a:cubicBezTo>
                      <a:pt x="65" y="68"/>
                      <a:pt x="67" y="72"/>
                      <a:pt x="65" y="75"/>
                    </a:cubicBezTo>
                    <a:cubicBezTo>
                      <a:pt x="64" y="78"/>
                      <a:pt x="61" y="81"/>
                      <a:pt x="58" y="84"/>
                    </a:cubicBezTo>
                    <a:cubicBezTo>
                      <a:pt x="54" y="88"/>
                      <a:pt x="50" y="91"/>
                      <a:pt x="46" y="94"/>
                    </a:cubicBezTo>
                    <a:cubicBezTo>
                      <a:pt x="42" y="98"/>
                      <a:pt x="39" y="102"/>
                      <a:pt x="34" y="104"/>
                    </a:cubicBezTo>
                    <a:cubicBezTo>
                      <a:pt x="32" y="105"/>
                      <a:pt x="29" y="104"/>
                      <a:pt x="27" y="103"/>
                    </a:cubicBezTo>
                    <a:cubicBezTo>
                      <a:pt x="25" y="102"/>
                      <a:pt x="25" y="98"/>
                      <a:pt x="23" y="97"/>
                    </a:cubicBezTo>
                    <a:cubicBezTo>
                      <a:pt x="21" y="96"/>
                      <a:pt x="18" y="95"/>
                      <a:pt x="16" y="95"/>
                    </a:cubicBezTo>
                    <a:cubicBezTo>
                      <a:pt x="12" y="95"/>
                      <a:pt x="7" y="96"/>
                      <a:pt x="3" y="94"/>
                    </a:cubicBezTo>
                    <a:cubicBezTo>
                      <a:pt x="2" y="94"/>
                      <a:pt x="0" y="91"/>
                      <a:pt x="1" y="89"/>
                    </a:cubicBezTo>
                    <a:cubicBezTo>
                      <a:pt x="3" y="84"/>
                      <a:pt x="7" y="80"/>
                      <a:pt x="11" y="77"/>
                    </a:cubicBezTo>
                    <a:cubicBezTo>
                      <a:pt x="16" y="72"/>
                      <a:pt x="21" y="69"/>
                      <a:pt x="26" y="65"/>
                    </a:cubicBezTo>
                    <a:cubicBezTo>
                      <a:pt x="30" y="62"/>
                      <a:pt x="34" y="59"/>
                      <a:pt x="38" y="57"/>
                    </a:cubicBezTo>
                    <a:cubicBezTo>
                      <a:pt x="40" y="56"/>
                      <a:pt x="43" y="56"/>
                      <a:pt x="46" y="55"/>
                    </a:cubicBezTo>
                    <a:cubicBezTo>
                      <a:pt x="52" y="51"/>
                      <a:pt x="57" y="47"/>
                      <a:pt x="63" y="43"/>
                    </a:cubicBezTo>
                    <a:cubicBezTo>
                      <a:pt x="67" y="40"/>
                      <a:pt x="73" y="38"/>
                      <a:pt x="76" y="35"/>
                    </a:cubicBezTo>
                    <a:cubicBezTo>
                      <a:pt x="80" y="31"/>
                      <a:pt x="81" y="26"/>
                      <a:pt x="84" y="23"/>
                    </a:cubicBezTo>
                    <a:cubicBezTo>
                      <a:pt x="86" y="19"/>
                      <a:pt x="90" y="16"/>
                      <a:pt x="93" y="13"/>
                    </a:cubicBezTo>
                    <a:cubicBezTo>
                      <a:pt x="95" y="9"/>
                      <a:pt x="97" y="4"/>
                      <a:pt x="100" y="0"/>
                    </a:cubicBezTo>
                    <a:cubicBezTo>
                      <a:pt x="101" y="0"/>
                      <a:pt x="103" y="0"/>
                      <a:pt x="104" y="0"/>
                    </a:cubicBezTo>
                    <a:cubicBezTo>
                      <a:pt x="104" y="1"/>
                      <a:pt x="103" y="3"/>
                      <a:pt x="104" y="4"/>
                    </a:cubicBezTo>
                    <a:cubicBezTo>
                      <a:pt x="104" y="5"/>
                      <a:pt x="107" y="4"/>
                      <a:pt x="107" y="6"/>
                    </a:cubicBezTo>
                    <a:cubicBezTo>
                      <a:pt x="108" y="7"/>
                      <a:pt x="105" y="9"/>
                      <a:pt x="105" y="11"/>
                    </a:cubicBezTo>
                    <a:cubicBezTo>
                      <a:pt x="106" y="12"/>
                      <a:pt x="108" y="15"/>
                      <a:pt x="109" y="14"/>
                    </a:cubicBezTo>
                    <a:cubicBezTo>
                      <a:pt x="112" y="13"/>
                      <a:pt x="112" y="9"/>
                      <a:pt x="114" y="7"/>
                    </a:cubicBezTo>
                    <a:cubicBezTo>
                      <a:pt x="115" y="6"/>
                      <a:pt x="117" y="5"/>
                      <a:pt x="118" y="5"/>
                    </a:cubicBezTo>
                    <a:cubicBezTo>
                      <a:pt x="119" y="6"/>
                      <a:pt x="119" y="9"/>
                      <a:pt x="120" y="10"/>
                    </a:cubicBezTo>
                    <a:cubicBezTo>
                      <a:pt x="120" y="11"/>
                      <a:pt x="121" y="13"/>
                      <a:pt x="121" y="14"/>
                    </a:cubicBezTo>
                    <a:cubicBezTo>
                      <a:pt x="120" y="15"/>
                      <a:pt x="117" y="16"/>
                      <a:pt x="116" y="18"/>
                    </a:cubicBezTo>
                    <a:cubicBezTo>
                      <a:pt x="116" y="19"/>
                      <a:pt x="117" y="21"/>
                      <a:pt x="116" y="2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80" name="Freeform 3135"/>
              <p:cNvSpPr>
                <a:spLocks noChangeAspect="1"/>
              </p:cNvSpPr>
              <p:nvPr/>
            </p:nvSpPr>
            <p:spPr bwMode="auto">
              <a:xfrm>
                <a:off x="7138591" y="3639763"/>
                <a:ext cx="14540" cy="12461"/>
              </a:xfrm>
              <a:custGeom>
                <a:avLst/>
                <a:gdLst>
                  <a:gd name="T0" fmla="*/ 9 w 11"/>
                  <a:gd name="T1" fmla="*/ 0 h 12"/>
                  <a:gd name="T2" fmla="*/ 12 w 11"/>
                  <a:gd name="T3" fmla="*/ 4 h 12"/>
                  <a:gd name="T4" fmla="*/ 9 w 11"/>
                  <a:gd name="T5" fmla="*/ 6 h 12"/>
                  <a:gd name="T6" fmla="*/ 13 w 11"/>
                  <a:gd name="T7" fmla="*/ 10 h 12"/>
                  <a:gd name="T8" fmla="*/ 9 w 11"/>
                  <a:gd name="T9" fmla="*/ 13 h 12"/>
                  <a:gd name="T10" fmla="*/ 1 w 11"/>
                  <a:gd name="T11" fmla="*/ 15 h 12"/>
                  <a:gd name="T12" fmla="*/ 1 w 11"/>
                  <a:gd name="T13" fmla="*/ 13 h 12"/>
                  <a:gd name="T14" fmla="*/ 7 w 11"/>
                  <a:gd name="T15" fmla="*/ 1 h 12"/>
                  <a:gd name="T16" fmla="*/ 9 w 11"/>
                  <a:gd name="T17" fmla="*/ 0 h 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"/>
                  <a:gd name="T28" fmla="*/ 0 h 12"/>
                  <a:gd name="T29" fmla="*/ 11 w 11"/>
                  <a:gd name="T30" fmla="*/ 12 h 1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" h="12">
                    <a:moveTo>
                      <a:pt x="8" y="0"/>
                    </a:moveTo>
                    <a:cubicBezTo>
                      <a:pt x="9" y="1"/>
                      <a:pt x="10" y="2"/>
                      <a:pt x="10" y="3"/>
                    </a:cubicBezTo>
                    <a:cubicBezTo>
                      <a:pt x="10" y="4"/>
                      <a:pt x="7" y="4"/>
                      <a:pt x="8" y="5"/>
                    </a:cubicBezTo>
                    <a:cubicBezTo>
                      <a:pt x="8" y="7"/>
                      <a:pt x="11" y="7"/>
                      <a:pt x="11" y="8"/>
                    </a:cubicBezTo>
                    <a:cubicBezTo>
                      <a:pt x="11" y="9"/>
                      <a:pt x="9" y="9"/>
                      <a:pt x="8" y="10"/>
                    </a:cubicBezTo>
                    <a:cubicBezTo>
                      <a:pt x="6" y="11"/>
                      <a:pt x="4" y="12"/>
                      <a:pt x="1" y="12"/>
                    </a:cubicBezTo>
                    <a:cubicBezTo>
                      <a:pt x="1" y="12"/>
                      <a:pt x="0" y="11"/>
                      <a:pt x="1" y="10"/>
                    </a:cubicBezTo>
                    <a:cubicBezTo>
                      <a:pt x="2" y="7"/>
                      <a:pt x="4" y="4"/>
                      <a:pt x="6" y="1"/>
                    </a:cubicBezTo>
                    <a:cubicBezTo>
                      <a:pt x="6" y="0"/>
                      <a:pt x="7" y="0"/>
                      <a:pt x="8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81" name="Freeform 3136"/>
              <p:cNvSpPr>
                <a:spLocks noChangeAspect="1"/>
              </p:cNvSpPr>
              <p:nvPr/>
            </p:nvSpPr>
            <p:spPr bwMode="auto">
              <a:xfrm>
                <a:off x="7089377" y="3705386"/>
                <a:ext cx="7830" cy="9968"/>
              </a:xfrm>
              <a:custGeom>
                <a:avLst/>
                <a:gdLst>
                  <a:gd name="T0" fmla="*/ 1 w 6"/>
                  <a:gd name="T1" fmla="*/ 6 h 10"/>
                  <a:gd name="T2" fmla="*/ 5 w 6"/>
                  <a:gd name="T3" fmla="*/ 1 h 10"/>
                  <a:gd name="T4" fmla="*/ 7 w 6"/>
                  <a:gd name="T5" fmla="*/ 1 h 10"/>
                  <a:gd name="T6" fmla="*/ 5 w 6"/>
                  <a:gd name="T7" fmla="*/ 11 h 10"/>
                  <a:gd name="T8" fmla="*/ 1 w 6"/>
                  <a:gd name="T9" fmla="*/ 11 h 10"/>
                  <a:gd name="T10" fmla="*/ 1 w 6"/>
                  <a:gd name="T11" fmla="*/ 6 h 1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10"/>
                  <a:gd name="T20" fmla="*/ 6 w 6"/>
                  <a:gd name="T21" fmla="*/ 10 h 1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10">
                    <a:moveTo>
                      <a:pt x="1" y="5"/>
                    </a:moveTo>
                    <a:cubicBezTo>
                      <a:pt x="1" y="3"/>
                      <a:pt x="3" y="2"/>
                      <a:pt x="4" y="1"/>
                    </a:cubicBezTo>
                    <a:cubicBezTo>
                      <a:pt x="5" y="0"/>
                      <a:pt x="6" y="1"/>
                      <a:pt x="6" y="1"/>
                    </a:cubicBezTo>
                    <a:cubicBezTo>
                      <a:pt x="6" y="4"/>
                      <a:pt x="5" y="7"/>
                      <a:pt x="4" y="9"/>
                    </a:cubicBezTo>
                    <a:cubicBezTo>
                      <a:pt x="4" y="9"/>
                      <a:pt x="2" y="10"/>
                      <a:pt x="1" y="9"/>
                    </a:cubicBezTo>
                    <a:cubicBezTo>
                      <a:pt x="0" y="8"/>
                      <a:pt x="0" y="6"/>
                      <a:pt x="1" y="5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82" name="Freeform 3137"/>
              <p:cNvSpPr>
                <a:spLocks noChangeAspect="1"/>
              </p:cNvSpPr>
              <p:nvPr/>
            </p:nvSpPr>
            <p:spPr bwMode="auto">
              <a:xfrm>
                <a:off x="5542504" y="3670499"/>
                <a:ext cx="33556" cy="22428"/>
              </a:xfrm>
              <a:custGeom>
                <a:avLst/>
                <a:gdLst>
                  <a:gd name="T0" fmla="*/ 4 w 25"/>
                  <a:gd name="T1" fmla="*/ 2 h 23"/>
                  <a:gd name="T2" fmla="*/ 8 w 25"/>
                  <a:gd name="T3" fmla="*/ 5 h 23"/>
                  <a:gd name="T4" fmla="*/ 6 w 25"/>
                  <a:gd name="T5" fmla="*/ 12 h 23"/>
                  <a:gd name="T6" fmla="*/ 10 w 25"/>
                  <a:gd name="T7" fmla="*/ 12 h 23"/>
                  <a:gd name="T8" fmla="*/ 17 w 25"/>
                  <a:gd name="T9" fmla="*/ 9 h 23"/>
                  <a:gd name="T10" fmla="*/ 14 w 25"/>
                  <a:gd name="T11" fmla="*/ 14 h 23"/>
                  <a:gd name="T12" fmla="*/ 20 w 25"/>
                  <a:gd name="T13" fmla="*/ 14 h 23"/>
                  <a:gd name="T14" fmla="*/ 29 w 25"/>
                  <a:gd name="T15" fmla="*/ 12 h 23"/>
                  <a:gd name="T16" fmla="*/ 29 w 25"/>
                  <a:gd name="T17" fmla="*/ 16 h 23"/>
                  <a:gd name="T18" fmla="*/ 20 w 25"/>
                  <a:gd name="T19" fmla="*/ 19 h 23"/>
                  <a:gd name="T20" fmla="*/ 19 w 25"/>
                  <a:gd name="T21" fmla="*/ 21 h 23"/>
                  <a:gd name="T22" fmla="*/ 25 w 25"/>
                  <a:gd name="T23" fmla="*/ 22 h 23"/>
                  <a:gd name="T24" fmla="*/ 24 w 25"/>
                  <a:gd name="T25" fmla="*/ 25 h 23"/>
                  <a:gd name="T26" fmla="*/ 18 w 25"/>
                  <a:gd name="T27" fmla="*/ 23 h 23"/>
                  <a:gd name="T28" fmla="*/ 14 w 25"/>
                  <a:gd name="T29" fmla="*/ 22 h 23"/>
                  <a:gd name="T30" fmla="*/ 10 w 25"/>
                  <a:gd name="T31" fmla="*/ 22 h 23"/>
                  <a:gd name="T32" fmla="*/ 5 w 25"/>
                  <a:gd name="T33" fmla="*/ 26 h 23"/>
                  <a:gd name="T34" fmla="*/ 0 w 25"/>
                  <a:gd name="T35" fmla="*/ 23 h 23"/>
                  <a:gd name="T36" fmla="*/ 1 w 25"/>
                  <a:gd name="T37" fmla="*/ 12 h 23"/>
                  <a:gd name="T38" fmla="*/ 4 w 25"/>
                  <a:gd name="T39" fmla="*/ 2 h 2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25"/>
                  <a:gd name="T61" fmla="*/ 0 h 23"/>
                  <a:gd name="T62" fmla="*/ 25 w 25"/>
                  <a:gd name="T63" fmla="*/ 23 h 23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25" h="23">
                    <a:moveTo>
                      <a:pt x="3" y="2"/>
                    </a:moveTo>
                    <a:cubicBezTo>
                      <a:pt x="4" y="0"/>
                      <a:pt x="6" y="3"/>
                      <a:pt x="7" y="4"/>
                    </a:cubicBezTo>
                    <a:cubicBezTo>
                      <a:pt x="7" y="6"/>
                      <a:pt x="4" y="8"/>
                      <a:pt x="5" y="10"/>
                    </a:cubicBezTo>
                    <a:cubicBezTo>
                      <a:pt x="5" y="12"/>
                      <a:pt x="7" y="10"/>
                      <a:pt x="8" y="10"/>
                    </a:cubicBezTo>
                    <a:cubicBezTo>
                      <a:pt x="10" y="9"/>
                      <a:pt x="12" y="7"/>
                      <a:pt x="14" y="8"/>
                    </a:cubicBezTo>
                    <a:cubicBezTo>
                      <a:pt x="16" y="8"/>
                      <a:pt x="11" y="11"/>
                      <a:pt x="12" y="12"/>
                    </a:cubicBezTo>
                    <a:cubicBezTo>
                      <a:pt x="13" y="13"/>
                      <a:pt x="15" y="12"/>
                      <a:pt x="17" y="12"/>
                    </a:cubicBezTo>
                    <a:cubicBezTo>
                      <a:pt x="19" y="12"/>
                      <a:pt x="21" y="9"/>
                      <a:pt x="24" y="10"/>
                    </a:cubicBezTo>
                    <a:cubicBezTo>
                      <a:pt x="25" y="10"/>
                      <a:pt x="25" y="13"/>
                      <a:pt x="24" y="14"/>
                    </a:cubicBezTo>
                    <a:cubicBezTo>
                      <a:pt x="22" y="16"/>
                      <a:pt x="19" y="15"/>
                      <a:pt x="17" y="16"/>
                    </a:cubicBezTo>
                    <a:cubicBezTo>
                      <a:pt x="16" y="16"/>
                      <a:pt x="15" y="18"/>
                      <a:pt x="16" y="18"/>
                    </a:cubicBezTo>
                    <a:cubicBezTo>
                      <a:pt x="17" y="19"/>
                      <a:pt x="19" y="18"/>
                      <a:pt x="21" y="19"/>
                    </a:cubicBezTo>
                    <a:cubicBezTo>
                      <a:pt x="21" y="19"/>
                      <a:pt x="21" y="21"/>
                      <a:pt x="20" y="21"/>
                    </a:cubicBezTo>
                    <a:cubicBezTo>
                      <a:pt x="19" y="22"/>
                      <a:pt x="17" y="21"/>
                      <a:pt x="15" y="20"/>
                    </a:cubicBezTo>
                    <a:cubicBezTo>
                      <a:pt x="14" y="20"/>
                      <a:pt x="13" y="19"/>
                      <a:pt x="12" y="19"/>
                    </a:cubicBezTo>
                    <a:cubicBezTo>
                      <a:pt x="11" y="19"/>
                      <a:pt x="10" y="19"/>
                      <a:pt x="8" y="19"/>
                    </a:cubicBezTo>
                    <a:cubicBezTo>
                      <a:pt x="7" y="20"/>
                      <a:pt x="6" y="22"/>
                      <a:pt x="4" y="22"/>
                    </a:cubicBezTo>
                    <a:cubicBezTo>
                      <a:pt x="2" y="23"/>
                      <a:pt x="1" y="22"/>
                      <a:pt x="0" y="20"/>
                    </a:cubicBezTo>
                    <a:cubicBezTo>
                      <a:pt x="1" y="17"/>
                      <a:pt x="1" y="13"/>
                      <a:pt x="1" y="10"/>
                    </a:cubicBezTo>
                    <a:cubicBezTo>
                      <a:pt x="2" y="7"/>
                      <a:pt x="2" y="4"/>
                      <a:pt x="3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83" name="Freeform 3138"/>
              <p:cNvSpPr>
                <a:spLocks noChangeAspect="1"/>
              </p:cNvSpPr>
              <p:nvPr/>
            </p:nvSpPr>
            <p:spPr bwMode="auto">
              <a:xfrm>
                <a:off x="4063859" y="1842202"/>
                <a:ext cx="171129" cy="68115"/>
              </a:xfrm>
              <a:custGeom>
                <a:avLst/>
                <a:gdLst>
                  <a:gd name="T0" fmla="*/ 123 w 127"/>
                  <a:gd name="T1" fmla="*/ 59 h 68"/>
                  <a:gd name="T2" fmla="*/ 92 w 127"/>
                  <a:gd name="T3" fmla="*/ 72 h 68"/>
                  <a:gd name="T4" fmla="*/ 69 w 127"/>
                  <a:gd name="T5" fmla="*/ 80 h 68"/>
                  <a:gd name="T6" fmla="*/ 54 w 127"/>
                  <a:gd name="T7" fmla="*/ 70 h 68"/>
                  <a:gd name="T8" fmla="*/ 46 w 127"/>
                  <a:gd name="T9" fmla="*/ 70 h 68"/>
                  <a:gd name="T10" fmla="*/ 25 w 127"/>
                  <a:gd name="T11" fmla="*/ 69 h 68"/>
                  <a:gd name="T12" fmla="*/ 39 w 127"/>
                  <a:gd name="T13" fmla="*/ 63 h 68"/>
                  <a:gd name="T14" fmla="*/ 35 w 127"/>
                  <a:gd name="T15" fmla="*/ 54 h 68"/>
                  <a:gd name="T16" fmla="*/ 30 w 127"/>
                  <a:gd name="T17" fmla="*/ 46 h 68"/>
                  <a:gd name="T18" fmla="*/ 10 w 127"/>
                  <a:gd name="T19" fmla="*/ 48 h 68"/>
                  <a:gd name="T20" fmla="*/ 19 w 127"/>
                  <a:gd name="T21" fmla="*/ 42 h 68"/>
                  <a:gd name="T22" fmla="*/ 39 w 127"/>
                  <a:gd name="T23" fmla="*/ 40 h 68"/>
                  <a:gd name="T24" fmla="*/ 31 w 127"/>
                  <a:gd name="T25" fmla="*/ 37 h 68"/>
                  <a:gd name="T26" fmla="*/ 37 w 127"/>
                  <a:gd name="T27" fmla="*/ 33 h 68"/>
                  <a:gd name="T28" fmla="*/ 22 w 127"/>
                  <a:gd name="T29" fmla="*/ 28 h 68"/>
                  <a:gd name="T30" fmla="*/ 10 w 127"/>
                  <a:gd name="T31" fmla="*/ 33 h 68"/>
                  <a:gd name="T32" fmla="*/ 5 w 127"/>
                  <a:gd name="T33" fmla="*/ 27 h 68"/>
                  <a:gd name="T34" fmla="*/ 8 w 127"/>
                  <a:gd name="T35" fmla="*/ 22 h 68"/>
                  <a:gd name="T36" fmla="*/ 16 w 127"/>
                  <a:gd name="T37" fmla="*/ 22 h 68"/>
                  <a:gd name="T38" fmla="*/ 16 w 127"/>
                  <a:gd name="T39" fmla="*/ 18 h 68"/>
                  <a:gd name="T40" fmla="*/ 16 w 127"/>
                  <a:gd name="T41" fmla="*/ 7 h 68"/>
                  <a:gd name="T42" fmla="*/ 33 w 127"/>
                  <a:gd name="T43" fmla="*/ 19 h 68"/>
                  <a:gd name="T44" fmla="*/ 24 w 127"/>
                  <a:gd name="T45" fmla="*/ 8 h 68"/>
                  <a:gd name="T46" fmla="*/ 22 w 127"/>
                  <a:gd name="T47" fmla="*/ 4 h 68"/>
                  <a:gd name="T48" fmla="*/ 40 w 127"/>
                  <a:gd name="T49" fmla="*/ 12 h 68"/>
                  <a:gd name="T50" fmla="*/ 45 w 127"/>
                  <a:gd name="T51" fmla="*/ 18 h 68"/>
                  <a:gd name="T52" fmla="*/ 42 w 127"/>
                  <a:gd name="T53" fmla="*/ 22 h 68"/>
                  <a:gd name="T54" fmla="*/ 48 w 127"/>
                  <a:gd name="T55" fmla="*/ 39 h 68"/>
                  <a:gd name="T56" fmla="*/ 54 w 127"/>
                  <a:gd name="T57" fmla="*/ 25 h 68"/>
                  <a:gd name="T58" fmla="*/ 60 w 127"/>
                  <a:gd name="T59" fmla="*/ 25 h 68"/>
                  <a:gd name="T60" fmla="*/ 61 w 127"/>
                  <a:gd name="T61" fmla="*/ 12 h 68"/>
                  <a:gd name="T62" fmla="*/ 73 w 127"/>
                  <a:gd name="T63" fmla="*/ 27 h 68"/>
                  <a:gd name="T64" fmla="*/ 82 w 127"/>
                  <a:gd name="T65" fmla="*/ 11 h 68"/>
                  <a:gd name="T66" fmla="*/ 92 w 127"/>
                  <a:gd name="T67" fmla="*/ 23 h 68"/>
                  <a:gd name="T68" fmla="*/ 95 w 127"/>
                  <a:gd name="T69" fmla="*/ 13 h 68"/>
                  <a:gd name="T70" fmla="*/ 99 w 127"/>
                  <a:gd name="T71" fmla="*/ 17 h 68"/>
                  <a:gd name="T72" fmla="*/ 107 w 127"/>
                  <a:gd name="T73" fmla="*/ 10 h 68"/>
                  <a:gd name="T74" fmla="*/ 113 w 127"/>
                  <a:gd name="T75" fmla="*/ 7 h 68"/>
                  <a:gd name="T76" fmla="*/ 119 w 127"/>
                  <a:gd name="T77" fmla="*/ 4 h 68"/>
                  <a:gd name="T78" fmla="*/ 133 w 127"/>
                  <a:gd name="T79" fmla="*/ 7 h 68"/>
                  <a:gd name="T80" fmla="*/ 133 w 127"/>
                  <a:gd name="T81" fmla="*/ 16 h 68"/>
                  <a:gd name="T82" fmla="*/ 135 w 127"/>
                  <a:gd name="T83" fmla="*/ 24 h 68"/>
                  <a:gd name="T84" fmla="*/ 147 w 127"/>
                  <a:gd name="T85" fmla="*/ 29 h 68"/>
                  <a:gd name="T86" fmla="*/ 145 w 127"/>
                  <a:gd name="T87" fmla="*/ 39 h 68"/>
                  <a:gd name="T88" fmla="*/ 139 w 127"/>
                  <a:gd name="T89" fmla="*/ 55 h 68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27"/>
                  <a:gd name="T136" fmla="*/ 0 h 68"/>
                  <a:gd name="T137" fmla="*/ 127 w 127"/>
                  <a:gd name="T138" fmla="*/ 68 h 68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27" h="68">
                    <a:moveTo>
                      <a:pt x="115" y="46"/>
                    </a:moveTo>
                    <a:cubicBezTo>
                      <a:pt x="111" y="48"/>
                      <a:pt x="106" y="47"/>
                      <a:pt x="102" y="49"/>
                    </a:cubicBezTo>
                    <a:cubicBezTo>
                      <a:pt x="97" y="51"/>
                      <a:pt x="94" y="56"/>
                      <a:pt x="89" y="58"/>
                    </a:cubicBezTo>
                    <a:cubicBezTo>
                      <a:pt x="85" y="60"/>
                      <a:pt x="80" y="58"/>
                      <a:pt x="76" y="60"/>
                    </a:cubicBezTo>
                    <a:cubicBezTo>
                      <a:pt x="73" y="61"/>
                      <a:pt x="73" y="65"/>
                      <a:pt x="70" y="66"/>
                    </a:cubicBezTo>
                    <a:cubicBezTo>
                      <a:pt x="66" y="68"/>
                      <a:pt x="61" y="67"/>
                      <a:pt x="57" y="66"/>
                    </a:cubicBezTo>
                    <a:cubicBezTo>
                      <a:pt x="53" y="65"/>
                      <a:pt x="48" y="65"/>
                      <a:pt x="45" y="63"/>
                    </a:cubicBezTo>
                    <a:cubicBezTo>
                      <a:pt x="44" y="62"/>
                      <a:pt x="46" y="60"/>
                      <a:pt x="45" y="58"/>
                    </a:cubicBezTo>
                    <a:cubicBezTo>
                      <a:pt x="44" y="58"/>
                      <a:pt x="43" y="59"/>
                      <a:pt x="42" y="59"/>
                    </a:cubicBezTo>
                    <a:cubicBezTo>
                      <a:pt x="40" y="59"/>
                      <a:pt x="39" y="59"/>
                      <a:pt x="38" y="58"/>
                    </a:cubicBezTo>
                    <a:cubicBezTo>
                      <a:pt x="37" y="58"/>
                      <a:pt x="37" y="55"/>
                      <a:pt x="36" y="55"/>
                    </a:cubicBezTo>
                    <a:cubicBezTo>
                      <a:pt x="31" y="55"/>
                      <a:pt x="26" y="57"/>
                      <a:pt x="21" y="57"/>
                    </a:cubicBezTo>
                    <a:cubicBezTo>
                      <a:pt x="20" y="57"/>
                      <a:pt x="20" y="56"/>
                      <a:pt x="21" y="55"/>
                    </a:cubicBezTo>
                    <a:cubicBezTo>
                      <a:pt x="24" y="54"/>
                      <a:pt x="29" y="55"/>
                      <a:pt x="32" y="52"/>
                    </a:cubicBezTo>
                    <a:cubicBezTo>
                      <a:pt x="33" y="50"/>
                      <a:pt x="28" y="49"/>
                      <a:pt x="27" y="47"/>
                    </a:cubicBezTo>
                    <a:cubicBezTo>
                      <a:pt x="27" y="46"/>
                      <a:pt x="29" y="46"/>
                      <a:pt x="29" y="45"/>
                    </a:cubicBezTo>
                    <a:cubicBezTo>
                      <a:pt x="28" y="44"/>
                      <a:pt x="26" y="45"/>
                      <a:pt x="25" y="44"/>
                    </a:cubicBezTo>
                    <a:cubicBezTo>
                      <a:pt x="24" y="42"/>
                      <a:pt x="26" y="39"/>
                      <a:pt x="25" y="38"/>
                    </a:cubicBezTo>
                    <a:cubicBezTo>
                      <a:pt x="23" y="37"/>
                      <a:pt x="21" y="38"/>
                      <a:pt x="19" y="38"/>
                    </a:cubicBezTo>
                    <a:cubicBezTo>
                      <a:pt x="15" y="39"/>
                      <a:pt x="11" y="41"/>
                      <a:pt x="8" y="40"/>
                    </a:cubicBezTo>
                    <a:cubicBezTo>
                      <a:pt x="6" y="39"/>
                      <a:pt x="6" y="36"/>
                      <a:pt x="7" y="35"/>
                    </a:cubicBezTo>
                    <a:cubicBezTo>
                      <a:pt x="10" y="34"/>
                      <a:pt x="13" y="35"/>
                      <a:pt x="16" y="35"/>
                    </a:cubicBezTo>
                    <a:cubicBezTo>
                      <a:pt x="18" y="34"/>
                      <a:pt x="21" y="34"/>
                      <a:pt x="23" y="34"/>
                    </a:cubicBezTo>
                    <a:cubicBezTo>
                      <a:pt x="26" y="34"/>
                      <a:pt x="29" y="34"/>
                      <a:pt x="32" y="33"/>
                    </a:cubicBezTo>
                    <a:cubicBezTo>
                      <a:pt x="33" y="33"/>
                      <a:pt x="33" y="31"/>
                      <a:pt x="32" y="31"/>
                    </a:cubicBezTo>
                    <a:cubicBezTo>
                      <a:pt x="30" y="30"/>
                      <a:pt x="28" y="32"/>
                      <a:pt x="26" y="31"/>
                    </a:cubicBezTo>
                    <a:cubicBezTo>
                      <a:pt x="25" y="31"/>
                      <a:pt x="23" y="30"/>
                      <a:pt x="24" y="29"/>
                    </a:cubicBezTo>
                    <a:cubicBezTo>
                      <a:pt x="26" y="27"/>
                      <a:pt x="30" y="29"/>
                      <a:pt x="31" y="27"/>
                    </a:cubicBezTo>
                    <a:cubicBezTo>
                      <a:pt x="32" y="25"/>
                      <a:pt x="29" y="23"/>
                      <a:pt x="27" y="23"/>
                    </a:cubicBezTo>
                    <a:cubicBezTo>
                      <a:pt x="24" y="22"/>
                      <a:pt x="21" y="22"/>
                      <a:pt x="18" y="23"/>
                    </a:cubicBezTo>
                    <a:cubicBezTo>
                      <a:pt x="15" y="24"/>
                      <a:pt x="14" y="26"/>
                      <a:pt x="12" y="27"/>
                    </a:cubicBezTo>
                    <a:cubicBezTo>
                      <a:pt x="11" y="28"/>
                      <a:pt x="9" y="28"/>
                      <a:pt x="8" y="27"/>
                    </a:cubicBezTo>
                    <a:cubicBezTo>
                      <a:pt x="6" y="27"/>
                      <a:pt x="3" y="27"/>
                      <a:pt x="1" y="25"/>
                    </a:cubicBezTo>
                    <a:cubicBezTo>
                      <a:pt x="0" y="24"/>
                      <a:pt x="2" y="22"/>
                      <a:pt x="4" y="22"/>
                    </a:cubicBezTo>
                    <a:cubicBezTo>
                      <a:pt x="5" y="22"/>
                      <a:pt x="7" y="24"/>
                      <a:pt x="8" y="23"/>
                    </a:cubicBezTo>
                    <a:cubicBezTo>
                      <a:pt x="9" y="22"/>
                      <a:pt x="5" y="19"/>
                      <a:pt x="7" y="18"/>
                    </a:cubicBezTo>
                    <a:cubicBezTo>
                      <a:pt x="8" y="17"/>
                      <a:pt x="10" y="21"/>
                      <a:pt x="11" y="21"/>
                    </a:cubicBezTo>
                    <a:cubicBezTo>
                      <a:pt x="13" y="21"/>
                      <a:pt x="14" y="19"/>
                      <a:pt x="13" y="18"/>
                    </a:cubicBezTo>
                    <a:cubicBezTo>
                      <a:pt x="12" y="17"/>
                      <a:pt x="9" y="18"/>
                      <a:pt x="9" y="17"/>
                    </a:cubicBezTo>
                    <a:cubicBezTo>
                      <a:pt x="9" y="15"/>
                      <a:pt x="13" y="16"/>
                      <a:pt x="13" y="15"/>
                    </a:cubicBezTo>
                    <a:cubicBezTo>
                      <a:pt x="13" y="13"/>
                      <a:pt x="10" y="13"/>
                      <a:pt x="10" y="12"/>
                    </a:cubicBezTo>
                    <a:cubicBezTo>
                      <a:pt x="10" y="10"/>
                      <a:pt x="11" y="6"/>
                      <a:pt x="13" y="6"/>
                    </a:cubicBezTo>
                    <a:cubicBezTo>
                      <a:pt x="16" y="7"/>
                      <a:pt x="18" y="11"/>
                      <a:pt x="21" y="13"/>
                    </a:cubicBezTo>
                    <a:cubicBezTo>
                      <a:pt x="23" y="14"/>
                      <a:pt x="25" y="16"/>
                      <a:pt x="27" y="16"/>
                    </a:cubicBezTo>
                    <a:cubicBezTo>
                      <a:pt x="29" y="15"/>
                      <a:pt x="30" y="12"/>
                      <a:pt x="29" y="10"/>
                    </a:cubicBezTo>
                    <a:cubicBezTo>
                      <a:pt x="27" y="8"/>
                      <a:pt x="22" y="9"/>
                      <a:pt x="20" y="7"/>
                    </a:cubicBezTo>
                    <a:cubicBezTo>
                      <a:pt x="19" y="6"/>
                      <a:pt x="25" y="7"/>
                      <a:pt x="25" y="6"/>
                    </a:cubicBezTo>
                    <a:cubicBezTo>
                      <a:pt x="24" y="4"/>
                      <a:pt x="17" y="5"/>
                      <a:pt x="18" y="3"/>
                    </a:cubicBezTo>
                    <a:cubicBezTo>
                      <a:pt x="20" y="0"/>
                      <a:pt x="24" y="1"/>
                      <a:pt x="27" y="2"/>
                    </a:cubicBezTo>
                    <a:cubicBezTo>
                      <a:pt x="30" y="4"/>
                      <a:pt x="31" y="8"/>
                      <a:pt x="33" y="10"/>
                    </a:cubicBezTo>
                    <a:cubicBezTo>
                      <a:pt x="35" y="11"/>
                      <a:pt x="38" y="11"/>
                      <a:pt x="39" y="13"/>
                    </a:cubicBezTo>
                    <a:cubicBezTo>
                      <a:pt x="40" y="14"/>
                      <a:pt x="37" y="14"/>
                      <a:pt x="37" y="15"/>
                    </a:cubicBezTo>
                    <a:cubicBezTo>
                      <a:pt x="37" y="17"/>
                      <a:pt x="41" y="17"/>
                      <a:pt x="41" y="18"/>
                    </a:cubicBezTo>
                    <a:cubicBezTo>
                      <a:pt x="40" y="20"/>
                      <a:pt x="36" y="17"/>
                      <a:pt x="35" y="18"/>
                    </a:cubicBezTo>
                    <a:cubicBezTo>
                      <a:pt x="35" y="21"/>
                      <a:pt x="39" y="22"/>
                      <a:pt x="39" y="24"/>
                    </a:cubicBezTo>
                    <a:cubicBezTo>
                      <a:pt x="40" y="26"/>
                      <a:pt x="38" y="33"/>
                      <a:pt x="40" y="32"/>
                    </a:cubicBezTo>
                    <a:cubicBezTo>
                      <a:pt x="43" y="30"/>
                      <a:pt x="42" y="25"/>
                      <a:pt x="44" y="21"/>
                    </a:cubicBezTo>
                    <a:cubicBezTo>
                      <a:pt x="44" y="21"/>
                      <a:pt x="45" y="21"/>
                      <a:pt x="45" y="21"/>
                    </a:cubicBezTo>
                    <a:cubicBezTo>
                      <a:pt x="46" y="22"/>
                      <a:pt x="45" y="24"/>
                      <a:pt x="46" y="24"/>
                    </a:cubicBezTo>
                    <a:cubicBezTo>
                      <a:pt x="47" y="23"/>
                      <a:pt x="50" y="22"/>
                      <a:pt x="50" y="21"/>
                    </a:cubicBezTo>
                    <a:cubicBezTo>
                      <a:pt x="50" y="17"/>
                      <a:pt x="46" y="14"/>
                      <a:pt x="46" y="11"/>
                    </a:cubicBezTo>
                    <a:cubicBezTo>
                      <a:pt x="46" y="9"/>
                      <a:pt x="50" y="8"/>
                      <a:pt x="51" y="10"/>
                    </a:cubicBezTo>
                    <a:cubicBezTo>
                      <a:pt x="54" y="12"/>
                      <a:pt x="54" y="18"/>
                      <a:pt x="57" y="21"/>
                    </a:cubicBezTo>
                    <a:cubicBezTo>
                      <a:pt x="58" y="22"/>
                      <a:pt x="60" y="23"/>
                      <a:pt x="61" y="22"/>
                    </a:cubicBezTo>
                    <a:cubicBezTo>
                      <a:pt x="62" y="19"/>
                      <a:pt x="60" y="14"/>
                      <a:pt x="62" y="11"/>
                    </a:cubicBezTo>
                    <a:cubicBezTo>
                      <a:pt x="63" y="9"/>
                      <a:pt x="67" y="7"/>
                      <a:pt x="68" y="9"/>
                    </a:cubicBezTo>
                    <a:cubicBezTo>
                      <a:pt x="71" y="11"/>
                      <a:pt x="70" y="16"/>
                      <a:pt x="72" y="19"/>
                    </a:cubicBezTo>
                    <a:cubicBezTo>
                      <a:pt x="73" y="20"/>
                      <a:pt x="76" y="20"/>
                      <a:pt x="76" y="19"/>
                    </a:cubicBezTo>
                    <a:cubicBezTo>
                      <a:pt x="76" y="15"/>
                      <a:pt x="72" y="12"/>
                      <a:pt x="73" y="9"/>
                    </a:cubicBezTo>
                    <a:cubicBezTo>
                      <a:pt x="74" y="7"/>
                      <a:pt x="78" y="9"/>
                      <a:pt x="79" y="11"/>
                    </a:cubicBezTo>
                    <a:cubicBezTo>
                      <a:pt x="80" y="12"/>
                      <a:pt x="78" y="14"/>
                      <a:pt x="79" y="14"/>
                    </a:cubicBezTo>
                    <a:cubicBezTo>
                      <a:pt x="80" y="15"/>
                      <a:pt x="82" y="15"/>
                      <a:pt x="82" y="14"/>
                    </a:cubicBezTo>
                    <a:cubicBezTo>
                      <a:pt x="84" y="13"/>
                      <a:pt x="84" y="10"/>
                      <a:pt x="85" y="8"/>
                    </a:cubicBezTo>
                    <a:cubicBezTo>
                      <a:pt x="86" y="7"/>
                      <a:pt x="88" y="7"/>
                      <a:pt x="89" y="8"/>
                    </a:cubicBezTo>
                    <a:cubicBezTo>
                      <a:pt x="90" y="8"/>
                      <a:pt x="91" y="10"/>
                      <a:pt x="92" y="10"/>
                    </a:cubicBezTo>
                    <a:cubicBezTo>
                      <a:pt x="93" y="9"/>
                      <a:pt x="94" y="8"/>
                      <a:pt x="94" y="6"/>
                    </a:cubicBezTo>
                    <a:cubicBezTo>
                      <a:pt x="94" y="5"/>
                      <a:pt x="92" y="3"/>
                      <a:pt x="93" y="3"/>
                    </a:cubicBezTo>
                    <a:cubicBezTo>
                      <a:pt x="95" y="2"/>
                      <a:pt x="98" y="2"/>
                      <a:pt x="99" y="3"/>
                    </a:cubicBezTo>
                    <a:cubicBezTo>
                      <a:pt x="102" y="4"/>
                      <a:pt x="102" y="7"/>
                      <a:pt x="105" y="8"/>
                    </a:cubicBezTo>
                    <a:cubicBezTo>
                      <a:pt x="107" y="9"/>
                      <a:pt x="108" y="6"/>
                      <a:pt x="110" y="6"/>
                    </a:cubicBezTo>
                    <a:cubicBezTo>
                      <a:pt x="111" y="6"/>
                      <a:pt x="110" y="8"/>
                      <a:pt x="110" y="9"/>
                    </a:cubicBezTo>
                    <a:cubicBezTo>
                      <a:pt x="110" y="10"/>
                      <a:pt x="109" y="12"/>
                      <a:pt x="110" y="13"/>
                    </a:cubicBezTo>
                    <a:cubicBezTo>
                      <a:pt x="111" y="14"/>
                      <a:pt x="114" y="12"/>
                      <a:pt x="114" y="13"/>
                    </a:cubicBezTo>
                    <a:cubicBezTo>
                      <a:pt x="115" y="15"/>
                      <a:pt x="111" y="18"/>
                      <a:pt x="112" y="20"/>
                    </a:cubicBezTo>
                    <a:cubicBezTo>
                      <a:pt x="113" y="21"/>
                      <a:pt x="116" y="19"/>
                      <a:pt x="117" y="20"/>
                    </a:cubicBezTo>
                    <a:cubicBezTo>
                      <a:pt x="119" y="21"/>
                      <a:pt x="122" y="22"/>
                      <a:pt x="122" y="24"/>
                    </a:cubicBezTo>
                    <a:cubicBezTo>
                      <a:pt x="123" y="26"/>
                      <a:pt x="119" y="28"/>
                      <a:pt x="121" y="29"/>
                    </a:cubicBezTo>
                    <a:cubicBezTo>
                      <a:pt x="127" y="33"/>
                      <a:pt x="127" y="34"/>
                      <a:pt x="120" y="32"/>
                    </a:cubicBezTo>
                    <a:cubicBezTo>
                      <a:pt x="118" y="31"/>
                      <a:pt x="122" y="35"/>
                      <a:pt x="121" y="37"/>
                    </a:cubicBezTo>
                    <a:cubicBezTo>
                      <a:pt x="120" y="41"/>
                      <a:pt x="118" y="44"/>
                      <a:pt x="115" y="46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84" name="Freeform 3139"/>
              <p:cNvSpPr>
                <a:spLocks noChangeAspect="1"/>
              </p:cNvSpPr>
              <p:nvPr/>
            </p:nvSpPr>
            <p:spPr bwMode="auto">
              <a:xfrm>
                <a:off x="4302097" y="1745015"/>
                <a:ext cx="21251" cy="12461"/>
              </a:xfrm>
              <a:custGeom>
                <a:avLst/>
                <a:gdLst>
                  <a:gd name="T0" fmla="*/ 4 w 16"/>
                  <a:gd name="T1" fmla="*/ 15 h 13"/>
                  <a:gd name="T2" fmla="*/ 1 w 16"/>
                  <a:gd name="T3" fmla="*/ 13 h 13"/>
                  <a:gd name="T4" fmla="*/ 6 w 16"/>
                  <a:gd name="T5" fmla="*/ 7 h 13"/>
                  <a:gd name="T6" fmla="*/ 12 w 16"/>
                  <a:gd name="T7" fmla="*/ 1 h 13"/>
                  <a:gd name="T8" fmla="*/ 17 w 16"/>
                  <a:gd name="T9" fmla="*/ 1 h 13"/>
                  <a:gd name="T10" fmla="*/ 17 w 16"/>
                  <a:gd name="T11" fmla="*/ 7 h 13"/>
                  <a:gd name="T12" fmla="*/ 7 w 16"/>
                  <a:gd name="T13" fmla="*/ 9 h 13"/>
                  <a:gd name="T14" fmla="*/ 4 w 16"/>
                  <a:gd name="T15" fmla="*/ 15 h 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6"/>
                  <a:gd name="T25" fmla="*/ 0 h 13"/>
                  <a:gd name="T26" fmla="*/ 16 w 16"/>
                  <a:gd name="T27" fmla="*/ 13 h 1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6" h="13">
                    <a:moveTo>
                      <a:pt x="3" y="13"/>
                    </a:moveTo>
                    <a:cubicBezTo>
                      <a:pt x="2" y="13"/>
                      <a:pt x="0" y="12"/>
                      <a:pt x="1" y="11"/>
                    </a:cubicBezTo>
                    <a:cubicBezTo>
                      <a:pt x="1" y="9"/>
                      <a:pt x="3" y="7"/>
                      <a:pt x="5" y="6"/>
                    </a:cubicBezTo>
                    <a:cubicBezTo>
                      <a:pt x="7" y="4"/>
                      <a:pt x="8" y="2"/>
                      <a:pt x="10" y="1"/>
                    </a:cubicBezTo>
                    <a:cubicBezTo>
                      <a:pt x="12" y="1"/>
                      <a:pt x="13" y="0"/>
                      <a:pt x="14" y="1"/>
                    </a:cubicBezTo>
                    <a:cubicBezTo>
                      <a:pt x="15" y="2"/>
                      <a:pt x="16" y="5"/>
                      <a:pt x="14" y="6"/>
                    </a:cubicBezTo>
                    <a:cubicBezTo>
                      <a:pt x="12" y="8"/>
                      <a:pt x="9" y="7"/>
                      <a:pt x="6" y="8"/>
                    </a:cubicBezTo>
                    <a:cubicBezTo>
                      <a:pt x="5" y="9"/>
                      <a:pt x="4" y="12"/>
                      <a:pt x="3" y="1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85" name="Freeform 3147"/>
              <p:cNvSpPr>
                <a:spLocks noChangeAspect="1"/>
              </p:cNvSpPr>
              <p:nvPr/>
            </p:nvSpPr>
            <p:spPr bwMode="auto">
              <a:xfrm>
                <a:off x="6595004" y="2066482"/>
                <a:ext cx="15658" cy="9968"/>
              </a:xfrm>
              <a:custGeom>
                <a:avLst/>
                <a:gdLst>
                  <a:gd name="T0" fmla="*/ 13 w 12"/>
                  <a:gd name="T1" fmla="*/ 2 h 10"/>
                  <a:gd name="T2" fmla="*/ 11 w 12"/>
                  <a:gd name="T3" fmla="*/ 10 h 10"/>
                  <a:gd name="T4" fmla="*/ 2 w 12"/>
                  <a:gd name="T5" fmla="*/ 10 h 10"/>
                  <a:gd name="T6" fmla="*/ 6 w 12"/>
                  <a:gd name="T7" fmla="*/ 1 h 10"/>
                  <a:gd name="T8" fmla="*/ 13 w 12"/>
                  <a:gd name="T9" fmla="*/ 2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2"/>
                  <a:gd name="T16" fmla="*/ 0 h 10"/>
                  <a:gd name="T17" fmla="*/ 12 w 12"/>
                  <a:gd name="T18" fmla="*/ 10 h 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2" h="10">
                    <a:moveTo>
                      <a:pt x="11" y="2"/>
                    </a:moveTo>
                    <a:cubicBezTo>
                      <a:pt x="12" y="4"/>
                      <a:pt x="11" y="7"/>
                      <a:pt x="9" y="8"/>
                    </a:cubicBezTo>
                    <a:cubicBezTo>
                      <a:pt x="7" y="9"/>
                      <a:pt x="3" y="10"/>
                      <a:pt x="2" y="8"/>
                    </a:cubicBezTo>
                    <a:cubicBezTo>
                      <a:pt x="0" y="6"/>
                      <a:pt x="3" y="2"/>
                      <a:pt x="5" y="1"/>
                    </a:cubicBezTo>
                    <a:cubicBezTo>
                      <a:pt x="7" y="0"/>
                      <a:pt x="10" y="0"/>
                      <a:pt x="11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86" name="Freeform 3148"/>
              <p:cNvSpPr>
                <a:spLocks noChangeAspect="1"/>
              </p:cNvSpPr>
              <p:nvPr/>
            </p:nvSpPr>
            <p:spPr bwMode="auto">
              <a:xfrm>
                <a:off x="6977529" y="1994213"/>
                <a:ext cx="15658" cy="12461"/>
              </a:xfrm>
              <a:custGeom>
                <a:avLst/>
                <a:gdLst>
                  <a:gd name="T0" fmla="*/ 12 w 12"/>
                  <a:gd name="T1" fmla="*/ 1 h 13"/>
                  <a:gd name="T2" fmla="*/ 12 w 12"/>
                  <a:gd name="T3" fmla="*/ 8 h 13"/>
                  <a:gd name="T4" fmla="*/ 0 w 12"/>
                  <a:gd name="T5" fmla="*/ 14 h 13"/>
                  <a:gd name="T6" fmla="*/ 2 w 12"/>
                  <a:gd name="T7" fmla="*/ 3 h 13"/>
                  <a:gd name="T8" fmla="*/ 12 w 12"/>
                  <a:gd name="T9" fmla="*/ 1 h 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2"/>
                  <a:gd name="T16" fmla="*/ 0 h 13"/>
                  <a:gd name="T17" fmla="*/ 12 w 12"/>
                  <a:gd name="T18" fmla="*/ 13 h 1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2" h="13">
                    <a:moveTo>
                      <a:pt x="10" y="1"/>
                    </a:moveTo>
                    <a:cubicBezTo>
                      <a:pt x="12" y="2"/>
                      <a:pt x="11" y="5"/>
                      <a:pt x="10" y="7"/>
                    </a:cubicBezTo>
                    <a:cubicBezTo>
                      <a:pt x="8" y="10"/>
                      <a:pt x="4" y="13"/>
                      <a:pt x="0" y="12"/>
                    </a:cubicBezTo>
                    <a:cubicBezTo>
                      <a:pt x="1" y="10"/>
                      <a:pt x="0" y="5"/>
                      <a:pt x="2" y="3"/>
                    </a:cubicBezTo>
                    <a:cubicBezTo>
                      <a:pt x="4" y="1"/>
                      <a:pt x="8" y="0"/>
                      <a:pt x="10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87" name="Freeform 3160"/>
              <p:cNvSpPr>
                <a:spLocks noChangeAspect="1"/>
              </p:cNvSpPr>
              <p:nvPr/>
            </p:nvSpPr>
            <p:spPr bwMode="auto">
              <a:xfrm>
                <a:off x="6478682" y="2854785"/>
                <a:ext cx="4474" cy="3322"/>
              </a:xfrm>
              <a:custGeom>
                <a:avLst/>
                <a:gdLst>
                  <a:gd name="T0" fmla="*/ 2 w 4"/>
                  <a:gd name="T1" fmla="*/ 3 h 4"/>
                  <a:gd name="T2" fmla="*/ 0 w 4"/>
                  <a:gd name="T3" fmla="*/ 3 h 4"/>
                  <a:gd name="T4" fmla="*/ 1 w 4"/>
                  <a:gd name="T5" fmla="*/ 1 h 4"/>
                  <a:gd name="T6" fmla="*/ 3 w 4"/>
                  <a:gd name="T7" fmla="*/ 0 h 4"/>
                  <a:gd name="T8" fmla="*/ 2 w 4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2" y="3"/>
                    </a:moveTo>
                    <a:cubicBezTo>
                      <a:pt x="1" y="3"/>
                      <a:pt x="0" y="4"/>
                      <a:pt x="0" y="3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1"/>
                      <a:pt x="3" y="0"/>
                      <a:pt x="3" y="0"/>
                    </a:cubicBezTo>
                    <a:cubicBezTo>
                      <a:pt x="4" y="1"/>
                      <a:pt x="2" y="2"/>
                      <a:pt x="2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88" name="Freeform 3225"/>
              <p:cNvSpPr>
                <a:spLocks noChangeAspect="1"/>
              </p:cNvSpPr>
              <p:nvPr/>
            </p:nvSpPr>
            <p:spPr bwMode="auto">
              <a:xfrm>
                <a:off x="6882456" y="2209356"/>
                <a:ext cx="8948" cy="9138"/>
              </a:xfrm>
              <a:custGeom>
                <a:avLst/>
                <a:gdLst>
                  <a:gd name="T0" fmla="*/ 3 w 7"/>
                  <a:gd name="T1" fmla="*/ 7 h 9"/>
                  <a:gd name="T2" fmla="*/ 1 w 7"/>
                  <a:gd name="T3" fmla="*/ 10 h 9"/>
                  <a:gd name="T4" fmla="*/ 2 w 7"/>
                  <a:gd name="T5" fmla="*/ 5 h 9"/>
                  <a:gd name="T6" fmla="*/ 7 w 7"/>
                  <a:gd name="T7" fmla="*/ 1 h 9"/>
                  <a:gd name="T8" fmla="*/ 3 w 7"/>
                  <a:gd name="T9" fmla="*/ 7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9"/>
                  <a:gd name="T17" fmla="*/ 7 w 7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9">
                    <a:moveTo>
                      <a:pt x="3" y="6"/>
                    </a:moveTo>
                    <a:cubicBezTo>
                      <a:pt x="3" y="7"/>
                      <a:pt x="1" y="9"/>
                      <a:pt x="1" y="8"/>
                    </a:cubicBezTo>
                    <a:cubicBezTo>
                      <a:pt x="0" y="7"/>
                      <a:pt x="1" y="5"/>
                      <a:pt x="2" y="4"/>
                    </a:cubicBezTo>
                    <a:cubicBezTo>
                      <a:pt x="3" y="3"/>
                      <a:pt x="5" y="0"/>
                      <a:pt x="6" y="1"/>
                    </a:cubicBezTo>
                    <a:cubicBezTo>
                      <a:pt x="7" y="2"/>
                      <a:pt x="5" y="5"/>
                      <a:pt x="3" y="6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89" name="Freeform 3226"/>
              <p:cNvSpPr>
                <a:spLocks noChangeAspect="1"/>
              </p:cNvSpPr>
              <p:nvPr/>
            </p:nvSpPr>
            <p:spPr bwMode="auto">
              <a:xfrm>
                <a:off x="6855612" y="2225970"/>
                <a:ext cx="12304" cy="11630"/>
              </a:xfrm>
              <a:custGeom>
                <a:avLst/>
                <a:gdLst>
                  <a:gd name="T0" fmla="*/ 5 w 9"/>
                  <a:gd name="T1" fmla="*/ 9 h 11"/>
                  <a:gd name="T2" fmla="*/ 0 w 9"/>
                  <a:gd name="T3" fmla="*/ 13 h 11"/>
                  <a:gd name="T4" fmla="*/ 4 w 9"/>
                  <a:gd name="T5" fmla="*/ 6 h 11"/>
                  <a:gd name="T6" fmla="*/ 10 w 9"/>
                  <a:gd name="T7" fmla="*/ 1 h 11"/>
                  <a:gd name="T8" fmla="*/ 5 w 9"/>
                  <a:gd name="T9" fmla="*/ 9 h 1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11"/>
                  <a:gd name="T17" fmla="*/ 9 w 9"/>
                  <a:gd name="T18" fmla="*/ 11 h 1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11">
                    <a:moveTo>
                      <a:pt x="4" y="7"/>
                    </a:moveTo>
                    <a:cubicBezTo>
                      <a:pt x="3" y="9"/>
                      <a:pt x="1" y="11"/>
                      <a:pt x="0" y="10"/>
                    </a:cubicBezTo>
                    <a:cubicBezTo>
                      <a:pt x="0" y="9"/>
                      <a:pt x="1" y="7"/>
                      <a:pt x="3" y="5"/>
                    </a:cubicBezTo>
                    <a:cubicBezTo>
                      <a:pt x="4" y="3"/>
                      <a:pt x="7" y="0"/>
                      <a:pt x="8" y="1"/>
                    </a:cubicBezTo>
                    <a:cubicBezTo>
                      <a:pt x="9" y="2"/>
                      <a:pt x="6" y="5"/>
                      <a:pt x="4" y="7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90" name="Freeform 3227"/>
              <p:cNvSpPr>
                <a:spLocks noChangeAspect="1"/>
              </p:cNvSpPr>
              <p:nvPr/>
            </p:nvSpPr>
            <p:spPr bwMode="auto">
              <a:xfrm>
                <a:off x="6911537" y="2168653"/>
                <a:ext cx="4474" cy="4984"/>
              </a:xfrm>
              <a:custGeom>
                <a:avLst/>
                <a:gdLst>
                  <a:gd name="T0" fmla="*/ 3 w 3"/>
                  <a:gd name="T1" fmla="*/ 5 h 5"/>
                  <a:gd name="T2" fmla="*/ 0 w 3"/>
                  <a:gd name="T3" fmla="*/ 6 h 5"/>
                  <a:gd name="T4" fmla="*/ 1 w 3"/>
                  <a:gd name="T5" fmla="*/ 4 h 5"/>
                  <a:gd name="T6" fmla="*/ 3 w 3"/>
                  <a:gd name="T7" fmla="*/ 1 h 5"/>
                  <a:gd name="T8" fmla="*/ 3 w 3"/>
                  <a:gd name="T9" fmla="*/ 5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5"/>
                  <a:gd name="T17" fmla="*/ 3 w 3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5">
                    <a:moveTo>
                      <a:pt x="2" y="4"/>
                    </a:moveTo>
                    <a:cubicBezTo>
                      <a:pt x="1" y="4"/>
                      <a:pt x="1" y="5"/>
                      <a:pt x="0" y="5"/>
                    </a:cubicBezTo>
                    <a:cubicBezTo>
                      <a:pt x="0" y="5"/>
                      <a:pt x="0" y="3"/>
                      <a:pt x="1" y="3"/>
                    </a:cubicBezTo>
                    <a:cubicBezTo>
                      <a:pt x="1" y="2"/>
                      <a:pt x="2" y="0"/>
                      <a:pt x="2" y="1"/>
                    </a:cubicBezTo>
                    <a:cubicBezTo>
                      <a:pt x="3" y="1"/>
                      <a:pt x="2" y="3"/>
                      <a:pt x="2" y="4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91" name="Freeform 3228"/>
              <p:cNvSpPr>
                <a:spLocks noChangeAspect="1"/>
              </p:cNvSpPr>
              <p:nvPr/>
            </p:nvSpPr>
            <p:spPr bwMode="auto">
              <a:xfrm>
                <a:off x="6905945" y="2179452"/>
                <a:ext cx="4474" cy="4984"/>
              </a:xfrm>
              <a:custGeom>
                <a:avLst/>
                <a:gdLst>
                  <a:gd name="T0" fmla="*/ 3 w 3"/>
                  <a:gd name="T1" fmla="*/ 4 h 5"/>
                  <a:gd name="T2" fmla="*/ 0 w 3"/>
                  <a:gd name="T3" fmla="*/ 5 h 5"/>
                  <a:gd name="T4" fmla="*/ 0 w 3"/>
                  <a:gd name="T5" fmla="*/ 2 h 5"/>
                  <a:gd name="T6" fmla="*/ 3 w 3"/>
                  <a:gd name="T7" fmla="*/ 0 h 5"/>
                  <a:gd name="T8" fmla="*/ 3 w 3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5"/>
                  <a:gd name="T17" fmla="*/ 3 w 3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5">
                    <a:moveTo>
                      <a:pt x="2" y="3"/>
                    </a:moveTo>
                    <a:cubicBezTo>
                      <a:pt x="1" y="4"/>
                      <a:pt x="0" y="5"/>
                      <a:pt x="0" y="4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1" y="1"/>
                      <a:pt x="2" y="0"/>
                      <a:pt x="2" y="0"/>
                    </a:cubicBezTo>
                    <a:cubicBezTo>
                      <a:pt x="3" y="1"/>
                      <a:pt x="2" y="2"/>
                      <a:pt x="2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92" name="Freeform 3235"/>
              <p:cNvSpPr>
                <a:spLocks noChangeAspect="1"/>
              </p:cNvSpPr>
              <p:nvPr/>
            </p:nvSpPr>
            <p:spPr bwMode="auto">
              <a:xfrm>
                <a:off x="6506642" y="2835679"/>
                <a:ext cx="6712" cy="2493"/>
              </a:xfrm>
              <a:custGeom>
                <a:avLst/>
                <a:gdLst>
                  <a:gd name="T0" fmla="*/ 2 w 5"/>
                  <a:gd name="T1" fmla="*/ 3 h 3"/>
                  <a:gd name="T2" fmla="*/ 0 w 5"/>
                  <a:gd name="T3" fmla="*/ 2 h 3"/>
                  <a:gd name="T4" fmla="*/ 2 w 5"/>
                  <a:gd name="T5" fmla="*/ 1 h 3"/>
                  <a:gd name="T6" fmla="*/ 6 w 5"/>
                  <a:gd name="T7" fmla="*/ 2 h 3"/>
                  <a:gd name="T8" fmla="*/ 2 w 5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3"/>
                  <a:gd name="T17" fmla="*/ 5 w 5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3">
                    <a:moveTo>
                      <a:pt x="2" y="3"/>
                    </a:moveTo>
                    <a:cubicBezTo>
                      <a:pt x="2" y="3"/>
                      <a:pt x="0" y="3"/>
                      <a:pt x="0" y="2"/>
                    </a:cubicBezTo>
                    <a:cubicBezTo>
                      <a:pt x="0" y="1"/>
                      <a:pt x="1" y="1"/>
                      <a:pt x="2" y="1"/>
                    </a:cubicBezTo>
                    <a:cubicBezTo>
                      <a:pt x="3" y="1"/>
                      <a:pt x="5" y="0"/>
                      <a:pt x="5" y="2"/>
                    </a:cubicBezTo>
                    <a:cubicBezTo>
                      <a:pt x="5" y="3"/>
                      <a:pt x="3" y="3"/>
                      <a:pt x="2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93" name="Freeform 3236"/>
              <p:cNvSpPr>
                <a:spLocks noChangeAspect="1"/>
              </p:cNvSpPr>
              <p:nvPr/>
            </p:nvSpPr>
            <p:spPr bwMode="auto">
              <a:xfrm>
                <a:off x="6493222" y="2844816"/>
                <a:ext cx="3356" cy="1661"/>
              </a:xfrm>
              <a:custGeom>
                <a:avLst/>
                <a:gdLst>
                  <a:gd name="T0" fmla="*/ 1 w 3"/>
                  <a:gd name="T1" fmla="*/ 2 h 2"/>
                  <a:gd name="T2" fmla="*/ 0 w 3"/>
                  <a:gd name="T3" fmla="*/ 1 h 2"/>
                  <a:gd name="T4" fmla="*/ 1 w 3"/>
                  <a:gd name="T5" fmla="*/ 0 h 2"/>
                  <a:gd name="T6" fmla="*/ 3 w 3"/>
                  <a:gd name="T7" fmla="*/ 1 h 2"/>
                  <a:gd name="T8" fmla="*/ 1 w 3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1" y="2"/>
                    </a:moveTo>
                    <a:cubicBezTo>
                      <a:pt x="1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3" y="2"/>
                      <a:pt x="2" y="2"/>
                      <a:pt x="1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94" name="Freeform 3271"/>
              <p:cNvSpPr>
                <a:spLocks noChangeAspect="1"/>
              </p:cNvSpPr>
              <p:nvPr/>
            </p:nvSpPr>
            <p:spPr bwMode="auto">
              <a:xfrm>
                <a:off x="6589412" y="2069804"/>
                <a:ext cx="5593" cy="3322"/>
              </a:xfrm>
              <a:custGeom>
                <a:avLst/>
                <a:gdLst>
                  <a:gd name="T0" fmla="*/ 5 w 4"/>
                  <a:gd name="T1" fmla="*/ 3 h 3"/>
                  <a:gd name="T2" fmla="*/ 3 w 4"/>
                  <a:gd name="T3" fmla="*/ 4 h 3"/>
                  <a:gd name="T4" fmla="*/ 0 w 4"/>
                  <a:gd name="T5" fmla="*/ 3 h 3"/>
                  <a:gd name="T6" fmla="*/ 3 w 4"/>
                  <a:gd name="T7" fmla="*/ 0 h 3"/>
                  <a:gd name="T8" fmla="*/ 5 w 4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4" y="2"/>
                    </a:moveTo>
                    <a:cubicBezTo>
                      <a:pt x="4" y="3"/>
                      <a:pt x="3" y="3"/>
                      <a:pt x="2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2" y="0"/>
                    </a:cubicBezTo>
                    <a:cubicBezTo>
                      <a:pt x="4" y="0"/>
                      <a:pt x="4" y="1"/>
                      <a:pt x="4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95" name="Freeform 3279"/>
              <p:cNvSpPr>
                <a:spLocks noChangeAspect="1"/>
              </p:cNvSpPr>
              <p:nvPr/>
            </p:nvSpPr>
            <p:spPr bwMode="auto">
              <a:xfrm>
                <a:off x="6427232" y="2824881"/>
                <a:ext cx="4474" cy="2493"/>
              </a:xfrm>
              <a:custGeom>
                <a:avLst/>
                <a:gdLst>
                  <a:gd name="T0" fmla="*/ 1 w 3"/>
                  <a:gd name="T1" fmla="*/ 2 h 3"/>
                  <a:gd name="T2" fmla="*/ 0 w 3"/>
                  <a:gd name="T3" fmla="*/ 2 h 3"/>
                  <a:gd name="T4" fmla="*/ 1 w 3"/>
                  <a:gd name="T5" fmla="*/ 1 h 3"/>
                  <a:gd name="T6" fmla="*/ 3 w 3"/>
                  <a:gd name="T7" fmla="*/ 1 h 3"/>
                  <a:gd name="T8" fmla="*/ 1 w 3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1" y="2"/>
                    </a:moveTo>
                    <a:cubicBezTo>
                      <a:pt x="1" y="2"/>
                      <a:pt x="0" y="3"/>
                      <a:pt x="0" y="2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1" y="1"/>
                      <a:pt x="2" y="0"/>
                      <a:pt x="2" y="1"/>
                    </a:cubicBezTo>
                    <a:cubicBezTo>
                      <a:pt x="3" y="2"/>
                      <a:pt x="2" y="2"/>
                      <a:pt x="1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96" name="Freeform 3280"/>
              <p:cNvSpPr>
                <a:spLocks noChangeAspect="1"/>
              </p:cNvSpPr>
              <p:nvPr/>
            </p:nvSpPr>
            <p:spPr bwMode="auto">
              <a:xfrm>
                <a:off x="5049250" y="3639763"/>
                <a:ext cx="3356" cy="3322"/>
              </a:xfrm>
              <a:custGeom>
                <a:avLst/>
                <a:gdLst>
                  <a:gd name="T0" fmla="*/ 2 w 2"/>
                  <a:gd name="T1" fmla="*/ 3 h 3"/>
                  <a:gd name="T2" fmla="*/ 0 w 2"/>
                  <a:gd name="T3" fmla="*/ 3 h 3"/>
                  <a:gd name="T4" fmla="*/ 2 w 2"/>
                  <a:gd name="T5" fmla="*/ 1 h 3"/>
                  <a:gd name="T6" fmla="*/ 3 w 2"/>
                  <a:gd name="T7" fmla="*/ 1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2"/>
                    </a:moveTo>
                    <a:cubicBezTo>
                      <a:pt x="1" y="2"/>
                      <a:pt x="0" y="3"/>
                      <a:pt x="0" y="2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2" y="0"/>
                      <a:pt x="2" y="1"/>
                    </a:cubicBezTo>
                    <a:cubicBezTo>
                      <a:pt x="2" y="2"/>
                      <a:pt x="1" y="2"/>
                      <a:pt x="1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97" name="Freeform 3409"/>
              <p:cNvSpPr>
                <a:spLocks noChangeAspect="1"/>
              </p:cNvSpPr>
              <p:nvPr/>
            </p:nvSpPr>
            <p:spPr bwMode="auto">
              <a:xfrm>
                <a:off x="6928315" y="2146226"/>
                <a:ext cx="2237" cy="2493"/>
              </a:xfrm>
              <a:custGeom>
                <a:avLst/>
                <a:gdLst>
                  <a:gd name="T0" fmla="*/ 2 w 2"/>
                  <a:gd name="T1" fmla="*/ 2 h 2"/>
                  <a:gd name="T2" fmla="*/ 1 w 2"/>
                  <a:gd name="T3" fmla="*/ 3 h 2"/>
                  <a:gd name="T4" fmla="*/ 0 w 2"/>
                  <a:gd name="T5" fmla="*/ 2 h 2"/>
                  <a:gd name="T6" fmla="*/ 1 w 2"/>
                  <a:gd name="T7" fmla="*/ 0 h 2"/>
                  <a:gd name="T8" fmla="*/ 2 w 2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2" y="1"/>
                    </a:moveTo>
                    <a:cubicBezTo>
                      <a:pt x="2" y="2"/>
                      <a:pt x="2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98" name="Freeform 3410"/>
              <p:cNvSpPr>
                <a:spLocks noChangeAspect="1"/>
              </p:cNvSpPr>
              <p:nvPr/>
            </p:nvSpPr>
            <p:spPr bwMode="auto">
              <a:xfrm>
                <a:off x="6896997" y="2199388"/>
                <a:ext cx="1119" cy="1661"/>
              </a:xfrm>
              <a:custGeom>
                <a:avLst/>
                <a:gdLst>
                  <a:gd name="T0" fmla="*/ 1 w 1"/>
                  <a:gd name="T1" fmla="*/ 1 h 2"/>
                  <a:gd name="T2" fmla="*/ 0 w 1"/>
                  <a:gd name="T3" fmla="*/ 2 h 2"/>
                  <a:gd name="T4" fmla="*/ 0 w 1"/>
                  <a:gd name="T5" fmla="*/ 1 h 2"/>
                  <a:gd name="T6" fmla="*/ 0 w 1"/>
                  <a:gd name="T7" fmla="*/ 0 h 2"/>
                  <a:gd name="T8" fmla="*/ 1 w 1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2"/>
                  <a:gd name="T17" fmla="*/ 1 w 1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2">
                    <a:moveTo>
                      <a:pt x="1" y="1"/>
                    </a:moveTo>
                    <a:cubicBezTo>
                      <a:pt x="1" y="2"/>
                      <a:pt x="1" y="2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1" y="0"/>
                      <a:pt x="1" y="1"/>
                      <a:pt x="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99" name="Freeform 3454"/>
              <p:cNvSpPr>
                <a:spLocks noChangeAspect="1"/>
              </p:cNvSpPr>
              <p:nvPr/>
            </p:nvSpPr>
            <p:spPr bwMode="auto">
              <a:xfrm>
                <a:off x="7042402" y="2063991"/>
                <a:ext cx="21251" cy="14953"/>
              </a:xfrm>
              <a:custGeom>
                <a:avLst/>
                <a:gdLst>
                  <a:gd name="T0" fmla="*/ 4 w 16"/>
                  <a:gd name="T1" fmla="*/ 0 h 15"/>
                  <a:gd name="T2" fmla="*/ 8 w 16"/>
                  <a:gd name="T3" fmla="*/ 1 h 15"/>
                  <a:gd name="T4" fmla="*/ 8 w 16"/>
                  <a:gd name="T5" fmla="*/ 5 h 15"/>
                  <a:gd name="T6" fmla="*/ 19 w 16"/>
                  <a:gd name="T7" fmla="*/ 14 h 15"/>
                  <a:gd name="T8" fmla="*/ 18 w 16"/>
                  <a:gd name="T9" fmla="*/ 17 h 15"/>
                  <a:gd name="T10" fmla="*/ 8 w 16"/>
                  <a:gd name="T11" fmla="*/ 10 h 15"/>
                  <a:gd name="T12" fmla="*/ 0 w 16"/>
                  <a:gd name="T13" fmla="*/ 4 h 15"/>
                  <a:gd name="T14" fmla="*/ 4 w 16"/>
                  <a:gd name="T15" fmla="*/ 0 h 1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6"/>
                  <a:gd name="T25" fmla="*/ 0 h 15"/>
                  <a:gd name="T26" fmla="*/ 16 w 16"/>
                  <a:gd name="T27" fmla="*/ 15 h 1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6" h="15">
                    <a:moveTo>
                      <a:pt x="3" y="0"/>
                    </a:moveTo>
                    <a:cubicBezTo>
                      <a:pt x="4" y="0"/>
                      <a:pt x="6" y="0"/>
                      <a:pt x="7" y="1"/>
                    </a:cubicBezTo>
                    <a:cubicBezTo>
                      <a:pt x="7" y="2"/>
                      <a:pt x="6" y="3"/>
                      <a:pt x="7" y="4"/>
                    </a:cubicBezTo>
                    <a:cubicBezTo>
                      <a:pt x="9" y="7"/>
                      <a:pt x="13" y="9"/>
                      <a:pt x="16" y="12"/>
                    </a:cubicBezTo>
                    <a:cubicBezTo>
                      <a:pt x="16" y="13"/>
                      <a:pt x="16" y="15"/>
                      <a:pt x="15" y="14"/>
                    </a:cubicBezTo>
                    <a:cubicBezTo>
                      <a:pt x="12" y="13"/>
                      <a:pt x="10" y="10"/>
                      <a:pt x="7" y="8"/>
                    </a:cubicBezTo>
                    <a:cubicBezTo>
                      <a:pt x="5" y="6"/>
                      <a:pt x="2" y="6"/>
                      <a:pt x="0" y="3"/>
                    </a:cubicBezTo>
                    <a:cubicBezTo>
                      <a:pt x="0" y="2"/>
                      <a:pt x="2" y="1"/>
                      <a:pt x="3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900" name="Freeform 3455"/>
              <p:cNvSpPr>
                <a:spLocks noChangeAspect="1"/>
              </p:cNvSpPr>
              <p:nvPr/>
            </p:nvSpPr>
            <p:spPr bwMode="auto">
              <a:xfrm>
                <a:off x="7072600" y="2074788"/>
                <a:ext cx="12304" cy="6645"/>
              </a:xfrm>
              <a:custGeom>
                <a:avLst/>
                <a:gdLst>
                  <a:gd name="T0" fmla="*/ 4 w 9"/>
                  <a:gd name="T1" fmla="*/ 0 h 7"/>
                  <a:gd name="T2" fmla="*/ 0 w 9"/>
                  <a:gd name="T3" fmla="*/ 2 h 7"/>
                  <a:gd name="T4" fmla="*/ 9 w 9"/>
                  <a:gd name="T5" fmla="*/ 7 h 7"/>
                  <a:gd name="T6" fmla="*/ 11 w 9"/>
                  <a:gd name="T7" fmla="*/ 6 h 7"/>
                  <a:gd name="T8" fmla="*/ 4 w 9"/>
                  <a:gd name="T9" fmla="*/ 0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7"/>
                  <a:gd name="T17" fmla="*/ 9 w 9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7">
                    <a:moveTo>
                      <a:pt x="3" y="0"/>
                    </a:moveTo>
                    <a:cubicBezTo>
                      <a:pt x="2" y="0"/>
                      <a:pt x="0" y="1"/>
                      <a:pt x="0" y="2"/>
                    </a:cubicBezTo>
                    <a:cubicBezTo>
                      <a:pt x="2" y="4"/>
                      <a:pt x="5" y="5"/>
                      <a:pt x="7" y="6"/>
                    </a:cubicBezTo>
                    <a:cubicBezTo>
                      <a:pt x="8" y="7"/>
                      <a:pt x="9" y="6"/>
                      <a:pt x="9" y="5"/>
                    </a:cubicBezTo>
                    <a:cubicBezTo>
                      <a:pt x="7" y="3"/>
                      <a:pt x="5" y="1"/>
                      <a:pt x="3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901" name="Freeform 3456"/>
              <p:cNvSpPr>
                <a:spLocks noChangeAspect="1"/>
              </p:cNvSpPr>
              <p:nvPr/>
            </p:nvSpPr>
            <p:spPr bwMode="auto">
              <a:xfrm>
                <a:off x="6914893" y="2148718"/>
                <a:ext cx="13422" cy="14122"/>
              </a:xfrm>
              <a:custGeom>
                <a:avLst/>
                <a:gdLst>
                  <a:gd name="T0" fmla="*/ 11 w 10"/>
                  <a:gd name="T1" fmla="*/ 0 h 14"/>
                  <a:gd name="T2" fmla="*/ 7 w 10"/>
                  <a:gd name="T3" fmla="*/ 0 h 14"/>
                  <a:gd name="T4" fmla="*/ 4 w 10"/>
                  <a:gd name="T5" fmla="*/ 9 h 14"/>
                  <a:gd name="T6" fmla="*/ 0 w 10"/>
                  <a:gd name="T7" fmla="*/ 11 h 14"/>
                  <a:gd name="T8" fmla="*/ 4 w 10"/>
                  <a:gd name="T9" fmla="*/ 17 h 14"/>
                  <a:gd name="T10" fmla="*/ 10 w 10"/>
                  <a:gd name="T11" fmla="*/ 10 h 14"/>
                  <a:gd name="T12" fmla="*/ 12 w 10"/>
                  <a:gd name="T13" fmla="*/ 5 h 14"/>
                  <a:gd name="T14" fmla="*/ 11 w 10"/>
                  <a:gd name="T15" fmla="*/ 0 h 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0"/>
                  <a:gd name="T25" fmla="*/ 0 h 14"/>
                  <a:gd name="T26" fmla="*/ 10 w 10"/>
                  <a:gd name="T27" fmla="*/ 14 h 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0" h="14">
                    <a:moveTo>
                      <a:pt x="9" y="0"/>
                    </a:moveTo>
                    <a:cubicBezTo>
                      <a:pt x="8" y="0"/>
                      <a:pt x="7" y="0"/>
                      <a:pt x="6" y="0"/>
                    </a:cubicBezTo>
                    <a:cubicBezTo>
                      <a:pt x="5" y="2"/>
                      <a:pt x="5" y="5"/>
                      <a:pt x="3" y="7"/>
                    </a:cubicBezTo>
                    <a:cubicBezTo>
                      <a:pt x="3" y="8"/>
                      <a:pt x="0" y="8"/>
                      <a:pt x="0" y="9"/>
                    </a:cubicBezTo>
                    <a:cubicBezTo>
                      <a:pt x="0" y="11"/>
                      <a:pt x="1" y="14"/>
                      <a:pt x="3" y="14"/>
                    </a:cubicBezTo>
                    <a:cubicBezTo>
                      <a:pt x="6" y="13"/>
                      <a:pt x="6" y="10"/>
                      <a:pt x="8" y="8"/>
                    </a:cubicBezTo>
                    <a:cubicBezTo>
                      <a:pt x="9" y="6"/>
                      <a:pt x="10" y="5"/>
                      <a:pt x="10" y="4"/>
                    </a:cubicBezTo>
                    <a:cubicBezTo>
                      <a:pt x="10" y="2"/>
                      <a:pt x="10" y="1"/>
                      <a:pt x="9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902" name="Freeform 3457"/>
              <p:cNvSpPr>
                <a:spLocks noChangeAspect="1"/>
              </p:cNvSpPr>
              <p:nvPr/>
            </p:nvSpPr>
            <p:spPr bwMode="auto">
              <a:xfrm>
                <a:off x="6818704" y="2237599"/>
                <a:ext cx="26844" cy="19936"/>
              </a:xfrm>
              <a:custGeom>
                <a:avLst/>
                <a:gdLst>
                  <a:gd name="T0" fmla="*/ 23 w 20"/>
                  <a:gd name="T1" fmla="*/ 0 h 20"/>
                  <a:gd name="T2" fmla="*/ 23 w 20"/>
                  <a:gd name="T3" fmla="*/ 4 h 20"/>
                  <a:gd name="T4" fmla="*/ 19 w 20"/>
                  <a:gd name="T5" fmla="*/ 4 h 20"/>
                  <a:gd name="T6" fmla="*/ 12 w 20"/>
                  <a:gd name="T7" fmla="*/ 12 h 20"/>
                  <a:gd name="T8" fmla="*/ 8 w 20"/>
                  <a:gd name="T9" fmla="*/ 13 h 20"/>
                  <a:gd name="T10" fmla="*/ 1 w 20"/>
                  <a:gd name="T11" fmla="*/ 24 h 20"/>
                  <a:gd name="T12" fmla="*/ 0 w 20"/>
                  <a:gd name="T13" fmla="*/ 20 h 20"/>
                  <a:gd name="T14" fmla="*/ 5 w 20"/>
                  <a:gd name="T15" fmla="*/ 14 h 20"/>
                  <a:gd name="T16" fmla="*/ 10 w 20"/>
                  <a:gd name="T17" fmla="*/ 4 h 20"/>
                  <a:gd name="T18" fmla="*/ 16 w 20"/>
                  <a:gd name="T19" fmla="*/ 6 h 20"/>
                  <a:gd name="T20" fmla="*/ 23 w 20"/>
                  <a:gd name="T21" fmla="*/ 0 h 2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0"/>
                  <a:gd name="T34" fmla="*/ 0 h 20"/>
                  <a:gd name="T35" fmla="*/ 20 w 20"/>
                  <a:gd name="T36" fmla="*/ 20 h 2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0" h="20">
                    <a:moveTo>
                      <a:pt x="19" y="0"/>
                    </a:moveTo>
                    <a:cubicBezTo>
                      <a:pt x="20" y="0"/>
                      <a:pt x="20" y="2"/>
                      <a:pt x="19" y="3"/>
                    </a:cubicBezTo>
                    <a:cubicBezTo>
                      <a:pt x="19" y="4"/>
                      <a:pt x="17" y="3"/>
                      <a:pt x="16" y="3"/>
                    </a:cubicBezTo>
                    <a:cubicBezTo>
                      <a:pt x="14" y="5"/>
                      <a:pt x="12" y="8"/>
                      <a:pt x="10" y="10"/>
                    </a:cubicBezTo>
                    <a:cubicBezTo>
                      <a:pt x="9" y="11"/>
                      <a:pt x="8" y="10"/>
                      <a:pt x="7" y="11"/>
                    </a:cubicBezTo>
                    <a:cubicBezTo>
                      <a:pt x="5" y="13"/>
                      <a:pt x="4" y="17"/>
                      <a:pt x="1" y="20"/>
                    </a:cubicBezTo>
                    <a:cubicBezTo>
                      <a:pt x="0" y="20"/>
                      <a:pt x="0" y="18"/>
                      <a:pt x="0" y="17"/>
                    </a:cubicBezTo>
                    <a:cubicBezTo>
                      <a:pt x="1" y="15"/>
                      <a:pt x="3" y="13"/>
                      <a:pt x="4" y="12"/>
                    </a:cubicBezTo>
                    <a:cubicBezTo>
                      <a:pt x="5" y="9"/>
                      <a:pt x="5" y="5"/>
                      <a:pt x="8" y="3"/>
                    </a:cubicBezTo>
                    <a:cubicBezTo>
                      <a:pt x="9" y="2"/>
                      <a:pt x="12" y="5"/>
                      <a:pt x="13" y="5"/>
                    </a:cubicBezTo>
                    <a:cubicBezTo>
                      <a:pt x="16" y="4"/>
                      <a:pt x="16" y="0"/>
                      <a:pt x="19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903" name="Freeform 3458"/>
              <p:cNvSpPr>
                <a:spLocks noChangeAspect="1"/>
              </p:cNvSpPr>
              <p:nvPr/>
            </p:nvSpPr>
            <p:spPr bwMode="auto">
              <a:xfrm>
                <a:off x="6798570" y="2255043"/>
                <a:ext cx="15658" cy="13290"/>
              </a:xfrm>
              <a:custGeom>
                <a:avLst/>
                <a:gdLst>
                  <a:gd name="T0" fmla="*/ 9 w 11"/>
                  <a:gd name="T1" fmla="*/ 1 h 13"/>
                  <a:gd name="T2" fmla="*/ 14 w 11"/>
                  <a:gd name="T3" fmla="*/ 2 h 13"/>
                  <a:gd name="T4" fmla="*/ 10 w 11"/>
                  <a:gd name="T5" fmla="*/ 7 h 13"/>
                  <a:gd name="T6" fmla="*/ 4 w 11"/>
                  <a:gd name="T7" fmla="*/ 16 h 13"/>
                  <a:gd name="T8" fmla="*/ 0 w 11"/>
                  <a:gd name="T9" fmla="*/ 14 h 13"/>
                  <a:gd name="T10" fmla="*/ 8 w 11"/>
                  <a:gd name="T11" fmla="*/ 4 h 13"/>
                  <a:gd name="T12" fmla="*/ 9 w 11"/>
                  <a:gd name="T13" fmla="*/ 1 h 1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1"/>
                  <a:gd name="T22" fmla="*/ 0 h 13"/>
                  <a:gd name="T23" fmla="*/ 11 w 11"/>
                  <a:gd name="T24" fmla="*/ 13 h 1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1" h="13">
                    <a:moveTo>
                      <a:pt x="7" y="1"/>
                    </a:moveTo>
                    <a:cubicBezTo>
                      <a:pt x="9" y="0"/>
                      <a:pt x="11" y="1"/>
                      <a:pt x="11" y="2"/>
                    </a:cubicBezTo>
                    <a:cubicBezTo>
                      <a:pt x="11" y="4"/>
                      <a:pt x="9" y="4"/>
                      <a:pt x="8" y="6"/>
                    </a:cubicBezTo>
                    <a:cubicBezTo>
                      <a:pt x="6" y="8"/>
                      <a:pt x="5" y="11"/>
                      <a:pt x="3" y="13"/>
                    </a:cubicBezTo>
                    <a:cubicBezTo>
                      <a:pt x="2" y="13"/>
                      <a:pt x="0" y="12"/>
                      <a:pt x="0" y="11"/>
                    </a:cubicBezTo>
                    <a:cubicBezTo>
                      <a:pt x="1" y="8"/>
                      <a:pt x="4" y="6"/>
                      <a:pt x="6" y="3"/>
                    </a:cubicBezTo>
                    <a:cubicBezTo>
                      <a:pt x="6" y="2"/>
                      <a:pt x="7" y="1"/>
                      <a:pt x="7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904" name="Freeform 3459"/>
              <p:cNvSpPr>
                <a:spLocks noChangeAspect="1"/>
              </p:cNvSpPr>
              <p:nvPr/>
            </p:nvSpPr>
            <p:spPr bwMode="auto">
              <a:xfrm>
                <a:off x="6681128" y="2081434"/>
                <a:ext cx="14540" cy="13290"/>
              </a:xfrm>
              <a:custGeom>
                <a:avLst/>
                <a:gdLst>
                  <a:gd name="T0" fmla="*/ 6 w 11"/>
                  <a:gd name="T1" fmla="*/ 1 h 13"/>
                  <a:gd name="T2" fmla="*/ 8 w 11"/>
                  <a:gd name="T3" fmla="*/ 7 h 13"/>
                  <a:gd name="T4" fmla="*/ 12 w 11"/>
                  <a:gd name="T5" fmla="*/ 7 h 13"/>
                  <a:gd name="T6" fmla="*/ 12 w 11"/>
                  <a:gd name="T7" fmla="*/ 15 h 13"/>
                  <a:gd name="T8" fmla="*/ 7 w 11"/>
                  <a:gd name="T9" fmla="*/ 15 h 13"/>
                  <a:gd name="T10" fmla="*/ 7 w 11"/>
                  <a:gd name="T11" fmla="*/ 10 h 13"/>
                  <a:gd name="T12" fmla="*/ 0 w 11"/>
                  <a:gd name="T13" fmla="*/ 4 h 13"/>
                  <a:gd name="T14" fmla="*/ 4 w 11"/>
                  <a:gd name="T15" fmla="*/ 4 h 13"/>
                  <a:gd name="T16" fmla="*/ 6 w 11"/>
                  <a:gd name="T17" fmla="*/ 1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"/>
                  <a:gd name="T28" fmla="*/ 0 h 13"/>
                  <a:gd name="T29" fmla="*/ 11 w 11"/>
                  <a:gd name="T30" fmla="*/ 13 h 1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" h="13">
                    <a:moveTo>
                      <a:pt x="5" y="1"/>
                    </a:moveTo>
                    <a:cubicBezTo>
                      <a:pt x="7" y="2"/>
                      <a:pt x="6" y="4"/>
                      <a:pt x="7" y="6"/>
                    </a:cubicBezTo>
                    <a:cubicBezTo>
                      <a:pt x="7" y="6"/>
                      <a:pt x="9" y="5"/>
                      <a:pt x="10" y="6"/>
                    </a:cubicBezTo>
                    <a:cubicBezTo>
                      <a:pt x="11" y="8"/>
                      <a:pt x="11" y="11"/>
                      <a:pt x="10" y="12"/>
                    </a:cubicBezTo>
                    <a:cubicBezTo>
                      <a:pt x="9" y="13"/>
                      <a:pt x="7" y="12"/>
                      <a:pt x="6" y="12"/>
                    </a:cubicBezTo>
                    <a:cubicBezTo>
                      <a:pt x="6" y="11"/>
                      <a:pt x="7" y="9"/>
                      <a:pt x="6" y="8"/>
                    </a:cubicBezTo>
                    <a:cubicBezTo>
                      <a:pt x="5" y="6"/>
                      <a:pt x="1" y="5"/>
                      <a:pt x="0" y="3"/>
                    </a:cubicBezTo>
                    <a:cubicBezTo>
                      <a:pt x="0" y="2"/>
                      <a:pt x="2" y="3"/>
                      <a:pt x="3" y="3"/>
                    </a:cubicBezTo>
                    <a:cubicBezTo>
                      <a:pt x="4" y="2"/>
                      <a:pt x="5" y="0"/>
                      <a:pt x="5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905" name="Freeform 3460"/>
              <p:cNvSpPr>
                <a:spLocks noChangeAspect="1"/>
              </p:cNvSpPr>
              <p:nvPr/>
            </p:nvSpPr>
            <p:spPr bwMode="auto">
              <a:xfrm>
                <a:off x="6682246" y="2095556"/>
                <a:ext cx="78294" cy="137890"/>
              </a:xfrm>
              <a:custGeom>
                <a:avLst/>
                <a:gdLst>
                  <a:gd name="T0" fmla="*/ 13 w 58"/>
                  <a:gd name="T1" fmla="*/ 1 h 138"/>
                  <a:gd name="T2" fmla="*/ 22 w 58"/>
                  <a:gd name="T3" fmla="*/ 18 h 138"/>
                  <a:gd name="T4" fmla="*/ 27 w 58"/>
                  <a:gd name="T5" fmla="*/ 31 h 138"/>
                  <a:gd name="T6" fmla="*/ 29 w 58"/>
                  <a:gd name="T7" fmla="*/ 47 h 138"/>
                  <a:gd name="T8" fmla="*/ 31 w 58"/>
                  <a:gd name="T9" fmla="*/ 45 h 138"/>
                  <a:gd name="T10" fmla="*/ 46 w 58"/>
                  <a:gd name="T11" fmla="*/ 73 h 138"/>
                  <a:gd name="T12" fmla="*/ 60 w 58"/>
                  <a:gd name="T13" fmla="*/ 93 h 138"/>
                  <a:gd name="T14" fmla="*/ 65 w 58"/>
                  <a:gd name="T15" fmla="*/ 103 h 138"/>
                  <a:gd name="T16" fmla="*/ 70 w 58"/>
                  <a:gd name="T17" fmla="*/ 106 h 138"/>
                  <a:gd name="T18" fmla="*/ 69 w 58"/>
                  <a:gd name="T19" fmla="*/ 111 h 138"/>
                  <a:gd name="T20" fmla="*/ 68 w 58"/>
                  <a:gd name="T21" fmla="*/ 108 h 138"/>
                  <a:gd name="T22" fmla="*/ 63 w 58"/>
                  <a:gd name="T23" fmla="*/ 103 h 138"/>
                  <a:gd name="T24" fmla="*/ 57 w 58"/>
                  <a:gd name="T25" fmla="*/ 96 h 138"/>
                  <a:gd name="T26" fmla="*/ 47 w 58"/>
                  <a:gd name="T27" fmla="*/ 93 h 138"/>
                  <a:gd name="T28" fmla="*/ 41 w 58"/>
                  <a:gd name="T29" fmla="*/ 97 h 138"/>
                  <a:gd name="T30" fmla="*/ 41 w 58"/>
                  <a:gd name="T31" fmla="*/ 118 h 138"/>
                  <a:gd name="T32" fmla="*/ 40 w 58"/>
                  <a:gd name="T33" fmla="*/ 124 h 138"/>
                  <a:gd name="T34" fmla="*/ 51 w 58"/>
                  <a:gd name="T35" fmla="*/ 132 h 138"/>
                  <a:gd name="T36" fmla="*/ 56 w 58"/>
                  <a:gd name="T37" fmla="*/ 144 h 138"/>
                  <a:gd name="T38" fmla="*/ 62 w 58"/>
                  <a:gd name="T39" fmla="*/ 147 h 138"/>
                  <a:gd name="T40" fmla="*/ 64 w 58"/>
                  <a:gd name="T41" fmla="*/ 158 h 138"/>
                  <a:gd name="T42" fmla="*/ 63 w 58"/>
                  <a:gd name="T43" fmla="*/ 159 h 138"/>
                  <a:gd name="T44" fmla="*/ 60 w 58"/>
                  <a:gd name="T45" fmla="*/ 153 h 138"/>
                  <a:gd name="T46" fmla="*/ 52 w 58"/>
                  <a:gd name="T47" fmla="*/ 150 h 138"/>
                  <a:gd name="T48" fmla="*/ 49 w 58"/>
                  <a:gd name="T49" fmla="*/ 153 h 138"/>
                  <a:gd name="T50" fmla="*/ 48 w 58"/>
                  <a:gd name="T51" fmla="*/ 164 h 138"/>
                  <a:gd name="T52" fmla="*/ 46 w 58"/>
                  <a:gd name="T53" fmla="*/ 165 h 138"/>
                  <a:gd name="T54" fmla="*/ 42 w 58"/>
                  <a:gd name="T55" fmla="*/ 156 h 138"/>
                  <a:gd name="T56" fmla="*/ 40 w 58"/>
                  <a:gd name="T57" fmla="*/ 150 h 138"/>
                  <a:gd name="T58" fmla="*/ 40 w 58"/>
                  <a:gd name="T59" fmla="*/ 141 h 138"/>
                  <a:gd name="T60" fmla="*/ 35 w 58"/>
                  <a:gd name="T61" fmla="*/ 132 h 138"/>
                  <a:gd name="T62" fmla="*/ 35 w 58"/>
                  <a:gd name="T63" fmla="*/ 120 h 138"/>
                  <a:gd name="T64" fmla="*/ 28 w 58"/>
                  <a:gd name="T65" fmla="*/ 113 h 138"/>
                  <a:gd name="T66" fmla="*/ 28 w 58"/>
                  <a:gd name="T67" fmla="*/ 107 h 138"/>
                  <a:gd name="T68" fmla="*/ 27 w 58"/>
                  <a:gd name="T69" fmla="*/ 91 h 138"/>
                  <a:gd name="T70" fmla="*/ 19 w 58"/>
                  <a:gd name="T71" fmla="*/ 61 h 138"/>
                  <a:gd name="T72" fmla="*/ 19 w 58"/>
                  <a:gd name="T73" fmla="*/ 52 h 138"/>
                  <a:gd name="T74" fmla="*/ 10 w 58"/>
                  <a:gd name="T75" fmla="*/ 42 h 138"/>
                  <a:gd name="T76" fmla="*/ 8 w 58"/>
                  <a:gd name="T77" fmla="*/ 38 h 138"/>
                  <a:gd name="T78" fmla="*/ 5 w 58"/>
                  <a:gd name="T79" fmla="*/ 36 h 138"/>
                  <a:gd name="T80" fmla="*/ 4 w 58"/>
                  <a:gd name="T81" fmla="*/ 18 h 138"/>
                  <a:gd name="T82" fmla="*/ 0 w 58"/>
                  <a:gd name="T83" fmla="*/ 7 h 138"/>
                  <a:gd name="T84" fmla="*/ 4 w 58"/>
                  <a:gd name="T85" fmla="*/ 4 h 138"/>
                  <a:gd name="T86" fmla="*/ 8 w 58"/>
                  <a:gd name="T87" fmla="*/ 7 h 138"/>
                  <a:gd name="T88" fmla="*/ 10 w 58"/>
                  <a:gd name="T89" fmla="*/ 1 h 138"/>
                  <a:gd name="T90" fmla="*/ 13 w 58"/>
                  <a:gd name="T91" fmla="*/ 1 h 138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58"/>
                  <a:gd name="T139" fmla="*/ 0 h 138"/>
                  <a:gd name="T140" fmla="*/ 58 w 58"/>
                  <a:gd name="T141" fmla="*/ 138 h 138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58" h="138">
                    <a:moveTo>
                      <a:pt x="11" y="1"/>
                    </a:moveTo>
                    <a:cubicBezTo>
                      <a:pt x="14" y="5"/>
                      <a:pt x="16" y="10"/>
                      <a:pt x="18" y="15"/>
                    </a:cubicBezTo>
                    <a:cubicBezTo>
                      <a:pt x="19" y="19"/>
                      <a:pt x="21" y="22"/>
                      <a:pt x="22" y="26"/>
                    </a:cubicBezTo>
                    <a:cubicBezTo>
                      <a:pt x="23" y="30"/>
                      <a:pt x="22" y="35"/>
                      <a:pt x="24" y="39"/>
                    </a:cubicBezTo>
                    <a:cubicBezTo>
                      <a:pt x="24" y="39"/>
                      <a:pt x="25" y="36"/>
                      <a:pt x="26" y="37"/>
                    </a:cubicBezTo>
                    <a:cubicBezTo>
                      <a:pt x="31" y="44"/>
                      <a:pt x="34" y="53"/>
                      <a:pt x="38" y="61"/>
                    </a:cubicBezTo>
                    <a:cubicBezTo>
                      <a:pt x="41" y="66"/>
                      <a:pt x="46" y="71"/>
                      <a:pt x="50" y="77"/>
                    </a:cubicBezTo>
                    <a:cubicBezTo>
                      <a:pt x="51" y="80"/>
                      <a:pt x="52" y="83"/>
                      <a:pt x="54" y="86"/>
                    </a:cubicBezTo>
                    <a:cubicBezTo>
                      <a:pt x="55" y="87"/>
                      <a:pt x="57" y="86"/>
                      <a:pt x="58" y="88"/>
                    </a:cubicBezTo>
                    <a:cubicBezTo>
                      <a:pt x="58" y="89"/>
                      <a:pt x="58" y="91"/>
                      <a:pt x="57" y="92"/>
                    </a:cubicBezTo>
                    <a:cubicBezTo>
                      <a:pt x="57" y="92"/>
                      <a:pt x="56" y="90"/>
                      <a:pt x="56" y="90"/>
                    </a:cubicBezTo>
                    <a:cubicBezTo>
                      <a:pt x="55" y="88"/>
                      <a:pt x="53" y="87"/>
                      <a:pt x="52" y="86"/>
                    </a:cubicBezTo>
                    <a:cubicBezTo>
                      <a:pt x="50" y="84"/>
                      <a:pt x="49" y="81"/>
                      <a:pt x="47" y="80"/>
                    </a:cubicBezTo>
                    <a:cubicBezTo>
                      <a:pt x="45" y="78"/>
                      <a:pt x="42" y="77"/>
                      <a:pt x="39" y="77"/>
                    </a:cubicBezTo>
                    <a:cubicBezTo>
                      <a:pt x="37" y="78"/>
                      <a:pt x="35" y="79"/>
                      <a:pt x="34" y="81"/>
                    </a:cubicBezTo>
                    <a:cubicBezTo>
                      <a:pt x="33" y="86"/>
                      <a:pt x="34" y="92"/>
                      <a:pt x="34" y="98"/>
                    </a:cubicBezTo>
                    <a:cubicBezTo>
                      <a:pt x="33" y="99"/>
                      <a:pt x="32" y="101"/>
                      <a:pt x="33" y="103"/>
                    </a:cubicBezTo>
                    <a:cubicBezTo>
                      <a:pt x="35" y="106"/>
                      <a:pt x="40" y="107"/>
                      <a:pt x="42" y="110"/>
                    </a:cubicBezTo>
                    <a:cubicBezTo>
                      <a:pt x="44" y="112"/>
                      <a:pt x="44" y="117"/>
                      <a:pt x="46" y="120"/>
                    </a:cubicBezTo>
                    <a:cubicBezTo>
                      <a:pt x="47" y="121"/>
                      <a:pt x="50" y="120"/>
                      <a:pt x="51" y="122"/>
                    </a:cubicBezTo>
                    <a:cubicBezTo>
                      <a:pt x="52" y="124"/>
                      <a:pt x="53" y="128"/>
                      <a:pt x="53" y="131"/>
                    </a:cubicBezTo>
                    <a:cubicBezTo>
                      <a:pt x="53" y="132"/>
                      <a:pt x="52" y="132"/>
                      <a:pt x="52" y="132"/>
                    </a:cubicBezTo>
                    <a:cubicBezTo>
                      <a:pt x="51" y="131"/>
                      <a:pt x="51" y="128"/>
                      <a:pt x="50" y="127"/>
                    </a:cubicBezTo>
                    <a:cubicBezTo>
                      <a:pt x="48" y="125"/>
                      <a:pt x="46" y="125"/>
                      <a:pt x="43" y="125"/>
                    </a:cubicBezTo>
                    <a:cubicBezTo>
                      <a:pt x="42" y="125"/>
                      <a:pt x="41" y="126"/>
                      <a:pt x="41" y="127"/>
                    </a:cubicBezTo>
                    <a:cubicBezTo>
                      <a:pt x="40" y="130"/>
                      <a:pt x="40" y="133"/>
                      <a:pt x="40" y="136"/>
                    </a:cubicBezTo>
                    <a:cubicBezTo>
                      <a:pt x="39" y="136"/>
                      <a:pt x="38" y="138"/>
                      <a:pt x="38" y="137"/>
                    </a:cubicBezTo>
                    <a:cubicBezTo>
                      <a:pt x="36" y="135"/>
                      <a:pt x="36" y="133"/>
                      <a:pt x="35" y="130"/>
                    </a:cubicBezTo>
                    <a:cubicBezTo>
                      <a:pt x="34" y="129"/>
                      <a:pt x="33" y="127"/>
                      <a:pt x="33" y="125"/>
                    </a:cubicBezTo>
                    <a:cubicBezTo>
                      <a:pt x="32" y="122"/>
                      <a:pt x="33" y="120"/>
                      <a:pt x="33" y="117"/>
                    </a:cubicBezTo>
                    <a:cubicBezTo>
                      <a:pt x="32" y="115"/>
                      <a:pt x="29" y="113"/>
                      <a:pt x="29" y="110"/>
                    </a:cubicBezTo>
                    <a:cubicBezTo>
                      <a:pt x="28" y="107"/>
                      <a:pt x="30" y="103"/>
                      <a:pt x="29" y="100"/>
                    </a:cubicBezTo>
                    <a:cubicBezTo>
                      <a:pt x="28" y="98"/>
                      <a:pt x="25" y="97"/>
                      <a:pt x="23" y="94"/>
                    </a:cubicBezTo>
                    <a:cubicBezTo>
                      <a:pt x="22" y="93"/>
                      <a:pt x="23" y="91"/>
                      <a:pt x="23" y="89"/>
                    </a:cubicBezTo>
                    <a:cubicBezTo>
                      <a:pt x="22" y="85"/>
                      <a:pt x="23" y="80"/>
                      <a:pt x="22" y="76"/>
                    </a:cubicBezTo>
                    <a:cubicBezTo>
                      <a:pt x="21" y="68"/>
                      <a:pt x="17" y="60"/>
                      <a:pt x="16" y="51"/>
                    </a:cubicBezTo>
                    <a:cubicBezTo>
                      <a:pt x="15" y="49"/>
                      <a:pt x="17" y="46"/>
                      <a:pt x="16" y="43"/>
                    </a:cubicBezTo>
                    <a:cubicBezTo>
                      <a:pt x="14" y="40"/>
                      <a:pt x="10" y="38"/>
                      <a:pt x="8" y="35"/>
                    </a:cubicBezTo>
                    <a:cubicBezTo>
                      <a:pt x="7" y="34"/>
                      <a:pt x="8" y="33"/>
                      <a:pt x="7" y="32"/>
                    </a:cubicBezTo>
                    <a:cubicBezTo>
                      <a:pt x="7" y="31"/>
                      <a:pt x="5" y="31"/>
                      <a:pt x="4" y="30"/>
                    </a:cubicBezTo>
                    <a:cubicBezTo>
                      <a:pt x="3" y="25"/>
                      <a:pt x="4" y="20"/>
                      <a:pt x="3" y="15"/>
                    </a:cubicBezTo>
                    <a:cubicBezTo>
                      <a:pt x="3" y="12"/>
                      <a:pt x="0" y="9"/>
                      <a:pt x="0" y="6"/>
                    </a:cubicBezTo>
                    <a:cubicBezTo>
                      <a:pt x="0" y="5"/>
                      <a:pt x="1" y="3"/>
                      <a:pt x="3" y="3"/>
                    </a:cubicBezTo>
                    <a:cubicBezTo>
                      <a:pt x="4" y="3"/>
                      <a:pt x="5" y="6"/>
                      <a:pt x="7" y="6"/>
                    </a:cubicBezTo>
                    <a:cubicBezTo>
                      <a:pt x="8" y="5"/>
                      <a:pt x="7" y="2"/>
                      <a:pt x="8" y="1"/>
                    </a:cubicBezTo>
                    <a:cubicBezTo>
                      <a:pt x="8" y="0"/>
                      <a:pt x="10" y="0"/>
                      <a:pt x="11" y="1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906" name="Freeform 3649"/>
              <p:cNvSpPr>
                <a:spLocks noChangeAspect="1"/>
              </p:cNvSpPr>
              <p:nvPr/>
            </p:nvSpPr>
            <p:spPr bwMode="auto">
              <a:xfrm>
                <a:off x="6272879" y="2867244"/>
                <a:ext cx="13422" cy="9138"/>
              </a:xfrm>
              <a:custGeom>
                <a:avLst/>
                <a:gdLst>
                  <a:gd name="T0" fmla="*/ 1 w 10"/>
                  <a:gd name="T1" fmla="*/ 4 h 9"/>
                  <a:gd name="T2" fmla="*/ 7 w 10"/>
                  <a:gd name="T3" fmla="*/ 1 h 9"/>
                  <a:gd name="T4" fmla="*/ 11 w 10"/>
                  <a:gd name="T5" fmla="*/ 9 h 9"/>
                  <a:gd name="T6" fmla="*/ 5 w 10"/>
                  <a:gd name="T7" fmla="*/ 7 h 9"/>
                  <a:gd name="T8" fmla="*/ 1 w 10"/>
                  <a:gd name="T9" fmla="*/ 4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"/>
                  <a:gd name="T16" fmla="*/ 0 h 9"/>
                  <a:gd name="T17" fmla="*/ 10 w 10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" h="9">
                    <a:moveTo>
                      <a:pt x="1" y="3"/>
                    </a:moveTo>
                    <a:cubicBezTo>
                      <a:pt x="2" y="1"/>
                      <a:pt x="5" y="0"/>
                      <a:pt x="6" y="1"/>
                    </a:cubicBezTo>
                    <a:cubicBezTo>
                      <a:pt x="8" y="2"/>
                      <a:pt x="10" y="5"/>
                      <a:pt x="9" y="7"/>
                    </a:cubicBezTo>
                    <a:cubicBezTo>
                      <a:pt x="8" y="9"/>
                      <a:pt x="5" y="7"/>
                      <a:pt x="4" y="6"/>
                    </a:cubicBezTo>
                    <a:cubicBezTo>
                      <a:pt x="2" y="5"/>
                      <a:pt x="0" y="4"/>
                      <a:pt x="1" y="3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907" name="Freeform 3650"/>
              <p:cNvSpPr>
                <a:spLocks noChangeAspect="1"/>
              </p:cNvSpPr>
              <p:nvPr/>
            </p:nvSpPr>
            <p:spPr bwMode="auto">
              <a:xfrm>
                <a:off x="6506642" y="2794976"/>
                <a:ext cx="83887" cy="57316"/>
              </a:xfrm>
              <a:custGeom>
                <a:avLst/>
                <a:gdLst>
                  <a:gd name="T0" fmla="*/ 69 w 63"/>
                  <a:gd name="T1" fmla="*/ 56 h 58"/>
                  <a:gd name="T2" fmla="*/ 69 w 63"/>
                  <a:gd name="T3" fmla="*/ 45 h 58"/>
                  <a:gd name="T4" fmla="*/ 75 w 63"/>
                  <a:gd name="T5" fmla="*/ 38 h 58"/>
                  <a:gd name="T6" fmla="*/ 70 w 63"/>
                  <a:gd name="T7" fmla="*/ 29 h 58"/>
                  <a:gd name="T8" fmla="*/ 69 w 63"/>
                  <a:gd name="T9" fmla="*/ 17 h 58"/>
                  <a:gd name="T10" fmla="*/ 64 w 63"/>
                  <a:gd name="T11" fmla="*/ 17 h 58"/>
                  <a:gd name="T12" fmla="*/ 69 w 63"/>
                  <a:gd name="T13" fmla="*/ 11 h 58"/>
                  <a:gd name="T14" fmla="*/ 64 w 63"/>
                  <a:gd name="T15" fmla="*/ 5 h 58"/>
                  <a:gd name="T16" fmla="*/ 57 w 63"/>
                  <a:gd name="T17" fmla="*/ 1 h 58"/>
                  <a:gd name="T18" fmla="*/ 54 w 63"/>
                  <a:gd name="T19" fmla="*/ 8 h 58"/>
                  <a:gd name="T20" fmla="*/ 49 w 63"/>
                  <a:gd name="T21" fmla="*/ 6 h 58"/>
                  <a:gd name="T22" fmla="*/ 48 w 63"/>
                  <a:gd name="T23" fmla="*/ 10 h 58"/>
                  <a:gd name="T24" fmla="*/ 43 w 63"/>
                  <a:gd name="T25" fmla="*/ 8 h 58"/>
                  <a:gd name="T26" fmla="*/ 40 w 63"/>
                  <a:gd name="T27" fmla="*/ 18 h 58"/>
                  <a:gd name="T28" fmla="*/ 36 w 63"/>
                  <a:gd name="T29" fmla="*/ 17 h 58"/>
                  <a:gd name="T30" fmla="*/ 35 w 63"/>
                  <a:gd name="T31" fmla="*/ 24 h 58"/>
                  <a:gd name="T32" fmla="*/ 27 w 63"/>
                  <a:gd name="T33" fmla="*/ 25 h 58"/>
                  <a:gd name="T34" fmla="*/ 30 w 63"/>
                  <a:gd name="T35" fmla="*/ 18 h 58"/>
                  <a:gd name="T36" fmla="*/ 23 w 63"/>
                  <a:gd name="T37" fmla="*/ 17 h 58"/>
                  <a:gd name="T38" fmla="*/ 17 w 63"/>
                  <a:gd name="T39" fmla="*/ 21 h 58"/>
                  <a:gd name="T40" fmla="*/ 10 w 63"/>
                  <a:gd name="T41" fmla="*/ 25 h 58"/>
                  <a:gd name="T42" fmla="*/ 1 w 63"/>
                  <a:gd name="T43" fmla="*/ 37 h 58"/>
                  <a:gd name="T44" fmla="*/ 2 w 63"/>
                  <a:gd name="T45" fmla="*/ 45 h 58"/>
                  <a:gd name="T46" fmla="*/ 13 w 63"/>
                  <a:gd name="T47" fmla="*/ 31 h 58"/>
                  <a:gd name="T48" fmla="*/ 14 w 63"/>
                  <a:gd name="T49" fmla="*/ 36 h 58"/>
                  <a:gd name="T50" fmla="*/ 19 w 63"/>
                  <a:gd name="T51" fmla="*/ 30 h 58"/>
                  <a:gd name="T52" fmla="*/ 24 w 63"/>
                  <a:gd name="T53" fmla="*/ 36 h 58"/>
                  <a:gd name="T54" fmla="*/ 27 w 63"/>
                  <a:gd name="T55" fmla="*/ 30 h 58"/>
                  <a:gd name="T56" fmla="*/ 38 w 63"/>
                  <a:gd name="T57" fmla="*/ 36 h 58"/>
                  <a:gd name="T58" fmla="*/ 32 w 63"/>
                  <a:gd name="T59" fmla="*/ 43 h 58"/>
                  <a:gd name="T60" fmla="*/ 37 w 63"/>
                  <a:gd name="T61" fmla="*/ 56 h 58"/>
                  <a:gd name="T62" fmla="*/ 49 w 63"/>
                  <a:gd name="T63" fmla="*/ 63 h 58"/>
                  <a:gd name="T64" fmla="*/ 54 w 63"/>
                  <a:gd name="T65" fmla="*/ 58 h 58"/>
                  <a:gd name="T66" fmla="*/ 56 w 63"/>
                  <a:gd name="T67" fmla="*/ 68 h 58"/>
                  <a:gd name="T68" fmla="*/ 61 w 63"/>
                  <a:gd name="T69" fmla="*/ 59 h 58"/>
                  <a:gd name="T70" fmla="*/ 57 w 63"/>
                  <a:gd name="T71" fmla="*/ 51 h 58"/>
                  <a:gd name="T72" fmla="*/ 55 w 63"/>
                  <a:gd name="T73" fmla="*/ 44 h 58"/>
                  <a:gd name="T74" fmla="*/ 62 w 63"/>
                  <a:gd name="T75" fmla="*/ 38 h 58"/>
                  <a:gd name="T76" fmla="*/ 64 w 63"/>
                  <a:gd name="T77" fmla="*/ 51 h 58"/>
                  <a:gd name="T78" fmla="*/ 69 w 63"/>
                  <a:gd name="T79" fmla="*/ 56 h 58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63"/>
                  <a:gd name="T121" fmla="*/ 0 h 58"/>
                  <a:gd name="T122" fmla="*/ 63 w 63"/>
                  <a:gd name="T123" fmla="*/ 58 h 58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63" h="58">
                    <a:moveTo>
                      <a:pt x="58" y="47"/>
                    </a:moveTo>
                    <a:cubicBezTo>
                      <a:pt x="59" y="44"/>
                      <a:pt x="57" y="41"/>
                      <a:pt x="58" y="38"/>
                    </a:cubicBezTo>
                    <a:cubicBezTo>
                      <a:pt x="59" y="35"/>
                      <a:pt x="63" y="35"/>
                      <a:pt x="63" y="32"/>
                    </a:cubicBezTo>
                    <a:cubicBezTo>
                      <a:pt x="63" y="29"/>
                      <a:pt x="60" y="27"/>
                      <a:pt x="59" y="24"/>
                    </a:cubicBezTo>
                    <a:cubicBezTo>
                      <a:pt x="58" y="21"/>
                      <a:pt x="59" y="17"/>
                      <a:pt x="58" y="14"/>
                    </a:cubicBezTo>
                    <a:cubicBezTo>
                      <a:pt x="57" y="13"/>
                      <a:pt x="54" y="16"/>
                      <a:pt x="54" y="14"/>
                    </a:cubicBezTo>
                    <a:cubicBezTo>
                      <a:pt x="54" y="12"/>
                      <a:pt x="58" y="11"/>
                      <a:pt x="58" y="9"/>
                    </a:cubicBezTo>
                    <a:cubicBezTo>
                      <a:pt x="58" y="7"/>
                      <a:pt x="56" y="5"/>
                      <a:pt x="54" y="4"/>
                    </a:cubicBezTo>
                    <a:cubicBezTo>
                      <a:pt x="53" y="2"/>
                      <a:pt x="50" y="0"/>
                      <a:pt x="48" y="1"/>
                    </a:cubicBezTo>
                    <a:cubicBezTo>
                      <a:pt x="46" y="2"/>
                      <a:pt x="47" y="6"/>
                      <a:pt x="45" y="7"/>
                    </a:cubicBezTo>
                    <a:cubicBezTo>
                      <a:pt x="44" y="8"/>
                      <a:pt x="42" y="5"/>
                      <a:pt x="41" y="5"/>
                    </a:cubicBezTo>
                    <a:cubicBezTo>
                      <a:pt x="40" y="6"/>
                      <a:pt x="41" y="8"/>
                      <a:pt x="40" y="8"/>
                    </a:cubicBezTo>
                    <a:cubicBezTo>
                      <a:pt x="39" y="8"/>
                      <a:pt x="37" y="6"/>
                      <a:pt x="36" y="7"/>
                    </a:cubicBezTo>
                    <a:cubicBezTo>
                      <a:pt x="35" y="9"/>
                      <a:pt x="36" y="12"/>
                      <a:pt x="34" y="15"/>
                    </a:cubicBezTo>
                    <a:cubicBezTo>
                      <a:pt x="33" y="16"/>
                      <a:pt x="31" y="13"/>
                      <a:pt x="30" y="14"/>
                    </a:cubicBezTo>
                    <a:cubicBezTo>
                      <a:pt x="29" y="15"/>
                      <a:pt x="30" y="18"/>
                      <a:pt x="29" y="20"/>
                    </a:cubicBezTo>
                    <a:cubicBezTo>
                      <a:pt x="27" y="21"/>
                      <a:pt x="24" y="23"/>
                      <a:pt x="23" y="21"/>
                    </a:cubicBezTo>
                    <a:cubicBezTo>
                      <a:pt x="21" y="19"/>
                      <a:pt x="26" y="17"/>
                      <a:pt x="25" y="15"/>
                    </a:cubicBezTo>
                    <a:cubicBezTo>
                      <a:pt x="24" y="13"/>
                      <a:pt x="21" y="14"/>
                      <a:pt x="19" y="14"/>
                    </a:cubicBezTo>
                    <a:cubicBezTo>
                      <a:pt x="17" y="15"/>
                      <a:pt x="16" y="17"/>
                      <a:pt x="14" y="18"/>
                    </a:cubicBezTo>
                    <a:cubicBezTo>
                      <a:pt x="12" y="20"/>
                      <a:pt x="9" y="20"/>
                      <a:pt x="8" y="21"/>
                    </a:cubicBezTo>
                    <a:cubicBezTo>
                      <a:pt x="5" y="24"/>
                      <a:pt x="3" y="27"/>
                      <a:pt x="1" y="31"/>
                    </a:cubicBezTo>
                    <a:cubicBezTo>
                      <a:pt x="1" y="33"/>
                      <a:pt x="0" y="39"/>
                      <a:pt x="2" y="38"/>
                    </a:cubicBezTo>
                    <a:cubicBezTo>
                      <a:pt x="6" y="35"/>
                      <a:pt x="7" y="29"/>
                      <a:pt x="11" y="26"/>
                    </a:cubicBezTo>
                    <a:cubicBezTo>
                      <a:pt x="12" y="25"/>
                      <a:pt x="10" y="30"/>
                      <a:pt x="12" y="30"/>
                    </a:cubicBezTo>
                    <a:cubicBezTo>
                      <a:pt x="14" y="30"/>
                      <a:pt x="14" y="25"/>
                      <a:pt x="16" y="25"/>
                    </a:cubicBezTo>
                    <a:cubicBezTo>
                      <a:pt x="18" y="25"/>
                      <a:pt x="18" y="30"/>
                      <a:pt x="20" y="30"/>
                    </a:cubicBezTo>
                    <a:cubicBezTo>
                      <a:pt x="22" y="30"/>
                      <a:pt x="21" y="25"/>
                      <a:pt x="23" y="25"/>
                    </a:cubicBezTo>
                    <a:cubicBezTo>
                      <a:pt x="26" y="25"/>
                      <a:pt x="31" y="27"/>
                      <a:pt x="32" y="30"/>
                    </a:cubicBezTo>
                    <a:cubicBezTo>
                      <a:pt x="33" y="32"/>
                      <a:pt x="28" y="34"/>
                      <a:pt x="27" y="36"/>
                    </a:cubicBezTo>
                    <a:cubicBezTo>
                      <a:pt x="27" y="40"/>
                      <a:pt x="28" y="44"/>
                      <a:pt x="31" y="47"/>
                    </a:cubicBezTo>
                    <a:cubicBezTo>
                      <a:pt x="33" y="50"/>
                      <a:pt x="37" y="52"/>
                      <a:pt x="41" y="53"/>
                    </a:cubicBezTo>
                    <a:cubicBezTo>
                      <a:pt x="43" y="53"/>
                      <a:pt x="43" y="48"/>
                      <a:pt x="45" y="49"/>
                    </a:cubicBezTo>
                    <a:cubicBezTo>
                      <a:pt x="47" y="51"/>
                      <a:pt x="44" y="57"/>
                      <a:pt x="47" y="57"/>
                    </a:cubicBezTo>
                    <a:cubicBezTo>
                      <a:pt x="49" y="58"/>
                      <a:pt x="51" y="53"/>
                      <a:pt x="51" y="50"/>
                    </a:cubicBezTo>
                    <a:cubicBezTo>
                      <a:pt x="51" y="48"/>
                      <a:pt x="49" y="45"/>
                      <a:pt x="48" y="43"/>
                    </a:cubicBezTo>
                    <a:cubicBezTo>
                      <a:pt x="48" y="41"/>
                      <a:pt x="45" y="39"/>
                      <a:pt x="46" y="37"/>
                    </a:cubicBezTo>
                    <a:cubicBezTo>
                      <a:pt x="46" y="35"/>
                      <a:pt x="50" y="30"/>
                      <a:pt x="52" y="32"/>
                    </a:cubicBezTo>
                    <a:cubicBezTo>
                      <a:pt x="55" y="34"/>
                      <a:pt x="53" y="39"/>
                      <a:pt x="54" y="43"/>
                    </a:cubicBezTo>
                    <a:cubicBezTo>
                      <a:pt x="55" y="45"/>
                      <a:pt x="57" y="48"/>
                      <a:pt x="58" y="47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908" name="Freeform 2653"/>
              <p:cNvSpPr>
                <a:spLocks noChangeAspect="1"/>
              </p:cNvSpPr>
              <p:nvPr/>
            </p:nvSpPr>
            <p:spPr bwMode="auto">
              <a:xfrm>
                <a:off x="4504544" y="2098047"/>
                <a:ext cx="46977" cy="46517"/>
              </a:xfrm>
              <a:custGeom>
                <a:avLst/>
                <a:gdLst>
                  <a:gd name="T0" fmla="*/ 1 w 35"/>
                  <a:gd name="T1" fmla="*/ 43 h 47"/>
                  <a:gd name="T2" fmla="*/ 0 w 35"/>
                  <a:gd name="T3" fmla="*/ 37 h 47"/>
                  <a:gd name="T4" fmla="*/ 0 w 35"/>
                  <a:gd name="T5" fmla="*/ 32 h 47"/>
                  <a:gd name="T6" fmla="*/ 0 w 35"/>
                  <a:gd name="T7" fmla="*/ 27 h 47"/>
                  <a:gd name="T8" fmla="*/ 4 w 35"/>
                  <a:gd name="T9" fmla="*/ 21 h 47"/>
                  <a:gd name="T10" fmla="*/ 5 w 35"/>
                  <a:gd name="T11" fmla="*/ 14 h 47"/>
                  <a:gd name="T12" fmla="*/ 7 w 35"/>
                  <a:gd name="T13" fmla="*/ 11 h 47"/>
                  <a:gd name="T14" fmla="*/ 12 w 35"/>
                  <a:gd name="T15" fmla="*/ 10 h 47"/>
                  <a:gd name="T16" fmla="*/ 16 w 35"/>
                  <a:gd name="T17" fmla="*/ 6 h 47"/>
                  <a:gd name="T18" fmla="*/ 23 w 35"/>
                  <a:gd name="T19" fmla="*/ 1 h 47"/>
                  <a:gd name="T20" fmla="*/ 28 w 35"/>
                  <a:gd name="T21" fmla="*/ 2 h 47"/>
                  <a:gd name="T22" fmla="*/ 30 w 35"/>
                  <a:gd name="T23" fmla="*/ 1 h 47"/>
                  <a:gd name="T24" fmla="*/ 36 w 35"/>
                  <a:gd name="T25" fmla="*/ 0 h 47"/>
                  <a:gd name="T26" fmla="*/ 37 w 35"/>
                  <a:gd name="T27" fmla="*/ 2 h 47"/>
                  <a:gd name="T28" fmla="*/ 40 w 35"/>
                  <a:gd name="T29" fmla="*/ 4 h 47"/>
                  <a:gd name="T30" fmla="*/ 42 w 35"/>
                  <a:gd name="T31" fmla="*/ 6 h 47"/>
                  <a:gd name="T32" fmla="*/ 41 w 35"/>
                  <a:gd name="T33" fmla="*/ 11 h 47"/>
                  <a:gd name="T34" fmla="*/ 38 w 35"/>
                  <a:gd name="T35" fmla="*/ 17 h 47"/>
                  <a:gd name="T36" fmla="*/ 40 w 35"/>
                  <a:gd name="T37" fmla="*/ 24 h 47"/>
                  <a:gd name="T38" fmla="*/ 35 w 35"/>
                  <a:gd name="T39" fmla="*/ 27 h 47"/>
                  <a:gd name="T40" fmla="*/ 35 w 35"/>
                  <a:gd name="T41" fmla="*/ 32 h 47"/>
                  <a:gd name="T42" fmla="*/ 30 w 35"/>
                  <a:gd name="T43" fmla="*/ 33 h 47"/>
                  <a:gd name="T44" fmla="*/ 25 w 35"/>
                  <a:gd name="T45" fmla="*/ 33 h 47"/>
                  <a:gd name="T46" fmla="*/ 28 w 35"/>
                  <a:gd name="T47" fmla="*/ 43 h 47"/>
                  <a:gd name="T48" fmla="*/ 26 w 35"/>
                  <a:gd name="T49" fmla="*/ 48 h 47"/>
                  <a:gd name="T50" fmla="*/ 25 w 35"/>
                  <a:gd name="T51" fmla="*/ 51 h 47"/>
                  <a:gd name="T52" fmla="*/ 25 w 35"/>
                  <a:gd name="T53" fmla="*/ 55 h 47"/>
                  <a:gd name="T54" fmla="*/ 20 w 35"/>
                  <a:gd name="T55" fmla="*/ 55 h 47"/>
                  <a:gd name="T56" fmla="*/ 22 w 35"/>
                  <a:gd name="T57" fmla="*/ 49 h 47"/>
                  <a:gd name="T58" fmla="*/ 18 w 35"/>
                  <a:gd name="T59" fmla="*/ 46 h 47"/>
                  <a:gd name="T60" fmla="*/ 14 w 35"/>
                  <a:gd name="T61" fmla="*/ 46 h 47"/>
                  <a:gd name="T62" fmla="*/ 13 w 35"/>
                  <a:gd name="T63" fmla="*/ 44 h 47"/>
                  <a:gd name="T64" fmla="*/ 10 w 35"/>
                  <a:gd name="T65" fmla="*/ 42 h 47"/>
                  <a:gd name="T66" fmla="*/ 4 w 35"/>
                  <a:gd name="T67" fmla="*/ 42 h 47"/>
                  <a:gd name="T68" fmla="*/ 1 w 35"/>
                  <a:gd name="T69" fmla="*/ 43 h 47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35"/>
                  <a:gd name="T106" fmla="*/ 0 h 47"/>
                  <a:gd name="T107" fmla="*/ 35 w 35"/>
                  <a:gd name="T108" fmla="*/ 47 h 47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35" h="47">
                    <a:moveTo>
                      <a:pt x="1" y="36"/>
                    </a:moveTo>
                    <a:cubicBezTo>
                      <a:pt x="1" y="34"/>
                      <a:pt x="0" y="32"/>
                      <a:pt x="0" y="31"/>
                    </a:cubicBezTo>
                    <a:cubicBezTo>
                      <a:pt x="0" y="29"/>
                      <a:pt x="0" y="28"/>
                      <a:pt x="0" y="27"/>
                    </a:cubicBezTo>
                    <a:cubicBezTo>
                      <a:pt x="0" y="26"/>
                      <a:pt x="0" y="25"/>
                      <a:pt x="0" y="23"/>
                    </a:cubicBezTo>
                    <a:cubicBezTo>
                      <a:pt x="1" y="21"/>
                      <a:pt x="2" y="20"/>
                      <a:pt x="3" y="18"/>
                    </a:cubicBezTo>
                    <a:cubicBezTo>
                      <a:pt x="4" y="16"/>
                      <a:pt x="4" y="14"/>
                      <a:pt x="4" y="12"/>
                    </a:cubicBezTo>
                    <a:cubicBezTo>
                      <a:pt x="5" y="11"/>
                      <a:pt x="5" y="10"/>
                      <a:pt x="6" y="9"/>
                    </a:cubicBezTo>
                    <a:cubicBezTo>
                      <a:pt x="8" y="8"/>
                      <a:pt x="9" y="9"/>
                      <a:pt x="10" y="8"/>
                    </a:cubicBezTo>
                    <a:cubicBezTo>
                      <a:pt x="12" y="7"/>
                      <a:pt x="12" y="6"/>
                      <a:pt x="13" y="5"/>
                    </a:cubicBezTo>
                    <a:cubicBezTo>
                      <a:pt x="15" y="3"/>
                      <a:pt x="17" y="2"/>
                      <a:pt x="19" y="1"/>
                    </a:cubicBezTo>
                    <a:cubicBezTo>
                      <a:pt x="20" y="1"/>
                      <a:pt x="22" y="2"/>
                      <a:pt x="23" y="2"/>
                    </a:cubicBezTo>
                    <a:cubicBezTo>
                      <a:pt x="24" y="2"/>
                      <a:pt x="24" y="1"/>
                      <a:pt x="25" y="1"/>
                    </a:cubicBezTo>
                    <a:cubicBezTo>
                      <a:pt x="27" y="0"/>
                      <a:pt x="28" y="0"/>
                      <a:pt x="30" y="0"/>
                    </a:cubicBezTo>
                    <a:cubicBezTo>
                      <a:pt x="31" y="0"/>
                      <a:pt x="30" y="2"/>
                      <a:pt x="31" y="2"/>
                    </a:cubicBezTo>
                    <a:cubicBezTo>
                      <a:pt x="31" y="3"/>
                      <a:pt x="33" y="2"/>
                      <a:pt x="33" y="3"/>
                    </a:cubicBezTo>
                    <a:cubicBezTo>
                      <a:pt x="34" y="3"/>
                      <a:pt x="34" y="4"/>
                      <a:pt x="35" y="5"/>
                    </a:cubicBezTo>
                    <a:cubicBezTo>
                      <a:pt x="35" y="6"/>
                      <a:pt x="35" y="7"/>
                      <a:pt x="34" y="9"/>
                    </a:cubicBezTo>
                    <a:cubicBezTo>
                      <a:pt x="34" y="11"/>
                      <a:pt x="32" y="12"/>
                      <a:pt x="32" y="14"/>
                    </a:cubicBezTo>
                    <a:cubicBezTo>
                      <a:pt x="32" y="16"/>
                      <a:pt x="33" y="18"/>
                      <a:pt x="33" y="20"/>
                    </a:cubicBezTo>
                    <a:cubicBezTo>
                      <a:pt x="32" y="21"/>
                      <a:pt x="30" y="22"/>
                      <a:pt x="29" y="23"/>
                    </a:cubicBezTo>
                    <a:cubicBezTo>
                      <a:pt x="29" y="25"/>
                      <a:pt x="30" y="26"/>
                      <a:pt x="29" y="27"/>
                    </a:cubicBezTo>
                    <a:cubicBezTo>
                      <a:pt x="28" y="28"/>
                      <a:pt x="26" y="28"/>
                      <a:pt x="25" y="28"/>
                    </a:cubicBezTo>
                    <a:cubicBezTo>
                      <a:pt x="24" y="29"/>
                      <a:pt x="21" y="27"/>
                      <a:pt x="21" y="28"/>
                    </a:cubicBezTo>
                    <a:cubicBezTo>
                      <a:pt x="20" y="31"/>
                      <a:pt x="23" y="33"/>
                      <a:pt x="23" y="36"/>
                    </a:cubicBezTo>
                    <a:cubicBezTo>
                      <a:pt x="23" y="37"/>
                      <a:pt x="23" y="39"/>
                      <a:pt x="22" y="40"/>
                    </a:cubicBezTo>
                    <a:cubicBezTo>
                      <a:pt x="22" y="41"/>
                      <a:pt x="21" y="42"/>
                      <a:pt x="21" y="43"/>
                    </a:cubicBezTo>
                    <a:cubicBezTo>
                      <a:pt x="20" y="44"/>
                      <a:pt x="21" y="45"/>
                      <a:pt x="21" y="46"/>
                    </a:cubicBezTo>
                    <a:cubicBezTo>
                      <a:pt x="20" y="46"/>
                      <a:pt x="18" y="47"/>
                      <a:pt x="17" y="46"/>
                    </a:cubicBezTo>
                    <a:cubicBezTo>
                      <a:pt x="17" y="44"/>
                      <a:pt x="19" y="42"/>
                      <a:pt x="18" y="41"/>
                    </a:cubicBezTo>
                    <a:cubicBezTo>
                      <a:pt x="18" y="40"/>
                      <a:pt x="16" y="39"/>
                      <a:pt x="15" y="39"/>
                    </a:cubicBezTo>
                    <a:cubicBezTo>
                      <a:pt x="14" y="38"/>
                      <a:pt x="13" y="40"/>
                      <a:pt x="12" y="39"/>
                    </a:cubicBezTo>
                    <a:cubicBezTo>
                      <a:pt x="11" y="39"/>
                      <a:pt x="12" y="37"/>
                      <a:pt x="11" y="37"/>
                    </a:cubicBezTo>
                    <a:cubicBezTo>
                      <a:pt x="11" y="36"/>
                      <a:pt x="9" y="35"/>
                      <a:pt x="8" y="35"/>
                    </a:cubicBezTo>
                    <a:cubicBezTo>
                      <a:pt x="6" y="35"/>
                      <a:pt x="5" y="35"/>
                      <a:pt x="3" y="35"/>
                    </a:cubicBezTo>
                    <a:cubicBezTo>
                      <a:pt x="2" y="35"/>
                      <a:pt x="1" y="36"/>
                      <a:pt x="1" y="36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>
                  <a:solidFill>
                    <a:srgbClr val="133B9C"/>
                  </a:solidFill>
                  <a:latin typeface="Arial" charset="0"/>
                  <a:cs typeface="Arial" charset="0"/>
                </a:endParaRPr>
              </a:p>
            </p:txBody>
          </p:sp>
        </p:grpSp>
      </p:grpSp>
      <p:sp>
        <p:nvSpPr>
          <p:cNvPr id="2" name="Rettangolo 1"/>
          <p:cNvSpPr/>
          <p:nvPr/>
        </p:nvSpPr>
        <p:spPr>
          <a:xfrm>
            <a:off x="5" y="1604799"/>
            <a:ext cx="9036495" cy="4800532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685800"/>
            <a:endParaRPr lang="it-IT" sz="2000" dirty="0" err="1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13465" y="755619"/>
            <a:ext cx="6281738" cy="394980"/>
          </a:xfrm>
        </p:spPr>
        <p:txBody>
          <a:bodyPr/>
          <a:lstStyle/>
          <a:p>
            <a:r>
              <a:rPr lang="ru-RU" dirty="0" smtClean="0"/>
              <a:t>История работы</a:t>
            </a:r>
            <a:r>
              <a:rPr lang="en-US" dirty="0"/>
              <a:t/>
            </a:r>
            <a:br>
              <a:rPr lang="en-US" dirty="0"/>
            </a:br>
            <a:endParaRPr lang="en-GB" dirty="0"/>
          </a:p>
        </p:txBody>
      </p:sp>
      <p:grpSp>
        <p:nvGrpSpPr>
          <p:cNvPr id="3" name="Gruppo 2"/>
          <p:cNvGrpSpPr/>
          <p:nvPr/>
        </p:nvGrpSpPr>
        <p:grpSpPr>
          <a:xfrm>
            <a:off x="5532856" y="3333027"/>
            <a:ext cx="2495549" cy="3327399"/>
            <a:chOff x="5292582" y="3061617"/>
            <a:chExt cx="3327399" cy="3327399"/>
          </a:xfrm>
        </p:grpSpPr>
        <p:graphicFrame>
          <p:nvGraphicFramePr>
            <p:cNvPr id="1156" name="Chart 3438"/>
            <p:cNvGraphicFramePr/>
            <p:nvPr>
              <p:extLst>
                <p:ext uri="{D42A27DB-BD31-4B8C-83A1-F6EECF244321}">
                  <p14:modId xmlns:p14="http://schemas.microsoft.com/office/powerpoint/2010/main" val="4190595100"/>
                </p:ext>
              </p:extLst>
            </p:nvPr>
          </p:nvGraphicFramePr>
          <p:xfrm>
            <a:off x="5292582" y="3061617"/>
            <a:ext cx="3327399" cy="332739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pic>
          <p:nvPicPr>
            <p:cNvPr id="1157" name="Picture 2" descr="\\psf\Home\Desktop\ENELLOGO1.jpg"/>
            <p:cNvPicPr>
              <a:picLocks noChangeAspect="1" noChangeArrowheads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6027190" y="4349589"/>
              <a:ext cx="1858183" cy="673303"/>
            </a:xfrm>
            <a:prstGeom prst="rect">
              <a:avLst/>
            </a:prstGeom>
            <a:noFill/>
          </p:spPr>
        </p:pic>
      </p:grpSp>
      <p:sp>
        <p:nvSpPr>
          <p:cNvPr id="1217" name="Rectangle 2"/>
          <p:cNvSpPr/>
          <p:nvPr/>
        </p:nvSpPr>
        <p:spPr>
          <a:xfrm>
            <a:off x="403450" y="2084851"/>
            <a:ext cx="1916642" cy="1188000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100000">
                <a:schemeClr val="accent4">
                  <a:alpha val="70000"/>
                </a:schemeClr>
              </a:gs>
            </a:gsLst>
            <a:lin ang="0" scaled="1"/>
            <a:tileRect/>
          </a:gradFill>
          <a:ln w="12700" cap="flat" cmpd="sng" algn="ctr">
            <a:solidFill>
              <a:schemeClr val="accent4"/>
            </a:solidFill>
            <a:prstDash val="solid"/>
            <a:miter lim="800000"/>
          </a:ln>
          <a:effectLst/>
        </p:spPr>
        <p:txBody>
          <a:bodyPr lIns="68580" tIns="34290" rIns="68580" bIns="34290" rtlCol="0" anchor="ctr"/>
          <a:lstStyle/>
          <a:p>
            <a:pPr defTabSz="685800">
              <a:defRPr/>
            </a:pPr>
            <a:endParaRPr lang="it-IT" sz="5400" b="1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218" name="Rectangle 9"/>
          <p:cNvSpPr/>
          <p:nvPr/>
        </p:nvSpPr>
        <p:spPr>
          <a:xfrm>
            <a:off x="4432144" y="3397027"/>
            <a:ext cx="4123706" cy="168629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68580" tIns="34290" rIns="68580" bIns="34290" rtlCol="0" anchor="ctr"/>
          <a:lstStyle/>
          <a:p>
            <a:pPr algn="ctr" defTabSz="685800">
              <a:defRPr/>
            </a:pPr>
            <a:endParaRPr lang="en-US" sz="1400" kern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219" name="Freeform 6"/>
          <p:cNvSpPr>
            <a:spLocks noEditPoints="1"/>
          </p:cNvSpPr>
          <p:nvPr/>
        </p:nvSpPr>
        <p:spPr bwMode="auto">
          <a:xfrm>
            <a:off x="1803284" y="2288924"/>
            <a:ext cx="401535" cy="568027"/>
          </a:xfrm>
          <a:custGeom>
            <a:avLst/>
            <a:gdLst>
              <a:gd name="T0" fmla="*/ 1078 w 3366"/>
              <a:gd name="T1" fmla="*/ 2244 h 3464"/>
              <a:gd name="T2" fmla="*/ 1804 w 3366"/>
              <a:gd name="T3" fmla="*/ 2131 h 3464"/>
              <a:gd name="T4" fmla="*/ 1741 w 3366"/>
              <a:gd name="T5" fmla="*/ 452 h 3464"/>
              <a:gd name="T6" fmla="*/ 1878 w 3366"/>
              <a:gd name="T7" fmla="*/ 927 h 3464"/>
              <a:gd name="T8" fmla="*/ 1741 w 3366"/>
              <a:gd name="T9" fmla="*/ 452 h 3464"/>
              <a:gd name="T10" fmla="*/ 281 w 3366"/>
              <a:gd name="T11" fmla="*/ 3183 h 3464"/>
              <a:gd name="T12" fmla="*/ 2387 w 3366"/>
              <a:gd name="T13" fmla="*/ 1716 h 3464"/>
              <a:gd name="T14" fmla="*/ 2088 w 3366"/>
              <a:gd name="T15" fmla="*/ 2021 h 3464"/>
              <a:gd name="T16" fmla="*/ 1886 w 3366"/>
              <a:gd name="T17" fmla="*/ 2215 h 3464"/>
              <a:gd name="T18" fmla="*/ 2088 w 3366"/>
              <a:gd name="T19" fmla="*/ 2463 h 3464"/>
              <a:gd name="T20" fmla="*/ 580 w 3366"/>
              <a:gd name="T21" fmla="*/ 2604 h 3464"/>
              <a:gd name="T22" fmla="*/ 870 w 3366"/>
              <a:gd name="T23" fmla="*/ 2463 h 3464"/>
              <a:gd name="T24" fmla="*/ 580 w 3366"/>
              <a:gd name="T25" fmla="*/ 2021 h 3464"/>
              <a:gd name="T26" fmla="*/ 1110 w 3366"/>
              <a:gd name="T27" fmla="*/ 1880 h 3464"/>
              <a:gd name="T28" fmla="*/ 1366 w 3366"/>
              <a:gd name="T29" fmla="*/ 1438 h 3464"/>
              <a:gd name="T30" fmla="*/ 580 w 3366"/>
              <a:gd name="T31" fmla="*/ 1296 h 3464"/>
              <a:gd name="T32" fmla="*/ 1666 w 3366"/>
              <a:gd name="T33" fmla="*/ 1138 h 3464"/>
              <a:gd name="T34" fmla="*/ 1532 w 3366"/>
              <a:gd name="T35" fmla="*/ 281 h 3464"/>
              <a:gd name="T36" fmla="*/ 0 w 3366"/>
              <a:gd name="T37" fmla="*/ 0 h 3464"/>
              <a:gd name="T38" fmla="*/ 2241 w 3366"/>
              <a:gd name="T39" fmla="*/ 565 h 3464"/>
              <a:gd name="T40" fmla="*/ 2661 w 3366"/>
              <a:gd name="T41" fmla="*/ 150 h 3464"/>
              <a:gd name="T42" fmla="*/ 2712 w 3366"/>
              <a:gd name="T43" fmla="*/ 117 h 3464"/>
              <a:gd name="T44" fmla="*/ 2765 w 3366"/>
              <a:gd name="T45" fmla="*/ 97 h 3464"/>
              <a:gd name="T46" fmla="*/ 2816 w 3366"/>
              <a:gd name="T47" fmla="*/ 90 h 3464"/>
              <a:gd name="T48" fmla="*/ 2863 w 3366"/>
              <a:gd name="T49" fmla="*/ 100 h 3464"/>
              <a:gd name="T50" fmla="*/ 2900 w 3366"/>
              <a:gd name="T51" fmla="*/ 125 h 3464"/>
              <a:gd name="T52" fmla="*/ 3347 w 3366"/>
              <a:gd name="T53" fmla="*/ 578 h 3464"/>
              <a:gd name="T54" fmla="*/ 3364 w 3366"/>
              <a:gd name="T55" fmla="*/ 626 h 3464"/>
              <a:gd name="T56" fmla="*/ 3363 w 3366"/>
              <a:gd name="T57" fmla="*/ 680 h 3464"/>
              <a:gd name="T58" fmla="*/ 3344 w 3366"/>
              <a:gd name="T59" fmla="*/ 739 h 3464"/>
              <a:gd name="T60" fmla="*/ 3310 w 3366"/>
              <a:gd name="T61" fmla="*/ 796 h 3464"/>
              <a:gd name="T62" fmla="*/ 2668 w 3366"/>
              <a:gd name="T63" fmla="*/ 1437 h 3464"/>
              <a:gd name="T64" fmla="*/ 0 w 3366"/>
              <a:gd name="T65" fmla="*/ 3464 h 3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366" h="3464">
                <a:moveTo>
                  <a:pt x="1323" y="1647"/>
                </a:moveTo>
                <a:lnTo>
                  <a:pt x="1078" y="2244"/>
                </a:lnTo>
                <a:lnTo>
                  <a:pt x="1207" y="2372"/>
                </a:lnTo>
                <a:lnTo>
                  <a:pt x="1804" y="2131"/>
                </a:lnTo>
                <a:lnTo>
                  <a:pt x="1323" y="1647"/>
                </a:lnTo>
                <a:close/>
                <a:moveTo>
                  <a:pt x="1741" y="452"/>
                </a:moveTo>
                <a:lnTo>
                  <a:pt x="1741" y="927"/>
                </a:lnTo>
                <a:lnTo>
                  <a:pt x="1878" y="927"/>
                </a:lnTo>
                <a:lnTo>
                  <a:pt x="2041" y="763"/>
                </a:lnTo>
                <a:lnTo>
                  <a:pt x="1741" y="452"/>
                </a:lnTo>
                <a:close/>
                <a:moveTo>
                  <a:pt x="281" y="281"/>
                </a:moveTo>
                <a:lnTo>
                  <a:pt x="281" y="3183"/>
                </a:lnTo>
                <a:lnTo>
                  <a:pt x="2387" y="3183"/>
                </a:lnTo>
                <a:lnTo>
                  <a:pt x="2387" y="1716"/>
                </a:lnTo>
                <a:lnTo>
                  <a:pt x="2088" y="2014"/>
                </a:lnTo>
                <a:lnTo>
                  <a:pt x="2088" y="2021"/>
                </a:lnTo>
                <a:lnTo>
                  <a:pt x="2082" y="2021"/>
                </a:lnTo>
                <a:lnTo>
                  <a:pt x="1886" y="2215"/>
                </a:lnTo>
                <a:lnTo>
                  <a:pt x="1275" y="2463"/>
                </a:lnTo>
                <a:lnTo>
                  <a:pt x="2088" y="2463"/>
                </a:lnTo>
                <a:lnTo>
                  <a:pt x="2088" y="2604"/>
                </a:lnTo>
                <a:lnTo>
                  <a:pt x="580" y="2604"/>
                </a:lnTo>
                <a:lnTo>
                  <a:pt x="580" y="2463"/>
                </a:lnTo>
                <a:lnTo>
                  <a:pt x="870" y="2463"/>
                </a:lnTo>
                <a:lnTo>
                  <a:pt x="1052" y="2021"/>
                </a:lnTo>
                <a:lnTo>
                  <a:pt x="580" y="2021"/>
                </a:lnTo>
                <a:lnTo>
                  <a:pt x="580" y="1880"/>
                </a:lnTo>
                <a:lnTo>
                  <a:pt x="1110" y="1880"/>
                </a:lnTo>
                <a:lnTo>
                  <a:pt x="1238" y="1564"/>
                </a:lnTo>
                <a:lnTo>
                  <a:pt x="1366" y="1438"/>
                </a:lnTo>
                <a:lnTo>
                  <a:pt x="580" y="1438"/>
                </a:lnTo>
                <a:lnTo>
                  <a:pt x="580" y="1296"/>
                </a:lnTo>
                <a:lnTo>
                  <a:pt x="1506" y="1296"/>
                </a:lnTo>
                <a:lnTo>
                  <a:pt x="1666" y="1138"/>
                </a:lnTo>
                <a:lnTo>
                  <a:pt x="1532" y="1138"/>
                </a:lnTo>
                <a:lnTo>
                  <a:pt x="1532" y="281"/>
                </a:lnTo>
                <a:lnTo>
                  <a:pt x="281" y="281"/>
                </a:lnTo>
                <a:close/>
                <a:moveTo>
                  <a:pt x="0" y="0"/>
                </a:moveTo>
                <a:lnTo>
                  <a:pt x="1696" y="0"/>
                </a:lnTo>
                <a:lnTo>
                  <a:pt x="2241" y="565"/>
                </a:lnTo>
                <a:lnTo>
                  <a:pt x="2637" y="171"/>
                </a:lnTo>
                <a:lnTo>
                  <a:pt x="2661" y="150"/>
                </a:lnTo>
                <a:lnTo>
                  <a:pt x="2686" y="131"/>
                </a:lnTo>
                <a:lnTo>
                  <a:pt x="2712" y="117"/>
                </a:lnTo>
                <a:lnTo>
                  <a:pt x="2739" y="104"/>
                </a:lnTo>
                <a:lnTo>
                  <a:pt x="2765" y="97"/>
                </a:lnTo>
                <a:lnTo>
                  <a:pt x="2791" y="91"/>
                </a:lnTo>
                <a:lnTo>
                  <a:pt x="2816" y="90"/>
                </a:lnTo>
                <a:lnTo>
                  <a:pt x="2840" y="93"/>
                </a:lnTo>
                <a:lnTo>
                  <a:pt x="2863" y="100"/>
                </a:lnTo>
                <a:lnTo>
                  <a:pt x="2882" y="110"/>
                </a:lnTo>
                <a:lnTo>
                  <a:pt x="2900" y="125"/>
                </a:lnTo>
                <a:lnTo>
                  <a:pt x="3332" y="558"/>
                </a:lnTo>
                <a:lnTo>
                  <a:pt x="3347" y="578"/>
                </a:lnTo>
                <a:lnTo>
                  <a:pt x="3358" y="600"/>
                </a:lnTo>
                <a:lnTo>
                  <a:pt x="3364" y="626"/>
                </a:lnTo>
                <a:lnTo>
                  <a:pt x="3366" y="652"/>
                </a:lnTo>
                <a:lnTo>
                  <a:pt x="3363" y="680"/>
                </a:lnTo>
                <a:lnTo>
                  <a:pt x="3356" y="710"/>
                </a:lnTo>
                <a:lnTo>
                  <a:pt x="3344" y="739"/>
                </a:lnTo>
                <a:lnTo>
                  <a:pt x="3329" y="767"/>
                </a:lnTo>
                <a:lnTo>
                  <a:pt x="3310" y="796"/>
                </a:lnTo>
                <a:lnTo>
                  <a:pt x="3286" y="822"/>
                </a:lnTo>
                <a:lnTo>
                  <a:pt x="2668" y="1437"/>
                </a:lnTo>
                <a:lnTo>
                  <a:pt x="2668" y="3464"/>
                </a:lnTo>
                <a:lnTo>
                  <a:pt x="0" y="3464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US" sz="1400" kern="0" smtClean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220" name="CasellaDiTesto 1219"/>
          <p:cNvSpPr txBox="1"/>
          <p:nvPr/>
        </p:nvSpPr>
        <p:spPr>
          <a:xfrm>
            <a:off x="470890" y="2358500"/>
            <a:ext cx="1632307" cy="377026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defTabSz="685800">
              <a:defRPr/>
            </a:pPr>
            <a:r>
              <a:rPr lang="en-US" sz="2000" b="1" kern="0" dirty="0" smtClean="0">
                <a:solidFill>
                  <a:prstClr val="white"/>
                </a:solidFill>
                <a:latin typeface="Arial"/>
              </a:rPr>
              <a:t>HR Admin</a:t>
            </a:r>
            <a:endParaRPr lang="en-US" sz="1600" kern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221" name="Rectangle 2"/>
          <p:cNvSpPr/>
          <p:nvPr/>
        </p:nvSpPr>
        <p:spPr>
          <a:xfrm>
            <a:off x="2320090" y="2084851"/>
            <a:ext cx="2380284" cy="118800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4"/>
            </a:solidFill>
            <a:prstDash val="solid"/>
            <a:miter lim="800000"/>
          </a:ln>
          <a:effectLst/>
        </p:spPr>
        <p:txBody>
          <a:bodyPr lIns="68580" tIns="34290" rIns="68580" bIns="34290" rtlCol="0" anchor="ctr"/>
          <a:lstStyle/>
          <a:p>
            <a:pPr defTabSz="685800">
              <a:defRPr/>
            </a:pPr>
            <a:endParaRPr lang="it-IT" sz="5400" b="1" kern="0" dirty="0">
              <a:solidFill>
                <a:srgbClr val="188ED6"/>
              </a:solidFill>
              <a:latin typeface="Arial"/>
            </a:endParaRPr>
          </a:p>
        </p:txBody>
      </p:sp>
      <p:sp>
        <p:nvSpPr>
          <p:cNvPr id="1222" name="TextBox 4"/>
          <p:cNvSpPr txBox="1"/>
          <p:nvPr/>
        </p:nvSpPr>
        <p:spPr>
          <a:xfrm>
            <a:off x="2342504" y="2194229"/>
            <a:ext cx="2368605" cy="715581"/>
          </a:xfrm>
          <a:prstGeom prst="rect">
            <a:avLst/>
          </a:prstGeom>
          <a:noFill/>
          <a:ln>
            <a:noFill/>
          </a:ln>
        </p:spPr>
        <p:txBody>
          <a:bodyPr wrap="square" lIns="68580" tIns="34290" rIns="68580" bIns="34290" rtlCol="0">
            <a:spAutoFit/>
          </a:bodyPr>
          <a:lstStyle/>
          <a:p>
            <a:pPr marL="171450" indent="-171450" defTabSz="685800">
              <a:buFont typeface="Arial" panose="020B0604020202020204" pitchFamily="34" charset="0"/>
              <a:buChar char="•"/>
              <a:defRPr/>
            </a:pPr>
            <a:r>
              <a:rPr lang="ru-RU" sz="1050" b="1" kern="0" dirty="0" smtClean="0">
                <a:solidFill>
                  <a:srgbClr val="FE0F64"/>
                </a:solidFill>
                <a:latin typeface="Arial"/>
              </a:rPr>
              <a:t>Заполнение личных документов</a:t>
            </a:r>
          </a:p>
          <a:p>
            <a:pPr marL="171450" indent="-171450" defTabSz="685800">
              <a:buFont typeface="Arial" panose="020B0604020202020204" pitchFamily="34" charset="0"/>
              <a:buChar char="•"/>
              <a:defRPr/>
            </a:pPr>
            <a:r>
              <a:rPr lang="ru-RU" sz="1050" b="1" kern="0" dirty="0" smtClean="0">
                <a:solidFill>
                  <a:srgbClr val="FE0F64"/>
                </a:solidFill>
                <a:latin typeface="Arial"/>
              </a:rPr>
              <a:t>Организация подписей</a:t>
            </a:r>
          </a:p>
          <a:p>
            <a:pPr marL="171450" indent="-171450" defTabSz="685800">
              <a:buFont typeface="Arial" panose="020B0604020202020204" pitchFamily="34" charset="0"/>
              <a:buChar char="•"/>
              <a:defRPr/>
            </a:pPr>
            <a:r>
              <a:rPr lang="ru-RU" sz="1050" b="1" kern="0" dirty="0" smtClean="0">
                <a:solidFill>
                  <a:srgbClr val="FE0F64"/>
                </a:solidFill>
                <a:latin typeface="Arial"/>
              </a:rPr>
              <a:t>Заполнение 1С</a:t>
            </a:r>
            <a:endParaRPr lang="en-US" sz="1050" b="1" kern="0" dirty="0">
              <a:solidFill>
                <a:srgbClr val="FE0F64"/>
              </a:solidFill>
              <a:latin typeface="Arial"/>
            </a:endParaRPr>
          </a:p>
        </p:txBody>
      </p:sp>
      <p:sp>
        <p:nvSpPr>
          <p:cNvPr id="1224" name="TextBox 17"/>
          <p:cNvSpPr txBox="1">
            <a:spLocks noChangeArrowheads="1"/>
          </p:cNvSpPr>
          <p:nvPr/>
        </p:nvSpPr>
        <p:spPr bwMode="auto">
          <a:xfrm>
            <a:off x="422871" y="3257999"/>
            <a:ext cx="1903392" cy="1255717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lIns="68580" tIns="34290" rIns="68580" bIns="34290" rtlCol="0" anchor="ctr"/>
          <a:lstStyle>
            <a:defPPr>
              <a:defRPr lang="en-US"/>
            </a:defPPr>
            <a:lvl1pPr lvl="0">
              <a:defRPr sz="7200" b="1">
                <a:solidFill>
                  <a:schemeClr val="accent4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685800">
              <a:defRPr/>
            </a:pPr>
            <a:endParaRPr lang="it-IT" sz="3300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225" name="TextBox 8"/>
          <p:cNvSpPr txBox="1"/>
          <p:nvPr/>
        </p:nvSpPr>
        <p:spPr>
          <a:xfrm>
            <a:off x="427121" y="3565102"/>
            <a:ext cx="1877905" cy="500137"/>
          </a:xfrm>
          <a:prstGeom prst="rect">
            <a:avLst/>
          </a:prstGeom>
          <a:noFill/>
          <a:ln>
            <a:noFill/>
          </a:ln>
        </p:spPr>
        <p:txBody>
          <a:bodyPr wrap="square" lIns="68580" tIns="34290" rIns="68580" bIns="34290" rtlCol="0">
            <a:spAutoFit/>
          </a:bodyPr>
          <a:lstStyle/>
          <a:p>
            <a:pPr algn="ctr" defTabSz="685800">
              <a:defRPr/>
            </a:pPr>
            <a:r>
              <a:rPr lang="ru-RU" sz="1400" b="1" kern="0" dirty="0" smtClean="0">
                <a:solidFill>
                  <a:srgbClr val="0655FA"/>
                </a:solidFill>
                <a:latin typeface="Arial"/>
              </a:rPr>
              <a:t>Секретарь </a:t>
            </a:r>
            <a:r>
              <a:rPr lang="en-US" sz="1400" b="1" kern="0" dirty="0" smtClean="0">
                <a:solidFill>
                  <a:srgbClr val="0655FA"/>
                </a:solidFill>
                <a:latin typeface="Arial"/>
              </a:rPr>
              <a:t>HR Business Partner</a:t>
            </a:r>
            <a:endParaRPr lang="en-US" sz="1400" b="1" kern="0" dirty="0">
              <a:solidFill>
                <a:srgbClr val="0655FA"/>
              </a:solidFill>
              <a:latin typeface="Arial"/>
            </a:endParaRPr>
          </a:p>
        </p:txBody>
      </p:sp>
      <p:sp>
        <p:nvSpPr>
          <p:cNvPr id="2298" name="Rectangle 2"/>
          <p:cNvSpPr/>
          <p:nvPr/>
        </p:nvSpPr>
        <p:spPr>
          <a:xfrm>
            <a:off x="2331522" y="3285255"/>
            <a:ext cx="2376954" cy="122845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alpha val="70000"/>
                </a:schemeClr>
              </a:gs>
            </a:gsLst>
            <a:lin ang="0" scaled="1"/>
            <a:tileRect/>
          </a:gradFill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lIns="68580" tIns="34290" rIns="68580" bIns="34290" rtlCol="0" anchor="ctr"/>
          <a:lstStyle/>
          <a:p>
            <a:pPr defTabSz="685800"/>
            <a:r>
              <a:rPr lang="it-IT" sz="3300" b="1" kern="0" dirty="0">
                <a:solidFill>
                  <a:prstClr val="white"/>
                </a:solidFill>
                <a:latin typeface="Arial"/>
              </a:rPr>
              <a:t> </a:t>
            </a:r>
          </a:p>
        </p:txBody>
      </p:sp>
      <p:grpSp>
        <p:nvGrpSpPr>
          <p:cNvPr id="2300" name="Gruppieren 69"/>
          <p:cNvGrpSpPr/>
          <p:nvPr/>
        </p:nvGrpSpPr>
        <p:grpSpPr>
          <a:xfrm>
            <a:off x="2422859" y="3531319"/>
            <a:ext cx="624099" cy="620109"/>
            <a:chOff x="2938815" y="2260313"/>
            <a:chExt cx="1671004" cy="1027113"/>
          </a:xfrm>
          <a:solidFill>
            <a:sysClr val="window" lastClr="FFFFFF"/>
          </a:solidFill>
        </p:grpSpPr>
        <p:sp>
          <p:nvSpPr>
            <p:cNvPr id="2301" name="Freeform 5"/>
            <p:cNvSpPr>
              <a:spLocks/>
            </p:cNvSpPr>
            <p:nvPr/>
          </p:nvSpPr>
          <p:spPr bwMode="auto">
            <a:xfrm>
              <a:off x="3336960" y="2260313"/>
              <a:ext cx="893763" cy="1027113"/>
            </a:xfrm>
            <a:custGeom>
              <a:avLst/>
              <a:gdLst>
                <a:gd name="T0" fmla="*/ 175 w 237"/>
                <a:gd name="T1" fmla="*/ 191 h 271"/>
                <a:gd name="T2" fmla="*/ 130 w 237"/>
                <a:gd name="T3" fmla="*/ 145 h 271"/>
                <a:gd name="T4" fmla="*/ 145 w 237"/>
                <a:gd name="T5" fmla="*/ 110 h 271"/>
                <a:gd name="T6" fmla="*/ 157 w 237"/>
                <a:gd name="T7" fmla="*/ 86 h 271"/>
                <a:gd name="T8" fmla="*/ 153 w 237"/>
                <a:gd name="T9" fmla="*/ 73 h 271"/>
                <a:gd name="T10" fmla="*/ 156 w 237"/>
                <a:gd name="T11" fmla="*/ 49 h 271"/>
                <a:gd name="T12" fmla="*/ 101 w 237"/>
                <a:gd name="T13" fmla="*/ 0 h 271"/>
                <a:gd name="T14" fmla="*/ 46 w 237"/>
                <a:gd name="T15" fmla="*/ 49 h 271"/>
                <a:gd name="T16" fmla="*/ 50 w 237"/>
                <a:gd name="T17" fmla="*/ 73 h 271"/>
                <a:gd name="T18" fmla="*/ 46 w 237"/>
                <a:gd name="T19" fmla="*/ 86 h 271"/>
                <a:gd name="T20" fmla="*/ 58 w 237"/>
                <a:gd name="T21" fmla="*/ 110 h 271"/>
                <a:gd name="T22" fmla="*/ 73 w 237"/>
                <a:gd name="T23" fmla="*/ 145 h 271"/>
                <a:gd name="T24" fmla="*/ 28 w 237"/>
                <a:gd name="T25" fmla="*/ 191 h 271"/>
                <a:gd name="T26" fmla="*/ 0 w 237"/>
                <a:gd name="T27" fmla="*/ 215 h 271"/>
                <a:gd name="T28" fmla="*/ 0 w 237"/>
                <a:gd name="T29" fmla="*/ 271 h 271"/>
                <a:gd name="T30" fmla="*/ 237 w 237"/>
                <a:gd name="T31" fmla="*/ 271 h 271"/>
                <a:gd name="T32" fmla="*/ 237 w 237"/>
                <a:gd name="T33" fmla="*/ 229 h 271"/>
                <a:gd name="T34" fmla="*/ 175 w 237"/>
                <a:gd name="T35" fmla="*/ 19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37" h="271">
                  <a:moveTo>
                    <a:pt x="175" y="191"/>
                  </a:moveTo>
                  <a:cubicBezTo>
                    <a:pt x="141" y="178"/>
                    <a:pt x="130" y="167"/>
                    <a:pt x="130" y="145"/>
                  </a:cubicBezTo>
                  <a:cubicBezTo>
                    <a:pt x="130" y="130"/>
                    <a:pt x="140" y="135"/>
                    <a:pt x="145" y="110"/>
                  </a:cubicBezTo>
                  <a:cubicBezTo>
                    <a:pt x="146" y="99"/>
                    <a:pt x="156" y="110"/>
                    <a:pt x="157" y="86"/>
                  </a:cubicBezTo>
                  <a:cubicBezTo>
                    <a:pt x="157" y="76"/>
                    <a:pt x="153" y="73"/>
                    <a:pt x="153" y="73"/>
                  </a:cubicBezTo>
                  <a:cubicBezTo>
                    <a:pt x="153" y="73"/>
                    <a:pt x="155" y="60"/>
                    <a:pt x="156" y="49"/>
                  </a:cubicBezTo>
                  <a:cubicBezTo>
                    <a:pt x="157" y="35"/>
                    <a:pt x="149" y="0"/>
                    <a:pt x="101" y="0"/>
                  </a:cubicBezTo>
                  <a:cubicBezTo>
                    <a:pt x="54" y="0"/>
                    <a:pt x="46" y="35"/>
                    <a:pt x="46" y="49"/>
                  </a:cubicBezTo>
                  <a:cubicBezTo>
                    <a:pt x="48" y="60"/>
                    <a:pt x="50" y="73"/>
                    <a:pt x="50" y="73"/>
                  </a:cubicBezTo>
                  <a:cubicBezTo>
                    <a:pt x="50" y="73"/>
                    <a:pt x="46" y="76"/>
                    <a:pt x="46" y="86"/>
                  </a:cubicBezTo>
                  <a:cubicBezTo>
                    <a:pt x="47" y="110"/>
                    <a:pt x="56" y="99"/>
                    <a:pt x="58" y="110"/>
                  </a:cubicBezTo>
                  <a:cubicBezTo>
                    <a:pt x="62" y="135"/>
                    <a:pt x="73" y="130"/>
                    <a:pt x="73" y="145"/>
                  </a:cubicBezTo>
                  <a:cubicBezTo>
                    <a:pt x="73" y="167"/>
                    <a:pt x="62" y="178"/>
                    <a:pt x="28" y="191"/>
                  </a:cubicBezTo>
                  <a:cubicBezTo>
                    <a:pt x="18" y="194"/>
                    <a:pt x="0" y="201"/>
                    <a:pt x="0" y="215"/>
                  </a:cubicBezTo>
                  <a:cubicBezTo>
                    <a:pt x="0" y="271"/>
                    <a:pt x="0" y="271"/>
                    <a:pt x="0" y="271"/>
                  </a:cubicBezTo>
                  <a:cubicBezTo>
                    <a:pt x="237" y="271"/>
                    <a:pt x="237" y="271"/>
                    <a:pt x="237" y="271"/>
                  </a:cubicBezTo>
                  <a:cubicBezTo>
                    <a:pt x="237" y="271"/>
                    <a:pt x="237" y="238"/>
                    <a:pt x="237" y="229"/>
                  </a:cubicBezTo>
                  <a:cubicBezTo>
                    <a:pt x="237" y="216"/>
                    <a:pt x="209" y="204"/>
                    <a:pt x="175" y="19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400" kern="0" dirty="0" smtClea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302" name="Freeform 6"/>
            <p:cNvSpPr>
              <a:spLocks/>
            </p:cNvSpPr>
            <p:nvPr/>
          </p:nvSpPr>
          <p:spPr bwMode="auto">
            <a:xfrm>
              <a:off x="4054193" y="2407950"/>
              <a:ext cx="555626" cy="879476"/>
            </a:xfrm>
            <a:custGeom>
              <a:avLst/>
              <a:gdLst>
                <a:gd name="T0" fmla="*/ 97 w 147"/>
                <a:gd name="T1" fmla="*/ 143 h 232"/>
                <a:gd name="T2" fmla="*/ 64 w 147"/>
                <a:gd name="T3" fmla="*/ 109 h 232"/>
                <a:gd name="T4" fmla="*/ 75 w 147"/>
                <a:gd name="T5" fmla="*/ 82 h 232"/>
                <a:gd name="T6" fmla="*/ 84 w 147"/>
                <a:gd name="T7" fmla="*/ 64 h 232"/>
                <a:gd name="T8" fmla="*/ 81 w 147"/>
                <a:gd name="T9" fmla="*/ 55 h 232"/>
                <a:gd name="T10" fmla="*/ 84 w 147"/>
                <a:gd name="T11" fmla="*/ 37 h 232"/>
                <a:gd name="T12" fmla="*/ 42 w 147"/>
                <a:gd name="T13" fmla="*/ 0 h 232"/>
                <a:gd name="T14" fmla="*/ 1 w 147"/>
                <a:gd name="T15" fmla="*/ 37 h 232"/>
                <a:gd name="T16" fmla="*/ 4 w 147"/>
                <a:gd name="T17" fmla="*/ 55 h 232"/>
                <a:gd name="T18" fmla="*/ 0 w 147"/>
                <a:gd name="T19" fmla="*/ 64 h 232"/>
                <a:gd name="T20" fmla="*/ 10 w 147"/>
                <a:gd name="T21" fmla="*/ 82 h 232"/>
                <a:gd name="T22" fmla="*/ 21 w 147"/>
                <a:gd name="T23" fmla="*/ 109 h 232"/>
                <a:gd name="T24" fmla="*/ 7 w 147"/>
                <a:gd name="T25" fmla="*/ 134 h 232"/>
                <a:gd name="T26" fmla="*/ 70 w 147"/>
                <a:gd name="T27" fmla="*/ 187 h 232"/>
                <a:gd name="T28" fmla="*/ 70 w 147"/>
                <a:gd name="T29" fmla="*/ 232 h 232"/>
                <a:gd name="T30" fmla="*/ 147 w 147"/>
                <a:gd name="T31" fmla="*/ 232 h 232"/>
                <a:gd name="T32" fmla="*/ 142 w 147"/>
                <a:gd name="T33" fmla="*/ 168 h 232"/>
                <a:gd name="T34" fmla="*/ 97 w 147"/>
                <a:gd name="T35" fmla="*/ 143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7" h="232">
                  <a:moveTo>
                    <a:pt x="97" y="143"/>
                  </a:moveTo>
                  <a:cubicBezTo>
                    <a:pt x="72" y="133"/>
                    <a:pt x="64" y="126"/>
                    <a:pt x="64" y="109"/>
                  </a:cubicBezTo>
                  <a:cubicBezTo>
                    <a:pt x="64" y="98"/>
                    <a:pt x="72" y="101"/>
                    <a:pt x="75" y="82"/>
                  </a:cubicBezTo>
                  <a:cubicBezTo>
                    <a:pt x="76" y="74"/>
                    <a:pt x="84" y="82"/>
                    <a:pt x="84" y="64"/>
                  </a:cubicBezTo>
                  <a:cubicBezTo>
                    <a:pt x="84" y="57"/>
                    <a:pt x="81" y="55"/>
                    <a:pt x="81" y="55"/>
                  </a:cubicBezTo>
                  <a:cubicBezTo>
                    <a:pt x="81" y="55"/>
                    <a:pt x="83" y="44"/>
                    <a:pt x="84" y="37"/>
                  </a:cubicBezTo>
                  <a:cubicBezTo>
                    <a:pt x="84" y="27"/>
                    <a:pt x="78" y="0"/>
                    <a:pt x="42" y="0"/>
                  </a:cubicBezTo>
                  <a:cubicBezTo>
                    <a:pt x="8" y="0"/>
                    <a:pt x="0" y="27"/>
                    <a:pt x="1" y="37"/>
                  </a:cubicBezTo>
                  <a:cubicBezTo>
                    <a:pt x="2" y="44"/>
                    <a:pt x="4" y="55"/>
                    <a:pt x="4" y="55"/>
                  </a:cubicBezTo>
                  <a:cubicBezTo>
                    <a:pt x="4" y="55"/>
                    <a:pt x="0" y="57"/>
                    <a:pt x="0" y="64"/>
                  </a:cubicBezTo>
                  <a:cubicBezTo>
                    <a:pt x="2" y="82"/>
                    <a:pt x="8" y="74"/>
                    <a:pt x="10" y="82"/>
                  </a:cubicBezTo>
                  <a:cubicBezTo>
                    <a:pt x="13" y="101"/>
                    <a:pt x="21" y="98"/>
                    <a:pt x="21" y="109"/>
                  </a:cubicBezTo>
                  <a:cubicBezTo>
                    <a:pt x="21" y="120"/>
                    <a:pt x="17" y="128"/>
                    <a:pt x="7" y="134"/>
                  </a:cubicBezTo>
                  <a:cubicBezTo>
                    <a:pt x="62" y="159"/>
                    <a:pt x="70" y="164"/>
                    <a:pt x="70" y="187"/>
                  </a:cubicBezTo>
                  <a:cubicBezTo>
                    <a:pt x="70" y="232"/>
                    <a:pt x="70" y="232"/>
                    <a:pt x="70" y="232"/>
                  </a:cubicBezTo>
                  <a:cubicBezTo>
                    <a:pt x="147" y="232"/>
                    <a:pt x="147" y="232"/>
                    <a:pt x="147" y="232"/>
                  </a:cubicBezTo>
                  <a:cubicBezTo>
                    <a:pt x="147" y="232"/>
                    <a:pt x="146" y="174"/>
                    <a:pt x="142" y="168"/>
                  </a:cubicBezTo>
                  <a:cubicBezTo>
                    <a:pt x="137" y="159"/>
                    <a:pt x="123" y="153"/>
                    <a:pt x="97" y="1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400" kern="0" dirty="0" smtClean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303" name="Freeform 7"/>
            <p:cNvSpPr>
              <a:spLocks/>
            </p:cNvSpPr>
            <p:nvPr/>
          </p:nvSpPr>
          <p:spPr bwMode="auto">
            <a:xfrm>
              <a:off x="2938815" y="2407950"/>
              <a:ext cx="550863" cy="879476"/>
            </a:xfrm>
            <a:custGeom>
              <a:avLst/>
              <a:gdLst>
                <a:gd name="T0" fmla="*/ 50 w 146"/>
                <a:gd name="T1" fmla="*/ 143 h 232"/>
                <a:gd name="T2" fmla="*/ 83 w 146"/>
                <a:gd name="T3" fmla="*/ 109 h 232"/>
                <a:gd name="T4" fmla="*/ 72 w 146"/>
                <a:gd name="T5" fmla="*/ 82 h 232"/>
                <a:gd name="T6" fmla="*/ 62 w 146"/>
                <a:gd name="T7" fmla="*/ 64 h 232"/>
                <a:gd name="T8" fmla="*/ 66 w 146"/>
                <a:gd name="T9" fmla="*/ 55 h 232"/>
                <a:gd name="T10" fmla="*/ 63 w 146"/>
                <a:gd name="T11" fmla="*/ 37 h 232"/>
                <a:gd name="T12" fmla="*/ 104 w 146"/>
                <a:gd name="T13" fmla="*/ 0 h 232"/>
                <a:gd name="T14" fmla="*/ 146 w 146"/>
                <a:gd name="T15" fmla="*/ 37 h 232"/>
                <a:gd name="T16" fmla="*/ 142 w 146"/>
                <a:gd name="T17" fmla="*/ 55 h 232"/>
                <a:gd name="T18" fmla="*/ 146 w 146"/>
                <a:gd name="T19" fmla="*/ 64 h 232"/>
                <a:gd name="T20" fmla="*/ 137 w 146"/>
                <a:gd name="T21" fmla="*/ 82 h 232"/>
                <a:gd name="T22" fmla="*/ 126 w 146"/>
                <a:gd name="T23" fmla="*/ 109 h 232"/>
                <a:gd name="T24" fmla="*/ 140 w 146"/>
                <a:gd name="T25" fmla="*/ 134 h 232"/>
                <a:gd name="T26" fmla="*/ 77 w 146"/>
                <a:gd name="T27" fmla="*/ 187 h 232"/>
                <a:gd name="T28" fmla="*/ 77 w 146"/>
                <a:gd name="T29" fmla="*/ 232 h 232"/>
                <a:gd name="T30" fmla="*/ 0 w 146"/>
                <a:gd name="T31" fmla="*/ 232 h 232"/>
                <a:gd name="T32" fmla="*/ 5 w 146"/>
                <a:gd name="T33" fmla="*/ 168 h 232"/>
                <a:gd name="T34" fmla="*/ 50 w 146"/>
                <a:gd name="T35" fmla="*/ 143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6" h="232">
                  <a:moveTo>
                    <a:pt x="50" y="143"/>
                  </a:moveTo>
                  <a:cubicBezTo>
                    <a:pt x="75" y="133"/>
                    <a:pt x="83" y="126"/>
                    <a:pt x="83" y="109"/>
                  </a:cubicBezTo>
                  <a:cubicBezTo>
                    <a:pt x="83" y="98"/>
                    <a:pt x="75" y="101"/>
                    <a:pt x="72" y="82"/>
                  </a:cubicBezTo>
                  <a:cubicBezTo>
                    <a:pt x="70" y="74"/>
                    <a:pt x="63" y="82"/>
                    <a:pt x="62" y="64"/>
                  </a:cubicBezTo>
                  <a:cubicBezTo>
                    <a:pt x="62" y="57"/>
                    <a:pt x="66" y="55"/>
                    <a:pt x="66" y="55"/>
                  </a:cubicBezTo>
                  <a:cubicBezTo>
                    <a:pt x="66" y="55"/>
                    <a:pt x="64" y="44"/>
                    <a:pt x="63" y="37"/>
                  </a:cubicBezTo>
                  <a:cubicBezTo>
                    <a:pt x="62" y="27"/>
                    <a:pt x="69" y="0"/>
                    <a:pt x="104" y="0"/>
                  </a:cubicBezTo>
                  <a:cubicBezTo>
                    <a:pt x="139" y="0"/>
                    <a:pt x="146" y="27"/>
                    <a:pt x="146" y="37"/>
                  </a:cubicBezTo>
                  <a:cubicBezTo>
                    <a:pt x="145" y="44"/>
                    <a:pt x="142" y="55"/>
                    <a:pt x="142" y="55"/>
                  </a:cubicBezTo>
                  <a:cubicBezTo>
                    <a:pt x="142" y="55"/>
                    <a:pt x="146" y="57"/>
                    <a:pt x="146" y="64"/>
                  </a:cubicBezTo>
                  <a:cubicBezTo>
                    <a:pt x="145" y="82"/>
                    <a:pt x="138" y="74"/>
                    <a:pt x="137" y="82"/>
                  </a:cubicBezTo>
                  <a:cubicBezTo>
                    <a:pt x="134" y="101"/>
                    <a:pt x="126" y="98"/>
                    <a:pt x="126" y="109"/>
                  </a:cubicBezTo>
                  <a:cubicBezTo>
                    <a:pt x="126" y="120"/>
                    <a:pt x="130" y="128"/>
                    <a:pt x="140" y="134"/>
                  </a:cubicBezTo>
                  <a:cubicBezTo>
                    <a:pt x="85" y="159"/>
                    <a:pt x="77" y="164"/>
                    <a:pt x="77" y="187"/>
                  </a:cubicBezTo>
                  <a:cubicBezTo>
                    <a:pt x="77" y="232"/>
                    <a:pt x="77" y="232"/>
                    <a:pt x="77" y="232"/>
                  </a:cubicBezTo>
                  <a:cubicBezTo>
                    <a:pt x="0" y="232"/>
                    <a:pt x="0" y="232"/>
                    <a:pt x="0" y="232"/>
                  </a:cubicBezTo>
                  <a:cubicBezTo>
                    <a:pt x="0" y="232"/>
                    <a:pt x="1" y="174"/>
                    <a:pt x="5" y="168"/>
                  </a:cubicBezTo>
                  <a:cubicBezTo>
                    <a:pt x="10" y="159"/>
                    <a:pt x="24" y="153"/>
                    <a:pt x="50" y="1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400" kern="0" dirty="0" smtClean="0">
                <a:solidFill>
                  <a:prstClr val="black"/>
                </a:solidFill>
                <a:latin typeface="Arial"/>
              </a:endParaRPr>
            </a:p>
          </p:txBody>
        </p:sp>
      </p:grpSp>
      <p:sp>
        <p:nvSpPr>
          <p:cNvPr id="2304" name="Rettangolo 2303"/>
          <p:cNvSpPr/>
          <p:nvPr/>
        </p:nvSpPr>
        <p:spPr>
          <a:xfrm>
            <a:off x="2979000" y="3332991"/>
            <a:ext cx="1874665" cy="915635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marL="171450" indent="-171450" defTabSz="685800">
              <a:buFont typeface="Arial" panose="020B0604020202020204" pitchFamily="34" charset="0"/>
              <a:buChar char="•"/>
              <a:defRPr/>
            </a:pPr>
            <a:r>
              <a:rPr lang="ru-RU" sz="1100" b="1" kern="0" dirty="0" smtClean="0">
                <a:solidFill>
                  <a:prstClr val="white"/>
                </a:solidFill>
                <a:latin typeface="Arial"/>
              </a:rPr>
              <a:t>Подготовка материалов</a:t>
            </a:r>
          </a:p>
          <a:p>
            <a:pPr marL="171450" indent="-171450" defTabSz="685800">
              <a:buFont typeface="Arial" panose="020B0604020202020204" pitchFamily="34" charset="0"/>
              <a:buChar char="•"/>
              <a:defRPr/>
            </a:pPr>
            <a:r>
              <a:rPr lang="ru-RU" sz="1100" b="1" kern="0" dirty="0" smtClean="0">
                <a:solidFill>
                  <a:prstClr val="white"/>
                </a:solidFill>
                <a:latin typeface="Arial"/>
              </a:rPr>
              <a:t>Перевод документов</a:t>
            </a:r>
          </a:p>
          <a:p>
            <a:pPr marL="171450" indent="-171450" defTabSz="685800">
              <a:buFont typeface="Arial" panose="020B0604020202020204" pitchFamily="34" charset="0"/>
              <a:buChar char="•"/>
              <a:defRPr/>
            </a:pPr>
            <a:r>
              <a:rPr lang="ru-RU" sz="1100" b="1" kern="0" dirty="0" smtClean="0">
                <a:solidFill>
                  <a:prstClr val="white"/>
                </a:solidFill>
                <a:latin typeface="Arial"/>
              </a:rPr>
              <a:t>Анализ обратной связи</a:t>
            </a:r>
            <a:endParaRPr lang="en-US" sz="1100" kern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305" name="Rectangle 9"/>
          <p:cNvSpPr/>
          <p:nvPr/>
        </p:nvSpPr>
        <p:spPr>
          <a:xfrm>
            <a:off x="4465207" y="4630925"/>
            <a:ext cx="1462202" cy="1188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68580" tIns="34290" rIns="68580" bIns="34290" rtlCol="0" anchor="ctr"/>
          <a:lstStyle/>
          <a:p>
            <a:pPr algn="ctr" defTabSz="685800">
              <a:defRPr/>
            </a:pPr>
            <a:endParaRPr lang="en-US" sz="1200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306" name="Rectangle 2"/>
          <p:cNvSpPr/>
          <p:nvPr/>
        </p:nvSpPr>
        <p:spPr>
          <a:xfrm>
            <a:off x="2316937" y="4527686"/>
            <a:ext cx="2404601" cy="1171183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6"/>
            </a:solidFill>
            <a:prstDash val="solid"/>
            <a:miter lim="800000"/>
          </a:ln>
          <a:effectLst/>
        </p:spPr>
        <p:txBody>
          <a:bodyPr lIns="68580" tIns="34290" rIns="68580" bIns="34290" rtlCol="0" anchor="ctr"/>
          <a:lstStyle/>
          <a:p>
            <a:pPr marL="171450" indent="-171450" defTabSz="685800">
              <a:buFont typeface="Arial" panose="020B0604020202020204" pitchFamily="34" charset="0"/>
              <a:buChar char="•"/>
            </a:pPr>
            <a:endParaRPr lang="ru-RU" sz="1100" kern="0" dirty="0" smtClean="0">
              <a:solidFill>
                <a:srgbClr val="028C59"/>
              </a:solidFill>
              <a:latin typeface="Arial"/>
            </a:endParaRPr>
          </a:p>
          <a:p>
            <a:pPr marL="171450" indent="-171450" defTabSz="685800">
              <a:buFont typeface="Arial" panose="020B0604020202020204" pitchFamily="34" charset="0"/>
              <a:buChar char="•"/>
            </a:pPr>
            <a:r>
              <a:rPr lang="ru-RU" sz="1100" b="1" kern="0" dirty="0" smtClean="0">
                <a:solidFill>
                  <a:srgbClr val="028C59"/>
                </a:solidFill>
                <a:latin typeface="Arial"/>
              </a:rPr>
              <a:t>Перевод </a:t>
            </a:r>
            <a:r>
              <a:rPr lang="ru-RU" sz="1100" b="1" kern="0" dirty="0">
                <a:solidFill>
                  <a:srgbClr val="028C59"/>
                </a:solidFill>
                <a:latin typeface="Arial"/>
              </a:rPr>
              <a:t>документации</a:t>
            </a:r>
          </a:p>
          <a:p>
            <a:pPr marL="171450" indent="-171450" defTabSz="685800">
              <a:buFont typeface="Arial" panose="020B0604020202020204" pitchFamily="34" charset="0"/>
              <a:buChar char="•"/>
            </a:pPr>
            <a:r>
              <a:rPr lang="ru-RU" sz="1100" b="1" kern="0" dirty="0">
                <a:solidFill>
                  <a:srgbClr val="028C59"/>
                </a:solidFill>
                <a:latin typeface="Arial"/>
              </a:rPr>
              <a:t>Подготовка презентаций</a:t>
            </a:r>
          </a:p>
          <a:p>
            <a:pPr marL="171450" indent="-171450" defTabSz="685800">
              <a:buFont typeface="Arial" panose="020B0604020202020204" pitchFamily="34" charset="0"/>
              <a:buChar char="•"/>
            </a:pPr>
            <a:r>
              <a:rPr lang="ru-RU" sz="1100" b="1" kern="0" dirty="0">
                <a:solidFill>
                  <a:srgbClr val="028C59"/>
                </a:solidFill>
                <a:latin typeface="Arial"/>
              </a:rPr>
              <a:t>Организация тренингов</a:t>
            </a:r>
          </a:p>
          <a:p>
            <a:pPr marL="171450" indent="-171450" defTabSz="685800">
              <a:buFont typeface="Arial" panose="020B0604020202020204" pitchFamily="34" charset="0"/>
              <a:buChar char="•"/>
            </a:pPr>
            <a:r>
              <a:rPr lang="ru-RU" sz="1100" b="1" kern="0" dirty="0">
                <a:solidFill>
                  <a:srgbClr val="028C59"/>
                </a:solidFill>
                <a:latin typeface="Arial"/>
              </a:rPr>
              <a:t>Анализ проведенных оценок</a:t>
            </a:r>
          </a:p>
          <a:p>
            <a:pPr marL="171450" indent="-171450" defTabSz="685800">
              <a:buFont typeface="Arial" panose="020B0604020202020204" pitchFamily="34" charset="0"/>
              <a:buChar char="•"/>
            </a:pPr>
            <a:endParaRPr lang="en-US" sz="1100" kern="0" baseline="30000" dirty="0">
              <a:solidFill>
                <a:srgbClr val="028C59"/>
              </a:solidFill>
              <a:latin typeface="Arial"/>
            </a:endParaRPr>
          </a:p>
          <a:p>
            <a:pPr defTabSz="685800">
              <a:defRPr/>
            </a:pPr>
            <a:endParaRPr lang="it-IT" sz="1100" b="1" kern="0" dirty="0">
              <a:solidFill>
                <a:srgbClr val="028C59"/>
              </a:solidFill>
              <a:latin typeface="Arial"/>
            </a:endParaRPr>
          </a:p>
        </p:txBody>
      </p:sp>
      <p:sp>
        <p:nvSpPr>
          <p:cNvPr id="2307" name="Rectangle 2"/>
          <p:cNvSpPr/>
          <p:nvPr/>
        </p:nvSpPr>
        <p:spPr>
          <a:xfrm>
            <a:off x="421144" y="4513071"/>
            <a:ext cx="1887740" cy="1188000"/>
          </a:xfrm>
          <a:prstGeom prst="rect">
            <a:avLst/>
          </a:prstGeom>
          <a:gradFill flip="none" rotWithShape="1">
            <a:gsLst>
              <a:gs pos="0">
                <a:srgbClr val="00B050"/>
              </a:gs>
              <a:gs pos="100000">
                <a:schemeClr val="accent6">
                  <a:alpha val="70000"/>
                </a:schemeClr>
              </a:gs>
            </a:gsLst>
            <a:lin ang="0" scaled="1"/>
            <a:tileRect/>
          </a:gradFill>
          <a:ln w="12700" cap="flat" cmpd="sng" algn="ctr">
            <a:solidFill>
              <a:srgbClr val="00B050"/>
            </a:solidFill>
            <a:prstDash val="solid"/>
            <a:miter lim="800000"/>
          </a:ln>
          <a:effectLst/>
        </p:spPr>
        <p:txBody>
          <a:bodyPr lIns="68580" tIns="34290" rIns="68580" bIns="34290" rtlCol="0" anchor="ctr"/>
          <a:lstStyle/>
          <a:p>
            <a:pPr marL="171450" indent="-171450" defTabSz="685800">
              <a:buFont typeface="Arial" panose="020B0604020202020204" pitchFamily="34" charset="0"/>
              <a:buChar char="•"/>
            </a:pPr>
            <a:endParaRPr lang="en-US" sz="1100" kern="0" baseline="30000" dirty="0">
              <a:solidFill>
                <a:prstClr val="white"/>
              </a:solidFill>
              <a:latin typeface="Arial"/>
            </a:endParaRPr>
          </a:p>
        </p:txBody>
      </p:sp>
      <p:grpSp>
        <p:nvGrpSpPr>
          <p:cNvPr id="2309" name="Gruppo 2308"/>
          <p:cNvGrpSpPr/>
          <p:nvPr/>
        </p:nvGrpSpPr>
        <p:grpSpPr>
          <a:xfrm>
            <a:off x="4265228" y="4526808"/>
            <a:ext cx="407307" cy="680976"/>
            <a:chOff x="6466200" y="4527423"/>
            <a:chExt cx="692856" cy="813550"/>
          </a:xfrm>
          <a:solidFill>
            <a:srgbClr val="00B050"/>
          </a:solidFill>
        </p:grpSpPr>
        <p:sp>
          <p:nvSpPr>
            <p:cNvPr id="2310" name="Freeform 39"/>
            <p:cNvSpPr>
              <a:spLocks/>
            </p:cNvSpPr>
            <p:nvPr/>
          </p:nvSpPr>
          <p:spPr bwMode="auto">
            <a:xfrm>
              <a:off x="6466200" y="4725948"/>
              <a:ext cx="641348" cy="615025"/>
            </a:xfrm>
            <a:custGeom>
              <a:avLst/>
              <a:gdLst>
                <a:gd name="T0" fmla="*/ 295 w 377"/>
                <a:gd name="T1" fmla="*/ 269 h 361"/>
                <a:gd name="T2" fmla="*/ 230 w 377"/>
                <a:gd name="T3" fmla="*/ 204 h 361"/>
                <a:gd name="T4" fmla="*/ 251 w 377"/>
                <a:gd name="T5" fmla="*/ 155 h 361"/>
                <a:gd name="T6" fmla="*/ 270 w 377"/>
                <a:gd name="T7" fmla="*/ 121 h 361"/>
                <a:gd name="T8" fmla="*/ 263 w 377"/>
                <a:gd name="T9" fmla="*/ 104 h 361"/>
                <a:gd name="T10" fmla="*/ 268 w 377"/>
                <a:gd name="T11" fmla="*/ 68 h 361"/>
                <a:gd name="T12" fmla="*/ 188 w 377"/>
                <a:gd name="T13" fmla="*/ 0 h 361"/>
                <a:gd name="T14" fmla="*/ 108 w 377"/>
                <a:gd name="T15" fmla="*/ 68 h 361"/>
                <a:gd name="T16" fmla="*/ 114 w 377"/>
                <a:gd name="T17" fmla="*/ 104 h 361"/>
                <a:gd name="T18" fmla="*/ 106 w 377"/>
                <a:gd name="T19" fmla="*/ 121 h 361"/>
                <a:gd name="T20" fmla="*/ 125 w 377"/>
                <a:gd name="T21" fmla="*/ 155 h 361"/>
                <a:gd name="T22" fmla="*/ 147 w 377"/>
                <a:gd name="T23" fmla="*/ 204 h 361"/>
                <a:gd name="T24" fmla="*/ 81 w 377"/>
                <a:gd name="T25" fmla="*/ 269 h 361"/>
                <a:gd name="T26" fmla="*/ 0 w 377"/>
                <a:gd name="T27" fmla="*/ 318 h 361"/>
                <a:gd name="T28" fmla="*/ 0 w 377"/>
                <a:gd name="T29" fmla="*/ 361 h 361"/>
                <a:gd name="T30" fmla="*/ 377 w 377"/>
                <a:gd name="T31" fmla="*/ 361 h 361"/>
                <a:gd name="T32" fmla="*/ 377 w 377"/>
                <a:gd name="T33" fmla="*/ 318 h 361"/>
                <a:gd name="T34" fmla="*/ 295 w 377"/>
                <a:gd name="T35" fmla="*/ 269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7" h="361">
                  <a:moveTo>
                    <a:pt x="295" y="269"/>
                  </a:moveTo>
                  <a:cubicBezTo>
                    <a:pt x="245" y="251"/>
                    <a:pt x="230" y="236"/>
                    <a:pt x="230" y="204"/>
                  </a:cubicBezTo>
                  <a:cubicBezTo>
                    <a:pt x="230" y="184"/>
                    <a:pt x="245" y="191"/>
                    <a:pt x="251" y="155"/>
                  </a:cubicBezTo>
                  <a:cubicBezTo>
                    <a:pt x="254" y="140"/>
                    <a:pt x="267" y="154"/>
                    <a:pt x="270" y="121"/>
                  </a:cubicBezTo>
                  <a:cubicBezTo>
                    <a:pt x="270" y="107"/>
                    <a:pt x="263" y="104"/>
                    <a:pt x="263" y="104"/>
                  </a:cubicBezTo>
                  <a:cubicBezTo>
                    <a:pt x="263" y="104"/>
                    <a:pt x="266" y="84"/>
                    <a:pt x="268" y="68"/>
                  </a:cubicBezTo>
                  <a:cubicBezTo>
                    <a:pt x="270" y="49"/>
                    <a:pt x="257" y="0"/>
                    <a:pt x="188" y="0"/>
                  </a:cubicBezTo>
                  <a:cubicBezTo>
                    <a:pt x="120" y="0"/>
                    <a:pt x="107" y="49"/>
                    <a:pt x="108" y="68"/>
                  </a:cubicBezTo>
                  <a:cubicBezTo>
                    <a:pt x="110" y="84"/>
                    <a:pt x="114" y="104"/>
                    <a:pt x="114" y="104"/>
                  </a:cubicBezTo>
                  <a:cubicBezTo>
                    <a:pt x="114" y="104"/>
                    <a:pt x="106" y="107"/>
                    <a:pt x="106" y="121"/>
                  </a:cubicBezTo>
                  <a:cubicBezTo>
                    <a:pt x="109" y="154"/>
                    <a:pt x="122" y="140"/>
                    <a:pt x="125" y="155"/>
                  </a:cubicBezTo>
                  <a:cubicBezTo>
                    <a:pt x="132" y="191"/>
                    <a:pt x="147" y="184"/>
                    <a:pt x="147" y="204"/>
                  </a:cubicBezTo>
                  <a:cubicBezTo>
                    <a:pt x="147" y="236"/>
                    <a:pt x="131" y="251"/>
                    <a:pt x="81" y="269"/>
                  </a:cubicBezTo>
                  <a:cubicBezTo>
                    <a:pt x="32" y="287"/>
                    <a:pt x="0" y="306"/>
                    <a:pt x="0" y="318"/>
                  </a:cubicBezTo>
                  <a:cubicBezTo>
                    <a:pt x="0" y="331"/>
                    <a:pt x="0" y="361"/>
                    <a:pt x="0" y="361"/>
                  </a:cubicBezTo>
                  <a:cubicBezTo>
                    <a:pt x="377" y="361"/>
                    <a:pt x="377" y="361"/>
                    <a:pt x="377" y="361"/>
                  </a:cubicBezTo>
                  <a:cubicBezTo>
                    <a:pt x="377" y="361"/>
                    <a:pt x="377" y="331"/>
                    <a:pt x="377" y="318"/>
                  </a:cubicBezTo>
                  <a:cubicBezTo>
                    <a:pt x="377" y="306"/>
                    <a:pt x="344" y="287"/>
                    <a:pt x="295" y="269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400" kern="0" smtClean="0">
                <a:solidFill>
                  <a:srgbClr val="00B050"/>
                </a:solidFill>
                <a:latin typeface="Arial"/>
              </a:endParaRPr>
            </a:p>
          </p:txBody>
        </p:sp>
        <p:grpSp>
          <p:nvGrpSpPr>
            <p:cNvPr id="2311" name="Gruppieren 199"/>
            <p:cNvGrpSpPr/>
            <p:nvPr/>
          </p:nvGrpSpPr>
          <p:grpSpPr>
            <a:xfrm>
              <a:off x="6936671" y="4527423"/>
              <a:ext cx="222385" cy="349259"/>
              <a:chOff x="5742482" y="5227497"/>
              <a:chExt cx="303709" cy="476980"/>
            </a:xfrm>
            <a:grpFill/>
          </p:grpSpPr>
          <p:sp>
            <p:nvSpPr>
              <p:cNvPr id="2312" name="Freeform 25"/>
              <p:cNvSpPr>
                <a:spLocks/>
              </p:cNvSpPr>
              <p:nvPr/>
            </p:nvSpPr>
            <p:spPr bwMode="auto">
              <a:xfrm>
                <a:off x="5742482" y="5227497"/>
                <a:ext cx="303709" cy="362115"/>
              </a:xfrm>
              <a:custGeom>
                <a:avLst/>
                <a:gdLst>
                  <a:gd name="T0" fmla="*/ 104 w 209"/>
                  <a:gd name="T1" fmla="*/ 248 h 250"/>
                  <a:gd name="T2" fmla="*/ 83 w 209"/>
                  <a:gd name="T3" fmla="*/ 248 h 250"/>
                  <a:gd name="T4" fmla="*/ 65 w 209"/>
                  <a:gd name="T5" fmla="*/ 232 h 250"/>
                  <a:gd name="T6" fmla="*/ 48 w 209"/>
                  <a:gd name="T7" fmla="*/ 187 h 250"/>
                  <a:gd name="T8" fmla="*/ 20 w 209"/>
                  <a:gd name="T9" fmla="*/ 140 h 250"/>
                  <a:gd name="T10" fmla="*/ 43 w 209"/>
                  <a:gd name="T11" fmla="*/ 29 h 250"/>
                  <a:gd name="T12" fmla="*/ 163 w 209"/>
                  <a:gd name="T13" fmla="*/ 28 h 250"/>
                  <a:gd name="T14" fmla="*/ 189 w 209"/>
                  <a:gd name="T15" fmla="*/ 138 h 250"/>
                  <a:gd name="T16" fmla="*/ 157 w 209"/>
                  <a:gd name="T17" fmla="*/ 192 h 250"/>
                  <a:gd name="T18" fmla="*/ 144 w 209"/>
                  <a:gd name="T19" fmla="*/ 226 h 250"/>
                  <a:gd name="T20" fmla="*/ 119 w 209"/>
                  <a:gd name="T21" fmla="*/ 248 h 250"/>
                  <a:gd name="T22" fmla="*/ 104 w 209"/>
                  <a:gd name="T23" fmla="*/ 248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9" h="250">
                    <a:moveTo>
                      <a:pt x="104" y="248"/>
                    </a:moveTo>
                    <a:cubicBezTo>
                      <a:pt x="97" y="248"/>
                      <a:pt x="89" y="250"/>
                      <a:pt x="83" y="248"/>
                    </a:cubicBezTo>
                    <a:cubicBezTo>
                      <a:pt x="76" y="245"/>
                      <a:pt x="68" y="239"/>
                      <a:pt x="65" y="232"/>
                    </a:cubicBezTo>
                    <a:cubicBezTo>
                      <a:pt x="58" y="218"/>
                      <a:pt x="55" y="201"/>
                      <a:pt x="48" y="187"/>
                    </a:cubicBezTo>
                    <a:cubicBezTo>
                      <a:pt x="40" y="171"/>
                      <a:pt x="28" y="156"/>
                      <a:pt x="20" y="140"/>
                    </a:cubicBezTo>
                    <a:cubicBezTo>
                      <a:pt x="0" y="102"/>
                      <a:pt x="10" y="56"/>
                      <a:pt x="43" y="29"/>
                    </a:cubicBezTo>
                    <a:cubicBezTo>
                      <a:pt x="78" y="0"/>
                      <a:pt x="128" y="0"/>
                      <a:pt x="163" y="28"/>
                    </a:cubicBezTo>
                    <a:cubicBezTo>
                      <a:pt x="197" y="55"/>
                      <a:pt x="209" y="99"/>
                      <a:pt x="189" y="138"/>
                    </a:cubicBezTo>
                    <a:cubicBezTo>
                      <a:pt x="180" y="157"/>
                      <a:pt x="167" y="174"/>
                      <a:pt x="157" y="192"/>
                    </a:cubicBezTo>
                    <a:cubicBezTo>
                      <a:pt x="151" y="202"/>
                      <a:pt x="145" y="214"/>
                      <a:pt x="144" y="226"/>
                    </a:cubicBezTo>
                    <a:cubicBezTo>
                      <a:pt x="144" y="244"/>
                      <a:pt x="137" y="250"/>
                      <a:pt x="119" y="248"/>
                    </a:cubicBezTo>
                    <a:cubicBezTo>
                      <a:pt x="114" y="248"/>
                      <a:pt x="109" y="248"/>
                      <a:pt x="104" y="2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1400" kern="0" smtClean="0">
                  <a:solidFill>
                    <a:srgbClr val="00B050"/>
                  </a:solidFill>
                  <a:latin typeface="Arial"/>
                </a:endParaRPr>
              </a:p>
            </p:txBody>
          </p:sp>
          <p:sp>
            <p:nvSpPr>
              <p:cNvPr id="2313" name="Freeform 26"/>
              <p:cNvSpPr>
                <a:spLocks/>
              </p:cNvSpPr>
              <p:nvPr/>
            </p:nvSpPr>
            <p:spPr bwMode="auto">
              <a:xfrm>
                <a:off x="5837878" y="5612974"/>
                <a:ext cx="112918" cy="91503"/>
              </a:xfrm>
              <a:custGeom>
                <a:avLst/>
                <a:gdLst>
                  <a:gd name="T0" fmla="*/ 39 w 78"/>
                  <a:gd name="T1" fmla="*/ 0 h 62"/>
                  <a:gd name="T2" fmla="*/ 78 w 78"/>
                  <a:gd name="T3" fmla="*/ 23 h 62"/>
                  <a:gd name="T4" fmla="*/ 39 w 78"/>
                  <a:gd name="T5" fmla="*/ 62 h 62"/>
                  <a:gd name="T6" fmla="*/ 0 w 78"/>
                  <a:gd name="T7" fmla="*/ 22 h 62"/>
                  <a:gd name="T8" fmla="*/ 39 w 78"/>
                  <a:gd name="T9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8" h="62">
                    <a:moveTo>
                      <a:pt x="39" y="0"/>
                    </a:moveTo>
                    <a:cubicBezTo>
                      <a:pt x="77" y="0"/>
                      <a:pt x="78" y="1"/>
                      <a:pt x="78" y="23"/>
                    </a:cubicBezTo>
                    <a:cubicBezTo>
                      <a:pt x="78" y="43"/>
                      <a:pt x="59" y="62"/>
                      <a:pt x="39" y="62"/>
                    </a:cubicBezTo>
                    <a:cubicBezTo>
                      <a:pt x="19" y="62"/>
                      <a:pt x="0" y="42"/>
                      <a:pt x="0" y="22"/>
                    </a:cubicBezTo>
                    <a:cubicBezTo>
                      <a:pt x="1" y="1"/>
                      <a:pt x="2" y="0"/>
                      <a:pt x="3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1400" kern="0" smtClean="0">
                  <a:solidFill>
                    <a:srgbClr val="00B050"/>
                  </a:solidFill>
                  <a:latin typeface="Arial"/>
                </a:endParaRPr>
              </a:p>
            </p:txBody>
          </p:sp>
        </p:grpSp>
      </p:grpSp>
      <p:sp>
        <p:nvSpPr>
          <p:cNvPr id="2316" name="CasellaDiTesto 2315"/>
          <p:cNvSpPr txBox="1"/>
          <p:nvPr/>
        </p:nvSpPr>
        <p:spPr>
          <a:xfrm>
            <a:off x="78222" y="6604966"/>
            <a:ext cx="1397819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71450" indent="-171450" defTabSz="685800">
              <a:buFont typeface="+mj-lt"/>
              <a:buAutoNum type="arabicPeriod"/>
            </a:pPr>
            <a:r>
              <a:rPr lang="ru-RU" sz="700" dirty="0" smtClean="0">
                <a:solidFill>
                  <a:prstClr val="black"/>
                </a:solidFill>
                <a:latin typeface="Arial"/>
              </a:rPr>
              <a:t>Данные</a:t>
            </a:r>
            <a:r>
              <a:rPr lang="en-US" sz="700" dirty="0" smtClean="0">
                <a:solidFill>
                  <a:prstClr val="black"/>
                </a:solidFill>
                <a:latin typeface="Arial"/>
              </a:rPr>
              <a:t>: </a:t>
            </a:r>
            <a:r>
              <a:rPr lang="en-US" sz="700" dirty="0">
                <a:solidFill>
                  <a:prstClr val="black"/>
                </a:solidFill>
                <a:latin typeface="Arial"/>
              </a:rPr>
              <a:t>Willis </a:t>
            </a:r>
            <a:r>
              <a:rPr lang="en-US" sz="700" dirty="0" smtClean="0">
                <a:solidFill>
                  <a:prstClr val="black"/>
                </a:solidFill>
                <a:latin typeface="Arial"/>
              </a:rPr>
              <a:t>Towers </a:t>
            </a:r>
            <a:r>
              <a:rPr lang="en-US" sz="700" dirty="0">
                <a:solidFill>
                  <a:prstClr val="black"/>
                </a:solidFill>
                <a:latin typeface="Arial"/>
              </a:rPr>
              <a:t>Watson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  <a:latin typeface="Arial"/>
              </a:rPr>
              <a:pPr/>
              <a:t>53</a:t>
            </a:fld>
            <a:endParaRPr lang="en-GB">
              <a:solidFill>
                <a:srgbClr val="C6C6C6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110" name="TextBox 8"/>
          <p:cNvSpPr txBox="1"/>
          <p:nvPr/>
        </p:nvSpPr>
        <p:spPr>
          <a:xfrm>
            <a:off x="442202" y="4743762"/>
            <a:ext cx="1877905" cy="561692"/>
          </a:xfrm>
          <a:prstGeom prst="rect">
            <a:avLst/>
          </a:prstGeom>
          <a:noFill/>
          <a:ln>
            <a:noFill/>
          </a:ln>
        </p:spPr>
        <p:txBody>
          <a:bodyPr wrap="square" lIns="68580" tIns="34290" rIns="68580" bIns="34290" rtlCol="0">
            <a:spAutoFit/>
          </a:bodyPr>
          <a:lstStyle/>
          <a:p>
            <a:pPr algn="ctr" defTabSz="685800">
              <a:defRPr/>
            </a:pPr>
            <a:r>
              <a:rPr lang="ru-RU" sz="1600" b="1" kern="0" dirty="0" smtClean="0">
                <a:solidFill>
                  <a:prstClr val="white"/>
                </a:solidFill>
                <a:latin typeface="Arial"/>
              </a:rPr>
              <a:t>Обучение и развитие</a:t>
            </a:r>
            <a:endParaRPr lang="en-US" sz="1600" b="1" kern="0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88603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683568" y="452705"/>
            <a:ext cx="2376264" cy="124813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685800"/>
            <a:endParaRPr lang="ru-RU" sz="2000" dirty="0" err="1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51520" y="356659"/>
            <a:ext cx="216024" cy="86409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685800"/>
            <a:endParaRPr lang="ru-RU" sz="2000" dirty="0" err="1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>
              <a:alpha val="81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685800"/>
            <a:endParaRPr lang="ru-RU" sz="2000" dirty="0" err="1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602713" y="591218"/>
            <a:ext cx="6281738" cy="39498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 smtClean="0">
                <a:solidFill>
                  <a:prstClr val="black"/>
                </a:solidFill>
                <a:latin typeface="Arial"/>
              </a:rPr>
              <a:t>Итальянский менеджмент в России</a:t>
            </a:r>
            <a:endParaRPr lang="en-GB" sz="2400" dirty="0">
              <a:solidFill>
                <a:prstClr val="black"/>
              </a:solidFill>
              <a:latin typeface="Arial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0266386"/>
              </p:ext>
            </p:extLst>
          </p:nvPr>
        </p:nvGraphicFramePr>
        <p:xfrm>
          <a:off x="143508" y="1508823"/>
          <a:ext cx="9000492" cy="6428927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4500246"/>
                <a:gridCol w="4500246"/>
              </a:tblGrid>
              <a:tr h="607248">
                <a:tc>
                  <a:txBody>
                    <a:bodyPr/>
                    <a:lstStyle/>
                    <a:p>
                      <a:pPr algn="ctr"/>
                      <a:r>
                        <a:rPr lang="ru-RU" sz="1900" dirty="0" smtClean="0"/>
                        <a:t>Преимущества</a:t>
                      </a:r>
                      <a:endParaRPr lang="ru-RU" sz="1900" dirty="0"/>
                    </a:p>
                  </a:txBody>
                  <a:tcPr marT="60960" marB="60960">
                    <a:lnB w="6350" cap="flat" cmpd="sng" algn="ctr">
                      <a:noFill/>
                      <a:prstDash val="solid"/>
                      <a:miter lim="800000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900" dirty="0" smtClean="0"/>
                        <a:t>Недостатки </a:t>
                      </a:r>
                      <a:endParaRPr lang="ru-RU" sz="1900" dirty="0"/>
                    </a:p>
                  </a:txBody>
                  <a:tcPr marT="60960" marB="60960"/>
                </a:tc>
              </a:tr>
              <a:tr h="5821679">
                <a:tc>
                  <a:txBody>
                    <a:bodyPr/>
                    <a:lstStyle/>
                    <a:p>
                      <a:pPr marL="628650" lvl="1" indent="-285750">
                        <a:buFont typeface="Arial" panose="020B0604020202020204" pitchFamily="34" charset="0"/>
                        <a:buChar char="•"/>
                      </a:pPr>
                      <a:endParaRPr lang="ru-RU" sz="16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6286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6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ктивное развитие инноваций </a:t>
                      </a:r>
                      <a:r>
                        <a:rPr lang="en-US" sz="16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br>
                        <a:rPr lang="en-US" sz="16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6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n-US" sz="16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el</a:t>
                      </a:r>
                      <a:r>
                        <a:rPr lang="en-US" sz="16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Green Power, Enel Open Power)</a:t>
                      </a:r>
                      <a:r>
                        <a:rPr lang="ru-RU" sz="16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342900" lvl="1" indent="0">
                        <a:buFont typeface="Arial" panose="020B0604020202020204" pitchFamily="34" charset="0"/>
                        <a:buNone/>
                      </a:pPr>
                      <a:endParaRPr lang="ru-RU" sz="16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6286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6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еждународная мобильность</a:t>
                      </a:r>
                      <a:r>
                        <a:rPr lang="en-US" sz="16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br>
                        <a:rPr lang="en-US" sz="16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6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Enel</a:t>
                      </a:r>
                      <a:r>
                        <a:rPr lang="en-US" sz="16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obility Program)</a:t>
                      </a:r>
                      <a:endParaRPr lang="ru-RU" sz="160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42900" lvl="1" indent="0">
                        <a:buFont typeface="Arial" panose="020B0604020202020204" pitchFamily="34" charset="0"/>
                        <a:buNone/>
                      </a:pPr>
                      <a:endParaRPr lang="en-US" sz="160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6286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6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Европейский подход к работе</a:t>
                      </a:r>
                    </a:p>
                    <a:p>
                      <a:pPr marL="971550" lvl="2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6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ибкий график</a:t>
                      </a:r>
                    </a:p>
                    <a:p>
                      <a:pPr marL="971550" lvl="2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6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вестиции компании в своих сотрудников</a:t>
                      </a:r>
                    </a:p>
                    <a:p>
                      <a:pPr marL="971550" lvl="2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6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нутренняя мобильность и развитие</a:t>
                      </a:r>
                    </a:p>
                    <a:p>
                      <a:pPr marL="971550" lvl="2" indent="-285750">
                        <a:buFont typeface="Arial" panose="020B0604020202020204" pitchFamily="34" charset="0"/>
                        <a:buChar char="•"/>
                      </a:pPr>
                      <a:endParaRPr lang="ru-RU" sz="160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6286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6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ысокие зарплаты, годовые бонусы, возможность влиять на свое вознаграждение</a:t>
                      </a:r>
                      <a:endParaRPr lang="en-US" sz="160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628650" lvl="1" indent="-285750">
                        <a:buFont typeface="Arial" panose="020B0604020202020204" pitchFamily="34" charset="0"/>
                        <a:buChar char="•"/>
                      </a:pPr>
                      <a:endParaRPr lang="ru-RU" sz="16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ru-RU" sz="1600" dirty="0"/>
                    </a:p>
                  </a:txBody>
                  <a:tcPr marT="60960" marB="6096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1" indent="-2857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ru-RU" sz="16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lvl="1" indent="-2857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ммуникации (разный менталитет, язык общения, временная разница)</a:t>
                      </a:r>
                    </a:p>
                    <a:p>
                      <a:pPr marL="0" marR="0" lvl="1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16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lvl="1" indent="-2857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ольшая зависимость от Глобальной Генерации Рима</a:t>
                      </a:r>
                    </a:p>
                    <a:p>
                      <a:pPr marL="285750" marR="0" lvl="1" indent="-2857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ru-RU" sz="16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lvl="1" indent="-2857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ольшие</a:t>
                      </a:r>
                      <a:r>
                        <a:rPr lang="ru-RU" sz="16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потоки информации</a:t>
                      </a:r>
                    </a:p>
                    <a:p>
                      <a:pPr marL="0" marR="0" lvl="1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160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lvl="1" indent="-2857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6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«Итальянский английский»</a:t>
                      </a:r>
                      <a:endParaRPr lang="ru-RU" sz="16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lvl="1" indent="-2857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ru-RU" sz="16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ru-RU" sz="1600" dirty="0"/>
                    </a:p>
                  </a:txBody>
                  <a:tcPr marT="60960" marB="60960">
                    <a:lnL>
                      <a:noFill/>
                    </a:ln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26990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683568" y="452705"/>
            <a:ext cx="2376264" cy="124813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685800"/>
            <a:endParaRPr lang="ru-RU" sz="2000" dirty="0" err="1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51520" y="356659"/>
            <a:ext cx="216024" cy="86409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685800"/>
            <a:endParaRPr lang="ru-RU" sz="2000" dirty="0" err="1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>
              <a:alpha val="81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defTabSz="685800"/>
            <a:endParaRPr lang="ru-RU" sz="2000" dirty="0" err="1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602713" y="591218"/>
            <a:ext cx="6281738" cy="39498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 smtClean="0">
                <a:solidFill>
                  <a:prstClr val="black"/>
                </a:solidFill>
                <a:latin typeface="Arial"/>
              </a:rPr>
              <a:t>В какой компании лучше работать?</a:t>
            </a:r>
            <a:endParaRPr lang="en-GB" sz="2400" dirty="0">
              <a:solidFill>
                <a:prstClr val="black"/>
              </a:solidFill>
              <a:latin typeface="Arial"/>
            </a:endParaRPr>
          </a:p>
        </p:txBody>
      </p:sp>
      <p:grpSp>
        <p:nvGrpSpPr>
          <p:cNvPr id="9" name="Gruppo 53"/>
          <p:cNvGrpSpPr/>
          <p:nvPr/>
        </p:nvGrpSpPr>
        <p:grpSpPr>
          <a:xfrm>
            <a:off x="373845" y="1700811"/>
            <a:ext cx="2274118" cy="3405844"/>
            <a:chOff x="336051" y="1569161"/>
            <a:chExt cx="2069521" cy="2350408"/>
          </a:xfrm>
        </p:grpSpPr>
        <p:sp>
          <p:nvSpPr>
            <p:cNvPr id="10" name="Rectangle 16"/>
            <p:cNvSpPr/>
            <p:nvPr/>
          </p:nvSpPr>
          <p:spPr>
            <a:xfrm>
              <a:off x="336051" y="1569161"/>
              <a:ext cx="2015748" cy="217710"/>
            </a:xfrm>
            <a:prstGeom prst="rect">
              <a:avLst/>
            </a:prstGeom>
          </p:spPr>
          <p:txBody>
            <a:bodyPr wrap="square" lIns="36000" tIns="34290" rIns="36000" bIns="34290">
              <a:spAutoFit/>
            </a:bodyPr>
            <a:lstStyle/>
            <a:p>
              <a:pPr algn="ctr" defTabSz="685800"/>
              <a:r>
                <a:rPr lang="ru-RU" sz="1600" b="1" kern="0" dirty="0" smtClean="0">
                  <a:solidFill>
                    <a:srgbClr val="FE0F64"/>
                  </a:solidFill>
                  <a:latin typeface="Arial"/>
                  <a:cs typeface="Arial" panose="020B0604020202020204" pitchFamily="34" charset="0"/>
                </a:rPr>
                <a:t> Инновации</a:t>
              </a:r>
              <a:endParaRPr lang="en-US" sz="1600" b="1" kern="0" dirty="0">
                <a:solidFill>
                  <a:srgbClr val="FE0F64"/>
                </a:solidFill>
                <a:latin typeface="Arial"/>
                <a:cs typeface="Arial" panose="020B0604020202020204" pitchFamily="34" charset="0"/>
              </a:endParaRPr>
            </a:p>
          </p:txBody>
        </p:sp>
        <p:cxnSp>
          <p:nvCxnSpPr>
            <p:cNvPr id="11" name="Connettore 1 27"/>
            <p:cNvCxnSpPr/>
            <p:nvPr/>
          </p:nvCxnSpPr>
          <p:spPr>
            <a:xfrm>
              <a:off x="389572" y="2056647"/>
              <a:ext cx="1884612" cy="0"/>
            </a:xfrm>
            <a:prstGeom prst="line">
              <a:avLst/>
            </a:prstGeom>
            <a:ln w="12700">
              <a:solidFill>
                <a:srgbClr val="C7C7C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Rettangolo 49"/>
            <p:cNvSpPr/>
            <p:nvPr/>
          </p:nvSpPr>
          <p:spPr>
            <a:xfrm>
              <a:off x="389572" y="2103552"/>
              <a:ext cx="2016000" cy="181601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800"/>
              <a:r>
                <a:rPr lang="ru-RU" sz="1100" dirty="0" smtClean="0">
                  <a:solidFill>
                    <a:prstClr val="black"/>
                  </a:solidFill>
                  <a:latin typeface="Arial"/>
                </a:rPr>
                <a:t>В компаниях с </a:t>
              </a:r>
              <a:r>
                <a:rPr lang="ru-RU" sz="1100" b="1" dirty="0" smtClean="0">
                  <a:solidFill>
                    <a:prstClr val="black"/>
                  </a:solidFill>
                  <a:latin typeface="Arial"/>
                </a:rPr>
                <a:t>кросс-культурным менеджментом </a:t>
              </a:r>
              <a:r>
                <a:rPr lang="ru-RU" sz="1100" dirty="0" smtClean="0">
                  <a:solidFill>
                    <a:prstClr val="black"/>
                  </a:solidFill>
                  <a:latin typeface="Arial"/>
                </a:rPr>
                <a:t>инновации развиваются быстрее и чаще применяются на практике</a:t>
              </a:r>
              <a:endParaRPr lang="en-US" sz="1100" b="1" dirty="0" smtClean="0">
                <a:solidFill>
                  <a:prstClr val="black"/>
                </a:solidFill>
                <a:latin typeface="Arial"/>
              </a:endParaRPr>
            </a:p>
            <a:p>
              <a:pPr algn="ctr" defTabSz="685800"/>
              <a:endParaRPr lang="ru-RU" sz="1100" dirty="0" smtClean="0">
                <a:solidFill>
                  <a:prstClr val="black"/>
                </a:solidFill>
                <a:latin typeface="Arial"/>
              </a:endParaRPr>
            </a:p>
            <a:p>
              <a:pPr algn="ctr" defTabSz="685800"/>
              <a:endParaRPr lang="ru-RU" sz="1100" dirty="0">
                <a:solidFill>
                  <a:prstClr val="black"/>
                </a:solidFill>
                <a:latin typeface="Arial"/>
              </a:endParaRPr>
            </a:p>
            <a:p>
              <a:pPr algn="ctr" defTabSz="685800"/>
              <a:r>
                <a:rPr lang="ru-RU" sz="1100" dirty="0" smtClean="0">
                  <a:solidFill>
                    <a:prstClr val="black"/>
                  </a:solidFill>
                  <a:latin typeface="Arial"/>
                </a:rPr>
                <a:t>Российские компании более </a:t>
              </a:r>
              <a:r>
                <a:rPr lang="ru-RU" sz="1100" b="1" dirty="0" smtClean="0">
                  <a:solidFill>
                    <a:prstClr val="black"/>
                  </a:solidFill>
                  <a:latin typeface="Arial"/>
                </a:rPr>
                <a:t>консервативны</a:t>
              </a:r>
            </a:p>
            <a:p>
              <a:pPr algn="ctr" defTabSz="685800"/>
              <a:endParaRPr lang="ru-RU" sz="1100" b="1" dirty="0" smtClean="0">
                <a:solidFill>
                  <a:prstClr val="black"/>
                </a:solidFill>
                <a:latin typeface="Arial"/>
              </a:endParaRPr>
            </a:p>
            <a:p>
              <a:pPr algn="ctr" defTabSz="685800"/>
              <a:endParaRPr lang="ru-RU" sz="1100" b="1" dirty="0">
                <a:solidFill>
                  <a:prstClr val="black"/>
                </a:solidFill>
                <a:latin typeface="Arial"/>
              </a:endParaRPr>
            </a:p>
            <a:p>
              <a:pPr algn="ctr" defTabSz="685800"/>
              <a:r>
                <a:rPr lang="ru-RU" sz="1100" dirty="0" smtClean="0">
                  <a:solidFill>
                    <a:prstClr val="black"/>
                  </a:solidFill>
                  <a:latin typeface="Arial"/>
                </a:rPr>
                <a:t>В кросс-культурных компаниях больше возможностей принимать участие в </a:t>
              </a:r>
              <a:r>
                <a:rPr lang="ru-RU" sz="1100" b="1" dirty="0" smtClean="0">
                  <a:solidFill>
                    <a:prstClr val="black"/>
                  </a:solidFill>
                  <a:latin typeface="Arial"/>
                </a:rPr>
                <a:t>инновационных проектах</a:t>
              </a:r>
              <a:endParaRPr lang="en-US" sz="1100" b="1" dirty="0">
                <a:solidFill>
                  <a:prstClr val="black"/>
                </a:solidFill>
                <a:latin typeface="Arial"/>
              </a:endParaRPr>
            </a:p>
          </p:txBody>
        </p:sp>
      </p:grpSp>
      <p:grpSp>
        <p:nvGrpSpPr>
          <p:cNvPr id="13" name="Gruppo 53"/>
          <p:cNvGrpSpPr/>
          <p:nvPr/>
        </p:nvGrpSpPr>
        <p:grpSpPr>
          <a:xfrm>
            <a:off x="3406677" y="1700813"/>
            <a:ext cx="2274118" cy="3729011"/>
            <a:chOff x="336051" y="1569161"/>
            <a:chExt cx="2069521" cy="2573428"/>
          </a:xfrm>
        </p:grpSpPr>
        <p:sp>
          <p:nvSpPr>
            <p:cNvPr id="14" name="Rectangle 16"/>
            <p:cNvSpPr/>
            <p:nvPr/>
          </p:nvSpPr>
          <p:spPr>
            <a:xfrm>
              <a:off x="336051" y="1569161"/>
              <a:ext cx="2015748" cy="217710"/>
            </a:xfrm>
            <a:prstGeom prst="rect">
              <a:avLst/>
            </a:prstGeom>
          </p:spPr>
          <p:txBody>
            <a:bodyPr wrap="square" lIns="36000" tIns="34290" rIns="36000" bIns="34290">
              <a:spAutoFit/>
            </a:bodyPr>
            <a:lstStyle/>
            <a:p>
              <a:pPr algn="ctr" defTabSz="685800"/>
              <a:r>
                <a:rPr lang="ru-RU" sz="1600" b="1" kern="0" dirty="0" smtClean="0">
                  <a:solidFill>
                    <a:srgbClr val="0655FA"/>
                  </a:solidFill>
                  <a:latin typeface="Arial"/>
                  <a:cs typeface="Arial" panose="020B0604020202020204" pitchFamily="34" charset="0"/>
                </a:rPr>
                <a:t>Подход к работе</a:t>
              </a:r>
              <a:endParaRPr lang="en-US" sz="1600" b="1" kern="0" dirty="0">
                <a:solidFill>
                  <a:srgbClr val="0655FA"/>
                </a:solidFill>
                <a:latin typeface="Arial"/>
                <a:cs typeface="Arial" panose="020B0604020202020204" pitchFamily="34" charset="0"/>
              </a:endParaRPr>
            </a:p>
          </p:txBody>
        </p:sp>
        <p:cxnSp>
          <p:nvCxnSpPr>
            <p:cNvPr id="15" name="Connettore 1 27"/>
            <p:cNvCxnSpPr/>
            <p:nvPr/>
          </p:nvCxnSpPr>
          <p:spPr>
            <a:xfrm>
              <a:off x="389572" y="2056647"/>
              <a:ext cx="1884612" cy="0"/>
            </a:xfrm>
            <a:prstGeom prst="line">
              <a:avLst/>
            </a:prstGeom>
            <a:ln w="12700">
              <a:solidFill>
                <a:srgbClr val="C7C7C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ettangolo 49"/>
            <p:cNvSpPr/>
            <p:nvPr/>
          </p:nvSpPr>
          <p:spPr>
            <a:xfrm>
              <a:off x="389572" y="2103552"/>
              <a:ext cx="2016000" cy="203903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800"/>
              <a:r>
                <a:rPr lang="ru-RU" sz="1100" dirty="0" smtClean="0">
                  <a:solidFill>
                    <a:prstClr val="black"/>
                  </a:solidFill>
                  <a:latin typeface="Arial"/>
                </a:rPr>
                <a:t>В </a:t>
              </a:r>
              <a:r>
                <a:rPr lang="ru-RU" sz="1100" b="1" dirty="0" smtClean="0">
                  <a:solidFill>
                    <a:prstClr val="black"/>
                  </a:solidFill>
                  <a:latin typeface="Arial"/>
                </a:rPr>
                <a:t>международных</a:t>
              </a:r>
              <a:r>
                <a:rPr lang="ru-RU" sz="1100" dirty="0" smtClean="0">
                  <a:solidFill>
                    <a:prstClr val="black"/>
                  </a:solidFill>
                  <a:latin typeface="Arial"/>
                </a:rPr>
                <a:t> компаниях распространен гибкий рабочий график, плавающие выходные</a:t>
              </a:r>
            </a:p>
            <a:p>
              <a:pPr algn="ctr" defTabSz="685800"/>
              <a:endParaRPr lang="ru-RU" sz="1100" b="1" dirty="0" smtClean="0">
                <a:solidFill>
                  <a:prstClr val="black"/>
                </a:solidFill>
                <a:latin typeface="Arial"/>
              </a:endParaRPr>
            </a:p>
            <a:p>
              <a:pPr algn="ctr" defTabSz="685800"/>
              <a:endParaRPr lang="ru-RU" sz="1100" b="1" dirty="0">
                <a:solidFill>
                  <a:prstClr val="black"/>
                </a:solidFill>
                <a:latin typeface="Arial"/>
              </a:endParaRPr>
            </a:p>
            <a:p>
              <a:pPr algn="ctr" defTabSz="685800"/>
              <a:endParaRPr lang="ru-RU" sz="1100" b="1" dirty="0" smtClean="0">
                <a:solidFill>
                  <a:prstClr val="black"/>
                </a:solidFill>
                <a:latin typeface="Arial"/>
              </a:endParaRPr>
            </a:p>
            <a:p>
              <a:pPr algn="ctr" defTabSz="685800"/>
              <a:r>
                <a:rPr lang="ru-RU" sz="1100" b="1" dirty="0" smtClean="0">
                  <a:solidFill>
                    <a:prstClr val="black"/>
                  </a:solidFill>
                  <a:latin typeface="Arial"/>
                </a:rPr>
                <a:t>Международные </a:t>
              </a:r>
              <a:r>
                <a:rPr lang="ru-RU" sz="1100" dirty="0" smtClean="0">
                  <a:solidFill>
                    <a:prstClr val="black"/>
                  </a:solidFill>
                  <a:latin typeface="Arial"/>
                </a:rPr>
                <a:t>конференции, совещания и выездные мероприятия</a:t>
              </a:r>
            </a:p>
            <a:p>
              <a:pPr algn="ctr" defTabSz="685800"/>
              <a:endParaRPr lang="ru-RU" sz="1100" b="1" dirty="0" smtClean="0">
                <a:solidFill>
                  <a:prstClr val="black"/>
                </a:solidFill>
                <a:latin typeface="Arial"/>
              </a:endParaRPr>
            </a:p>
            <a:p>
              <a:pPr algn="ctr" defTabSz="685800"/>
              <a:endParaRPr lang="ru-RU" sz="1100" b="1" dirty="0">
                <a:solidFill>
                  <a:prstClr val="black"/>
                </a:solidFill>
                <a:latin typeface="Arial"/>
              </a:endParaRPr>
            </a:p>
            <a:p>
              <a:pPr algn="ctr" defTabSz="685800"/>
              <a:endParaRPr lang="ru-RU" sz="1100" b="1" dirty="0" smtClean="0">
                <a:solidFill>
                  <a:prstClr val="black"/>
                </a:solidFill>
                <a:latin typeface="Arial"/>
              </a:endParaRPr>
            </a:p>
            <a:p>
              <a:pPr algn="ctr" defTabSz="685800"/>
              <a:r>
                <a:rPr lang="ru-RU" sz="1100" b="1" dirty="0" smtClean="0">
                  <a:solidFill>
                    <a:prstClr val="black"/>
                  </a:solidFill>
                  <a:latin typeface="Arial"/>
                </a:rPr>
                <a:t>В российских компаниях </a:t>
              </a:r>
              <a:r>
                <a:rPr lang="ru-RU" sz="1100" dirty="0" smtClean="0">
                  <a:solidFill>
                    <a:prstClr val="black"/>
                  </a:solidFill>
                  <a:latin typeface="Arial"/>
                </a:rPr>
                <a:t>больше внешнего контроля, чем внутренней мотивации</a:t>
              </a:r>
              <a:endParaRPr lang="en-US" sz="1100" dirty="0" smtClean="0">
                <a:solidFill>
                  <a:prstClr val="black"/>
                </a:solidFill>
                <a:latin typeface="Arial"/>
              </a:endParaRPr>
            </a:p>
            <a:p>
              <a:pPr algn="ctr" defTabSz="685800"/>
              <a:endParaRPr lang="ru-RU" sz="1050" dirty="0" smtClean="0">
                <a:solidFill>
                  <a:prstClr val="black"/>
                </a:solidFill>
                <a:latin typeface="Arial"/>
              </a:endParaRPr>
            </a:p>
            <a:p>
              <a:pPr algn="ctr" defTabSz="685800"/>
              <a:endParaRPr lang="ru-RU" sz="1050" dirty="0">
                <a:solidFill>
                  <a:prstClr val="black"/>
                </a:solidFill>
                <a:latin typeface="Arial"/>
              </a:endParaRPr>
            </a:p>
          </p:txBody>
        </p:sp>
      </p:grpSp>
      <p:grpSp>
        <p:nvGrpSpPr>
          <p:cNvPr id="17" name="Gruppo 53"/>
          <p:cNvGrpSpPr/>
          <p:nvPr/>
        </p:nvGrpSpPr>
        <p:grpSpPr>
          <a:xfrm>
            <a:off x="6350535" y="1720573"/>
            <a:ext cx="2520280" cy="3567428"/>
            <a:chOff x="336051" y="1569161"/>
            <a:chExt cx="2293536" cy="2461918"/>
          </a:xfrm>
        </p:grpSpPr>
        <p:sp>
          <p:nvSpPr>
            <p:cNvPr id="18" name="Rectangle 16"/>
            <p:cNvSpPr/>
            <p:nvPr/>
          </p:nvSpPr>
          <p:spPr>
            <a:xfrm>
              <a:off x="336051" y="1569161"/>
              <a:ext cx="2293536" cy="217710"/>
            </a:xfrm>
            <a:prstGeom prst="rect">
              <a:avLst/>
            </a:prstGeom>
          </p:spPr>
          <p:txBody>
            <a:bodyPr wrap="square" lIns="36000" tIns="34290" rIns="36000" bIns="34290">
              <a:spAutoFit/>
            </a:bodyPr>
            <a:lstStyle/>
            <a:p>
              <a:pPr algn="ctr" defTabSz="685800"/>
              <a:r>
                <a:rPr lang="ru-RU" sz="1600" b="1" kern="0" dirty="0" smtClean="0">
                  <a:solidFill>
                    <a:srgbClr val="00B050"/>
                  </a:solidFill>
                  <a:latin typeface="Arial"/>
                  <a:cs typeface="Arial" panose="020B0604020202020204" pitchFamily="34" charset="0"/>
                </a:rPr>
                <a:t>Перспективы развития</a:t>
              </a:r>
              <a:endParaRPr lang="en-US" sz="1600" b="1" kern="0" dirty="0">
                <a:solidFill>
                  <a:srgbClr val="00B050"/>
                </a:solidFill>
                <a:latin typeface="Arial"/>
                <a:cs typeface="Arial" panose="020B0604020202020204" pitchFamily="34" charset="0"/>
              </a:endParaRPr>
            </a:p>
          </p:txBody>
        </p:sp>
        <p:cxnSp>
          <p:nvCxnSpPr>
            <p:cNvPr id="19" name="Connettore 1 27"/>
            <p:cNvCxnSpPr/>
            <p:nvPr/>
          </p:nvCxnSpPr>
          <p:spPr>
            <a:xfrm>
              <a:off x="389572" y="2056647"/>
              <a:ext cx="1884612" cy="0"/>
            </a:xfrm>
            <a:prstGeom prst="line">
              <a:avLst/>
            </a:prstGeom>
            <a:ln w="12700">
              <a:solidFill>
                <a:srgbClr val="C7C7C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Rettangolo 49"/>
            <p:cNvSpPr/>
            <p:nvPr/>
          </p:nvSpPr>
          <p:spPr>
            <a:xfrm>
              <a:off x="474819" y="2103552"/>
              <a:ext cx="2016000" cy="192752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800"/>
              <a:r>
                <a:rPr lang="ru-RU" sz="1100" b="1" dirty="0" smtClean="0">
                  <a:solidFill>
                    <a:prstClr val="black"/>
                  </a:solidFill>
                  <a:latin typeface="Arial"/>
                </a:rPr>
                <a:t>Международная мобильность</a:t>
              </a:r>
              <a:r>
                <a:rPr lang="ru-RU" sz="1100" dirty="0" smtClean="0">
                  <a:solidFill>
                    <a:prstClr val="black"/>
                  </a:solidFill>
                  <a:latin typeface="Arial"/>
                </a:rPr>
                <a:t>, стажировки, внутренняя мобильность</a:t>
              </a:r>
            </a:p>
            <a:p>
              <a:pPr algn="ctr" defTabSz="685800"/>
              <a:endParaRPr lang="ru-RU" sz="1100" b="1" dirty="0" smtClean="0">
                <a:solidFill>
                  <a:prstClr val="black"/>
                </a:solidFill>
                <a:latin typeface="Arial"/>
              </a:endParaRPr>
            </a:p>
            <a:p>
              <a:pPr algn="ctr" defTabSz="685800"/>
              <a:endParaRPr lang="ru-RU" sz="1100" b="1" dirty="0">
                <a:solidFill>
                  <a:prstClr val="black"/>
                </a:solidFill>
                <a:latin typeface="Arial"/>
              </a:endParaRPr>
            </a:p>
            <a:p>
              <a:pPr algn="ctr" defTabSz="685800"/>
              <a:endParaRPr lang="ru-RU" sz="1100" b="1" dirty="0" smtClean="0">
                <a:solidFill>
                  <a:prstClr val="black"/>
                </a:solidFill>
                <a:latin typeface="Arial"/>
              </a:endParaRPr>
            </a:p>
            <a:p>
              <a:pPr algn="ctr" defTabSz="685800"/>
              <a:r>
                <a:rPr lang="ru-RU" sz="1100" b="1" dirty="0" smtClean="0">
                  <a:solidFill>
                    <a:prstClr val="black"/>
                  </a:solidFill>
                  <a:latin typeface="Arial"/>
                </a:rPr>
                <a:t>В кросс-культурном менеджменте </a:t>
              </a:r>
              <a:r>
                <a:rPr lang="ru-RU" sz="1100" dirty="0" smtClean="0">
                  <a:solidFill>
                    <a:prstClr val="black"/>
                  </a:solidFill>
                  <a:latin typeface="Arial"/>
                </a:rPr>
                <a:t>применяются практики кадрового резерва, ИПР, </a:t>
              </a:r>
              <a:r>
                <a:rPr lang="en-US" sz="1100" dirty="0" smtClean="0">
                  <a:solidFill>
                    <a:prstClr val="black"/>
                  </a:solidFill>
                  <a:latin typeface="Arial"/>
                </a:rPr>
                <a:t>MBO, KPI, SIO</a:t>
              </a:r>
              <a:endParaRPr lang="ru-RU" sz="1100" dirty="0" smtClean="0">
                <a:solidFill>
                  <a:prstClr val="black"/>
                </a:solidFill>
                <a:latin typeface="Arial"/>
              </a:endParaRPr>
            </a:p>
            <a:p>
              <a:pPr algn="ctr" defTabSz="685800"/>
              <a:endParaRPr lang="ru-RU" sz="1100" b="1" dirty="0">
                <a:solidFill>
                  <a:prstClr val="black"/>
                </a:solidFill>
                <a:latin typeface="Arial"/>
              </a:endParaRPr>
            </a:p>
            <a:p>
              <a:pPr algn="ctr" defTabSz="685800"/>
              <a:endParaRPr lang="ru-RU" sz="1100" b="1" dirty="0" smtClean="0">
                <a:solidFill>
                  <a:prstClr val="black"/>
                </a:solidFill>
                <a:latin typeface="Arial"/>
              </a:endParaRPr>
            </a:p>
            <a:p>
              <a:pPr algn="ctr" defTabSz="685800"/>
              <a:r>
                <a:rPr lang="ru-RU" sz="1100" b="1" dirty="0" smtClean="0">
                  <a:solidFill>
                    <a:prstClr val="black"/>
                  </a:solidFill>
                  <a:latin typeface="Arial"/>
                </a:rPr>
                <a:t>В российских компаниях </a:t>
              </a:r>
              <a:r>
                <a:rPr lang="ru-RU" sz="1100" dirty="0" smtClean="0">
                  <a:solidFill>
                    <a:prstClr val="black"/>
                  </a:solidFill>
                  <a:latin typeface="Arial"/>
                </a:rPr>
                <a:t>данные программы больше существуют на бумаге</a:t>
              </a:r>
            </a:p>
            <a:p>
              <a:pPr algn="ctr" defTabSz="685800"/>
              <a:endParaRPr lang="ru-RU" sz="1050" dirty="0">
                <a:solidFill>
                  <a:prstClr val="black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6778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Titolo 62"/>
          <p:cNvSpPr>
            <a:spLocks noGrp="1"/>
          </p:cNvSpPr>
          <p:nvPr>
            <p:ph type="title"/>
          </p:nvPr>
        </p:nvSpPr>
        <p:spPr>
          <a:xfrm>
            <a:off x="540791" y="764744"/>
            <a:ext cx="6418800" cy="360000"/>
          </a:xfrm>
        </p:spPr>
        <p:txBody>
          <a:bodyPr/>
          <a:lstStyle/>
          <a:p>
            <a:pPr>
              <a:lnSpc>
                <a:spcPts val="2099"/>
              </a:lnSpc>
              <a:defRPr/>
            </a:pPr>
            <a:r>
              <a:rPr lang="ru-RU" dirty="0" smtClean="0"/>
              <a:t>Спасибо за внимание</a:t>
            </a:r>
            <a:endParaRPr lang="it-IT" dirty="0"/>
          </a:p>
        </p:txBody>
      </p:sp>
      <p:pic>
        <p:nvPicPr>
          <p:cNvPr id="9" name="Immagine 8"/>
          <p:cNvPicPr>
            <a:picLocks/>
          </p:cNvPicPr>
          <p:nvPr/>
        </p:nvPicPr>
        <p:blipFill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517" y="1089381"/>
            <a:ext cx="7313192" cy="5507979"/>
          </a:xfrm>
          <a:prstGeom prst="rect">
            <a:avLst/>
          </a:prstGeom>
        </p:spPr>
      </p:pic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solidFill>
                  <a:srgbClr val="C6C6C6">
                    <a:lumMod val="75000"/>
                  </a:srgbClr>
                </a:solidFill>
                <a:latin typeface="Arial"/>
              </a:rPr>
              <a:pPr/>
              <a:t>56</a:t>
            </a:fld>
            <a:endParaRPr lang="en-GB" dirty="0">
              <a:solidFill>
                <a:srgbClr val="C6C6C6">
                  <a:lumMod val="75000"/>
                </a:srgbClr>
              </a:solidFill>
              <a:latin typeface="Arial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218000" y="5745949"/>
            <a:ext cx="4170424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ru-RU" sz="2000" dirty="0" smtClean="0">
                <a:solidFill>
                  <a:srgbClr val="000000"/>
                </a:solidFill>
              </a:rPr>
              <a:t>Мосолова</a:t>
            </a:r>
            <a:r>
              <a:rPr lang="ru-RU" sz="2000" dirty="0" smtClean="0"/>
              <a:t> Анастасия</a:t>
            </a:r>
          </a:p>
          <a:p>
            <a:pPr algn="r"/>
            <a:r>
              <a:rPr lang="ru-RU" sz="2000" dirty="0" smtClean="0"/>
              <a:t>4 курс ИБДА</a:t>
            </a:r>
          </a:p>
        </p:txBody>
      </p:sp>
    </p:spTree>
    <p:extLst>
      <p:ext uri="{BB962C8B-B14F-4D97-AF65-F5344CB8AC3E}">
        <p14:creationId xmlns:p14="http://schemas.microsoft.com/office/powerpoint/2010/main" val="3391912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6997700" cy="5248275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4679950" y="5387974"/>
            <a:ext cx="43053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i="1" dirty="0" smtClean="0"/>
              <a:t>Ангелина Шпак</a:t>
            </a:r>
          </a:p>
          <a:p>
            <a:pPr algn="ctr"/>
            <a:r>
              <a:rPr lang="ru-RU" i="1" dirty="0" smtClean="0"/>
              <a:t>«Приживается ли японский менеджмент на русской почве»</a:t>
            </a:r>
            <a:endParaRPr lang="ru-RU" i="1" dirty="0"/>
          </a:p>
        </p:txBody>
      </p:sp>
    </p:spTree>
    <p:extLst>
      <p:ext uri="{BB962C8B-B14F-4D97-AF65-F5344CB8AC3E}">
        <p14:creationId xmlns:p14="http://schemas.microsoft.com/office/powerpoint/2010/main" val="355893728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475160" y="874564"/>
            <a:ext cx="5293940" cy="1076424"/>
          </a:xfrm>
        </p:spPr>
        <p:txBody>
          <a:bodyPr/>
          <a:lstStyle/>
          <a:p>
            <a:r>
              <a:rPr lang="ru-RU" sz="4000" dirty="0" smtClean="0">
                <a:solidFill>
                  <a:srgbClr val="FFCCFF"/>
                </a:solidFill>
                <a:cs typeface="Aharoni" panose="02010803020104030203" pitchFamily="2" charset="-79"/>
              </a:rPr>
              <a:t>ООО «ЮНИКЛО      (РУС)»</a:t>
            </a:r>
            <a:endParaRPr lang="ru-RU" sz="4000" dirty="0">
              <a:solidFill>
                <a:srgbClr val="FFCCFF"/>
              </a:solidFill>
              <a:cs typeface="Aharoni" panose="02010803020104030203" pitchFamily="2" charset="-79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660652" y="3115568"/>
            <a:ext cx="6400800" cy="1752600"/>
          </a:xfrm>
        </p:spPr>
        <p:txBody>
          <a:bodyPr>
            <a:normAutofit/>
          </a:bodyPr>
          <a:lstStyle/>
          <a:p>
            <a:r>
              <a:rPr lang="ru-RU" dirty="0" smtClean="0"/>
              <a:t>Подготовила:</a:t>
            </a:r>
          </a:p>
          <a:p>
            <a:r>
              <a:rPr lang="ru-RU" dirty="0" smtClean="0"/>
              <a:t>Шпак Ангелина</a:t>
            </a:r>
            <a:endParaRPr lang="ru-RU" dirty="0"/>
          </a:p>
          <a:p>
            <a:r>
              <a:rPr lang="ru-RU" dirty="0" smtClean="0"/>
              <a:t>ИБДА,УП, 3 курс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552" y="2082800"/>
            <a:ext cx="3962400" cy="396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4530987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-459432"/>
            <a:ext cx="6781800" cy="1600200"/>
          </a:xfrm>
        </p:spPr>
        <p:txBody>
          <a:bodyPr>
            <a:normAutofit/>
          </a:bodyPr>
          <a:lstStyle/>
          <a:p>
            <a:r>
              <a:rPr lang="ru-RU" sz="4800" dirty="0" smtClean="0"/>
              <a:t>Японский менеджмент</a:t>
            </a:r>
            <a:endParaRPr lang="ru-RU" sz="480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23528" y="1268760"/>
            <a:ext cx="4752528" cy="3888432"/>
          </a:xfrm>
        </p:spPr>
        <p:txBody>
          <a:bodyPr>
            <a:normAutofit fontScale="92500"/>
          </a:bodyPr>
          <a:lstStyle/>
          <a:p>
            <a:r>
              <a:rPr lang="ru-RU" dirty="0"/>
              <a:t>Гарантия занятости и создание обстановки </a:t>
            </a:r>
            <a:r>
              <a:rPr lang="ru-RU" dirty="0" smtClean="0"/>
              <a:t>доверительности</a:t>
            </a:r>
            <a:endParaRPr lang="en-US" dirty="0" smtClean="0"/>
          </a:p>
          <a:p>
            <a:r>
              <a:rPr lang="ru-RU" dirty="0"/>
              <a:t>Гласность и ценности корпорации</a:t>
            </a:r>
            <a:r>
              <a:rPr lang="ru-RU" dirty="0" smtClean="0"/>
              <a:t>.</a:t>
            </a:r>
            <a:endParaRPr lang="en-US" dirty="0" smtClean="0"/>
          </a:p>
          <a:p>
            <a:r>
              <a:rPr lang="ru-RU" dirty="0"/>
              <a:t>Управление, основанное </a:t>
            </a:r>
            <a:r>
              <a:rPr lang="ru-RU" dirty="0" smtClean="0"/>
              <a:t>на информации</a:t>
            </a:r>
            <a:endParaRPr lang="en-US" dirty="0" smtClean="0"/>
          </a:p>
          <a:p>
            <a:r>
              <a:rPr lang="ru-RU" dirty="0"/>
              <a:t>Управление, ориентированное на </a:t>
            </a:r>
            <a:r>
              <a:rPr lang="ru-RU" dirty="0" smtClean="0"/>
              <a:t>качество</a:t>
            </a:r>
            <a:endParaRPr lang="en-US" dirty="0" smtClean="0"/>
          </a:p>
          <a:p>
            <a:r>
              <a:rPr lang="ru-RU" dirty="0"/>
              <a:t>Постоянное присутствие руководства на </a:t>
            </a:r>
            <a:r>
              <a:rPr lang="ru-RU" dirty="0" smtClean="0"/>
              <a:t>производстве</a:t>
            </a:r>
            <a:endParaRPr lang="en-US" dirty="0" smtClean="0"/>
          </a:p>
          <a:p>
            <a:r>
              <a:rPr lang="ru-RU" dirty="0"/>
              <a:t>Поддержка чистоты и порядка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1659" y="1052736"/>
            <a:ext cx="4202359" cy="2664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72095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BD5762-3BDC-484D-9503-7EA6D5A9A8CE}" type="slidenum">
              <a:rPr lang="ru-RU" smtClean="0">
                <a:solidFill>
                  <a:srgbClr val="000000"/>
                </a:solidFill>
              </a:rPr>
              <a:pPr/>
              <a:t>6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сновные проблемы</a:t>
            </a:r>
            <a:endParaRPr lang="en-US" dirty="0"/>
          </a:p>
        </p:txBody>
      </p:sp>
      <p:pic>
        <p:nvPicPr>
          <p:cNvPr id="3074" name="Picture 2" descr="Картинки по запросу аудитор фото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262"/>
          <a:stretch/>
        </p:blipFill>
        <p:spPr bwMode="auto">
          <a:xfrm>
            <a:off x="5926840" y="1730566"/>
            <a:ext cx="3060834" cy="3786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Похожее изображение"/>
          <p:cNvPicPr>
            <a:picLocks noGrp="1" noChangeAspect="1" noChangeArrowheads="1"/>
          </p:cNvPicPr>
          <p:nvPr>
            <p:ph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308" y="1647533"/>
            <a:ext cx="5224367" cy="4193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09153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5616" y="-32989"/>
            <a:ext cx="6781800" cy="1600200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Описание организации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83568" y="2204864"/>
            <a:ext cx="7543800" cy="3886200"/>
          </a:xfrm>
        </p:spPr>
        <p:txBody>
          <a:bodyPr>
            <a:normAutofit fontScale="92500" lnSpcReduction="10000"/>
          </a:bodyPr>
          <a:lstStyle/>
          <a:p>
            <a:r>
              <a:rPr lang="ru-RU" dirty="0" smtClean="0"/>
              <a:t>Компания была основана в 1949-м году, входит в компанию </a:t>
            </a:r>
            <a:r>
              <a:rPr lang="en-US" dirty="0" smtClean="0"/>
              <a:t>Fast Retailing</a:t>
            </a:r>
            <a:endParaRPr lang="ru-RU" dirty="0" smtClean="0"/>
          </a:p>
          <a:p>
            <a:r>
              <a:rPr lang="ru-RU" dirty="0" smtClean="0"/>
              <a:t>Сфера деятельности- розничная сеть повседневной одежды</a:t>
            </a:r>
          </a:p>
          <a:p>
            <a:r>
              <a:rPr lang="ru-RU" dirty="0" smtClean="0"/>
              <a:t>Месторасположение: более 1200 магазинов в Японии, Китае, Корее, </a:t>
            </a:r>
            <a:r>
              <a:rPr lang="ru-RU" dirty="0" err="1" smtClean="0"/>
              <a:t>Тайланде</a:t>
            </a:r>
            <a:r>
              <a:rPr lang="ru-RU" dirty="0" smtClean="0"/>
              <a:t>, Сингапуре, Гонконге, Малайзии, Великобритании, Франции, России, США и на Филиппинах</a:t>
            </a:r>
          </a:p>
          <a:p>
            <a:r>
              <a:rPr lang="ru-RU" dirty="0" smtClean="0"/>
              <a:t>Первый магазин в Москве в 2010-м году</a:t>
            </a:r>
          </a:p>
          <a:p>
            <a:r>
              <a:rPr lang="ru-RU" dirty="0" smtClean="0"/>
              <a:t>Отделы компании: бухгалтерия, отдел маркетинга, </a:t>
            </a:r>
            <a:r>
              <a:rPr lang="en-US" dirty="0" smtClean="0"/>
              <a:t>HR-</a:t>
            </a:r>
            <a:r>
              <a:rPr lang="ru-RU" dirty="0" smtClean="0"/>
              <a:t>отдел, отдел продаж, логистика</a:t>
            </a:r>
          </a:p>
          <a:p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65865576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3568" y="332656"/>
            <a:ext cx="6781800" cy="1600200"/>
          </a:xfrm>
        </p:spPr>
        <p:txBody>
          <a:bodyPr/>
          <a:lstStyle/>
          <a:p>
            <a:r>
              <a:rPr lang="ru-RU" dirty="0" smtClean="0"/>
              <a:t>                </a:t>
            </a:r>
            <a:r>
              <a:rPr lang="en-US" dirty="0" smtClean="0"/>
              <a:t>HR-</a:t>
            </a:r>
            <a:r>
              <a:rPr lang="ru-RU" dirty="0" smtClean="0"/>
              <a:t>отдел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39552" y="1988840"/>
            <a:ext cx="7543800" cy="3886200"/>
          </a:xfrm>
        </p:spPr>
        <p:txBody>
          <a:bodyPr>
            <a:normAutofit lnSpcReduction="10000"/>
          </a:bodyPr>
          <a:lstStyle/>
          <a:p>
            <a:r>
              <a:rPr lang="ru-RU" dirty="0" smtClean="0"/>
              <a:t>Моя должность- ассистент </a:t>
            </a:r>
            <a:r>
              <a:rPr lang="en-US" dirty="0" smtClean="0"/>
              <a:t>HR-</a:t>
            </a:r>
            <a:r>
              <a:rPr lang="ru-RU" dirty="0" smtClean="0"/>
              <a:t>менеджера </a:t>
            </a:r>
          </a:p>
          <a:p>
            <a:r>
              <a:rPr lang="ru-RU" smtClean="0"/>
              <a:t>Планирование необходимости </a:t>
            </a:r>
            <a:r>
              <a:rPr lang="ru-RU" dirty="0" smtClean="0"/>
              <a:t>в персонале </a:t>
            </a:r>
          </a:p>
          <a:p>
            <a:r>
              <a:rPr lang="ru-RU" dirty="0" smtClean="0"/>
              <a:t>Привлечение, отбор и оценка персонала</a:t>
            </a:r>
          </a:p>
          <a:p>
            <a:r>
              <a:rPr lang="ru-RU" dirty="0" smtClean="0"/>
              <a:t>Повышение квалификации персонала и его переподготовка</a:t>
            </a:r>
          </a:p>
          <a:p>
            <a:r>
              <a:rPr lang="ru-RU" dirty="0" smtClean="0"/>
              <a:t>Увольнение персонала</a:t>
            </a:r>
          </a:p>
          <a:p>
            <a:r>
              <a:rPr lang="ru-RU" dirty="0" smtClean="0"/>
              <a:t>Построение и организация работ</a:t>
            </a:r>
          </a:p>
          <a:p>
            <a:r>
              <a:rPr lang="ru-RU" dirty="0" smtClean="0"/>
              <a:t>Заработная плата</a:t>
            </a:r>
          </a:p>
          <a:p>
            <a:r>
              <a:rPr lang="ru-RU" dirty="0" smtClean="0"/>
              <a:t>Управление затратами на персона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72835836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55576" y="188640"/>
            <a:ext cx="6781800" cy="1600200"/>
          </a:xfrm>
        </p:spPr>
        <p:txBody>
          <a:bodyPr/>
          <a:lstStyle/>
          <a:p>
            <a:r>
              <a:rPr lang="ru-RU" dirty="0" smtClean="0"/>
              <a:t>                Обязанности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11560" y="2276872"/>
            <a:ext cx="7543800" cy="3886200"/>
          </a:xfrm>
        </p:spPr>
        <p:txBody>
          <a:bodyPr>
            <a:normAutofit fontScale="92500" lnSpcReduction="20000"/>
          </a:bodyPr>
          <a:lstStyle/>
          <a:p>
            <a:r>
              <a:rPr lang="ru-RU" dirty="0" smtClean="0"/>
              <a:t>Контроль выхода персонала в отпуск, ведение базы данных по отпускам персонала</a:t>
            </a:r>
          </a:p>
          <a:p>
            <a:r>
              <a:rPr lang="ru-RU" dirty="0" smtClean="0"/>
              <a:t>Составление отчетностей по выходам на работу и опозданиям персонала</a:t>
            </a:r>
          </a:p>
          <a:p>
            <a:r>
              <a:rPr lang="ru-RU" dirty="0" smtClean="0"/>
              <a:t>Присутствие и участие при проведении  собеседований</a:t>
            </a:r>
          </a:p>
          <a:p>
            <a:r>
              <a:rPr lang="ru-RU" dirty="0" smtClean="0"/>
              <a:t>Участие в совещаниях как внутри магазина, так и в главном офисе</a:t>
            </a:r>
          </a:p>
          <a:p>
            <a:r>
              <a:rPr lang="ru-RU" dirty="0" smtClean="0"/>
              <a:t>Помощь в обучении персонала и стремление их соответствия стандартам компании</a:t>
            </a:r>
          </a:p>
          <a:p>
            <a:r>
              <a:rPr lang="ru-RU" dirty="0" smtClean="0"/>
              <a:t>Выявление сильных и слабых сторон персонала в торговом зале</a:t>
            </a:r>
          </a:p>
          <a:p>
            <a:r>
              <a:rPr lang="ru-RU" dirty="0" smtClean="0"/>
              <a:t>«Один день в качестве продавца-консультанта»</a:t>
            </a:r>
          </a:p>
          <a:p>
            <a:endParaRPr lang="ru-RU" dirty="0" smtClean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9052739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404664"/>
            <a:ext cx="6781800" cy="1600200"/>
          </a:xfrm>
        </p:spPr>
        <p:txBody>
          <a:bodyPr>
            <a:normAutofit/>
          </a:bodyPr>
          <a:lstStyle/>
          <a:p>
            <a:r>
              <a:rPr lang="ru-RU" sz="2800" dirty="0" smtClean="0"/>
              <a:t>Собеседование на должность продавца-консультанта. Основные критерии отбора</a:t>
            </a:r>
            <a:endParaRPr lang="ru-RU" sz="280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83568" y="2060848"/>
            <a:ext cx="7543800" cy="3886200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ru-RU" dirty="0" smtClean="0"/>
          </a:p>
          <a:p>
            <a:r>
              <a:rPr lang="ru-RU" dirty="0" smtClean="0"/>
              <a:t>Студенты</a:t>
            </a:r>
          </a:p>
          <a:p>
            <a:r>
              <a:rPr lang="ru-RU" dirty="0" smtClean="0"/>
              <a:t>Азиатская внешность</a:t>
            </a:r>
          </a:p>
          <a:p>
            <a:r>
              <a:rPr lang="ru-RU" dirty="0" smtClean="0"/>
              <a:t>Быстрота</a:t>
            </a:r>
          </a:p>
          <a:p>
            <a:r>
              <a:rPr lang="ru-RU" dirty="0" smtClean="0"/>
              <a:t>Коммуникабельность</a:t>
            </a:r>
          </a:p>
          <a:p>
            <a:r>
              <a:rPr lang="ru-RU" dirty="0" smtClean="0"/>
              <a:t>Владение английским </a:t>
            </a:r>
            <a:endParaRPr lang="en-US" dirty="0" smtClean="0"/>
          </a:p>
          <a:p>
            <a:r>
              <a:rPr lang="ru-RU" smtClean="0"/>
              <a:t>Наличие глухонемых </a:t>
            </a:r>
            <a:r>
              <a:rPr lang="ru-RU" dirty="0" smtClean="0"/>
              <a:t>!</a:t>
            </a:r>
          </a:p>
          <a:p>
            <a:endParaRPr lang="ru-RU" dirty="0" smtClean="0"/>
          </a:p>
          <a:p>
            <a:endParaRPr lang="ru-RU" sz="1200" dirty="0" smtClean="0"/>
          </a:p>
          <a:p>
            <a:endParaRPr lang="ru-RU" sz="1100" dirty="0" smtClean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6" t="30342" r="25277" b="13098"/>
          <a:stretch/>
        </p:blipFill>
        <p:spPr>
          <a:xfrm>
            <a:off x="4086324" y="2132856"/>
            <a:ext cx="4726732" cy="3533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8483360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43608" y="-603448"/>
            <a:ext cx="6781800" cy="1600200"/>
          </a:xfrm>
        </p:spPr>
        <p:txBody>
          <a:bodyPr>
            <a:normAutofit/>
          </a:bodyPr>
          <a:lstStyle/>
          <a:p>
            <a:r>
              <a:rPr lang="ru-RU" sz="3200" dirty="0" smtClean="0"/>
              <a:t>Карьерная лестница в компании</a:t>
            </a:r>
            <a:endParaRPr lang="ru-RU" sz="3200" dirty="0"/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56" t="23116" r="14319" b="3241"/>
          <a:stretch/>
        </p:blipFill>
        <p:spPr>
          <a:xfrm>
            <a:off x="1187642" y="1124744"/>
            <a:ext cx="5915905" cy="4896000"/>
          </a:xfrm>
        </p:spPr>
      </p:pic>
    </p:spTree>
    <p:extLst>
      <p:ext uri="{BB962C8B-B14F-4D97-AF65-F5344CB8AC3E}">
        <p14:creationId xmlns:p14="http://schemas.microsoft.com/office/powerpoint/2010/main" val="1580425480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43608" y="0"/>
            <a:ext cx="6781800" cy="1600200"/>
          </a:xfrm>
        </p:spPr>
        <p:txBody>
          <a:bodyPr>
            <a:normAutofit/>
          </a:bodyPr>
          <a:lstStyle/>
          <a:p>
            <a:r>
              <a:rPr lang="ru-RU" sz="3600" dirty="0" smtClean="0"/>
              <a:t>Корпоративная культура компании. Ценности</a:t>
            </a:r>
            <a:endParaRPr lang="ru-RU" sz="360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39552" y="1340768"/>
            <a:ext cx="7543800" cy="3886200"/>
          </a:xfrm>
        </p:spPr>
        <p:txBody>
          <a:bodyPr/>
          <a:lstStyle/>
          <a:p>
            <a:r>
              <a:rPr lang="en-US" dirty="0" smtClean="0"/>
              <a:t>Thank u cards</a:t>
            </a:r>
          </a:p>
          <a:p>
            <a:r>
              <a:rPr lang="en-US" dirty="0" smtClean="0"/>
              <a:t>Team talks</a:t>
            </a:r>
          </a:p>
          <a:p>
            <a:r>
              <a:rPr lang="en-US" dirty="0" smtClean="0"/>
              <a:t>CS </a:t>
            </a:r>
            <a:r>
              <a:rPr lang="ru-RU" dirty="0" smtClean="0"/>
              <a:t>конкурс</a:t>
            </a:r>
          </a:p>
          <a:p>
            <a:r>
              <a:rPr lang="ru-RU" dirty="0" err="1" smtClean="0"/>
              <a:t>Корпоративы</a:t>
            </a:r>
            <a:endParaRPr lang="ru-RU" dirty="0" smtClean="0"/>
          </a:p>
          <a:p>
            <a:r>
              <a:rPr lang="ru-RU" dirty="0" smtClean="0"/>
              <a:t>Спортивные забеги</a:t>
            </a:r>
          </a:p>
          <a:p>
            <a:r>
              <a:rPr lang="ru-RU" dirty="0" smtClean="0"/>
              <a:t>«6 стандартных фраз»</a:t>
            </a:r>
          </a:p>
          <a:p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39" t="28304" r="33822" b="22528"/>
          <a:stretch/>
        </p:blipFill>
        <p:spPr>
          <a:xfrm>
            <a:off x="4067944" y="1772816"/>
            <a:ext cx="4667076" cy="3367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8112272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55576" y="260648"/>
            <a:ext cx="6781800" cy="1600200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Приобретенные навыки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83568" y="2276872"/>
            <a:ext cx="7543800" cy="3886200"/>
          </a:xfrm>
        </p:spPr>
        <p:txBody>
          <a:bodyPr/>
          <a:lstStyle/>
          <a:p>
            <a:r>
              <a:rPr lang="ru-RU" dirty="0" smtClean="0"/>
              <a:t>Получения знаний японских стандартов работы</a:t>
            </a:r>
          </a:p>
          <a:p>
            <a:r>
              <a:rPr lang="ru-RU" dirty="0" smtClean="0"/>
              <a:t>Практика владения английским языком</a:t>
            </a:r>
          </a:p>
          <a:p>
            <a:r>
              <a:rPr lang="ru-RU" dirty="0" smtClean="0"/>
              <a:t>Планирование времени</a:t>
            </a:r>
          </a:p>
          <a:p>
            <a:r>
              <a:rPr lang="ru-RU" dirty="0" smtClean="0"/>
              <a:t>Общение с персоналом и директорами, коммуникативные навыки</a:t>
            </a:r>
          </a:p>
          <a:p>
            <a:r>
              <a:rPr lang="ru-RU" dirty="0" smtClean="0"/>
              <a:t>Внесение собственных предложений, проявление инициативы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50140675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31640" y="620688"/>
            <a:ext cx="6781800" cy="1600200"/>
          </a:xfrm>
        </p:spPr>
        <p:txBody>
          <a:bodyPr>
            <a:normAutofit fontScale="90000"/>
          </a:bodyPr>
          <a:lstStyle/>
          <a:p>
            <a:r>
              <a:rPr lang="ru-RU" sz="4900" dirty="0" smtClean="0"/>
              <a:t>Впечатления о практике</a:t>
            </a:r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55576" y="1484784"/>
            <a:ext cx="7543800" cy="4680520"/>
          </a:xfrm>
        </p:spPr>
        <p:txBody>
          <a:bodyPr>
            <a:normAutofit/>
          </a:bodyPr>
          <a:lstStyle/>
          <a:p>
            <a:r>
              <a:rPr lang="ru-RU" dirty="0" smtClean="0"/>
              <a:t>Отношения в коллективе базируются на всеобщем равенстве, легкость при общении как с персоналом, так и директорами магазина</a:t>
            </a:r>
          </a:p>
          <a:p>
            <a:r>
              <a:rPr lang="ru-RU" dirty="0" smtClean="0"/>
              <a:t>Отзывчивость менеджеров, желание помочь и ответить на все интересующие вопросы</a:t>
            </a:r>
          </a:p>
          <a:p>
            <a:r>
              <a:rPr lang="ru-RU" dirty="0" smtClean="0"/>
              <a:t>Считаю свою работу большим опытом в сфере работы с людьми и документацией</a:t>
            </a:r>
          </a:p>
          <a:p>
            <a:r>
              <a:rPr lang="ru-RU" dirty="0" smtClean="0"/>
              <a:t>Положительные впечатления от работы и слаженной команды </a:t>
            </a:r>
            <a:endParaRPr lang="en-US" dirty="0" smtClean="0"/>
          </a:p>
          <a:p>
            <a:r>
              <a:rPr lang="ru-RU" b="1" dirty="0" smtClean="0"/>
              <a:t>ПРАКТИКА- ЭТО ОТЛИЧНАЯ ВОЗМОЖНОСТЬ ДЛЯ ВСЕХ И КАЖДОГО!</a:t>
            </a:r>
          </a:p>
          <a:p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373246734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43608" y="3717032"/>
            <a:ext cx="6781800" cy="1600200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   Спасибо за внимание!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43608" y="2618720"/>
            <a:ext cx="7543800" cy="3886200"/>
          </a:xfrm>
        </p:spPr>
        <p:txBody>
          <a:bodyPr/>
          <a:lstStyle/>
          <a:p>
            <a:endParaRPr lang="en-US" dirty="0" smtClean="0"/>
          </a:p>
          <a:p>
            <a:pPr marL="0" indent="0">
              <a:buNone/>
            </a:pPr>
            <a:r>
              <a:rPr lang="ru-RU" dirty="0" smtClean="0"/>
              <a:t>    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3688" y="476672"/>
            <a:ext cx="5616624" cy="3744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6474593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2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019800" y="5791200"/>
            <a:ext cx="4191000" cy="1752600"/>
          </a:xfrm>
        </p:spPr>
        <p:txBody>
          <a:bodyPr/>
          <a:lstStyle/>
          <a:p>
            <a:pPr algn="l" eaLnBrk="1" hangingPunct="1"/>
            <a:r>
              <a:rPr lang="ru-RU" sz="2800" dirty="0">
                <a:solidFill>
                  <a:srgbClr val="663300"/>
                </a:solidFill>
                <a:latin typeface="Gabriola" charset="0"/>
              </a:rPr>
              <a:t>студентка 4 курса ИБДА</a:t>
            </a:r>
          </a:p>
          <a:p>
            <a:pPr algn="l" eaLnBrk="1" hangingPunct="1"/>
            <a:r>
              <a:rPr lang="ru-RU" sz="2800" dirty="0">
                <a:solidFill>
                  <a:srgbClr val="663300"/>
                </a:solidFill>
                <a:latin typeface="Gabriola" charset="0"/>
              </a:rPr>
              <a:t>Француз Екатерина</a:t>
            </a:r>
          </a:p>
        </p:txBody>
      </p:sp>
      <p:pic>
        <p:nvPicPr>
          <p:cNvPr id="2053" name="Рисунок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514" y="68299"/>
            <a:ext cx="1438275" cy="1171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9846" y="1239874"/>
            <a:ext cx="3963054" cy="5402758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" y="68299"/>
            <a:ext cx="8509000" cy="1470025"/>
          </a:xfrm>
        </p:spPr>
        <p:txBody>
          <a:bodyPr>
            <a:noAutofit/>
          </a:bodyPr>
          <a:lstStyle/>
          <a:p>
            <a:pPr algn="l" eaLnBrk="1" hangingPunct="1"/>
            <a:r>
              <a:rPr lang="ru-RU" sz="4000" b="1" dirty="0">
                <a:solidFill>
                  <a:srgbClr val="663300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Gabriola" charset="0"/>
                <a:cs typeface="EucrosiaUPC" panose="02020603050405020304" pitchFamily="18" charset="-34"/>
              </a:rPr>
              <a:t>Российский сервис.  </a:t>
            </a:r>
            <a:br>
              <a:rPr lang="ru-RU" sz="4000" b="1" dirty="0">
                <a:solidFill>
                  <a:srgbClr val="663300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Gabriola" charset="0"/>
                <a:cs typeface="EucrosiaUPC" panose="02020603050405020304" pitchFamily="18" charset="-34"/>
              </a:rPr>
            </a:br>
            <a:r>
              <a:rPr lang="ru-RU" sz="4000" b="1" dirty="0">
                <a:solidFill>
                  <a:srgbClr val="663300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Gabriola" charset="0"/>
                <a:cs typeface="EucrosiaUPC" panose="02020603050405020304" pitchFamily="18" charset="-34"/>
              </a:rPr>
              <a:t>Как сделать гостеприимство гостеприимным?</a:t>
            </a:r>
          </a:p>
        </p:txBody>
      </p:sp>
    </p:spTree>
    <p:extLst>
      <p:ext uri="{BB962C8B-B14F-4D97-AF65-F5344CB8AC3E}">
        <p14:creationId xmlns:p14="http://schemas.microsoft.com/office/powerpoint/2010/main" val="410877524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ontent Placeholder 7"/>
          <p:cNvGraphicFramePr>
            <a:graphicFrameLocks noGrp="1"/>
          </p:cNvGraphicFramePr>
          <p:nvPr>
            <p:ph sz="quarter" idx="15"/>
            <p:extLst>
              <p:ext uri="{D42A27DB-BD31-4B8C-83A1-F6EECF244321}">
                <p14:modId xmlns:p14="http://schemas.microsoft.com/office/powerpoint/2010/main" val="558182017"/>
              </p:ext>
            </p:extLst>
          </p:nvPr>
        </p:nvGraphicFramePr>
        <p:xfrm>
          <a:off x="492842" y="1752664"/>
          <a:ext cx="8155605" cy="3981730"/>
        </p:xfrm>
        <a:graphic>
          <a:graphicData uri="http://schemas.openxmlformats.org/drawingml/2006/table">
            <a:tbl>
              <a:tblPr firstRow="1" bandRow="1"/>
              <a:tblGrid>
                <a:gridCol w="8155605"/>
              </a:tblGrid>
              <a:tr h="3981730">
                <a:tc>
                  <a:txBody>
                    <a:bodyPr/>
                    <a:lstStyle/>
                    <a:p>
                      <a:pPr marL="342900" indent="-34290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ru-RU" sz="2500" dirty="0" smtClean="0">
                          <a:solidFill>
                            <a:sysClr val="windowText" lastClr="000000"/>
                          </a:solidFill>
                        </a:rPr>
                        <a:t>Сотрудники</a:t>
                      </a:r>
                      <a:r>
                        <a:rPr lang="ru-RU" sz="2500" baseline="0" dirty="0" smtClean="0">
                          <a:solidFill>
                            <a:sysClr val="windowText" lastClr="000000"/>
                          </a:solidFill>
                        </a:rPr>
                        <a:t> – лицо компании</a:t>
                      </a:r>
                    </a:p>
                    <a:p>
                      <a:pPr marL="342900" indent="-34290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ru-RU" sz="2500" baseline="0" dirty="0" smtClean="0">
                          <a:solidFill>
                            <a:sysClr val="windowText" lastClr="000000"/>
                          </a:solidFill>
                        </a:rPr>
                        <a:t>Семь раз отмерь – один раз отправь </a:t>
                      </a:r>
                      <a:r>
                        <a:rPr lang="en-US" sz="2500" baseline="0" dirty="0" smtClean="0">
                          <a:solidFill>
                            <a:sysClr val="windowText" lastClr="000000"/>
                          </a:solidFill>
                        </a:rPr>
                        <a:t>e-mail</a:t>
                      </a:r>
                      <a:endParaRPr lang="ru-RU" sz="2500" baseline="0" dirty="0" smtClean="0">
                        <a:solidFill>
                          <a:sysClr val="windowText" lastClr="000000"/>
                        </a:solidFill>
                      </a:endParaRPr>
                    </a:p>
                    <a:p>
                      <a:pPr marL="342900" indent="-34290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ru-RU" sz="2500" baseline="0" dirty="0" smtClean="0">
                          <a:solidFill>
                            <a:sysClr val="windowText" lastClr="000000"/>
                          </a:solidFill>
                        </a:rPr>
                        <a:t>Сила слова</a:t>
                      </a:r>
                    </a:p>
                    <a:p>
                      <a:pPr marL="342900" indent="-34290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ru-RU" sz="2500" baseline="0" dirty="0" smtClean="0">
                          <a:solidFill>
                            <a:sysClr val="windowText" lastClr="000000"/>
                          </a:solidFill>
                        </a:rPr>
                        <a:t>Гибкость бережет нервные клетки</a:t>
                      </a:r>
                    </a:p>
                    <a:p>
                      <a:pPr marL="342900" indent="-34290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ru-RU" sz="2500" baseline="0" dirty="0" smtClean="0">
                          <a:solidFill>
                            <a:sysClr val="windowText" lastClr="000000"/>
                          </a:solidFill>
                        </a:rPr>
                        <a:t>Слухи на руку</a:t>
                      </a:r>
                    </a:p>
                    <a:p>
                      <a:pPr marL="342900" indent="-34290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ru-RU" sz="2500" baseline="0" dirty="0" smtClean="0">
                          <a:solidFill>
                            <a:sysClr val="windowText" lastClr="000000"/>
                          </a:solidFill>
                        </a:rPr>
                        <a:t>Уверенность в каждом слове</a:t>
                      </a:r>
                    </a:p>
                    <a:p>
                      <a:pPr marL="342900" indent="-34290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endParaRPr lang="ru-RU" sz="1800" baseline="0" dirty="0" smtClean="0"/>
                    </a:p>
                  </a:txBody>
                  <a:tcPr marL="78203" marR="78203" marT="41476" marB="41476"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BD5762-3BDC-484D-9503-7EA6D5A9A8CE}" type="slidenum">
              <a:rPr lang="ru-RU" smtClean="0">
                <a:solidFill>
                  <a:srgbClr val="000000"/>
                </a:solidFill>
              </a:rPr>
              <a:pPr/>
              <a:t>7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Есть решение!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91330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9561"/>
            <a:ext cx="7772400" cy="1470025"/>
          </a:xfrm>
        </p:spPr>
        <p:txBody>
          <a:bodyPr/>
          <a:lstStyle/>
          <a:p>
            <a:pPr eaLnBrk="1" hangingPunct="1"/>
            <a:r>
              <a:rPr lang="ru-RU" sz="5400" b="1">
                <a:solidFill>
                  <a:srgbClr val="663300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Gabriola" charset="0"/>
              </a:rPr>
              <a:t>О гостинице</a:t>
            </a:r>
          </a:p>
        </p:txBody>
      </p:sp>
      <p:sp>
        <p:nvSpPr>
          <p:cNvPr id="3076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57200" y="1371600"/>
            <a:ext cx="8229600" cy="4495800"/>
          </a:xfrm>
        </p:spPr>
        <p:txBody>
          <a:bodyPr/>
          <a:lstStyle/>
          <a:p>
            <a:pPr marL="457200" indent="-457200" algn="l" eaLnBrk="1" hangingPunct="1">
              <a:buFont typeface="Arial" charset="0"/>
              <a:buChar char="•"/>
            </a:pPr>
            <a:r>
              <a:rPr lang="ru-RU" sz="3600" b="1">
                <a:solidFill>
                  <a:srgbClr val="663300"/>
                </a:solidFill>
                <a:latin typeface="Gabriola" charset="0"/>
              </a:rPr>
              <a:t>Гостиница была построена в 1980 г.</a:t>
            </a:r>
          </a:p>
          <a:p>
            <a:pPr marL="457200" indent="-457200" algn="l" eaLnBrk="1" hangingPunct="1">
              <a:buFont typeface="Arial" charset="0"/>
              <a:buChar char="•"/>
            </a:pPr>
            <a:r>
              <a:rPr lang="en-US" sz="3600" b="1">
                <a:solidFill>
                  <a:srgbClr val="663300"/>
                </a:solidFill>
                <a:latin typeface="Gabriola" charset="0"/>
              </a:rPr>
              <a:t>495 </a:t>
            </a:r>
            <a:r>
              <a:rPr lang="ru-RU" sz="3600" b="1">
                <a:solidFill>
                  <a:srgbClr val="663300"/>
                </a:solidFill>
                <a:latin typeface="Gabriola" charset="0"/>
              </a:rPr>
              <a:t>номеров на 33 этажах</a:t>
            </a:r>
          </a:p>
          <a:p>
            <a:pPr marL="457200" indent="-457200" algn="l" eaLnBrk="1" hangingPunct="1">
              <a:buFont typeface="Arial" charset="0"/>
              <a:buChar char="•"/>
            </a:pPr>
            <a:r>
              <a:rPr lang="ru-RU" sz="3600" b="1">
                <a:solidFill>
                  <a:srgbClr val="663300"/>
                </a:solidFill>
                <a:latin typeface="Gabriola" charset="0"/>
              </a:rPr>
              <a:t>спа- и фитнес-центр</a:t>
            </a:r>
          </a:p>
          <a:p>
            <a:pPr marL="457200" indent="-457200" algn="l" eaLnBrk="1" hangingPunct="1">
              <a:buFont typeface="Arial" charset="0"/>
              <a:buChar char="•"/>
            </a:pPr>
            <a:r>
              <a:rPr lang="ru-RU" sz="3600" b="1">
                <a:solidFill>
                  <a:srgbClr val="663300"/>
                </a:solidFill>
                <a:latin typeface="Gabriola" charset="0"/>
              </a:rPr>
              <a:t>конференц-залы </a:t>
            </a:r>
          </a:p>
          <a:p>
            <a:pPr marL="457200" indent="-457200" algn="l" eaLnBrk="1" hangingPunct="1">
              <a:buFont typeface="Arial" charset="0"/>
              <a:buChar char="•"/>
            </a:pPr>
            <a:r>
              <a:rPr lang="ru-RU" sz="3600" b="1">
                <a:solidFill>
                  <a:srgbClr val="663300"/>
                </a:solidFill>
                <a:latin typeface="Gabriola" charset="0"/>
              </a:rPr>
              <a:t>рестораны</a:t>
            </a:r>
          </a:p>
          <a:p>
            <a:pPr marL="457200" indent="-457200" algn="l" eaLnBrk="1" hangingPunct="1">
              <a:buFont typeface="Arial" charset="0"/>
              <a:buChar char="•"/>
            </a:pPr>
            <a:r>
              <a:rPr lang="ru-RU" sz="3600" b="1">
                <a:solidFill>
                  <a:srgbClr val="663300"/>
                </a:solidFill>
                <a:latin typeface="Gabriola" charset="0"/>
              </a:rPr>
              <a:t>бильярд </a:t>
            </a:r>
          </a:p>
          <a:p>
            <a:pPr marL="457200" indent="-457200" algn="l" eaLnBrk="1" hangingPunct="1">
              <a:buFont typeface="Arial" charset="0"/>
              <a:buChar char="•"/>
            </a:pPr>
            <a:endParaRPr lang="ru-RU" sz="3600" b="1">
              <a:solidFill>
                <a:srgbClr val="663300"/>
              </a:solidFill>
              <a:latin typeface="Gabriola" charset="0"/>
            </a:endParaRPr>
          </a:p>
          <a:p>
            <a:pPr marL="457200" indent="-457200" algn="l" eaLnBrk="1" hangingPunct="1">
              <a:buFont typeface="Arial" charset="0"/>
              <a:buChar char="•"/>
            </a:pPr>
            <a:endParaRPr lang="ru-RU" sz="3600" b="1">
              <a:solidFill>
                <a:srgbClr val="663300"/>
              </a:solidFill>
              <a:latin typeface="Gabriola" charset="0"/>
            </a:endParaRPr>
          </a:p>
        </p:txBody>
      </p:sp>
      <p:pic>
        <p:nvPicPr>
          <p:cNvPr id="3077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3288" y="5257836"/>
            <a:ext cx="1666875" cy="135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4335" y="4069368"/>
            <a:ext cx="2363066" cy="156943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1617" y="3048000"/>
            <a:ext cx="2397253" cy="1598948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0" name="Picture 8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5279" y="1447800"/>
            <a:ext cx="2366530" cy="225145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1474533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1" y="0"/>
            <a:ext cx="8216900" cy="1295400"/>
          </a:xfrm>
        </p:spPr>
        <p:txBody>
          <a:bodyPr/>
          <a:lstStyle/>
          <a:p>
            <a:pPr eaLnBrk="1" hangingPunct="1"/>
            <a:r>
              <a:rPr lang="ru-RU" sz="4800" b="1">
                <a:solidFill>
                  <a:srgbClr val="663300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Gabriola" charset="0"/>
              </a:rPr>
              <a:t>Российский гостиничный бизнес сегодня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57213" y="1395413"/>
            <a:ext cx="8382000" cy="4533900"/>
          </a:xfrm>
        </p:spPr>
        <p:txBody>
          <a:bodyPr>
            <a:normAutofit/>
          </a:bodyPr>
          <a:lstStyle/>
          <a:p>
            <a:pPr marL="571500" indent="-571500" algn="l" eaLnBrk="1" hangingPunct="1">
              <a:lnSpc>
                <a:spcPct val="120000"/>
              </a:lnSpc>
              <a:buFont typeface="Arial" charset="0"/>
              <a:buChar char="•"/>
            </a:pPr>
            <a:r>
              <a:rPr lang="ru-RU" sz="4000">
                <a:solidFill>
                  <a:srgbClr val="404040"/>
                </a:solidFill>
                <a:latin typeface="Gabriola" charset="0"/>
              </a:rPr>
              <a:t>Пережитки социалистической эпохи</a:t>
            </a:r>
          </a:p>
          <a:p>
            <a:pPr marL="571500" indent="-571500" algn="l" eaLnBrk="1" hangingPunct="1">
              <a:lnSpc>
                <a:spcPct val="120000"/>
              </a:lnSpc>
              <a:buFont typeface="Arial" charset="0"/>
              <a:buChar char="•"/>
            </a:pPr>
            <a:r>
              <a:rPr lang="ru-RU" sz="4000">
                <a:solidFill>
                  <a:srgbClr val="404040"/>
                </a:solidFill>
                <a:latin typeface="Gabriola" charset="0"/>
              </a:rPr>
              <a:t>Дефицит квалифицированных кадров</a:t>
            </a:r>
          </a:p>
          <a:p>
            <a:pPr marL="571500" indent="-571500" algn="l" eaLnBrk="1" hangingPunct="1">
              <a:lnSpc>
                <a:spcPct val="120000"/>
              </a:lnSpc>
              <a:buFont typeface="Arial" charset="0"/>
              <a:buChar char="•"/>
            </a:pPr>
            <a:r>
              <a:rPr lang="ru-RU" sz="4000">
                <a:solidFill>
                  <a:srgbClr val="404040"/>
                </a:solidFill>
                <a:latin typeface="Gabriola" charset="0"/>
              </a:rPr>
              <a:t>Отсутствие продуманной системы мотивации</a:t>
            </a:r>
          </a:p>
        </p:txBody>
      </p:sp>
      <p:pic>
        <p:nvPicPr>
          <p:cNvPr id="4101" name="Picture 5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9001" y="5257800"/>
            <a:ext cx="1663700" cy="1354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5921308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0"/>
            <a:ext cx="7772400" cy="1295400"/>
          </a:xfrm>
        </p:spPr>
        <p:txBody>
          <a:bodyPr/>
          <a:lstStyle/>
          <a:p>
            <a:pPr eaLnBrk="1" hangingPunct="1"/>
            <a:r>
              <a:rPr lang="ru-RU" sz="4800" b="1">
                <a:solidFill>
                  <a:srgbClr val="663300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Gabriola" charset="0"/>
              </a:rPr>
              <a:t>Выход на новый уровень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" y="1352550"/>
            <a:ext cx="7734300" cy="4533900"/>
          </a:xfrm>
        </p:spPr>
        <p:txBody>
          <a:bodyPr>
            <a:normAutofit/>
          </a:bodyPr>
          <a:lstStyle/>
          <a:p>
            <a:pPr marL="571500" indent="-571500" algn="l" eaLnBrk="1" hangingPunct="1">
              <a:lnSpc>
                <a:spcPct val="120000"/>
              </a:lnSpc>
              <a:buFont typeface="Arial" charset="0"/>
              <a:buChar char="•"/>
            </a:pPr>
            <a:r>
              <a:rPr lang="ru-RU" sz="4000">
                <a:solidFill>
                  <a:srgbClr val="404040"/>
                </a:solidFill>
                <a:latin typeface="Gabriola" charset="0"/>
              </a:rPr>
              <a:t>Разработка и адаптация подходящей системы мотивации</a:t>
            </a:r>
          </a:p>
          <a:p>
            <a:pPr marL="571500" indent="-571500" algn="l" eaLnBrk="1" hangingPunct="1">
              <a:lnSpc>
                <a:spcPct val="120000"/>
              </a:lnSpc>
            </a:pPr>
            <a:endParaRPr lang="ru-RU" sz="4000">
              <a:solidFill>
                <a:srgbClr val="898989"/>
              </a:solidFill>
              <a:latin typeface="Gabriola" charset="0"/>
            </a:endParaRPr>
          </a:p>
          <a:p>
            <a:pPr marL="571500" indent="-571500" algn="l" eaLnBrk="1" hangingPunct="1">
              <a:lnSpc>
                <a:spcPct val="120000"/>
              </a:lnSpc>
            </a:pPr>
            <a:endParaRPr lang="ru-RU" sz="4000">
              <a:solidFill>
                <a:srgbClr val="898989"/>
              </a:solidFill>
              <a:latin typeface="Gabriola" charset="0"/>
            </a:endParaRPr>
          </a:p>
        </p:txBody>
      </p:sp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9001" y="5257800"/>
            <a:ext cx="1663700" cy="1354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2163" y="2506665"/>
            <a:ext cx="4076700" cy="2446337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tl" rotWithShape="0">
              <a:srgbClr val="333333">
                <a:alpha val="6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632350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0"/>
            <a:ext cx="7772400" cy="1295400"/>
          </a:xfrm>
        </p:spPr>
        <p:txBody>
          <a:bodyPr/>
          <a:lstStyle/>
          <a:p>
            <a:pPr eaLnBrk="1" hangingPunct="1"/>
            <a:r>
              <a:rPr lang="ru-RU" sz="4800" b="1">
                <a:solidFill>
                  <a:srgbClr val="663300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Gabriola" charset="0"/>
              </a:rPr>
              <a:t>Выход на новый уровень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81000" y="1401763"/>
            <a:ext cx="4800600" cy="4533900"/>
          </a:xfrm>
        </p:spPr>
        <p:txBody>
          <a:bodyPr>
            <a:normAutofit/>
          </a:bodyPr>
          <a:lstStyle/>
          <a:p>
            <a:pPr marL="571500" indent="-571500" algn="l" eaLnBrk="1" hangingPunct="1">
              <a:lnSpc>
                <a:spcPct val="120000"/>
              </a:lnSpc>
              <a:buFont typeface="Arial" charset="0"/>
              <a:buChar char="•"/>
            </a:pPr>
            <a:r>
              <a:rPr lang="ru-RU" sz="4000">
                <a:solidFill>
                  <a:srgbClr val="404040"/>
                </a:solidFill>
                <a:latin typeface="Gabriola" charset="0"/>
              </a:rPr>
              <a:t>Внедрение системы лояльности </a:t>
            </a:r>
          </a:p>
          <a:p>
            <a:pPr marL="571500" indent="-571500" algn="l" eaLnBrk="1" hangingPunct="1">
              <a:lnSpc>
                <a:spcPct val="120000"/>
              </a:lnSpc>
            </a:pPr>
            <a:endParaRPr lang="ru-RU" sz="4000">
              <a:solidFill>
                <a:srgbClr val="898989"/>
              </a:solidFill>
              <a:latin typeface="Gabriola" charset="0"/>
            </a:endParaRPr>
          </a:p>
          <a:p>
            <a:pPr marL="571500" indent="-571500" algn="l" eaLnBrk="1" hangingPunct="1">
              <a:lnSpc>
                <a:spcPct val="120000"/>
              </a:lnSpc>
            </a:pPr>
            <a:endParaRPr lang="ru-RU" sz="4000">
              <a:solidFill>
                <a:srgbClr val="898989"/>
              </a:solidFill>
              <a:latin typeface="Gabriola" charset="0"/>
            </a:endParaRPr>
          </a:p>
        </p:txBody>
      </p:sp>
      <p:pic>
        <p:nvPicPr>
          <p:cNvPr id="6149" name="Picture 5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9001" y="5257800"/>
            <a:ext cx="1663700" cy="1354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2150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95974">
            <a:off x="4542825" y="1875204"/>
            <a:ext cx="3810000" cy="285750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987774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0"/>
            <a:ext cx="7772400" cy="1295400"/>
          </a:xfrm>
        </p:spPr>
        <p:txBody>
          <a:bodyPr/>
          <a:lstStyle/>
          <a:p>
            <a:pPr eaLnBrk="1" hangingPunct="1"/>
            <a:r>
              <a:rPr lang="ru-RU" sz="4800" b="1">
                <a:solidFill>
                  <a:srgbClr val="663300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Gabriola" charset="0"/>
              </a:rPr>
              <a:t>Выход на новый уровень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33400" y="1600200"/>
            <a:ext cx="4495800" cy="4533900"/>
          </a:xfrm>
        </p:spPr>
        <p:txBody>
          <a:bodyPr>
            <a:normAutofit/>
          </a:bodyPr>
          <a:lstStyle/>
          <a:p>
            <a:pPr marL="571500" indent="-571500" algn="l" eaLnBrk="1" hangingPunct="1">
              <a:lnSpc>
                <a:spcPct val="120000"/>
              </a:lnSpc>
              <a:buFont typeface="Arial" charset="0"/>
              <a:buChar char="•"/>
            </a:pPr>
            <a:r>
              <a:rPr lang="ru-RU" sz="4000">
                <a:solidFill>
                  <a:srgbClr val="404040"/>
                </a:solidFill>
                <a:latin typeface="Gabriola" charset="0"/>
              </a:rPr>
              <a:t>Обучение персонала</a:t>
            </a:r>
          </a:p>
          <a:p>
            <a:pPr marL="571500" indent="-571500" algn="l" eaLnBrk="1" hangingPunct="1">
              <a:lnSpc>
                <a:spcPct val="120000"/>
              </a:lnSpc>
            </a:pPr>
            <a:endParaRPr lang="ru-RU" sz="4000">
              <a:solidFill>
                <a:srgbClr val="404040"/>
              </a:solidFill>
              <a:latin typeface="Gabriola" charset="0"/>
            </a:endParaRPr>
          </a:p>
          <a:p>
            <a:pPr marL="571500" indent="-571500" algn="l" eaLnBrk="1" hangingPunct="1">
              <a:lnSpc>
                <a:spcPct val="120000"/>
              </a:lnSpc>
            </a:pPr>
            <a:endParaRPr lang="ru-RU" sz="4000">
              <a:solidFill>
                <a:srgbClr val="898989"/>
              </a:solidFill>
              <a:latin typeface="Gabriola" charset="0"/>
            </a:endParaRPr>
          </a:p>
        </p:txBody>
      </p:sp>
      <p:pic>
        <p:nvPicPr>
          <p:cNvPr id="7173" name="Picture 5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9001" y="5257800"/>
            <a:ext cx="1663700" cy="1354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2048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1077" y="1295436"/>
            <a:ext cx="3329929" cy="2490787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2120" y="2964611"/>
            <a:ext cx="3439795" cy="2293197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4" name="Picture 4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4572035"/>
            <a:ext cx="2743200" cy="1827657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0296766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-609600" y="2209836"/>
            <a:ext cx="7772400" cy="1470025"/>
          </a:xfrm>
        </p:spPr>
        <p:txBody>
          <a:bodyPr>
            <a:noAutofit/>
          </a:bodyPr>
          <a:lstStyle/>
          <a:p>
            <a:pPr eaLnBrk="1" hangingPunct="1"/>
            <a:r>
              <a:rPr lang="ru-RU" sz="5400" b="1">
                <a:solidFill>
                  <a:srgbClr val="663300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Gabriola" charset="0"/>
              </a:rPr>
              <a:t>Спасибо за внимание! </a:t>
            </a:r>
          </a:p>
        </p:txBody>
      </p:sp>
      <p:pic>
        <p:nvPicPr>
          <p:cNvPr id="8196" name="Рисунок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514" y="68299"/>
            <a:ext cx="1438275" cy="1171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7" name="Picture 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8200" y="1028700"/>
            <a:ext cx="4114800" cy="480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3426166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539750" y="114300"/>
            <a:ext cx="8064500" cy="646331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ru-RU" sz="3600" b="1" spc="50" dirty="0" smtClean="0">
                <a:ln w="11430"/>
                <a:gradFill>
                  <a:gsLst>
                    <a:gs pos="25000">
                      <a:srgbClr val="C0504D">
                        <a:satMod val="155000"/>
                      </a:srgbClr>
                    </a:gs>
                    <a:gs pos="100000">
                      <a:srgbClr val="C0504D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Calibri"/>
              </a:rPr>
              <a:t>Тише едешь – дальше будешь</a:t>
            </a:r>
            <a:endParaRPr lang="en-US" sz="3600" b="1" spc="50" dirty="0">
              <a:ln w="11430"/>
              <a:gradFill>
                <a:gsLst>
                  <a:gs pos="25000">
                    <a:srgbClr val="C0504D">
                      <a:satMod val="155000"/>
                    </a:srgbClr>
                  </a:gs>
                  <a:gs pos="100000">
                    <a:srgbClr val="C0504D">
                      <a:shade val="45000"/>
                      <a:satMod val="165000"/>
                    </a:srgb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Calibri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787400" y="760631"/>
            <a:ext cx="72390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Или как маленькой логистической компании выжить в условиях жесткой конкуренции</a:t>
            </a:r>
            <a:endParaRPr lang="en-US" sz="2400" b="1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93366" y="3547646"/>
            <a:ext cx="3610284" cy="6771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ru-RU" sz="2000" b="1" dirty="0" err="1" smtClean="0">
                <a:solidFill>
                  <a:prstClr val="black"/>
                </a:solidFill>
                <a:latin typeface="Bookman Old Style" panose="02050604050505020204" pitchFamily="18" charset="0"/>
              </a:rPr>
              <a:t>Колобашкина</a:t>
            </a:r>
            <a:r>
              <a:rPr lang="ru-RU" sz="2000" b="1" dirty="0" smtClean="0">
                <a:solidFill>
                  <a:prstClr val="black"/>
                </a:solidFill>
                <a:latin typeface="Bookman Old Style" panose="02050604050505020204" pitchFamily="18" charset="0"/>
              </a:rPr>
              <a:t> Елизавета</a:t>
            </a:r>
            <a:endParaRPr lang="ru-RU" sz="2000" b="1" dirty="0" smtClean="0">
              <a:solidFill>
                <a:prstClr val="black"/>
              </a:solidFill>
              <a:latin typeface="Bookman Old Style" panose="02050604050505020204" pitchFamily="18" charset="0"/>
            </a:endParaRPr>
          </a:p>
          <a:p>
            <a:pPr algn="r"/>
            <a:r>
              <a:rPr lang="ru-RU" dirty="0" smtClean="0">
                <a:solidFill>
                  <a:prstClr val="black"/>
                </a:solidFill>
                <a:latin typeface="Calibri"/>
              </a:rPr>
              <a:t> </a:t>
            </a:r>
            <a:r>
              <a:rPr lang="ru-RU" i="1" dirty="0" smtClean="0">
                <a:solidFill>
                  <a:prstClr val="black"/>
                </a:solidFill>
                <a:latin typeface="Calibri"/>
              </a:rPr>
              <a:t>3 курса </a:t>
            </a:r>
            <a:r>
              <a:rPr lang="ru-RU" i="1" dirty="0" smtClean="0">
                <a:solidFill>
                  <a:prstClr val="black"/>
                </a:solidFill>
                <a:latin typeface="Calibri"/>
              </a:rPr>
              <a:t>МБ</a:t>
            </a:r>
            <a:endParaRPr lang="ru-RU" i="1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4150" y="1591628"/>
            <a:ext cx="5052476" cy="5052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0993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1828800" y="1981202"/>
            <a:ext cx="5257800" cy="3078163"/>
          </a:xfrm>
        </p:spPr>
        <p:txBody>
          <a:bodyPr/>
          <a:lstStyle/>
          <a:p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ата основания: 2003 год</a:t>
            </a:r>
          </a:p>
          <a:p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5 сотрудников</a:t>
            </a:r>
            <a:endParaRPr lang="ru-RU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" name="Рисунок 3" descr="1_Primary_logo_on_transparent_419x63.png"/>
          <p:cNvPicPr>
            <a:picLocks noChangeAspect="1"/>
          </p:cNvPicPr>
          <p:nvPr/>
        </p:nvPicPr>
        <p:blipFill>
          <a:blip r:embed="rId2" cstate="print"/>
          <a:srcRect r="4158" b="12270"/>
          <a:stretch>
            <a:fillRect/>
          </a:stretch>
        </p:blipFill>
        <p:spPr>
          <a:xfrm>
            <a:off x="1828800" y="228600"/>
            <a:ext cx="5536488" cy="762000"/>
          </a:xfrm>
          <a:prstGeom prst="rect">
            <a:avLst/>
          </a:prstGeom>
          <a:effectLst>
            <a:innerShdw blurRad="63500" dist="50800" dir="13500000">
              <a:prstClr val="black">
                <a:alpha val="50000"/>
              </a:prstClr>
            </a:innerShdw>
          </a:effectLst>
        </p:spPr>
      </p:pic>
      <p:pic>
        <p:nvPicPr>
          <p:cNvPr id="7" name="Рисунок 6" descr="481482846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752600" y="3352836"/>
            <a:ext cx="5638800" cy="258483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45053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Содержимое 3" descr="dellin.pn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295400" y="2057400"/>
            <a:ext cx="5188782" cy="1219200"/>
          </a:xfrm>
        </p:spPr>
      </p:pic>
      <p:sp>
        <p:nvSpPr>
          <p:cNvPr id="5" name="TextBox 4"/>
          <p:cNvSpPr txBox="1"/>
          <p:nvPr/>
        </p:nvSpPr>
        <p:spPr>
          <a:xfrm>
            <a:off x="1524001" y="3810000"/>
            <a:ext cx="5686172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320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 20 000 сотрудников</a:t>
            </a:r>
          </a:p>
          <a:p>
            <a:pPr>
              <a:buFont typeface="Arial" pitchFamily="34" charset="0"/>
              <a:buChar char="•"/>
            </a:pPr>
            <a:r>
              <a:rPr lang="ru-RU" sz="320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 Более 2 миллионов клиентов</a:t>
            </a:r>
            <a:endParaRPr lang="ru-RU" sz="3200" b="1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62079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 descr="dhl_logo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219218" y="2057400"/>
            <a:ext cx="6335917" cy="1447800"/>
          </a:xfrm>
          <a:prstGeom prst="rect">
            <a:avLst/>
          </a:prstGeom>
        </p:spPr>
      </p:pic>
      <p:pic>
        <p:nvPicPr>
          <p:cNvPr id="5" name="Рисунок 4" descr="51195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295401" y="3810000"/>
            <a:ext cx="3474164" cy="2286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6" name="TextBox 5"/>
          <p:cNvSpPr txBox="1"/>
          <p:nvPr/>
        </p:nvSpPr>
        <p:spPr>
          <a:xfrm>
            <a:off x="5029200" y="3962436"/>
            <a:ext cx="3048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Более </a:t>
            </a:r>
            <a:r>
              <a:rPr lang="ru-RU" sz="360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220 </a:t>
            </a:r>
            <a:r>
              <a:rPr lang="ru-RU" sz="240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стран и территорий мира</a:t>
            </a:r>
            <a:endParaRPr lang="ru-RU" sz="2400" b="1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90388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BD5762-3BDC-484D-9503-7EA6D5A9A8CE}" type="slidenum">
              <a:rPr lang="ru-RU" smtClean="0">
                <a:solidFill>
                  <a:srgbClr val="000000"/>
                </a:solidFill>
              </a:rPr>
              <a:pPr/>
              <a:t>8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ыводы</a:t>
            </a:r>
            <a:endParaRPr lang="ru-RU" b="0" i="0" dirty="0"/>
          </a:p>
        </p:txBody>
      </p:sp>
      <p:pic>
        <p:nvPicPr>
          <p:cNvPr id="9218" name="Picture 2" descr="http://www.minexforum.com/ru/wp-content/uploads/DSC-1431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3423" y="1441568"/>
            <a:ext cx="6605345" cy="4665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99222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1371600" y="1981200"/>
            <a:ext cx="6324600" cy="2971800"/>
          </a:xfrm>
        </p:spPr>
        <p:txBody>
          <a:bodyPr/>
          <a:lstStyle/>
          <a:p>
            <a:pPr>
              <a:buNone/>
            </a:pPr>
            <a:r>
              <a:rPr lang="ru-RU" b="1" dirty="0" smtClean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</a:t>
            </a:r>
            <a:r>
              <a:rPr lang="ru-RU" b="1" dirty="0" smtClean="0">
                <a:solidFill>
                  <a:schemeClr val="accent4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Логистика – </a:t>
            </a:r>
            <a:r>
              <a:rPr lang="ru-RU" sz="2800" b="1" spc="300" dirty="0" smtClean="0">
                <a:solidFill>
                  <a:schemeClr val="accent4">
                    <a:lumMod val="50000"/>
                  </a:schemeClr>
                </a:solidFill>
              </a:rPr>
              <a:t>это управление какими-либо потоками на основе их оптимизации </a:t>
            </a:r>
            <a:endParaRPr lang="ru-RU" sz="2800" b="1" spc="300" dirty="0">
              <a:solidFill>
                <a:schemeClr val="accent4">
                  <a:lumMod val="50000"/>
                </a:schemeClr>
              </a:solidFill>
            </a:endParaRPr>
          </a:p>
        </p:txBody>
      </p:sp>
      <p:pic>
        <p:nvPicPr>
          <p:cNvPr id="4" name="Рисунок 3" descr="карьера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828800" y="3429000"/>
            <a:ext cx="3657600" cy="243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9410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200"/>
            <a:ext cx="8229600" cy="1143000"/>
          </a:xfrm>
        </p:spPr>
        <p:txBody>
          <a:bodyPr>
            <a:normAutofit/>
          </a:bodyPr>
          <a:lstStyle/>
          <a:p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аможенная стоимость товара</a:t>
            </a:r>
            <a:endParaRPr 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815169774"/>
              </p:ext>
            </p:extLst>
          </p:nvPr>
        </p:nvGraphicFramePr>
        <p:xfrm>
          <a:off x="1524000" y="20574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436056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. Консолидация груза</a:t>
            </a:r>
            <a:endParaRPr lang="ru-RU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6" name="Рисунок 5" descr="i (1)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219200" y="2057400"/>
            <a:ext cx="2156992" cy="1295400"/>
          </a:xfrm>
          <a:prstGeom prst="rect">
            <a:avLst/>
          </a:prstGeom>
        </p:spPr>
      </p:pic>
      <p:pic>
        <p:nvPicPr>
          <p:cNvPr id="8" name="Рисунок 7" descr="i (2)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114800" y="4267200"/>
            <a:ext cx="1600200" cy="1600200"/>
          </a:xfrm>
          <a:prstGeom prst="rect">
            <a:avLst/>
          </a:prstGeom>
        </p:spPr>
      </p:pic>
      <p:pic>
        <p:nvPicPr>
          <p:cNvPr id="9" name="Рисунок 8" descr="333286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038600" y="1981200"/>
            <a:ext cx="1889760" cy="1828800"/>
          </a:xfrm>
          <a:prstGeom prst="rect">
            <a:avLst/>
          </a:prstGeom>
        </p:spPr>
      </p:pic>
      <p:sp>
        <p:nvSpPr>
          <p:cNvPr id="12" name="Плюс 11"/>
          <p:cNvSpPr/>
          <p:nvPr/>
        </p:nvSpPr>
        <p:spPr>
          <a:xfrm>
            <a:off x="3352800" y="2286000"/>
            <a:ext cx="762000" cy="762000"/>
          </a:xfrm>
          <a:prstGeom prst="mathPlus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Calibri"/>
            </a:endParaRPr>
          </a:p>
        </p:txBody>
      </p:sp>
      <p:pic>
        <p:nvPicPr>
          <p:cNvPr id="13" name="Рисунок 12" descr="i (1)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219200" y="4495800"/>
            <a:ext cx="2125272" cy="1276350"/>
          </a:xfrm>
          <a:prstGeom prst="rect">
            <a:avLst/>
          </a:prstGeom>
        </p:spPr>
      </p:pic>
      <p:sp>
        <p:nvSpPr>
          <p:cNvPr id="14" name="Плюс 13"/>
          <p:cNvSpPr/>
          <p:nvPr/>
        </p:nvSpPr>
        <p:spPr>
          <a:xfrm>
            <a:off x="3352800" y="4724400"/>
            <a:ext cx="762000" cy="762000"/>
          </a:xfrm>
          <a:prstGeom prst="mathPlus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Calibri"/>
            </a:endParaRPr>
          </a:p>
        </p:txBody>
      </p:sp>
      <p:pic>
        <p:nvPicPr>
          <p:cNvPr id="15" name="Рисунок 14" descr="i (4)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858000" y="2286000"/>
            <a:ext cx="1219200" cy="1219200"/>
          </a:xfrm>
          <a:prstGeom prst="rect">
            <a:avLst/>
          </a:prstGeom>
          <a:ln>
            <a:noFill/>
          </a:ln>
        </p:spPr>
      </p:pic>
      <p:pic>
        <p:nvPicPr>
          <p:cNvPr id="16" name="Рисунок 15" descr="pouce-vers-le-haut-symbole-de-plan_318-53158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6858000" y="4495800"/>
            <a:ext cx="1143000" cy="1143000"/>
          </a:xfrm>
          <a:prstGeom prst="rect">
            <a:avLst/>
          </a:prstGeom>
        </p:spPr>
      </p:pic>
      <p:sp>
        <p:nvSpPr>
          <p:cNvPr id="17" name="Равно 16"/>
          <p:cNvSpPr/>
          <p:nvPr/>
        </p:nvSpPr>
        <p:spPr>
          <a:xfrm>
            <a:off x="5867400" y="4572000"/>
            <a:ext cx="990600" cy="990600"/>
          </a:xfrm>
          <a:prstGeom prst="mathEqual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8" name="Равно 17"/>
          <p:cNvSpPr/>
          <p:nvPr/>
        </p:nvSpPr>
        <p:spPr>
          <a:xfrm>
            <a:off x="5943600" y="2438400"/>
            <a:ext cx="914400" cy="990600"/>
          </a:xfrm>
          <a:prstGeom prst="mathEqual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06744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/>
          <a:lstStyle/>
          <a:p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. Подбор персонала</a:t>
            </a:r>
            <a:endParaRPr lang="ru-RU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6" name="Рисунок 5" descr="investor-705x225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219200" y="2895600"/>
            <a:ext cx="6744970" cy="215265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70081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3400" y="0"/>
            <a:ext cx="8229600" cy="1143000"/>
          </a:xfrm>
        </p:spPr>
        <p:txBody>
          <a:bodyPr/>
          <a:lstStyle/>
          <a:p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. Страхование</a:t>
            </a:r>
            <a:endParaRPr lang="ru-RU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" name="Рисунок 3" descr="insurance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895600" y="2362200"/>
            <a:ext cx="3581400" cy="358140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746853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3400" y="152400"/>
            <a:ext cx="8229600" cy="1143000"/>
          </a:xfrm>
        </p:spPr>
        <p:txBody>
          <a:bodyPr/>
          <a:lstStyle/>
          <a:p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. Репутация – лучшая реклама</a:t>
            </a:r>
            <a:endParaRPr lang="ru-RU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" name="Рисунок 3" descr="Everyday-Influencers-Word-Of-Mouth-Marketing-1024x794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429000" y="2209800"/>
            <a:ext cx="4572000" cy="354508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5" name="TextBox 4"/>
          <p:cNvSpPr txBox="1"/>
          <p:nvPr/>
        </p:nvSpPr>
        <p:spPr>
          <a:xfrm>
            <a:off x="1143000" y="3048002"/>
            <a:ext cx="2286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u="sng" dirty="0" smtClean="0">
                <a:solidFill>
                  <a:srgbClr val="1F49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Word-of-mouth advertising</a:t>
            </a:r>
            <a:endParaRPr lang="ru-RU" sz="2400" b="1" u="sng" dirty="0">
              <a:solidFill>
                <a:srgbClr val="1F497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99845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648200" y="2057400"/>
            <a:ext cx="35052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ü"/>
            </a:pPr>
            <a:r>
              <a:rPr lang="ru-RU" sz="3200" b="1" spc="300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 КАЧЕСТВО</a:t>
            </a:r>
          </a:p>
          <a:p>
            <a:pPr>
              <a:buFont typeface="Wingdings" pitchFamily="2" charset="2"/>
              <a:buChar char="ü"/>
            </a:pPr>
            <a:r>
              <a:rPr lang="ru-RU" sz="3200" b="1" spc="300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 НАДЕЖНОСТЬ </a:t>
            </a:r>
          </a:p>
          <a:p>
            <a:pPr>
              <a:buFont typeface="Wingdings" pitchFamily="2" charset="2"/>
              <a:buChar char="ü"/>
            </a:pPr>
            <a:r>
              <a:rPr lang="ru-RU" sz="3200" b="1" spc="300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 СКОРОСТЬ</a:t>
            </a:r>
            <a:endParaRPr lang="ru-RU" sz="3200" b="1" spc="300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</a:endParaRPr>
          </a:p>
        </p:txBody>
      </p:sp>
      <p:pic>
        <p:nvPicPr>
          <p:cNvPr id="6" name="Рисунок 5" descr="Success-700x441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219202" y="3581400"/>
            <a:ext cx="3477381" cy="219075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08842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524000" y="2895600"/>
            <a:ext cx="655320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800" b="1" spc="50" dirty="0" smtClean="0">
                <a:ln w="11430"/>
                <a:gradFill>
                  <a:gsLst>
                    <a:gs pos="25000">
                      <a:srgbClr val="C0504D">
                        <a:satMod val="155000"/>
                      </a:srgbClr>
                    </a:gs>
                    <a:gs pos="100000">
                      <a:srgbClr val="C0504D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Calibri"/>
              </a:rPr>
              <a:t>Спасибо за внимание!</a:t>
            </a:r>
            <a:endParaRPr lang="en-US" sz="4800" b="1" spc="50" dirty="0" smtClean="0">
              <a:ln w="11430"/>
              <a:gradFill>
                <a:gsLst>
                  <a:gs pos="25000">
                    <a:srgbClr val="C0504D">
                      <a:satMod val="155000"/>
                    </a:srgbClr>
                  </a:gs>
                  <a:gs pos="100000">
                    <a:srgbClr val="C0504D">
                      <a:shade val="45000"/>
                      <a:satMod val="165000"/>
                    </a:srgb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Calibri"/>
            </a:endParaRPr>
          </a:p>
          <a:p>
            <a:endParaRPr lang="ru-RU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58135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одзаголовок 4"/>
          <p:cNvSpPr>
            <a:spLocks noGrp="1"/>
          </p:cNvSpPr>
          <p:nvPr>
            <p:ph type="subTitle" idx="1"/>
          </p:nvPr>
        </p:nvSpPr>
        <p:spPr>
          <a:xfrm>
            <a:off x="4375831" y="5178543"/>
            <a:ext cx="4577669" cy="984885"/>
          </a:xfrm>
        </p:spPr>
        <p:txBody>
          <a:bodyPr/>
          <a:lstStyle/>
          <a:p>
            <a:r>
              <a:rPr lang="ru-RU" sz="3200" b="0" i="1" dirty="0" err="1" smtClean="0"/>
              <a:t>Исхакова</a:t>
            </a:r>
            <a:r>
              <a:rPr lang="ru-RU" sz="3200" b="0" i="1" dirty="0" smtClean="0"/>
              <a:t> Фарида</a:t>
            </a:r>
          </a:p>
          <a:p>
            <a:r>
              <a:rPr lang="ru-RU" sz="1600" b="0" i="1" dirty="0" smtClean="0"/>
              <a:t>Студентка 4 курса</a:t>
            </a:r>
          </a:p>
          <a:p>
            <a:r>
              <a:rPr lang="ru-RU" sz="1600" b="0" i="1" dirty="0" smtClean="0"/>
              <a:t>ФМБДА ИБДА</a:t>
            </a:r>
            <a:endParaRPr lang="en-US" sz="1600" b="0" i="1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900" y="1280423"/>
            <a:ext cx="3813048" cy="4850501"/>
          </a:xfrm>
          <a:prstGeom prst="rect">
            <a:avLst/>
          </a:prstGeom>
        </p:spPr>
      </p:pic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3724148" y="222456"/>
            <a:ext cx="5115052" cy="2462213"/>
          </a:xfrm>
        </p:spPr>
        <p:txBody>
          <a:bodyPr/>
          <a:lstStyle/>
          <a:p>
            <a:pPr algn="r"/>
            <a:r>
              <a:rPr lang="ru-RU" altLang="zh-SG" b="0" dirty="0" smtClean="0"/>
              <a:t>Бизнес-школы  и корпоративные университеты: конкуренты или союзники?</a:t>
            </a:r>
            <a:endParaRPr lang="ru-RU" altLang="zh-SG" b="0" dirty="0"/>
          </a:p>
        </p:txBody>
      </p:sp>
    </p:spTree>
    <p:extLst>
      <p:ext uri="{BB962C8B-B14F-4D97-AF65-F5344CB8AC3E}">
        <p14:creationId xmlns:p14="http://schemas.microsoft.com/office/powerpoint/2010/main" val="3722450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323528" y="188640"/>
            <a:ext cx="6916719" cy="784830"/>
          </a:xfrm>
        </p:spPr>
        <p:txBody>
          <a:bodyPr/>
          <a:lstStyle/>
          <a:p>
            <a:r>
              <a:rPr lang="ru-RU" sz="3200" kern="1200" dirty="0">
                <a:solidFill>
                  <a:schemeClr val="accent2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Корпоративный университет</a:t>
            </a:r>
            <a:r>
              <a:rPr lang="en-US" sz="2000" kern="1200" dirty="0">
                <a:solidFill>
                  <a:schemeClr val="accent2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/>
            </a:r>
            <a:br>
              <a:rPr lang="en-US" sz="2000" kern="1200" dirty="0">
                <a:solidFill>
                  <a:schemeClr val="accent2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endParaRPr lang="en-US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600975" y="4716937"/>
            <a:ext cx="3842488" cy="92333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dirty="0">
                <a:solidFill>
                  <a:srgbClr val="000000"/>
                </a:solidFill>
                <a:latin typeface="Arial"/>
              </a:rPr>
              <a:t>учрежден в 2012 </a:t>
            </a:r>
            <a:r>
              <a:rPr lang="ru-RU" dirty="0" smtClean="0">
                <a:solidFill>
                  <a:srgbClr val="000000"/>
                </a:solidFill>
                <a:latin typeface="Arial"/>
              </a:rPr>
              <a:t>году в статусе 100% дочерней организации ПАО Сбербанк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5" y="1043338"/>
            <a:ext cx="4824536" cy="32163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8" name="Прямоугольник 17"/>
          <p:cNvSpPr/>
          <p:nvPr/>
        </p:nvSpPr>
        <p:spPr>
          <a:xfrm>
            <a:off x="5331448" y="1085419"/>
            <a:ext cx="3744416" cy="120032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dirty="0">
                <a:solidFill>
                  <a:srgbClr val="000000"/>
                </a:solidFill>
                <a:latin typeface="Arial"/>
              </a:rPr>
              <a:t>в</a:t>
            </a:r>
            <a:r>
              <a:rPr lang="ru-RU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ru-RU" dirty="0">
                <a:solidFill>
                  <a:srgbClr val="000000"/>
                </a:solidFill>
                <a:latin typeface="Arial"/>
              </a:rPr>
              <a:t>портфеле </a:t>
            </a:r>
            <a:r>
              <a:rPr lang="ru-RU" dirty="0" smtClean="0">
                <a:solidFill>
                  <a:srgbClr val="000000"/>
                </a:solidFill>
                <a:latin typeface="Arial"/>
              </a:rPr>
              <a:t>80 </a:t>
            </a:r>
            <a:r>
              <a:rPr lang="ru-RU" dirty="0">
                <a:solidFill>
                  <a:srgbClr val="000000"/>
                </a:solidFill>
                <a:latin typeface="Arial"/>
              </a:rPr>
              <a:t>программ развития корпоративных и профессиональных компетенций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5331446" y="2641076"/>
            <a:ext cx="3694203" cy="64633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dirty="0">
                <a:solidFill>
                  <a:srgbClr val="000000"/>
                </a:solidFill>
                <a:latin typeface="Arial"/>
              </a:rPr>
              <a:t>35  </a:t>
            </a:r>
            <a:r>
              <a:rPr lang="ru-RU" dirty="0" err="1" smtClean="0">
                <a:solidFill>
                  <a:srgbClr val="000000"/>
                </a:solidFill>
                <a:latin typeface="Arial"/>
              </a:rPr>
              <a:t>тыс.руководителей</a:t>
            </a:r>
            <a:r>
              <a:rPr lang="ru-RU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ru-RU" dirty="0">
                <a:solidFill>
                  <a:srgbClr val="000000"/>
                </a:solidFill>
                <a:latin typeface="Arial"/>
              </a:rPr>
              <a:t>Сбербанка – аудитория КУ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611562" y="6381328"/>
            <a:ext cx="79208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i="1" dirty="0" smtClean="0">
                <a:solidFill>
                  <a:srgbClr val="87C53B">
                    <a:lumMod val="50000"/>
                  </a:srgbClr>
                </a:solidFill>
                <a:latin typeface="Arial"/>
              </a:rPr>
              <a:t>«Я лидер, </a:t>
            </a:r>
            <a:r>
              <a:rPr lang="ru-RU" b="1" i="1" dirty="0">
                <a:solidFill>
                  <a:srgbClr val="87C53B">
                    <a:lumMod val="50000"/>
                  </a:srgbClr>
                </a:solidFill>
                <a:latin typeface="Arial"/>
              </a:rPr>
              <a:t>Мы – </a:t>
            </a:r>
            <a:r>
              <a:rPr lang="ru-RU" b="1" i="1" dirty="0" smtClean="0">
                <a:solidFill>
                  <a:srgbClr val="87C53B">
                    <a:lumMod val="50000"/>
                  </a:srgbClr>
                </a:solidFill>
                <a:latin typeface="Arial"/>
              </a:rPr>
              <a:t>команда, Все </a:t>
            </a:r>
            <a:r>
              <a:rPr lang="ru-RU" b="1" i="1" dirty="0">
                <a:solidFill>
                  <a:srgbClr val="87C53B">
                    <a:lumMod val="50000"/>
                  </a:srgbClr>
                </a:solidFill>
                <a:latin typeface="Arial"/>
              </a:rPr>
              <a:t>- для </a:t>
            </a:r>
            <a:r>
              <a:rPr lang="ru-RU" b="1" i="1" dirty="0" smtClean="0">
                <a:solidFill>
                  <a:srgbClr val="87C53B">
                    <a:lumMod val="50000"/>
                  </a:srgbClr>
                </a:solidFill>
                <a:latin typeface="Arial"/>
              </a:rPr>
              <a:t>клиента»</a:t>
            </a:r>
            <a:endParaRPr lang="ru-RU" b="1" i="1" dirty="0">
              <a:solidFill>
                <a:srgbClr val="87C53B">
                  <a:lumMod val="50000"/>
                </a:srgbClr>
              </a:solidFill>
              <a:latin typeface="Arial"/>
            </a:endParaRPr>
          </a:p>
        </p:txBody>
      </p:sp>
      <p:grpSp>
        <p:nvGrpSpPr>
          <p:cNvPr id="26" name="Группа 25"/>
          <p:cNvGrpSpPr/>
          <p:nvPr/>
        </p:nvGrpSpPr>
        <p:grpSpPr>
          <a:xfrm>
            <a:off x="5331446" y="3937847"/>
            <a:ext cx="3694203" cy="1585186"/>
            <a:chOff x="4591368" y="3871302"/>
            <a:chExt cx="4284502" cy="1363732"/>
          </a:xfrm>
        </p:grpSpPr>
        <p:sp>
          <p:nvSpPr>
            <p:cNvPr id="21" name="Прямоугольник 20"/>
            <p:cNvSpPr/>
            <p:nvPr/>
          </p:nvSpPr>
          <p:spPr>
            <a:xfrm>
              <a:off x="4591368" y="3871302"/>
              <a:ext cx="4284502" cy="1270942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v"/>
              </a:pPr>
              <a:r>
                <a:rPr lang="ru-RU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ru-RU" dirty="0" smtClean="0">
                  <a:solidFill>
                    <a:srgbClr val="000000"/>
                  </a:solidFill>
                  <a:latin typeface="Arial"/>
                </a:rPr>
                <a:t>5 из 10 лучших </a:t>
              </a:r>
              <a:r>
                <a:rPr lang="ru-RU" dirty="0">
                  <a:solidFill>
                    <a:srgbClr val="000000"/>
                  </a:solidFill>
                  <a:latin typeface="Arial"/>
                </a:rPr>
                <a:t>бизнес-школ мира — партнеры университета </a:t>
              </a:r>
              <a:r>
                <a:rPr lang="ru-RU" dirty="0" smtClean="0">
                  <a:solidFill>
                    <a:srgbClr val="000000"/>
                  </a:solidFill>
                  <a:latin typeface="Arial"/>
                </a:rPr>
                <a:t>Сбербанка</a:t>
              </a:r>
            </a:p>
            <a:p>
              <a:pPr marL="285750" indent="-285750">
                <a:buFont typeface="Wingdings" panose="05000000000000000000" pitchFamily="2" charset="2"/>
                <a:buChar char="v"/>
              </a:pPr>
              <a:endParaRPr lang="ru-RU" dirty="0">
                <a:solidFill>
                  <a:srgbClr val="000000"/>
                </a:solidFill>
                <a:latin typeface="Arial"/>
              </a:endParaRPr>
            </a:p>
            <a:p>
              <a:pPr marL="285750" indent="-285750">
                <a:buFont typeface="Wingdings" panose="05000000000000000000" pitchFamily="2" charset="2"/>
                <a:buChar char="v"/>
              </a:pPr>
              <a:endParaRPr lang="ru-RU" dirty="0" smtClean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22" name="Рисунок 21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04300" y="4728126"/>
              <a:ext cx="1245077" cy="478252"/>
            </a:xfrm>
            <a:prstGeom prst="rect">
              <a:avLst/>
            </a:prstGeom>
          </p:spPr>
        </p:pic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80953" y="4770036"/>
              <a:ext cx="1207515" cy="464998"/>
            </a:xfrm>
            <a:prstGeom prst="rect">
              <a:avLst/>
            </a:prstGeom>
          </p:spPr>
        </p:pic>
        <p:pic>
          <p:nvPicPr>
            <p:cNvPr id="25" name="Рисунок 24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84894" y="4798692"/>
              <a:ext cx="1378278" cy="40768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2235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 smtClean="0"/>
              <a:t>Я с радостью готова ответить на все ваши вопросы</a:t>
            </a:r>
            <a:endParaRPr lang="ru-RU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 l="10759" t="19320" r="44617" b="34481"/>
          <a:stretch>
            <a:fillRect/>
          </a:stretch>
        </p:blipFill>
        <p:spPr bwMode="auto">
          <a:xfrm>
            <a:off x="2847942" y="1988841"/>
            <a:ext cx="6034271" cy="41416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BD5762-3BDC-484D-9503-7EA6D5A9A8CE}" type="slidenum">
              <a:rPr lang="ru-RU" smtClean="0">
                <a:solidFill>
                  <a:srgbClr val="000000"/>
                </a:solidFill>
              </a:rPr>
              <a:pPr/>
              <a:t>9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06996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одзаголовок 3"/>
          <p:cNvSpPr>
            <a:spLocks noGrp="1"/>
          </p:cNvSpPr>
          <p:nvPr>
            <p:ph type="subTitle" idx="1"/>
          </p:nvPr>
        </p:nvSpPr>
        <p:spPr>
          <a:xfrm>
            <a:off x="3707905" y="1628800"/>
            <a:ext cx="4603220" cy="369332"/>
          </a:xfr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400" b="0" dirty="0" smtClean="0">
                <a:solidFill>
                  <a:schemeClr val="tx1"/>
                </a:solidFill>
              </a:rPr>
              <a:t>удержание ценных кадров</a:t>
            </a:r>
            <a:endParaRPr lang="en-US" sz="2400" b="0" dirty="0">
              <a:solidFill>
                <a:schemeClr val="tx1"/>
              </a:solidFill>
            </a:endParaRPr>
          </a:p>
        </p:txBody>
      </p:sp>
      <p:sp>
        <p:nvSpPr>
          <p:cNvPr id="8" name="Заголовок 7"/>
          <p:cNvSpPr>
            <a:spLocks noGrp="1"/>
          </p:cNvSpPr>
          <p:nvPr>
            <p:ph type="title" idx="4294967295"/>
          </p:nvPr>
        </p:nvSpPr>
        <p:spPr>
          <a:xfrm>
            <a:off x="251520" y="260684"/>
            <a:ext cx="7920880" cy="723275"/>
          </a:xfrm>
        </p:spPr>
        <p:txBody>
          <a:bodyPr/>
          <a:lstStyle/>
          <a:p>
            <a:r>
              <a:rPr lang="ru-RU" sz="2800" kern="1200" dirty="0" smtClean="0">
                <a:solidFill>
                  <a:schemeClr val="accent2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Задачи корпоративного университета</a:t>
            </a:r>
            <a:r>
              <a:rPr lang="en-US" sz="2000" kern="1200" dirty="0">
                <a:solidFill>
                  <a:schemeClr val="accent2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/>
            </a:r>
            <a:br>
              <a:rPr lang="en-US" sz="2000" kern="1200" dirty="0">
                <a:solidFill>
                  <a:schemeClr val="accent2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endParaRPr lang="en-US" dirty="0"/>
          </a:p>
        </p:txBody>
      </p:sp>
      <p:sp>
        <p:nvSpPr>
          <p:cNvPr id="24" name="Подзаголовок 3"/>
          <p:cNvSpPr txBox="1">
            <a:spLocks/>
          </p:cNvSpPr>
          <p:nvPr/>
        </p:nvSpPr>
        <p:spPr bwMode="auto">
          <a:xfrm>
            <a:off x="3713197" y="2366800"/>
            <a:ext cx="4603220" cy="738664"/>
          </a:xfrm>
          <a:prstGeom prst="rect">
            <a:avLst/>
          </a:prstGeom>
          <a:ln>
            <a:noFill/>
            <a:headEnd/>
            <a:tailEnd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 b="1">
                <a:solidFill>
                  <a:srgbClr val="049536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>
              <a:buClr>
                <a:srgbClr val="002960"/>
              </a:buClr>
              <a:buFont typeface="Wingdings" panose="05000000000000000000" pitchFamily="2" charset="2"/>
              <a:buChar char="Ø"/>
            </a:pPr>
            <a:r>
              <a:rPr lang="ru-RU" sz="2400" b="0" dirty="0">
                <a:solidFill>
                  <a:srgbClr val="000000"/>
                </a:solidFill>
                <a:latin typeface="Arial"/>
              </a:rPr>
              <a:t>облегчение процессов реорганизации компании</a:t>
            </a:r>
            <a:endParaRPr lang="en-US" sz="24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Подзаголовок 3"/>
          <p:cNvSpPr txBox="1">
            <a:spLocks/>
          </p:cNvSpPr>
          <p:nvPr/>
        </p:nvSpPr>
        <p:spPr bwMode="auto">
          <a:xfrm>
            <a:off x="3707905" y="3429000"/>
            <a:ext cx="4603220" cy="738664"/>
          </a:xfrm>
          <a:prstGeom prst="rect">
            <a:avLst/>
          </a:prstGeom>
          <a:ln>
            <a:noFill/>
            <a:headEnd/>
            <a:tailEnd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 b="1">
                <a:solidFill>
                  <a:srgbClr val="049536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>
              <a:buClr>
                <a:srgbClr val="002960"/>
              </a:buClr>
              <a:buFont typeface="Wingdings" panose="05000000000000000000" pitchFamily="2" charset="2"/>
              <a:buChar char="Ø"/>
            </a:pPr>
            <a:r>
              <a:rPr lang="ru-RU" sz="2400" b="0" dirty="0">
                <a:solidFill>
                  <a:srgbClr val="000000"/>
                </a:solidFill>
                <a:latin typeface="Arial"/>
              </a:rPr>
              <a:t>укрепление корпоративной культуры</a:t>
            </a:r>
            <a:endParaRPr lang="en-US" sz="24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Подзаголовок 3"/>
          <p:cNvSpPr txBox="1">
            <a:spLocks/>
          </p:cNvSpPr>
          <p:nvPr/>
        </p:nvSpPr>
        <p:spPr bwMode="auto">
          <a:xfrm>
            <a:off x="3770104" y="4550463"/>
            <a:ext cx="4603220" cy="369332"/>
          </a:xfrm>
          <a:prstGeom prst="rect">
            <a:avLst/>
          </a:prstGeom>
          <a:ln>
            <a:noFill/>
            <a:headEnd/>
            <a:tailEnd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 b="1">
                <a:solidFill>
                  <a:srgbClr val="049536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>
              <a:buClr>
                <a:srgbClr val="002960"/>
              </a:buClr>
              <a:buFont typeface="Wingdings" panose="05000000000000000000" pitchFamily="2" charset="2"/>
              <a:buChar char="Ø"/>
            </a:pPr>
            <a:r>
              <a:rPr lang="ru-RU" sz="2400" b="0" dirty="0">
                <a:solidFill>
                  <a:srgbClr val="000000"/>
                </a:solidFill>
                <a:latin typeface="Arial"/>
              </a:rPr>
              <a:t>идеологическое обновление</a:t>
            </a:r>
            <a:endParaRPr lang="en-US" sz="24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Подзаголовок 3"/>
          <p:cNvSpPr txBox="1">
            <a:spLocks/>
          </p:cNvSpPr>
          <p:nvPr/>
        </p:nvSpPr>
        <p:spPr bwMode="auto">
          <a:xfrm>
            <a:off x="3770104" y="5301208"/>
            <a:ext cx="4603220" cy="738664"/>
          </a:xfrm>
          <a:prstGeom prst="rect">
            <a:avLst/>
          </a:prstGeom>
          <a:ln>
            <a:noFill/>
            <a:headEnd/>
            <a:tailEnd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 b="1">
                <a:solidFill>
                  <a:srgbClr val="049536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>
              <a:buClr>
                <a:srgbClr val="002960"/>
              </a:buClr>
              <a:buFont typeface="Wingdings" panose="05000000000000000000" pitchFamily="2" charset="2"/>
              <a:buChar char="Ø"/>
            </a:pPr>
            <a:r>
              <a:rPr lang="ru-RU" sz="2400" b="0" dirty="0">
                <a:solidFill>
                  <a:srgbClr val="000000"/>
                </a:solidFill>
                <a:latin typeface="Arial"/>
              </a:rPr>
              <a:t>агрегирование опыта и знаний компании</a:t>
            </a:r>
            <a:endParaRPr lang="en-US" sz="2400" b="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46896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4"/>
          <p:cNvSpPr>
            <a:spLocks noGrp="1"/>
          </p:cNvSpPr>
          <p:nvPr>
            <p:ph type="body" sz="quarter" idx="10"/>
          </p:nvPr>
        </p:nvSpPr>
        <p:spPr>
          <a:xfrm>
            <a:off x="262863" y="260648"/>
            <a:ext cx="7192061" cy="369332"/>
          </a:xfrm>
        </p:spPr>
        <p:txBody>
          <a:bodyPr/>
          <a:lstStyle/>
          <a:p>
            <a:r>
              <a:rPr lang="ru-RU" sz="2400" kern="1200" dirty="0">
                <a:solidFill>
                  <a:schemeClr val="accent2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Структура </a:t>
            </a:r>
            <a:r>
              <a:rPr lang="ru-RU" sz="2400" kern="1200" dirty="0" smtClean="0">
                <a:solidFill>
                  <a:schemeClr val="accent2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Корпоративного Университета</a:t>
            </a:r>
            <a:endParaRPr lang="en-US" sz="2400" kern="1200" dirty="0">
              <a:solidFill>
                <a:schemeClr val="accent2">
                  <a:lumMod val="75000"/>
                </a:schemeClr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5040009" y="1556794"/>
            <a:ext cx="1656184" cy="482695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rgbClr val="000000"/>
                </a:solidFill>
                <a:latin typeface="Arial"/>
              </a:rPr>
              <a:t>Ректорат</a:t>
            </a:r>
            <a:endParaRPr lang="en-US" dirty="0" err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563890" y="2536773"/>
            <a:ext cx="1296098" cy="648072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000000"/>
                </a:solidFill>
                <a:latin typeface="Arial"/>
              </a:rPr>
              <a:t>б</a:t>
            </a:r>
            <a:r>
              <a:rPr lang="ru-RU" sz="1400" dirty="0" smtClean="0">
                <a:solidFill>
                  <a:srgbClr val="000000"/>
                </a:solidFill>
                <a:latin typeface="Arial"/>
              </a:rPr>
              <a:t>лок по учебной работе</a:t>
            </a:r>
            <a:endParaRPr lang="en-US" sz="1400" dirty="0" err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7381582" y="2516685"/>
            <a:ext cx="1509537" cy="668160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000000"/>
                </a:solidFill>
                <a:latin typeface="Arial"/>
              </a:rPr>
              <a:t>б</a:t>
            </a:r>
            <a:r>
              <a:rPr lang="ru-RU" sz="1400" dirty="0" smtClean="0">
                <a:solidFill>
                  <a:srgbClr val="000000"/>
                </a:solidFill>
                <a:latin typeface="Arial"/>
              </a:rPr>
              <a:t>лок по прикладным исследованиям</a:t>
            </a:r>
            <a:endParaRPr lang="en-US" sz="1400" dirty="0" err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242082" y="2518717"/>
            <a:ext cx="1772507" cy="666128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000000"/>
                </a:solidFill>
                <a:latin typeface="Arial"/>
              </a:rPr>
              <a:t>б</a:t>
            </a:r>
            <a:r>
              <a:rPr lang="ru-RU" sz="1400" dirty="0" smtClean="0">
                <a:solidFill>
                  <a:srgbClr val="000000"/>
                </a:solidFill>
                <a:latin typeface="Arial"/>
              </a:rPr>
              <a:t>лок по учебно-методической работе</a:t>
            </a:r>
            <a:endParaRPr lang="en-US" sz="1400" dirty="0" err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059787" y="3905126"/>
            <a:ext cx="1471954" cy="576064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0000"/>
                </a:solidFill>
                <a:latin typeface="Arial"/>
              </a:rPr>
              <a:t>ш</a:t>
            </a:r>
            <a:r>
              <a:rPr lang="ru-RU" sz="1200" dirty="0" smtClean="0">
                <a:solidFill>
                  <a:srgbClr val="000000"/>
                </a:solidFill>
                <a:latin typeface="Arial"/>
              </a:rPr>
              <a:t>кола розничного бизнеса</a:t>
            </a:r>
            <a:endParaRPr lang="en-US" sz="1200" dirty="0" err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3739654" y="4667978"/>
            <a:ext cx="1584176" cy="576064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0000"/>
                </a:solidFill>
                <a:latin typeface="Arial"/>
              </a:rPr>
              <a:t>ш</a:t>
            </a:r>
            <a:r>
              <a:rPr lang="ru-RU" sz="1200" dirty="0" smtClean="0">
                <a:solidFill>
                  <a:srgbClr val="000000"/>
                </a:solidFill>
                <a:latin typeface="Arial"/>
              </a:rPr>
              <a:t>кола</a:t>
            </a:r>
            <a:r>
              <a:rPr lang="en-US" sz="1200" dirty="0" smtClean="0">
                <a:solidFill>
                  <a:srgbClr val="000000"/>
                </a:solidFill>
                <a:latin typeface="Arial"/>
              </a:rPr>
              <a:t> IT-</a:t>
            </a:r>
            <a:r>
              <a:rPr lang="ru-RU" sz="1200" dirty="0" smtClean="0">
                <a:solidFill>
                  <a:srgbClr val="000000"/>
                </a:solidFill>
                <a:latin typeface="Arial"/>
              </a:rPr>
              <a:t>трансформации бизнеса</a:t>
            </a:r>
            <a:endParaRPr lang="en-US" sz="1200" dirty="0" err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5405327" y="3912514"/>
            <a:ext cx="1389057" cy="576064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0000"/>
                </a:solidFill>
                <a:latin typeface="Arial"/>
              </a:rPr>
              <a:t>ш</a:t>
            </a:r>
            <a:r>
              <a:rPr lang="ru-RU" sz="1200" dirty="0" smtClean="0">
                <a:solidFill>
                  <a:srgbClr val="000000"/>
                </a:solidFill>
                <a:latin typeface="Arial"/>
              </a:rPr>
              <a:t>кола развития корпоративных компетенций</a:t>
            </a:r>
            <a:endParaRPr lang="en-US" sz="1200" dirty="0" err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6867517" y="4685490"/>
            <a:ext cx="1584176" cy="576064"/>
          </a:xfrm>
          <a:prstGeom prst="rect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0000"/>
                </a:solidFill>
                <a:latin typeface="Arial"/>
              </a:rPr>
              <a:t>ш</a:t>
            </a:r>
            <a:r>
              <a:rPr lang="ru-RU" sz="1200" dirty="0" smtClean="0">
                <a:solidFill>
                  <a:srgbClr val="000000"/>
                </a:solidFill>
                <a:latin typeface="Arial"/>
              </a:rPr>
              <a:t>кола риск-менеджмента</a:t>
            </a:r>
            <a:endParaRPr lang="en-US" sz="1200" dirty="0" err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7454924" y="3880706"/>
            <a:ext cx="1362889" cy="576064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0000"/>
                </a:solidFill>
                <a:latin typeface="Arial"/>
              </a:rPr>
              <a:t>ш</a:t>
            </a:r>
            <a:r>
              <a:rPr lang="ru-RU" sz="1200" dirty="0" smtClean="0">
                <a:solidFill>
                  <a:srgbClr val="000000"/>
                </a:solidFill>
                <a:latin typeface="Arial"/>
              </a:rPr>
              <a:t>кола финансов</a:t>
            </a:r>
          </a:p>
        </p:txBody>
      </p:sp>
      <p:grpSp>
        <p:nvGrpSpPr>
          <p:cNvPr id="93" name="Группа 92"/>
          <p:cNvGrpSpPr/>
          <p:nvPr/>
        </p:nvGrpSpPr>
        <p:grpSpPr>
          <a:xfrm>
            <a:off x="3770114" y="2039523"/>
            <a:ext cx="4366239" cy="2646003"/>
            <a:chOff x="3770112" y="2039487"/>
            <a:chExt cx="4366239" cy="2646003"/>
          </a:xfrm>
        </p:grpSpPr>
        <p:cxnSp>
          <p:nvCxnSpPr>
            <p:cNvPr id="23" name="Прямая со стрелкой 22"/>
            <p:cNvCxnSpPr>
              <a:stCxn id="9" idx="2"/>
            </p:cNvCxnSpPr>
            <p:nvPr/>
          </p:nvCxnSpPr>
          <p:spPr>
            <a:xfrm flipH="1">
              <a:off x="4031895" y="2039487"/>
              <a:ext cx="1836204" cy="419689"/>
            </a:xfrm>
            <a:prstGeom prst="straightConnector1">
              <a:avLst/>
            </a:prstGeom>
            <a:ln w="25400">
              <a:solidFill>
                <a:schemeClr val="accent1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Прямая со стрелкой 25"/>
            <p:cNvCxnSpPr>
              <a:stCxn id="9" idx="2"/>
            </p:cNvCxnSpPr>
            <p:nvPr/>
          </p:nvCxnSpPr>
          <p:spPr>
            <a:xfrm>
              <a:off x="5868099" y="2039487"/>
              <a:ext cx="2268252" cy="419689"/>
            </a:xfrm>
            <a:prstGeom prst="straightConnector1">
              <a:avLst/>
            </a:prstGeom>
            <a:ln w="25400">
              <a:solidFill>
                <a:schemeClr val="accent1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Прямая со стрелкой 29"/>
            <p:cNvCxnSpPr>
              <a:stCxn id="9" idx="2"/>
            </p:cNvCxnSpPr>
            <p:nvPr/>
          </p:nvCxnSpPr>
          <p:spPr>
            <a:xfrm>
              <a:off x="5868099" y="2039487"/>
              <a:ext cx="230405" cy="479230"/>
            </a:xfrm>
            <a:prstGeom prst="straightConnector1">
              <a:avLst/>
            </a:prstGeom>
            <a:ln w="25400">
              <a:solidFill>
                <a:schemeClr val="accent1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Прямая со стрелкой 44"/>
            <p:cNvCxnSpPr>
              <a:stCxn id="15" idx="2"/>
            </p:cNvCxnSpPr>
            <p:nvPr/>
          </p:nvCxnSpPr>
          <p:spPr>
            <a:xfrm flipH="1">
              <a:off x="3770112" y="3184845"/>
              <a:ext cx="2358206" cy="642483"/>
            </a:xfrm>
            <a:prstGeom prst="straightConnector1">
              <a:avLst/>
            </a:prstGeom>
            <a:ln w="25400">
              <a:solidFill>
                <a:schemeClr val="accent1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Прямая со стрелкой 45"/>
            <p:cNvCxnSpPr>
              <a:stCxn id="15" idx="2"/>
              <a:endCxn id="40" idx="0"/>
            </p:cNvCxnSpPr>
            <p:nvPr/>
          </p:nvCxnSpPr>
          <p:spPr>
            <a:xfrm flipH="1">
              <a:off x="6099856" y="3184845"/>
              <a:ext cx="28462" cy="727669"/>
            </a:xfrm>
            <a:prstGeom prst="straightConnector1">
              <a:avLst/>
            </a:prstGeom>
            <a:ln w="25400">
              <a:solidFill>
                <a:schemeClr val="accent1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Прямая со стрелкой 46"/>
            <p:cNvCxnSpPr>
              <a:stCxn id="15" idx="2"/>
            </p:cNvCxnSpPr>
            <p:nvPr/>
          </p:nvCxnSpPr>
          <p:spPr>
            <a:xfrm flipH="1">
              <a:off x="4528980" y="3184845"/>
              <a:ext cx="1599338" cy="1424138"/>
            </a:xfrm>
            <a:prstGeom prst="straightConnector1">
              <a:avLst/>
            </a:prstGeom>
            <a:ln w="25400">
              <a:solidFill>
                <a:schemeClr val="accent1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Прямая со стрелкой 47"/>
            <p:cNvCxnSpPr>
              <a:stCxn id="15" idx="2"/>
              <a:endCxn id="42" idx="0"/>
            </p:cNvCxnSpPr>
            <p:nvPr/>
          </p:nvCxnSpPr>
          <p:spPr>
            <a:xfrm>
              <a:off x="6128318" y="3184845"/>
              <a:ext cx="2008033" cy="695861"/>
            </a:xfrm>
            <a:prstGeom prst="straightConnector1">
              <a:avLst/>
            </a:prstGeom>
            <a:ln w="25400">
              <a:solidFill>
                <a:schemeClr val="accent1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Прямая со стрелкой 61"/>
            <p:cNvCxnSpPr>
              <a:stCxn id="15" idx="2"/>
            </p:cNvCxnSpPr>
            <p:nvPr/>
          </p:nvCxnSpPr>
          <p:spPr>
            <a:xfrm>
              <a:off x="6128318" y="3184845"/>
              <a:ext cx="1326588" cy="1500645"/>
            </a:xfrm>
            <a:prstGeom prst="straightConnector1">
              <a:avLst/>
            </a:prstGeom>
            <a:ln w="25400">
              <a:solidFill>
                <a:schemeClr val="accent1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16908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Текст 15"/>
          <p:cNvSpPr>
            <a:spLocks noGrp="1"/>
          </p:cNvSpPr>
          <p:nvPr>
            <p:ph type="body" sz="quarter" idx="10"/>
          </p:nvPr>
        </p:nvSpPr>
        <p:spPr>
          <a:xfrm>
            <a:off x="611578" y="116668"/>
            <a:ext cx="5293639" cy="430887"/>
          </a:xfrm>
        </p:spPr>
        <p:txBody>
          <a:bodyPr/>
          <a:lstStyle/>
          <a:p>
            <a:r>
              <a:rPr lang="ru-RU" sz="2800" b="1" kern="1200" dirty="0">
                <a:solidFill>
                  <a:schemeClr val="accent2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Школа риск-менеджмента</a:t>
            </a:r>
            <a:endParaRPr lang="en-US" sz="2800" b="1" kern="1200" dirty="0">
              <a:solidFill>
                <a:schemeClr val="accent2">
                  <a:lumMod val="75000"/>
                </a:schemeClr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3635897" y="979259"/>
            <a:ext cx="462206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i="1" dirty="0" smtClean="0">
                <a:solidFill>
                  <a:srgbClr val="000000"/>
                </a:solidFill>
                <a:latin typeface="Arial"/>
              </a:rPr>
              <a:t>Реализует две программы обучения:</a:t>
            </a:r>
            <a:endParaRPr lang="en-US" b="1" i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3640494" y="1628835"/>
            <a:ext cx="5208095" cy="17543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b="1" dirty="0">
                <a:solidFill>
                  <a:srgbClr val="000000"/>
                </a:solidFill>
                <a:latin typeface="Arial"/>
              </a:rPr>
              <a:t>Риск-менеджмент </a:t>
            </a:r>
            <a:r>
              <a:rPr lang="en-US" b="1" dirty="0">
                <a:solidFill>
                  <a:srgbClr val="000000"/>
                </a:solidFill>
                <a:latin typeface="Arial"/>
              </a:rPr>
              <a:t>I</a:t>
            </a:r>
            <a:r>
              <a:rPr lang="ru-RU" b="1" dirty="0">
                <a:solidFill>
                  <a:srgbClr val="000000"/>
                </a:solidFill>
                <a:latin typeface="Arial"/>
              </a:rPr>
              <a:t> для линейного менеджмента. </a:t>
            </a:r>
            <a:endParaRPr lang="ru-RU" b="1" dirty="0" smtClean="0">
              <a:solidFill>
                <a:srgbClr val="000000"/>
              </a:solidFill>
              <a:latin typeface="Arial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b="1" dirty="0">
              <a:solidFill>
                <a:srgbClr val="000000"/>
              </a:solidFill>
              <a:latin typeface="Arial"/>
            </a:endParaRPr>
          </a:p>
          <a:p>
            <a:endParaRPr lang="ru-RU" b="1" dirty="0" smtClean="0">
              <a:solidFill>
                <a:srgbClr val="000000"/>
              </a:solidFill>
              <a:latin typeface="Arial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b="1" dirty="0" smtClean="0">
                <a:solidFill>
                  <a:srgbClr val="000000"/>
                </a:solidFill>
                <a:latin typeface="Arial"/>
              </a:rPr>
              <a:t>Риск </a:t>
            </a:r>
            <a:r>
              <a:rPr lang="ru-RU" b="1" dirty="0">
                <a:solidFill>
                  <a:srgbClr val="000000"/>
                </a:solidFill>
                <a:latin typeface="Arial"/>
              </a:rPr>
              <a:t>менеджмент </a:t>
            </a:r>
            <a:r>
              <a:rPr lang="en-US" b="1" dirty="0">
                <a:solidFill>
                  <a:srgbClr val="000000"/>
                </a:solidFill>
                <a:latin typeface="Arial"/>
              </a:rPr>
              <a:t>II</a:t>
            </a:r>
            <a:r>
              <a:rPr lang="ru-RU" b="1" dirty="0">
                <a:solidFill>
                  <a:srgbClr val="000000"/>
                </a:solidFill>
                <a:latin typeface="Arial"/>
              </a:rPr>
              <a:t> для среднего менеджмента.</a:t>
            </a:r>
            <a:r>
              <a:rPr lang="ru-RU" dirty="0">
                <a:solidFill>
                  <a:srgbClr val="000000"/>
                </a:solidFill>
                <a:latin typeface="Arial"/>
              </a:rPr>
              <a:t> 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2411760" y="4362912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b="1" i="1" dirty="0" smtClean="0">
                <a:solidFill>
                  <a:srgbClr val="000000"/>
                </a:solidFill>
                <a:latin typeface="Arial"/>
              </a:rPr>
              <a:t>Методы обучения</a:t>
            </a:r>
            <a:endParaRPr lang="ru-RU" b="1" i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2411760" y="4725144"/>
            <a:ext cx="4572000" cy="1754326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 err="1" smtClean="0">
                <a:solidFill>
                  <a:srgbClr val="000000"/>
                </a:solidFill>
                <a:latin typeface="Arial"/>
              </a:rPr>
              <a:t>вебинары</a:t>
            </a:r>
            <a:endParaRPr lang="ru-RU" dirty="0" smtClean="0">
              <a:solidFill>
                <a:srgbClr val="000000"/>
              </a:solidFill>
              <a:latin typeface="Arial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 smtClean="0">
                <a:solidFill>
                  <a:srgbClr val="000000"/>
                </a:solidFill>
                <a:latin typeface="Arial"/>
              </a:rPr>
              <a:t>бизнес-симуляции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>
                <a:solidFill>
                  <a:srgbClr val="000000"/>
                </a:solidFill>
                <a:latin typeface="Arial"/>
              </a:rPr>
              <a:t>р</a:t>
            </a:r>
            <a:r>
              <a:rPr lang="ru-RU" dirty="0" smtClean="0">
                <a:solidFill>
                  <a:srgbClr val="000000"/>
                </a:solidFill>
                <a:latin typeface="Arial"/>
              </a:rPr>
              <a:t>азборы кейсов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>
                <a:solidFill>
                  <a:srgbClr val="000000"/>
                </a:solidFill>
                <a:latin typeface="Arial"/>
              </a:rPr>
              <a:t>дискуссии в малых группах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 smtClean="0">
                <a:solidFill>
                  <a:srgbClr val="000000"/>
                </a:solidFill>
                <a:latin typeface="Arial"/>
              </a:rPr>
              <a:t>индивидуальные </a:t>
            </a:r>
            <a:r>
              <a:rPr lang="ru-RU" dirty="0">
                <a:solidFill>
                  <a:srgbClr val="000000"/>
                </a:solidFill>
                <a:latin typeface="Arial"/>
              </a:rPr>
              <a:t>домашние </a:t>
            </a:r>
            <a:r>
              <a:rPr lang="ru-RU" dirty="0" smtClean="0">
                <a:solidFill>
                  <a:srgbClr val="000000"/>
                </a:solidFill>
                <a:latin typeface="Arial"/>
              </a:rPr>
              <a:t>задания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 smtClean="0">
                <a:solidFill>
                  <a:srgbClr val="000000"/>
                </a:solidFill>
                <a:latin typeface="Arial"/>
              </a:rPr>
              <a:t>тестирования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4524" y="3500683"/>
            <a:ext cx="2439280" cy="17244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57297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Текст 6"/>
          <p:cNvSpPr>
            <a:spLocks noGrp="1"/>
          </p:cNvSpPr>
          <p:nvPr>
            <p:ph type="body" sz="quarter" idx="10"/>
          </p:nvPr>
        </p:nvSpPr>
        <p:spPr>
          <a:xfrm>
            <a:off x="323546" y="188676"/>
            <a:ext cx="6331957" cy="430887"/>
          </a:xfrm>
        </p:spPr>
        <p:txBody>
          <a:bodyPr/>
          <a:lstStyle/>
          <a:p>
            <a:r>
              <a:rPr lang="ru-RU" sz="2800" b="1" kern="1200" dirty="0" smtClean="0">
                <a:solidFill>
                  <a:schemeClr val="accent2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Методы обучения</a:t>
            </a:r>
            <a:endParaRPr lang="en-US" sz="2800" b="1" kern="1200" dirty="0">
              <a:solidFill>
                <a:schemeClr val="accent2">
                  <a:lumMod val="75000"/>
                </a:schemeClr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323529" y="908720"/>
            <a:ext cx="562671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 smtClean="0">
                <a:solidFill>
                  <a:srgbClr val="000000"/>
                </a:solidFill>
                <a:latin typeface="Arial"/>
              </a:rPr>
              <a:t>игровая бизнес-симуляция </a:t>
            </a:r>
            <a:r>
              <a:rPr lang="ru-RU" dirty="0" err="1">
                <a:solidFill>
                  <a:srgbClr val="000000"/>
                </a:solidFill>
                <a:latin typeface="Arial"/>
              </a:rPr>
              <a:t>World</a:t>
            </a:r>
            <a:r>
              <a:rPr lang="ru-RU" dirty="0">
                <a:solidFill>
                  <a:srgbClr val="000000"/>
                </a:solidFill>
                <a:latin typeface="Arial"/>
              </a:rPr>
              <a:t> </a:t>
            </a:r>
            <a:r>
              <a:rPr lang="ru-RU" dirty="0" err="1">
                <a:solidFill>
                  <a:srgbClr val="000000"/>
                </a:solidFill>
                <a:latin typeface="Arial"/>
              </a:rPr>
              <a:t>of</a:t>
            </a:r>
            <a:r>
              <a:rPr lang="ru-RU" dirty="0">
                <a:solidFill>
                  <a:srgbClr val="000000"/>
                </a:solidFill>
                <a:latin typeface="Arial"/>
              </a:rPr>
              <a:t> </a:t>
            </a:r>
            <a:r>
              <a:rPr lang="ru-RU" dirty="0" err="1" smtClean="0">
                <a:solidFill>
                  <a:srgbClr val="000000"/>
                </a:solidFill>
                <a:latin typeface="Arial"/>
              </a:rPr>
              <a:t>Banks</a:t>
            </a:r>
            <a:endParaRPr lang="ru-RU" dirty="0" smtClean="0">
              <a:solidFill>
                <a:srgbClr val="000000"/>
              </a:solidFill>
              <a:latin typeface="Arial"/>
            </a:endParaRPr>
          </a:p>
          <a:p>
            <a:endParaRPr lang="ru-RU" dirty="0">
              <a:solidFill>
                <a:srgbClr val="000000"/>
              </a:solidFill>
              <a:latin typeface="Arial"/>
            </a:endParaRPr>
          </a:p>
          <a:p>
            <a:endParaRPr lang="ru-RU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443254" y="1700826"/>
            <a:ext cx="691276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u="sng" dirty="0">
                <a:solidFill>
                  <a:srgbClr val="000000"/>
                </a:solidFill>
                <a:latin typeface="Arial"/>
              </a:rPr>
              <a:t>World of Banks </a:t>
            </a:r>
            <a:r>
              <a:rPr lang="ru-RU" dirty="0">
                <a:solidFill>
                  <a:srgbClr val="000000"/>
                </a:solidFill>
                <a:latin typeface="Arial"/>
              </a:rPr>
              <a:t>–  бизнес-симулятор среды банка, используемый для развития и применения знаний слушателей по управлению рисками, финансовыми ресурсами и доходностью с учетом риска.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7" name="Группа 16"/>
          <p:cNvGrpSpPr/>
          <p:nvPr/>
        </p:nvGrpSpPr>
        <p:grpSpPr>
          <a:xfrm>
            <a:off x="335251" y="3008063"/>
            <a:ext cx="8516202" cy="3324182"/>
            <a:chOff x="245659" y="1115716"/>
            <a:chExt cx="8516202" cy="3324182"/>
          </a:xfrm>
        </p:grpSpPr>
        <p:sp>
          <p:nvSpPr>
            <p:cNvPr id="18" name="Rectangle 164"/>
            <p:cNvSpPr>
              <a:spLocks noChangeArrowheads="1"/>
            </p:cNvSpPr>
            <p:nvPr/>
          </p:nvSpPr>
          <p:spPr bwMode="gray">
            <a:xfrm>
              <a:off x="245659" y="1136011"/>
              <a:ext cx="8516202" cy="1395716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9525" algn="ctr">
              <a:solidFill>
                <a:schemeClr val="hlink"/>
              </a:solidFill>
              <a:prstDash val="dash"/>
              <a:miter lim="800000"/>
              <a:headEnd/>
              <a:tailEnd/>
            </a:ln>
          </p:spPr>
          <p:txBody>
            <a:bodyPr wrap="none" lIns="69692" tIns="69692" rIns="69692" bIns="69692" anchor="ctr"/>
            <a:lstStyle/>
            <a:p>
              <a:endParaRPr lang="en-US" sz="1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" name="Text Box 125"/>
            <p:cNvSpPr txBox="1">
              <a:spLocks noChangeArrowheads="1"/>
            </p:cNvSpPr>
            <p:nvPr/>
          </p:nvSpPr>
          <p:spPr bwMode="gray">
            <a:xfrm>
              <a:off x="2653378" y="1145354"/>
              <a:ext cx="3722560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ru-RU" sz="1400" b="1" i="1" dirty="0" smtClean="0">
                  <a:solidFill>
                    <a:srgbClr val="969696"/>
                  </a:solidFill>
                  <a:latin typeface="Arial"/>
                </a:rPr>
                <a:t>Общекомандные </a:t>
              </a:r>
              <a:r>
                <a:rPr lang="ru-RU" sz="1400" b="1" i="1" dirty="0">
                  <a:solidFill>
                    <a:srgbClr val="969696"/>
                  </a:solidFill>
                  <a:latin typeface="Arial"/>
                </a:rPr>
                <a:t>цели</a:t>
              </a:r>
            </a:p>
          </p:txBody>
        </p:sp>
        <p:sp>
          <p:nvSpPr>
            <p:cNvPr id="20" name="Rectangle 165"/>
            <p:cNvSpPr>
              <a:spLocks noChangeArrowheads="1"/>
            </p:cNvSpPr>
            <p:nvPr/>
          </p:nvSpPr>
          <p:spPr bwMode="gray">
            <a:xfrm>
              <a:off x="354842" y="1530362"/>
              <a:ext cx="2628900" cy="4572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69692" tIns="69692" rIns="69692" bIns="69692" anchor="ctr"/>
            <a:lstStyle/>
            <a:p>
              <a:pPr algn="ctr"/>
              <a:r>
                <a:rPr lang="ru-RU" sz="1200" dirty="0" smtClean="0">
                  <a:solidFill>
                    <a:srgbClr val="000000"/>
                  </a:solidFill>
                  <a:latin typeface="Arial"/>
                </a:rPr>
                <a:t>Стоимость акций банка</a:t>
              </a: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" name="Rectangle 166"/>
            <p:cNvSpPr>
              <a:spLocks noChangeArrowheads="1"/>
            </p:cNvSpPr>
            <p:nvPr/>
          </p:nvSpPr>
          <p:spPr bwMode="gray">
            <a:xfrm>
              <a:off x="5991288" y="1530362"/>
              <a:ext cx="2628900" cy="4572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69692" tIns="69692" rIns="69692" bIns="69692" anchor="ctr"/>
            <a:lstStyle/>
            <a:p>
              <a:pPr algn="ctr"/>
              <a:r>
                <a:rPr lang="ru-RU" sz="1200" dirty="0">
                  <a:solidFill>
                    <a:srgbClr val="000000"/>
                  </a:solidFill>
                  <a:latin typeface="Arial"/>
                </a:rPr>
                <a:t>Рентабельность капитала с учетом риска (</a:t>
              </a:r>
              <a:r>
                <a:rPr lang="en-US" sz="1200" dirty="0" smtClean="0">
                  <a:solidFill>
                    <a:srgbClr val="000000"/>
                  </a:solidFill>
                  <a:latin typeface="Arial"/>
                </a:rPr>
                <a:t>RAROC</a:t>
              </a:r>
              <a:r>
                <a:rPr lang="ru-RU" sz="1200" dirty="0" smtClean="0">
                  <a:solidFill>
                    <a:srgbClr val="000000"/>
                  </a:solidFill>
                  <a:latin typeface="Arial"/>
                </a:rPr>
                <a:t>)</a:t>
              </a: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" name="Rectangle 167"/>
            <p:cNvSpPr>
              <a:spLocks noChangeArrowheads="1"/>
            </p:cNvSpPr>
            <p:nvPr/>
          </p:nvSpPr>
          <p:spPr bwMode="gray">
            <a:xfrm>
              <a:off x="355219" y="2036161"/>
              <a:ext cx="2628900" cy="4572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69692" tIns="69692" rIns="69692" bIns="69692" anchor="ctr"/>
            <a:lstStyle/>
            <a:p>
              <a:pPr algn="ctr"/>
              <a:r>
                <a:rPr lang="ru-RU" sz="1200" dirty="0">
                  <a:solidFill>
                    <a:srgbClr val="000000"/>
                  </a:solidFill>
                  <a:latin typeface="Arial"/>
                </a:rPr>
                <a:t>Рентабельность собственных средств </a:t>
              </a:r>
              <a:r>
                <a:rPr lang="ru-RU" sz="1200" dirty="0" smtClean="0">
                  <a:solidFill>
                    <a:srgbClr val="000000"/>
                  </a:solidFill>
                  <a:latin typeface="Arial"/>
                </a:rPr>
                <a:t>(</a:t>
              </a:r>
              <a:r>
                <a:rPr lang="en-US" sz="1200" dirty="0" smtClean="0">
                  <a:solidFill>
                    <a:srgbClr val="000000"/>
                  </a:solidFill>
                  <a:latin typeface="Arial"/>
                </a:rPr>
                <a:t>ROE</a:t>
              </a:r>
              <a:r>
                <a:rPr lang="ru-RU" sz="1200" dirty="0" smtClean="0">
                  <a:solidFill>
                    <a:srgbClr val="000000"/>
                  </a:solidFill>
                  <a:latin typeface="Arial"/>
                </a:rPr>
                <a:t>)</a:t>
              </a: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" name="Rectangle 170"/>
            <p:cNvSpPr>
              <a:spLocks noChangeArrowheads="1"/>
            </p:cNvSpPr>
            <p:nvPr/>
          </p:nvSpPr>
          <p:spPr bwMode="gray">
            <a:xfrm>
              <a:off x="268355" y="2823405"/>
              <a:ext cx="8493506" cy="114707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9525" algn="ctr">
              <a:solidFill>
                <a:schemeClr val="hlink"/>
              </a:solidFill>
              <a:prstDash val="dash"/>
              <a:miter lim="800000"/>
              <a:headEnd/>
              <a:tailEnd/>
            </a:ln>
          </p:spPr>
          <p:txBody>
            <a:bodyPr wrap="none" lIns="69692" tIns="69692" rIns="69692" bIns="69692" anchor="ctr"/>
            <a:lstStyle/>
            <a:p>
              <a:endParaRPr lang="en-US" sz="1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" name="Rectangle 171"/>
            <p:cNvSpPr>
              <a:spLocks noChangeArrowheads="1"/>
            </p:cNvSpPr>
            <p:nvPr/>
          </p:nvSpPr>
          <p:spPr bwMode="gray">
            <a:xfrm>
              <a:off x="313899" y="3232780"/>
              <a:ext cx="1333500" cy="5969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69692" tIns="69692" rIns="69692" bIns="69692" anchor="ctr"/>
            <a:lstStyle/>
            <a:p>
              <a:pPr algn="ctr"/>
              <a:r>
                <a:rPr lang="ru-RU" sz="1200" dirty="0" smtClean="0">
                  <a:solidFill>
                    <a:srgbClr val="000000"/>
                  </a:solidFill>
                  <a:latin typeface="Arial"/>
                </a:rPr>
                <a:t>Председатель Правления</a:t>
              </a: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" name="Rectangle 172"/>
            <p:cNvSpPr>
              <a:spLocks noChangeArrowheads="1"/>
            </p:cNvSpPr>
            <p:nvPr/>
          </p:nvSpPr>
          <p:spPr bwMode="gray">
            <a:xfrm>
              <a:off x="3173065" y="2036161"/>
              <a:ext cx="2628900" cy="4572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69692" tIns="69692" rIns="69692" bIns="69692" anchor="ctr">
              <a:noAutofit/>
            </a:bodyPr>
            <a:lstStyle/>
            <a:p>
              <a:pPr algn="ctr"/>
              <a:r>
                <a:rPr lang="ru-RU" sz="1200" dirty="0" smtClean="0">
                  <a:solidFill>
                    <a:srgbClr val="000000"/>
                  </a:solidFill>
                  <a:latin typeface="Arial"/>
                </a:rPr>
                <a:t>Достаточность капитала</a:t>
              </a: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" name="Rectangle 173"/>
            <p:cNvSpPr>
              <a:spLocks noChangeArrowheads="1"/>
            </p:cNvSpPr>
            <p:nvPr/>
          </p:nvSpPr>
          <p:spPr bwMode="gray">
            <a:xfrm>
              <a:off x="5991288" y="2036161"/>
              <a:ext cx="2628900" cy="4572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69692" tIns="69692" rIns="69692" bIns="69692" anchor="ctr"/>
            <a:lstStyle/>
            <a:p>
              <a:pPr algn="ctr"/>
              <a:r>
                <a:rPr lang="ru-RU" sz="1200" dirty="0" smtClean="0">
                  <a:solidFill>
                    <a:srgbClr val="000000"/>
                  </a:solidFill>
                  <a:latin typeface="Arial"/>
                </a:rPr>
                <a:t>Аппетит к риску</a:t>
              </a: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27" name="Picture 218" descr="S:\Operations\DTP\dtp+ Resources\Icons (WIP)\EMF\Business\BUS-ONX 28.emf"/>
            <p:cNvPicPr>
              <a:picLocks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0371" y="1115716"/>
              <a:ext cx="456675" cy="4155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" name="Rectangle 171"/>
            <p:cNvSpPr>
              <a:spLocks noChangeArrowheads="1"/>
            </p:cNvSpPr>
            <p:nvPr/>
          </p:nvSpPr>
          <p:spPr bwMode="gray">
            <a:xfrm>
              <a:off x="4548570" y="3232780"/>
              <a:ext cx="1333500" cy="5969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69692" tIns="69692" rIns="69692" bIns="69692" anchor="ctr"/>
            <a:lstStyle/>
            <a:p>
              <a:pPr algn="ctr"/>
              <a:r>
                <a:rPr lang="ru-RU" sz="1200" dirty="0" smtClean="0">
                  <a:solidFill>
                    <a:srgbClr val="000000"/>
                  </a:solidFill>
                  <a:latin typeface="Arial"/>
                </a:rPr>
                <a:t>Руководитель Корпоративного блока</a:t>
              </a: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" name="Rectangle 171"/>
            <p:cNvSpPr>
              <a:spLocks noChangeArrowheads="1"/>
            </p:cNvSpPr>
            <p:nvPr/>
          </p:nvSpPr>
          <p:spPr bwMode="gray">
            <a:xfrm>
              <a:off x="5960127" y="3232780"/>
              <a:ext cx="1333500" cy="5969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69692" tIns="69692" rIns="69692" bIns="69692" anchor="ctr"/>
            <a:lstStyle/>
            <a:p>
              <a:pPr algn="ctr"/>
              <a:r>
                <a:rPr lang="ru-RU" sz="1200" dirty="0" smtClean="0">
                  <a:solidFill>
                    <a:srgbClr val="000000"/>
                  </a:solidFill>
                  <a:latin typeface="Arial"/>
                </a:rPr>
                <a:t>Руководитель Розничного блока</a:t>
              </a: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Rectangle 171"/>
            <p:cNvSpPr>
              <a:spLocks noChangeArrowheads="1"/>
            </p:cNvSpPr>
            <p:nvPr/>
          </p:nvSpPr>
          <p:spPr bwMode="gray">
            <a:xfrm>
              <a:off x="3137013" y="3232780"/>
              <a:ext cx="1333500" cy="5969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69692" tIns="69692" rIns="69692" bIns="69692" anchor="ctr"/>
            <a:lstStyle/>
            <a:p>
              <a:pPr algn="ctr"/>
              <a:r>
                <a:rPr lang="ru-RU" sz="1200" dirty="0" smtClean="0">
                  <a:solidFill>
                    <a:srgbClr val="000000"/>
                  </a:solidFill>
                  <a:latin typeface="Arial"/>
                </a:rPr>
                <a:t>Директор по Финансам</a:t>
              </a: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Text Box 125"/>
            <p:cNvSpPr txBox="1">
              <a:spLocks noChangeArrowheads="1"/>
            </p:cNvSpPr>
            <p:nvPr/>
          </p:nvSpPr>
          <p:spPr bwMode="gray">
            <a:xfrm>
              <a:off x="2691202" y="2909614"/>
              <a:ext cx="3722560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ru-RU" sz="1400" b="1" i="1" dirty="0">
                  <a:solidFill>
                    <a:srgbClr val="969696"/>
                  </a:solidFill>
                  <a:latin typeface="Arial"/>
                </a:rPr>
                <a:t>Индивидуальные цели</a:t>
              </a:r>
              <a:endParaRPr lang="en-US" sz="1400" b="1" i="1" dirty="0">
                <a:solidFill>
                  <a:srgbClr val="969696"/>
                </a:solidFill>
                <a:latin typeface="Arial"/>
              </a:endParaRPr>
            </a:p>
          </p:txBody>
        </p:sp>
        <p:sp>
          <p:nvSpPr>
            <p:cNvPr id="32" name="Freeform 21"/>
            <p:cNvSpPr/>
            <p:nvPr/>
          </p:nvSpPr>
          <p:spPr>
            <a:xfrm flipH="1">
              <a:off x="4421051" y="3918272"/>
              <a:ext cx="154629" cy="404207"/>
            </a:xfrm>
            <a:custGeom>
              <a:avLst/>
              <a:gdLst/>
              <a:ahLst/>
              <a:cxnLst/>
              <a:rect l="0" t="0" r="0" b="0"/>
              <a:pathLst>
                <a:path w="284164" h="539751">
                  <a:moveTo>
                    <a:pt x="0" y="0"/>
                  </a:moveTo>
                  <a:lnTo>
                    <a:pt x="0" y="133350"/>
                  </a:lnTo>
                  <a:lnTo>
                    <a:pt x="138113" y="269875"/>
                  </a:lnTo>
                  <a:lnTo>
                    <a:pt x="0" y="412750"/>
                  </a:lnTo>
                  <a:lnTo>
                    <a:pt x="0" y="539750"/>
                  </a:lnTo>
                  <a:lnTo>
                    <a:pt x="284163" y="269875"/>
                  </a:lnTo>
                  <a:close/>
                </a:path>
              </a:pathLst>
            </a:custGeom>
            <a:solidFill>
              <a:schemeClr val="accent3"/>
            </a:solidFill>
            <a:ln w="9525" cap="flat" cmpd="sng" algn="ctr">
              <a:noFill/>
              <a:prstDash val="solid"/>
            </a:ln>
            <a:effectLst/>
            <a:scene3d>
              <a:camera prst="orthographicFront">
                <a:rot lat="0" lon="0" rev="5400000"/>
              </a:camera>
              <a:lightRig rig="threePt" dir="t"/>
            </a:scene3d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3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7115" tIns="43557" rIns="87115" bIns="43557" rtlCol="0" anchor="ctr"/>
            <a:lstStyle/>
            <a:p>
              <a:pPr algn="ctr"/>
              <a:endParaRPr lang="en-US" sz="1200" dirty="0" err="1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3" name="Plus 22"/>
            <p:cNvSpPr/>
            <p:nvPr/>
          </p:nvSpPr>
          <p:spPr>
            <a:xfrm>
              <a:off x="4341515" y="2531726"/>
              <a:ext cx="274320" cy="274320"/>
            </a:xfrm>
            <a:prstGeom prst="mathPlus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7115" tIns="43557" rIns="87115" bIns="43557" rtlCol="0" anchor="ctr"/>
            <a:lstStyle/>
            <a:p>
              <a:pPr algn="ctr"/>
              <a:endParaRPr lang="en-US" dirty="0" err="1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" name="Text Box 125"/>
            <p:cNvSpPr txBox="1">
              <a:spLocks noChangeArrowheads="1"/>
            </p:cNvSpPr>
            <p:nvPr/>
          </p:nvSpPr>
          <p:spPr bwMode="gray">
            <a:xfrm>
              <a:off x="2637085" y="4224454"/>
              <a:ext cx="3722560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ru-RU" sz="1400" b="1" dirty="0">
                  <a:solidFill>
                    <a:srgbClr val="969696"/>
                  </a:solidFill>
                  <a:latin typeface="Arial"/>
                </a:rPr>
                <a:t>Итоговый результат игры</a:t>
              </a:r>
              <a:endParaRPr lang="en-US" sz="1400" b="1" dirty="0">
                <a:solidFill>
                  <a:srgbClr val="969696"/>
                </a:solidFill>
                <a:latin typeface="Arial"/>
              </a:endParaRPr>
            </a:p>
          </p:txBody>
        </p:sp>
        <p:sp>
          <p:nvSpPr>
            <p:cNvPr id="35" name="Rectangle 171"/>
            <p:cNvSpPr>
              <a:spLocks noChangeArrowheads="1"/>
            </p:cNvSpPr>
            <p:nvPr/>
          </p:nvSpPr>
          <p:spPr bwMode="gray">
            <a:xfrm>
              <a:off x="7371685" y="3232780"/>
              <a:ext cx="1353312" cy="5969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69692" tIns="69692" rIns="69692" bIns="69692" anchor="ctr"/>
            <a:lstStyle/>
            <a:p>
              <a:pPr algn="ctr"/>
              <a:r>
                <a:rPr lang="ru-RU" sz="1200" dirty="0" smtClean="0">
                  <a:solidFill>
                    <a:srgbClr val="000000"/>
                  </a:solidFill>
                  <a:latin typeface="Arial"/>
                </a:rPr>
                <a:t>Руководитель Международного блока</a:t>
              </a:r>
              <a:endParaRPr lang="en-US" sz="1200" baseline="300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Rectangle 171"/>
            <p:cNvSpPr>
              <a:spLocks noChangeArrowheads="1"/>
            </p:cNvSpPr>
            <p:nvPr/>
          </p:nvSpPr>
          <p:spPr bwMode="gray">
            <a:xfrm>
              <a:off x="1725456" y="3232780"/>
              <a:ext cx="1333500" cy="5969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69692" tIns="69692" rIns="69692" bIns="69692" anchor="ctr"/>
            <a:lstStyle/>
            <a:p>
              <a:pPr algn="ctr"/>
              <a:r>
                <a:rPr lang="ru-RU" sz="1200" dirty="0" smtClean="0">
                  <a:solidFill>
                    <a:srgbClr val="000000"/>
                  </a:solidFill>
                  <a:latin typeface="Arial"/>
                </a:rPr>
                <a:t>Директор по Рискам</a:t>
              </a: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Rectangle 165"/>
            <p:cNvSpPr>
              <a:spLocks noChangeArrowheads="1"/>
            </p:cNvSpPr>
            <p:nvPr/>
          </p:nvSpPr>
          <p:spPr bwMode="gray">
            <a:xfrm>
              <a:off x="3173065" y="1530362"/>
              <a:ext cx="2628900" cy="4572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69692" tIns="69692" rIns="69692" bIns="69692" anchor="ctr"/>
            <a:lstStyle/>
            <a:p>
              <a:pPr algn="ctr"/>
              <a:r>
                <a:rPr lang="ru-RU" sz="1200" dirty="0" smtClean="0">
                  <a:solidFill>
                    <a:srgbClr val="000000"/>
                  </a:solidFill>
                  <a:latin typeface="Arial"/>
                </a:rPr>
                <a:t>Суммарные выплаты дивидендов</a:t>
              </a: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6768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>
          <a:xfrm>
            <a:off x="323528" y="1124744"/>
            <a:ext cx="6360735" cy="738664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2400" dirty="0"/>
              <a:t>н</a:t>
            </a:r>
            <a:r>
              <a:rPr lang="ru-RU" sz="2400" dirty="0" smtClean="0"/>
              <a:t>аделяют знаниями опережающего характера</a:t>
            </a:r>
            <a:endParaRPr lang="en-US" sz="2400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239552" y="260648"/>
            <a:ext cx="6916719" cy="430887"/>
          </a:xfrm>
        </p:spPr>
        <p:txBody>
          <a:bodyPr/>
          <a:lstStyle/>
          <a:p>
            <a:r>
              <a:rPr lang="ru-RU" sz="2800" dirty="0" smtClean="0"/>
              <a:t>Особенности программ бизнес-школ</a:t>
            </a:r>
            <a:endParaRPr lang="en-US" sz="2800" dirty="0"/>
          </a:p>
        </p:txBody>
      </p:sp>
      <p:sp>
        <p:nvSpPr>
          <p:cNvPr id="6" name="Текст 1"/>
          <p:cNvSpPr txBox="1">
            <a:spLocks/>
          </p:cNvSpPr>
          <p:nvPr/>
        </p:nvSpPr>
        <p:spPr bwMode="auto">
          <a:xfrm>
            <a:off x="352308" y="2348898"/>
            <a:ext cx="5371822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buClr>
                <a:srgbClr val="002960"/>
              </a:buClr>
              <a:buFont typeface="Wingdings" panose="05000000000000000000" pitchFamily="2" charset="2"/>
              <a:buChar char="Ø"/>
            </a:pPr>
            <a:r>
              <a:rPr lang="ru-RU" sz="2400" kern="0" dirty="0" smtClean="0">
                <a:solidFill>
                  <a:srgbClr val="000000"/>
                </a:solidFill>
                <a:latin typeface="Arial"/>
              </a:rPr>
              <a:t>позволяют взаимодействовать в кросс-отраслевых командах слушателей с разноплановым опытом </a:t>
            </a:r>
            <a:endParaRPr lang="en-US" sz="240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Текст 1"/>
          <p:cNvSpPr txBox="1">
            <a:spLocks/>
          </p:cNvSpPr>
          <p:nvPr/>
        </p:nvSpPr>
        <p:spPr bwMode="auto">
          <a:xfrm>
            <a:off x="381103" y="4216540"/>
            <a:ext cx="633195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buClr>
                <a:srgbClr val="002960"/>
              </a:buClr>
              <a:buFont typeface="Wingdings" panose="05000000000000000000" pitchFamily="2" charset="2"/>
              <a:buChar char="Ø"/>
            </a:pPr>
            <a:r>
              <a:rPr lang="ru-RU" sz="2400" kern="0" dirty="0">
                <a:solidFill>
                  <a:srgbClr val="000000"/>
                </a:solidFill>
                <a:latin typeface="Arial"/>
              </a:rPr>
              <a:t>р</a:t>
            </a:r>
            <a:r>
              <a:rPr lang="ru-RU" sz="2400" kern="0" dirty="0" smtClean="0">
                <a:solidFill>
                  <a:srgbClr val="000000"/>
                </a:solidFill>
                <a:latin typeface="Arial"/>
              </a:rPr>
              <a:t>азвивают лидерский потенциал</a:t>
            </a:r>
            <a:endParaRPr lang="en-US" sz="240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" name="Текст 1"/>
          <p:cNvSpPr txBox="1">
            <a:spLocks/>
          </p:cNvSpPr>
          <p:nvPr/>
        </p:nvSpPr>
        <p:spPr bwMode="auto">
          <a:xfrm>
            <a:off x="381085" y="5013176"/>
            <a:ext cx="5991116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buClr>
                <a:srgbClr val="002960"/>
              </a:buClr>
              <a:buFont typeface="Wingdings" panose="05000000000000000000" pitchFamily="2" charset="2"/>
              <a:buChar char="Ø"/>
            </a:pPr>
            <a:r>
              <a:rPr lang="ru-RU" sz="2400" kern="0" dirty="0" smtClean="0">
                <a:solidFill>
                  <a:srgbClr val="000000"/>
                </a:solidFill>
                <a:latin typeface="Arial"/>
              </a:rPr>
              <a:t>формируют универсальные компетенции вне конкретной отрасли</a:t>
            </a:r>
            <a:endParaRPr lang="en-US" sz="2400" kern="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5749" y="1066114"/>
            <a:ext cx="2052228" cy="1368152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3949" y="2434302"/>
            <a:ext cx="3520053" cy="1142591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8185" y="4056390"/>
            <a:ext cx="2695575" cy="1695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861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subTitle" idx="1"/>
          </p:nvPr>
        </p:nvSpPr>
        <p:spPr>
          <a:xfrm>
            <a:off x="196345" y="1988840"/>
            <a:ext cx="11089232" cy="923330"/>
          </a:xfrm>
        </p:spPr>
        <p:txBody>
          <a:bodyPr/>
          <a:lstStyle/>
          <a:p>
            <a:r>
              <a:rPr lang="ru-RU" sz="6000" i="1" dirty="0" smtClean="0"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  <a:endParaRPr lang="en-US" sz="6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6326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Shape 166"/>
          <p:cNvSpPr>
            <a:spLocks noGrp="1"/>
          </p:cNvSpPr>
          <p:nvPr>
            <p:ph type="ctrTitle"/>
          </p:nvPr>
        </p:nvSpPr>
        <p:spPr>
          <a:xfrm>
            <a:off x="349250" y="2303176"/>
            <a:ext cx="8261350" cy="434541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sz="4800" dirty="0" smtClean="0"/>
              <a:t>START-UP</a:t>
            </a:r>
            <a:r>
              <a:rPr lang="ru-RU" sz="4800" dirty="0" smtClean="0"/>
              <a:t/>
            </a:r>
            <a:br>
              <a:rPr lang="ru-RU" sz="4800" dirty="0" smtClean="0"/>
            </a:br>
            <a:r>
              <a:rPr lang="ru-RU" sz="4800" dirty="0" smtClean="0"/>
              <a:t>Проблемы </a:t>
            </a:r>
            <a:br>
              <a:rPr lang="ru-RU" sz="4800" dirty="0" smtClean="0"/>
            </a:br>
            <a:r>
              <a:rPr lang="ru-RU" sz="4800" dirty="0" smtClean="0"/>
              <a:t>и радости</a:t>
            </a:r>
            <a:endParaRPr sz="4800" dirty="0"/>
          </a:p>
        </p:txBody>
      </p:sp>
      <p:sp>
        <p:nvSpPr>
          <p:cNvPr id="167" name="Shape 167"/>
          <p:cNvSpPr>
            <a:spLocks noGrp="1"/>
          </p:cNvSpPr>
          <p:nvPr>
            <p:ph type="subTitle" sz="quarter" idx="1"/>
          </p:nvPr>
        </p:nvSpPr>
        <p:spPr>
          <a:xfrm>
            <a:off x="152400" y="4487570"/>
            <a:ext cx="4229100" cy="536143"/>
          </a:xfrm>
          <a:prstGeom prst="rect">
            <a:avLst/>
          </a:prstGeom>
        </p:spPr>
        <p:txBody>
          <a:bodyPr>
            <a:normAutofit fontScale="77500" lnSpcReduction="20000"/>
          </a:bodyPr>
          <a:lstStyle/>
          <a:p>
            <a:r>
              <a:rPr sz="3400" dirty="0" err="1"/>
              <a:t>Воробьев</a:t>
            </a:r>
            <a:r>
              <a:rPr sz="3400" dirty="0"/>
              <a:t> </a:t>
            </a:r>
            <a:r>
              <a:rPr sz="3400" dirty="0" err="1" smtClean="0"/>
              <a:t>Александр</a:t>
            </a:r>
            <a:endParaRPr lang="ru-RU" sz="3400" dirty="0" smtClean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1500" y="127000"/>
            <a:ext cx="4572000" cy="685800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19075" y="4776926"/>
            <a:ext cx="2216150" cy="7181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584200" rtl="0" fontAlgn="auto" latinLnBrk="0" hangingPunct="0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spc="0" normalizeH="0" baseline="0" dirty="0" smtClean="0">
                <a:ln>
                  <a:noFill/>
                </a:ln>
                <a:solidFill>
                  <a:srgbClr val="838787"/>
                </a:solidFill>
                <a:effectLst/>
                <a:uFillTx/>
                <a:latin typeface="Avenir Next Medium"/>
                <a:ea typeface="Avenir Next Medium"/>
                <a:cs typeface="Avenir Next Medium"/>
                <a:sym typeface="Avenir Next Medium"/>
              </a:rPr>
              <a:t>4 курс МБ</a:t>
            </a:r>
            <a:endParaRPr kumimoji="0" lang="ru-RU" sz="2000" b="0" i="0" u="none" strike="noStrike" cap="none" spc="0" normalizeH="0" baseline="0" dirty="0">
              <a:ln>
                <a:noFill/>
              </a:ln>
              <a:solidFill>
                <a:srgbClr val="838787"/>
              </a:solidFill>
              <a:effectLst/>
              <a:uFillTx/>
              <a:latin typeface="Avenir Next Medium"/>
              <a:ea typeface="Avenir Next Medium"/>
              <a:cs typeface="Avenir Next Medium"/>
              <a:sym typeface="Avenir Next Medium"/>
            </a:endParaRPr>
          </a:p>
        </p:txBody>
      </p:sp>
    </p:spTree>
    <p:extLst>
      <p:ext uri="{BB962C8B-B14F-4D97-AF65-F5344CB8AC3E}">
        <p14:creationId xmlns:p14="http://schemas.microsoft.com/office/powerpoint/2010/main" val="66635038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Shape 169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Autofit/>
          </a:bodyPr>
          <a:lstStyle>
            <a:lvl1pPr defTabSz="408940">
              <a:spcBef>
                <a:spcPts val="1900"/>
              </a:spcBef>
              <a:defRPr sz="4200"/>
            </a:lvl1pPr>
          </a:lstStyle>
          <a:p>
            <a:r>
              <a:rPr sz="3600" dirty="0"/>
              <a:t>Алгоритм поведения студента</a:t>
            </a:r>
          </a:p>
        </p:txBody>
      </p:sp>
      <p:sp>
        <p:nvSpPr>
          <p:cNvPr id="170" name="Shape 170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 marL="312511" indent="-312511">
              <a:defRPr sz="5000"/>
            </a:pPr>
            <a:r>
              <a:rPr sz="3600" dirty="0"/>
              <a:t>Анализ рынка </a:t>
            </a:r>
          </a:p>
          <a:p>
            <a:pPr marL="312511" indent="-312511">
              <a:defRPr sz="5000"/>
            </a:pPr>
            <a:r>
              <a:rPr sz="3600" dirty="0"/>
              <a:t>Осознание собственной потребности</a:t>
            </a:r>
          </a:p>
          <a:p>
            <a:pPr marL="312511" indent="-312511">
              <a:defRPr sz="5000"/>
            </a:pPr>
            <a:r>
              <a:rPr sz="3600" dirty="0"/>
              <a:t>Тут у всех по разному</a:t>
            </a:r>
          </a:p>
          <a:p>
            <a:pPr marL="312511" indent="-312511">
              <a:defRPr sz="5000"/>
            </a:pPr>
            <a:r>
              <a:rPr sz="3600" dirty="0"/>
              <a:t>Инвестор или работодатель ?</a:t>
            </a:r>
          </a:p>
        </p:txBody>
      </p:sp>
    </p:spTree>
    <p:extLst>
      <p:ext uri="{BB962C8B-B14F-4D97-AF65-F5344CB8AC3E}">
        <p14:creationId xmlns:p14="http://schemas.microsoft.com/office/powerpoint/2010/main" val="395350231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2" name="pasted-image.jpeg"/>
          <p:cNvPicPr>
            <a:picLocks noGrp="1" noChangeAspect="1"/>
          </p:cNvPicPr>
          <p:nvPr>
            <p:ph type="pic" idx="13"/>
          </p:nvPr>
        </p:nvPicPr>
        <p:blipFill>
          <a:blip r:embed="rId2">
            <a:extLst/>
          </a:blip>
          <a:srcRect l="21875" r="21875"/>
          <a:stretch>
            <a:fillRect/>
          </a:stretch>
        </p:blipFill>
        <p:spPr>
          <a:xfrm>
            <a:off x="-151805" y="0"/>
            <a:ext cx="3857625" cy="6858000"/>
          </a:xfrm>
          <a:prstGeom prst="rect">
            <a:avLst/>
          </a:prstGeom>
        </p:spPr>
      </p:pic>
      <p:sp>
        <p:nvSpPr>
          <p:cNvPr id="173" name="Shape 17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defTabSz="332993">
              <a:defRPr sz="9690"/>
            </a:lvl1pPr>
          </a:lstStyle>
          <a:p>
            <a:r>
              <a:rPr sz="7200" dirty="0"/>
              <a:t>с чего начать ?</a:t>
            </a:r>
          </a:p>
        </p:txBody>
      </p:sp>
      <p:sp>
        <p:nvSpPr>
          <p:cNvPr id="174" name="Shape 174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dirty="0"/>
              <a:t>Все очень плохо</a:t>
            </a:r>
          </a:p>
        </p:txBody>
      </p:sp>
    </p:spTree>
    <p:extLst>
      <p:ext uri="{BB962C8B-B14F-4D97-AF65-F5344CB8AC3E}">
        <p14:creationId xmlns:p14="http://schemas.microsoft.com/office/powerpoint/2010/main" val="75067061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Shape 176"/>
          <p:cNvSpPr>
            <a:spLocks noGrp="1"/>
          </p:cNvSpPr>
          <p:nvPr>
            <p:ph type="title"/>
          </p:nvPr>
        </p:nvSpPr>
        <p:spPr>
          <a:xfrm>
            <a:off x="285750" y="937654"/>
            <a:ext cx="8648124" cy="85655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7000"/>
            </a:lvl1pPr>
          </a:lstStyle>
          <a:p>
            <a:r>
              <a:rPr sz="6000" dirty="0"/>
              <a:t>Изучение областей</a:t>
            </a:r>
          </a:p>
        </p:txBody>
      </p:sp>
      <p:pic>
        <p:nvPicPr>
          <p:cNvPr id="177" name="pasted-image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2553403" y="2194699"/>
            <a:ext cx="4037231" cy="403723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90013473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gDo1hxkOuCtGa_AgtQ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W3h0IPC0Cmnm3TAVLKp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Ndppg_p06oIAkRJSq9w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WHzCX4XkmMIGdWMfyU2A"/>
</p:tagLst>
</file>

<file path=ppt/theme/_rels/theme7.xml.rels><?xml version="1.0" encoding="UTF-8" standalone="yes"?>
<Relationships xmlns="http://schemas.openxmlformats.org/package/2006/relationships"><Relationship Id="rId1" Type="http://schemas.openxmlformats.org/officeDocument/2006/relationships/image" Target="../media/image20.jpeg"/></Relationships>
</file>

<file path=ppt/theme/theme1.xml><?xml version="1.0" encoding="utf-8"?>
<a:theme xmlns:a="http://schemas.openxmlformats.org/drawingml/2006/main" name="Perception">
  <a:themeElements>
    <a:clrScheme name="Ареал">
      <a:dk1>
        <a:sysClr val="windowText" lastClr="000000"/>
      </a:dk1>
      <a:lt1>
        <a:sysClr val="window" lastClr="FFFFFF"/>
      </a:lt1>
      <a:dk2>
        <a:srgbClr val="194431"/>
      </a:dk2>
      <a:lt2>
        <a:srgbClr val="F0E6C3"/>
      </a:lt2>
      <a:accent1>
        <a:srgbClr val="F8C000"/>
      </a:accent1>
      <a:accent2>
        <a:srgbClr val="F88600"/>
      </a:accent2>
      <a:accent3>
        <a:srgbClr val="F83500"/>
      </a:accent3>
      <a:accent4>
        <a:srgbClr val="8B723D"/>
      </a:accent4>
      <a:accent5>
        <a:srgbClr val="818B3D"/>
      </a:accent5>
      <a:accent6>
        <a:srgbClr val="586215"/>
      </a:accent6>
      <a:hlink>
        <a:srgbClr val="FF621D"/>
      </a:hlink>
      <a:folHlink>
        <a:srgbClr val="F3D260"/>
      </a:folHlink>
    </a:clrScheme>
    <a:fontScheme name="Perception">
      <a:majorFont>
        <a:latin typeface="Century Gothic"/>
        <a:ea typeface=""/>
        <a:cs typeface=""/>
        <a:font script="Jpan" typeface="メイリオ"/>
        <a:font script="Hans" typeface="宋体"/>
        <a:font script="Hant" typeface="新細明體"/>
      </a:majorFont>
      <a:minorFont>
        <a:latin typeface="Century Gothic"/>
        <a:ea typeface=""/>
        <a:cs typeface=""/>
        <a:font script="Jpan" typeface="メイリオ"/>
        <a:font script="Hans" typeface="宋体"/>
        <a:font script="Hant" typeface="新細明體"/>
      </a:minorFont>
    </a:fontScheme>
    <a:fmtScheme name="Perception">
      <a:fillStyleLst>
        <a:solidFill>
          <a:schemeClr val="phClr"/>
        </a:solidFill>
        <a:solidFill>
          <a:schemeClr val="phClr">
            <a:shade val="90000"/>
          </a:schemeClr>
        </a:solidFill>
        <a:solidFill>
          <a:schemeClr val="phClr">
            <a:shade val="80000"/>
          </a:schemeClr>
        </a:solidFill>
      </a:fillStyleLst>
      <a:lnStyleLst>
        <a:ln w="12700" cap="flat" cmpd="sng" algn="ctr">
          <a:solidFill>
            <a:schemeClr val="phClr"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>
              <a:alpha val="8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  <a:scene3d>
            <a:camera prst="obliqueTopRight"/>
            <a:lightRig rig="threePt" dir="tl"/>
          </a:scene3d>
          <a:sp3d>
            <a:bevelT w="25400" h="25400"/>
          </a:sp3d>
        </a:effectStyle>
        <a:effectStyle>
          <a:effectLst/>
          <a:scene3d>
            <a:camera prst="perspectiveFront" fov="4200000"/>
            <a:lightRig rig="balanced" dir="tl">
              <a:rot lat="0" lon="0" rev="18600000"/>
            </a:lightRig>
          </a:scene3d>
          <a:sp3d prstMaterial="metal">
            <a:bevelT w="63500" h="50800" prst="angle"/>
          </a:sp3d>
        </a:effectStyle>
      </a:effectStyleLst>
      <a:bgFillStyleLst>
        <a:solidFill>
          <a:schemeClr val="phClr">
            <a:tint val="90000"/>
          </a:schemeClr>
        </a:solidFill>
        <a:solidFill>
          <a:schemeClr val="phClr">
            <a:tint val="50000"/>
          </a:schemeClr>
        </a:solidFill>
        <a:solidFill>
          <a:schemeClr val="phClr">
            <a:shade val="60000"/>
          </a:schemeClr>
        </a:soli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2_Firm Format - Russian">
  <a:themeElements>
    <a:clrScheme name="LSB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FFAE18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_Шаблон новый ценности">
  <a:themeElements>
    <a:clrScheme name="new color schem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1E9B3"/>
      </a:accent1>
      <a:accent2>
        <a:srgbClr val="87C53B"/>
      </a:accent2>
      <a:accent3>
        <a:srgbClr val="FFC000"/>
      </a:accent3>
      <a:accent4>
        <a:srgbClr val="008000"/>
      </a:accent4>
      <a:accent5>
        <a:srgbClr val="FF6600"/>
      </a:accent5>
      <a:accent6>
        <a:srgbClr val="969696"/>
      </a:accent6>
      <a:hlink>
        <a:srgbClr val="FFC000"/>
      </a:hlink>
      <a:folHlink>
        <a:srgbClr val="008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color them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6D476"/>
        </a:accent1>
        <a:accent2>
          <a:srgbClr val="86C1D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86C1DE"/>
        </a:accent1>
        <a:accent2>
          <a:srgbClr val="F6D476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ADD4EF"/>
        </a:accent1>
        <a:accent2>
          <a:srgbClr val="F6D26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New_Template7">
  <a:themeElements>
    <a:clrScheme name="New_Template7">
      <a:dk1>
        <a:srgbClr val="222222"/>
      </a:dk1>
      <a:lt1>
        <a:srgbClr val="838787"/>
      </a:lt1>
      <a:dk2>
        <a:srgbClr val="222222"/>
      </a:dk2>
      <a:lt2>
        <a:srgbClr val="A6AAA9"/>
      </a:lt2>
      <a:accent1>
        <a:srgbClr val="34A5DA"/>
      </a:accent1>
      <a:accent2>
        <a:srgbClr val="3F969A"/>
      </a:accent2>
      <a:accent3>
        <a:srgbClr val="8ABE5E"/>
      </a:accent3>
      <a:accent4>
        <a:srgbClr val="FDCB56"/>
      </a:accent4>
      <a:accent5>
        <a:srgbClr val="E42832"/>
      </a:accent5>
      <a:accent6>
        <a:srgbClr val="C52060"/>
      </a:accent6>
      <a:hlink>
        <a:srgbClr val="0000FF"/>
      </a:hlink>
      <a:folHlink>
        <a:srgbClr val="FF00FF"/>
      </a:folHlink>
    </a:clrScheme>
    <a:fontScheme name="New_Template7">
      <a:majorFont>
        <a:latin typeface="DIN Alternate"/>
        <a:ea typeface="DIN Alternate"/>
        <a:cs typeface="DIN Alternate"/>
      </a:majorFont>
      <a:minorFont>
        <a:latin typeface="DIN Alternate"/>
        <a:ea typeface="DIN Alternate"/>
        <a:cs typeface="DIN Alternate"/>
      </a:minorFont>
    </a:fontScheme>
    <a:fmtScheme name="New_Template7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8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800" b="0" i="0" u="none" strike="noStrike" cap="all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DIN Alternat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584200" rtl="0" fontAlgn="auto" latinLnBrk="0" hangingPunct="0">
          <a:lnSpc>
            <a:spcPct val="100000"/>
          </a:lnSpc>
          <a:spcBef>
            <a:spcPts val="2400"/>
          </a:spcBef>
          <a:spcAft>
            <a:spcPts val="0"/>
          </a:spcAft>
          <a:buClrTx/>
          <a:buSzTx/>
          <a:buFontTx/>
          <a:buNone/>
          <a:tabLst/>
          <a:defRPr kumimoji="0" sz="2000" b="0" i="0" u="none" strike="noStrike" cap="none" spc="0" normalizeH="0" baseline="0">
            <a:ln>
              <a:noFill/>
            </a:ln>
            <a:solidFill>
              <a:srgbClr val="838787"/>
            </a:solidFill>
            <a:effectLst/>
            <a:uFillTx/>
            <a:latin typeface="Avenir Next Medium"/>
            <a:ea typeface="Avenir Next Medium"/>
            <a:cs typeface="Avenir Next Medium"/>
            <a:sym typeface="Avenir Next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13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Техническая">
  <a:themeElements>
    <a:clrScheme name="Официальная">
      <a:dk1>
        <a:sysClr val="windowText" lastClr="000000"/>
      </a:dk1>
      <a:lt1>
        <a:sysClr val="window" lastClr="FFFFFF"/>
      </a:lt1>
      <a:dk2>
        <a:srgbClr val="646B86"/>
      </a:dk2>
      <a:lt2>
        <a:srgbClr val="C5D1D7"/>
      </a:lt2>
      <a:accent1>
        <a:srgbClr val="D16349"/>
      </a:accent1>
      <a:accent2>
        <a:srgbClr val="CCB400"/>
      </a:accent2>
      <a:accent3>
        <a:srgbClr val="8CADAE"/>
      </a:accent3>
      <a:accent4>
        <a:srgbClr val="8C7B70"/>
      </a:accent4>
      <a:accent5>
        <a:srgbClr val="8FB08C"/>
      </a:accent5>
      <a:accent6>
        <a:srgbClr val="D19049"/>
      </a:accent6>
      <a:hlink>
        <a:srgbClr val="00A3D6"/>
      </a:hlink>
      <a:folHlink>
        <a:srgbClr val="694F07"/>
      </a:folHlink>
    </a:clrScheme>
    <a:fontScheme name="Техническая">
      <a:majorFont>
        <a:latin typeface="Franklin Gothic Book"/>
        <a:ea typeface=""/>
        <a:cs typeface=""/>
        <a:font script="Jpan" typeface="ＭＳ Ｐゴシック"/>
        <a:font script="Hang" typeface="HY견고딕"/>
        <a:font script="Hans" typeface="宋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HGｺﾞｼｯｸM"/>
        <a:font script="Hang" typeface="HY중고딕"/>
        <a:font script="Hans" typeface="黑体"/>
        <a:font script="Hant" typeface="微軟正黑體"/>
        <a:font script="Arab" typeface="Tahoma"/>
        <a:font script="Hebr" typeface="Levenim MT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Техническая">
      <a:fillStyleLst>
        <a:solidFill>
          <a:schemeClr val="phClr"/>
        </a:solidFill>
        <a:gradFill rotWithShape="1">
          <a:gsLst>
            <a:gs pos="0">
              <a:schemeClr val="phClr">
                <a:tint val="1000"/>
              </a:schemeClr>
            </a:gs>
            <a:gs pos="68000">
              <a:schemeClr val="phClr">
                <a:tint val="77000"/>
              </a:schemeClr>
            </a:gs>
            <a:gs pos="81000">
              <a:schemeClr val="phClr">
                <a:tint val="79000"/>
              </a:schemeClr>
            </a:gs>
            <a:gs pos="86000">
              <a:schemeClr val="phClr">
                <a:tint val="73000"/>
              </a:schemeClr>
            </a:gs>
            <a:gs pos="100000">
              <a:schemeClr val="phClr">
                <a:tint val="35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3000"/>
                <a:satMod val="150000"/>
              </a:schemeClr>
            </a:gs>
            <a:gs pos="25000">
              <a:schemeClr val="phClr">
                <a:tint val="96000"/>
                <a:shade val="80000"/>
                <a:satMod val="105000"/>
              </a:schemeClr>
            </a:gs>
            <a:gs pos="38000">
              <a:schemeClr val="phClr">
                <a:tint val="96000"/>
                <a:shade val="59000"/>
                <a:satMod val="120000"/>
              </a:schemeClr>
            </a:gs>
            <a:gs pos="55000">
              <a:schemeClr val="phClr">
                <a:shade val="57000"/>
                <a:satMod val="120000"/>
              </a:schemeClr>
            </a:gs>
            <a:gs pos="80000">
              <a:schemeClr val="phClr">
                <a:shade val="56000"/>
                <a:satMod val="145000"/>
              </a:schemeClr>
            </a:gs>
            <a:gs pos="88000">
              <a:schemeClr val="phClr">
                <a:shade val="63000"/>
                <a:satMod val="160000"/>
              </a:schemeClr>
            </a:gs>
            <a:gs pos="100000">
              <a:schemeClr val="phClr">
                <a:tint val="99555"/>
                <a:satMod val="155000"/>
              </a:schemeClr>
            </a:gs>
          </a:gsLst>
          <a:lin ang="5400000" scaled="1"/>
        </a:gradFill>
      </a:fillStyleLst>
      <a:lnStyleLst>
        <a:ln w="9525" cap="flat" cmpd="sng" algn="ctr">
          <a:solidFill>
            <a:schemeClr val="phClr">
              <a:shade val="60000"/>
              <a:satMod val="300000"/>
            </a:schemeClr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glow rad="635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</a:effectStyle>
        <a:effectStyle>
          <a:effectLst>
            <a:glow rad="700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</a:effectStyle>
        <a:effectStyle>
          <a:effectLst>
            <a:glow rad="762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  <a:scene3d>
            <a:camera prst="orthographicFront" fov="0">
              <a:rot lat="0" lon="0" rev="0"/>
            </a:camera>
            <a:lightRig rig="harsh" dir="t">
              <a:rot lat="6000000" lon="6000000" rev="0"/>
            </a:lightRig>
          </a:scene3d>
          <a:sp3d contourW="10000" prstMaterial="metal">
            <a:bevelT w="20000" h="9000" prst="softRound"/>
            <a:contourClr>
              <a:schemeClr val="phClr">
                <a:shade val="30000"/>
                <a:satMod val="2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40000"/>
                <a:satMod val="150000"/>
              </a:schemeClr>
            </a:gs>
            <a:gs pos="30000">
              <a:schemeClr val="phClr">
                <a:shade val="60000"/>
                <a:satMod val="150000"/>
              </a:schemeClr>
            </a:gs>
            <a:gs pos="100000">
              <a:schemeClr val="phClr">
                <a:tint val="83000"/>
                <a:satMod val="200000"/>
              </a:schemeClr>
            </a:gs>
          </a:gsLst>
          <a:lin ang="13000000" scaled="0"/>
        </a:gradFill>
        <a:gradFill rotWithShape="1">
          <a:gsLst>
            <a:gs pos="0">
              <a:schemeClr val="phClr">
                <a:tint val="78000"/>
                <a:satMod val="220000"/>
              </a:schemeClr>
            </a:gs>
            <a:gs pos="100000">
              <a:schemeClr val="phClr">
                <a:shade val="35000"/>
                <a:satMod val="155000"/>
              </a:schemeClr>
            </a:gs>
          </a:gsLst>
          <a:path path="circle">
            <a:fillToRect l="60000" t="50000" r="4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Шаблон новый ценности">
  <a:themeElements>
    <a:clrScheme name="Шаблон новый ценности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D1E9B3"/>
      </a:accent1>
      <a:accent2>
        <a:srgbClr val="87C53B"/>
      </a:accent2>
      <a:accent3>
        <a:srgbClr val="FFC000"/>
      </a:accent3>
      <a:accent4>
        <a:srgbClr val="008000"/>
      </a:accent4>
      <a:accent5>
        <a:srgbClr val="FF6600"/>
      </a:accent5>
      <a:accent6>
        <a:srgbClr val="969696"/>
      </a:accent6>
      <a:hlink>
        <a:srgbClr val="0000FF"/>
      </a:hlink>
      <a:folHlink>
        <a:srgbClr val="FF00FF"/>
      </a:folHlink>
    </a:clrScheme>
    <a:fontScheme name="Шаблон новый ценности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Шаблон новый ценности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PwC Presentation">
  <a:themeElements>
    <a:clrScheme name="PwC Orange">
      <a:dk1>
        <a:srgbClr val="000000"/>
      </a:dk1>
      <a:lt1>
        <a:srgbClr val="FFFFFF"/>
      </a:lt1>
      <a:dk2>
        <a:srgbClr val="DC6900"/>
      </a:dk2>
      <a:lt2>
        <a:srgbClr val="FFFFFF"/>
      </a:lt2>
      <a:accent1>
        <a:srgbClr val="DC6900"/>
      </a:accent1>
      <a:accent2>
        <a:srgbClr val="FFB600"/>
      </a:accent2>
      <a:accent3>
        <a:srgbClr val="602320"/>
      </a:accent3>
      <a:accent4>
        <a:srgbClr val="DB536A"/>
      </a:accent4>
      <a:accent5>
        <a:srgbClr val="A32020"/>
      </a:accent5>
      <a:accent6>
        <a:srgbClr val="E0301E"/>
      </a:accent6>
      <a:hlink>
        <a:srgbClr val="DC6900"/>
      </a:hlink>
      <a:folHlink>
        <a:srgbClr val="DC690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ltGray">
        <a:solidFill>
          <a:schemeClr val="tx2"/>
        </a:solidFill>
        <a:ln w="3175"/>
      </a:spPr>
      <a:bodyPr rtlCol="0" anchor="ctr"/>
      <a:lstStyle>
        <a:defPPr algn="ctr">
          <a:defRPr dirty="0" err="1" smtClean="0">
            <a:solidFill>
              <a:schemeClr val="bg1"/>
            </a:solidFill>
            <a:latin typeface="Georgia" pitchFamily="18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indent="-274320">
          <a:spcAft>
            <a:spcPts val="900"/>
          </a:spcAft>
          <a:defRPr sz="2000" dirty="0" err="1" smtClean="0">
            <a:latin typeface="Georgia" pitchFamily="18" charset="0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Blank.potx" id="{EFE228DE-A36A-4378-B893-A4BD6DE2D6E8}" vid="{2F78043D-F259-4DEC-844A-157B9501BB78}"/>
    </a:ext>
  </a:extLst>
</a:theme>
</file>

<file path=ppt/theme/theme6.xml><?xml version="1.0" encoding="utf-8"?>
<a:theme xmlns:a="http://schemas.openxmlformats.org/drawingml/2006/main" name="7_Enel_PPTtemplate_26012016">
  <a:themeElements>
    <a:clrScheme name="ENEL">
      <a:dk1>
        <a:sysClr val="windowText" lastClr="000000"/>
      </a:dk1>
      <a:lt1>
        <a:sysClr val="window" lastClr="FFFFFF"/>
      </a:lt1>
      <a:dk2>
        <a:srgbClr val="C6C6C6"/>
      </a:dk2>
      <a:lt2>
        <a:srgbClr val="EDEEE8"/>
      </a:lt2>
      <a:accent1>
        <a:srgbClr val="0655FA"/>
      </a:accent1>
      <a:accent2>
        <a:srgbClr val="40B9E6"/>
      </a:accent2>
      <a:accent3>
        <a:srgbClr val="E71401"/>
      </a:accent3>
      <a:accent4>
        <a:srgbClr val="FE0F64"/>
      </a:accent4>
      <a:accent5>
        <a:srgbClr val="028C59"/>
      </a:accent5>
      <a:accent6>
        <a:srgbClr val="55BD5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Enel_PPTtemplate_v2-6[JPEG+VECTORLOGO]" id="{A78A76FD-14E2-4D80-A313-D0CAB5E218D4}" vid="{C3814A83-8DC5-4303-A835-89EF9FAE18A0}"/>
    </a:ext>
  </a:extLst>
</a:theme>
</file>

<file path=ppt/theme/theme7.xml><?xml version="1.0" encoding="utf-8"?>
<a:theme xmlns:a="http://schemas.openxmlformats.org/drawingml/2006/main" name="NewsPrint">
  <a:themeElements>
    <a:clrScheme name="NewsPrint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AD0101"/>
      </a:accent1>
      <a:accent2>
        <a:srgbClr val="726056"/>
      </a:accent2>
      <a:accent3>
        <a:srgbClr val="AC956E"/>
      </a:accent3>
      <a:accent4>
        <a:srgbClr val="808DA9"/>
      </a:accent4>
      <a:accent5>
        <a:srgbClr val="424E5B"/>
      </a:accent5>
      <a:accent6>
        <a:srgbClr val="730E00"/>
      </a:accent6>
      <a:hlink>
        <a:srgbClr val="D26900"/>
      </a:hlink>
      <a:folHlink>
        <a:srgbClr val="D89243"/>
      </a:folHlink>
    </a:clrScheme>
    <a:fontScheme name="NewsPrint">
      <a:majorFont>
        <a:latin typeface="Impact"/>
        <a:ea typeface=""/>
        <a:cs typeface=""/>
        <a:font script="Jpan" typeface="HGP創英角ｺﾞｼｯｸUB"/>
        <a:font script="Hang" typeface="HY견고딕"/>
        <a:font script="Hans" typeface="微软雅黑"/>
        <a:font script="Hant" typeface="微軟正黑體"/>
        <a:font script="Arab" typeface="Tahoma"/>
        <a:font script="Hebr" typeface="Tohoma"/>
        <a:font script="Thai" typeface="Tahoma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NewsPrint">
      <a:fillStyleLst>
        <a:solidFill>
          <a:schemeClr val="phClr"/>
        </a:solidFill>
        <a:gradFill rotWithShape="1">
          <a:gsLst>
            <a:gs pos="0">
              <a:schemeClr val="phClr">
                <a:tint val="37000"/>
                <a:hueMod val="100000"/>
                <a:satMod val="200000"/>
                <a:lumMod val="88000"/>
              </a:schemeClr>
            </a:gs>
            <a:gs pos="100000">
              <a:schemeClr val="phClr">
                <a:tint val="53000"/>
                <a:shade val="100000"/>
                <a:hueMod val="100000"/>
                <a:satMod val="350000"/>
                <a:lumMod val="79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83000"/>
                <a:shade val="100000"/>
                <a:alpha val="100000"/>
                <a:hueMod val="100000"/>
                <a:satMod val="220000"/>
                <a:lumMod val="90000"/>
              </a:schemeClr>
            </a:gs>
            <a:gs pos="76000">
              <a:schemeClr val="phClr">
                <a:shade val="100000"/>
              </a:schemeClr>
            </a:gs>
            <a:gs pos="100000">
              <a:schemeClr val="phClr">
                <a:shade val="93000"/>
                <a:alpha val="100000"/>
                <a:satMod val="100000"/>
                <a:lumMod val="93000"/>
              </a:schemeClr>
            </a:gs>
          </a:gsLst>
          <a:path path="circle">
            <a:fillToRect l="15000" t="15000" r="100000" b="100000"/>
          </a:path>
        </a:gradFill>
      </a:fillStyleLst>
      <a:lnStyleLst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  <a:ln w="34925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12700" dir="528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contourW="12700">
            <a:bevelT w="31750" h="127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3000"/>
              </a:schemeClr>
            </a:gs>
            <a:gs pos="100000">
              <a:schemeClr val="phClr">
                <a:shade val="55000"/>
              </a:schemeClr>
            </a:gs>
          </a:gsLst>
          <a:lin ang="5400000" scaled="1"/>
        </a:gradFill>
        <a:blipFill rotWithShape="1">
          <a:blip xmlns:r="http://schemas.openxmlformats.org/officeDocument/2006/relationships" r:embed="rId1">
            <a:duotone>
              <a:schemeClr val="phClr">
                <a:shade val="20000"/>
                <a:satMod val="350000"/>
                <a:lumMod val="125000"/>
              </a:schemeClr>
              <a:schemeClr val="phClr">
                <a:tint val="90000"/>
                <a:satMod val="250000"/>
              </a:schemeClr>
            </a:duotone>
          </a:blip>
          <a:stretch/>
        </a:blip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Восприятие.thmx</Template>
  <TotalTime>2444</TotalTime>
  <Words>2183</Words>
  <Application>Microsoft Office PowerPoint</Application>
  <PresentationFormat>Экран (4:3)</PresentationFormat>
  <Paragraphs>590</Paragraphs>
  <Slides>104</Slides>
  <Notes>13</Notes>
  <HiddenSlides>0</HiddenSlides>
  <MMClips>0</MMClips>
  <ScaleCrop>false</ScaleCrop>
  <HeadingPairs>
    <vt:vector size="6" baseType="variant">
      <vt:variant>
        <vt:lpstr>Тема</vt:lpstr>
      </vt:variant>
      <vt:variant>
        <vt:i4>1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4</vt:i4>
      </vt:variant>
    </vt:vector>
  </HeadingPairs>
  <TitlesOfParts>
    <vt:vector size="118" baseType="lpstr">
      <vt:lpstr>Perception</vt:lpstr>
      <vt:lpstr>Техническая</vt:lpstr>
      <vt:lpstr>Шаблон новый ценности</vt:lpstr>
      <vt:lpstr>Тема Office</vt:lpstr>
      <vt:lpstr>PwC Presentation</vt:lpstr>
      <vt:lpstr>7_Enel_PPTtemplate_26012016</vt:lpstr>
      <vt:lpstr>NewsPrint</vt:lpstr>
      <vt:lpstr>1_Тема Office</vt:lpstr>
      <vt:lpstr>Office Theme</vt:lpstr>
      <vt:lpstr>2_Firm Format - Russian</vt:lpstr>
      <vt:lpstr>1_Шаблон новый ценности</vt:lpstr>
      <vt:lpstr>New_Template7</vt:lpstr>
      <vt:lpstr>2_Тема Office</vt:lpstr>
      <vt:lpstr>think-cell Slide</vt:lpstr>
      <vt:lpstr>Как полюбить аудитора</vt:lpstr>
      <vt:lpstr>PricewaterhouseCoopers – Цена, вода, дом и еще  какой-то Куперс?</vt:lpstr>
      <vt:lpstr>Добрый день, я – аудитор… </vt:lpstr>
      <vt:lpstr>Статистика набора: Москва, Санкт-Петербург, Екатеринбург</vt:lpstr>
      <vt:lpstr>Мои обязанности в PwC</vt:lpstr>
      <vt:lpstr>Основные проблемы</vt:lpstr>
      <vt:lpstr>Есть решение!</vt:lpstr>
      <vt:lpstr>Выводы</vt:lpstr>
      <vt:lpstr>Я с радостью готова ответить на все ваши вопросы</vt:lpstr>
      <vt:lpstr>Человеческий фактор в рекрутменте: этические проблемы</vt:lpstr>
      <vt:lpstr>План презентации</vt:lpstr>
      <vt:lpstr>О компании</vt:lpstr>
      <vt:lpstr>Деятельность компании</vt:lpstr>
      <vt:lpstr>Процесс подбора персонала</vt:lpstr>
      <vt:lpstr>Мои обязанности</vt:lpstr>
      <vt:lpstr>Мои впечатления</vt:lpstr>
      <vt:lpstr>Человеческий фактор в рекрутменте</vt:lpstr>
      <vt:lpstr>Спасибо за внимание!</vt:lpstr>
      <vt:lpstr>«Всегда ли «новое» является новым? К вопросу об адаптации в некоммерческих организациях» </vt:lpstr>
      <vt:lpstr>Моя практика</vt:lpstr>
      <vt:lpstr>Принципиальные различия</vt:lpstr>
      <vt:lpstr>Примеры</vt:lpstr>
      <vt:lpstr>Советы по адаптации</vt:lpstr>
      <vt:lpstr>Благодарю за внимание!</vt:lpstr>
      <vt:lpstr>Производственная практика в  АНО ДПО  «Корпоративный университет Сбербанка»</vt:lpstr>
      <vt:lpstr>Презентация PowerPoint</vt:lpstr>
      <vt:lpstr>Факты и цифры</vt:lpstr>
      <vt:lpstr>Презентация PowerPoint</vt:lpstr>
      <vt:lpstr>Презентация PowerPoint</vt:lpstr>
      <vt:lpstr>Презентация PowerPoint</vt:lpstr>
      <vt:lpstr>Обязанности и задачи</vt:lpstr>
      <vt:lpstr>Презентация PowerPoint</vt:lpstr>
      <vt:lpstr>Производственная практика в  АНО ДПО  «Корпоративный университет Сбербанка»</vt:lpstr>
      <vt:lpstr>Портрет «уставшей» компании в интерьере</vt:lpstr>
      <vt:lpstr>О компании</vt:lpstr>
      <vt:lpstr>HR</vt:lpstr>
      <vt:lpstr>От чего зависит рейтинг?</vt:lpstr>
      <vt:lpstr>Причины потери позиций крупными игроками</vt:lpstr>
      <vt:lpstr>Причины потери позиций крупными игроками</vt:lpstr>
      <vt:lpstr>Портрет «уставшей» компании</vt:lpstr>
      <vt:lpstr>Пути решения </vt:lpstr>
      <vt:lpstr>Спасибо за внимание! </vt:lpstr>
      <vt:lpstr>Итальянцы в России:</vt:lpstr>
      <vt:lpstr>Презентация PowerPoint</vt:lpstr>
      <vt:lpstr>Презентация PowerPoint</vt:lpstr>
      <vt:lpstr>Почему итальянцы активно продолжают развивать бизнес на территории нашей страны и как им это удаётся?</vt:lpstr>
      <vt:lpstr>Презентация PowerPoint</vt:lpstr>
      <vt:lpstr>Презентация PowerPoint</vt:lpstr>
      <vt:lpstr>Презентация PowerPoint</vt:lpstr>
      <vt:lpstr>И еще раз об итальянском менеджменте</vt:lpstr>
      <vt:lpstr>Agenda</vt:lpstr>
      <vt:lpstr>Презентация PowerPoint</vt:lpstr>
      <vt:lpstr>История работы </vt:lpstr>
      <vt:lpstr>Презентация PowerPoint</vt:lpstr>
      <vt:lpstr>Презентация PowerPoint</vt:lpstr>
      <vt:lpstr>Спасибо за внимание</vt:lpstr>
      <vt:lpstr>Презентация PowerPoint</vt:lpstr>
      <vt:lpstr>ООО «ЮНИКЛО      (РУС)»</vt:lpstr>
      <vt:lpstr>Японский менеджмент</vt:lpstr>
      <vt:lpstr>Описание организации</vt:lpstr>
      <vt:lpstr>                HR-отдел</vt:lpstr>
      <vt:lpstr>                Обязанности</vt:lpstr>
      <vt:lpstr>Собеседование на должность продавца-консультанта. Основные критерии отбора</vt:lpstr>
      <vt:lpstr>Карьерная лестница в компании</vt:lpstr>
      <vt:lpstr>Корпоративная культура компании. Ценности</vt:lpstr>
      <vt:lpstr>Приобретенные навыки</vt:lpstr>
      <vt:lpstr>Впечатления о практике </vt:lpstr>
      <vt:lpstr>   Спасибо за внимание!</vt:lpstr>
      <vt:lpstr>Российский сервис.   Как сделать гостеприимство гостеприимным?</vt:lpstr>
      <vt:lpstr>О гостинице</vt:lpstr>
      <vt:lpstr>Российский гостиничный бизнес сегодня</vt:lpstr>
      <vt:lpstr>Выход на новый уровень</vt:lpstr>
      <vt:lpstr>Выход на новый уровень</vt:lpstr>
      <vt:lpstr>Выход на новый уровень</vt:lpstr>
      <vt:lpstr>Спасибо за внимание!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Таможенная стоимость товара</vt:lpstr>
      <vt:lpstr>1. Консолидация груза</vt:lpstr>
      <vt:lpstr>2. Подбор персонала</vt:lpstr>
      <vt:lpstr>3. Страхование</vt:lpstr>
      <vt:lpstr>4. Репутация – лучшая реклама</vt:lpstr>
      <vt:lpstr>Презентация PowerPoint</vt:lpstr>
      <vt:lpstr>Презентация PowerPoint</vt:lpstr>
      <vt:lpstr>Бизнес-школы  и корпоративные университеты: конкуренты или союзники?</vt:lpstr>
      <vt:lpstr>Корпоративный университет </vt:lpstr>
      <vt:lpstr>Задачи корпоративного университета </vt:lpstr>
      <vt:lpstr>Презентация PowerPoint</vt:lpstr>
      <vt:lpstr>Презентация PowerPoint</vt:lpstr>
      <vt:lpstr>Презентация PowerPoint</vt:lpstr>
      <vt:lpstr>Особенности программ бизнес-школ</vt:lpstr>
      <vt:lpstr>Презентация PowerPoint</vt:lpstr>
      <vt:lpstr>START-UP Проблемы  и радости</vt:lpstr>
      <vt:lpstr>Алгоритм поведения студента</vt:lpstr>
      <vt:lpstr>с чего начать ?</vt:lpstr>
      <vt:lpstr>Изучение областей</vt:lpstr>
      <vt:lpstr>Нормализация</vt:lpstr>
      <vt:lpstr>Плюсы своего дела</vt:lpstr>
      <vt:lpstr>Что дальше ?</vt:lpstr>
      <vt:lpstr>Презентация PowerPoint</vt:lpstr>
      <vt:lpstr>Спасибо за внимание !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тчет по практике</dc:title>
  <dc:creator>Диана Овсепян</dc:creator>
  <cp:lastModifiedBy>Добронравова Анастасия Алексеевна</cp:lastModifiedBy>
  <cp:revision>82</cp:revision>
  <dcterms:created xsi:type="dcterms:W3CDTF">2016-10-26T15:30:55Z</dcterms:created>
  <dcterms:modified xsi:type="dcterms:W3CDTF">2017-03-23T11:53:12Z</dcterms:modified>
</cp:coreProperties>
</file>